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theme/theme11.xml" ContentType="application/vnd.openxmlformats-officedocument.theme+xml"/>
  <Override PartName="/ppt/tags/tag18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Relationship Id="rId4" Type="http://schemas.openxmlformats.org/officeDocument/2006/relationships/custom-properties" Target="docProps/custom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>
  <p:sldMasterIdLst>
    <p:sldMasterId id="2147483648" r:id="rId1"/>
    <p:sldMasterId id="2147483660" r:id="rId2"/>
    <p:sldMasterId id="2147483678" r:id="rId3"/>
    <p:sldMasterId id="2147483707" r:id="rId4"/>
    <p:sldMasterId id="2147483727" r:id="rId5"/>
    <p:sldMasterId id="2147483758" r:id="rId6"/>
    <p:sldMasterId id="2147483767" r:id="rId7"/>
    <p:sldMasterId id="2147483832" r:id="rId8"/>
    <p:sldMasterId id="2147483776" r:id="rId9"/>
    <p:sldMasterId id="2147483844" r:id="rId10"/>
    <p:sldMasterId id="2147483846" r:id="rId11"/>
  </p:sldMasterIdLst>
  <p:notesMasterIdLst>
    <p:notesMasterId r:id="rId17"/>
  </p:notesMasterIdLst>
  <p:handoutMasterIdLst>
    <p:handoutMasterId r:id="rId18"/>
  </p:handoutMasterIdLst>
  <p:sldIdLst>
    <p:sldId id="1237" r:id="rId12"/>
    <p:sldId id="2147375382" r:id="rId13"/>
    <p:sldId id="1278" r:id="rId14"/>
    <p:sldId id="2147375439" r:id="rId15"/>
    <p:sldId id="2147375441" r:id="rId16"/>
  </p:sldIdLst>
  <p:sldSz cx="12192000" cy="6858000"/>
  <p:notesSz cx="7315200" cy="96012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640" userDrawn="1">
          <p15:clr>
            <a:srgbClr val="A4A3A4"/>
          </p15:clr>
        </p15:guide>
        <p15:guide id="3" pos="16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3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90ADF57-EEF3-8EC8-116D-41C24455810B}" name="Vusani Tshivhase" initials="VT" userId="S::vtshivhase@clintonhealthaccess.org::b74af1ed-3e2a-4629-87e4-392c868b7c5a" providerId="AD"/>
  <p188:author id="{10A10FDD-832A-C807-95E0-DE58EDD8F51B}" name="Derusha Frank" initials="DF" userId="S::dfrank@clintonhealthaccess.org::4624fa8c-8c39-4b7b-88bd-6eb6cad8706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adim Shepel" initials="VS" lastIdx="5" clrIdx="0"/>
  <p:cmAuthor id="1" name="Meredith Moore" initials="" lastIdx="35" clrIdx="1"/>
  <p:cmAuthor id="2" name="Sarah Jerkins" initials="SJ" lastIdx="1" clrIdx="2"/>
  <p:cmAuthor id="3" name="Tumisho Langa" initials="TL" lastIdx="2" clrIdx="3">
    <p:extLst>
      <p:ext uri="{19B8F6BF-5375-455C-9EA6-DF929625EA0E}">
        <p15:presenceInfo xmlns:p15="http://schemas.microsoft.com/office/powerpoint/2012/main" userId="S::tlanga@clintonhealthaccess.org::0e58b9e4-53b4-46c5-a700-923db31a7874" providerId="AD"/>
      </p:ext>
    </p:extLst>
  </p:cmAuthor>
  <p:cmAuthor id="4" name="Derusha Frank" initials="DF" lastIdx="8" clrIdx="4">
    <p:extLst>
      <p:ext uri="{19B8F6BF-5375-455C-9EA6-DF929625EA0E}">
        <p15:presenceInfo xmlns:p15="http://schemas.microsoft.com/office/powerpoint/2012/main" userId="S::dfrank@clintonhealthaccess.org::4624fa8c-8c39-4b7b-88bd-6eb6cad8706f" providerId="AD"/>
      </p:ext>
    </p:extLst>
  </p:cmAuthor>
  <p:cmAuthor id="5" name="Vusani Tshivhase" initials="VT" lastIdx="3" clrIdx="5">
    <p:extLst>
      <p:ext uri="{19B8F6BF-5375-455C-9EA6-DF929625EA0E}">
        <p15:presenceInfo xmlns:p15="http://schemas.microsoft.com/office/powerpoint/2012/main" userId="S::vtshivhase@clintonhealthaccess.org::b74af1ed-3e2a-4629-87e4-392c868b7c5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92D050"/>
    <a:srgbClr val="FF4343"/>
    <a:srgbClr val="FFFF99"/>
    <a:srgbClr val="CCCCCC"/>
    <a:srgbClr val="C3D69B"/>
    <a:srgbClr val="99FFCC"/>
    <a:srgbClr val="FFFFCC"/>
    <a:srgbClr val="D2F4C7"/>
    <a:srgbClr val="E7E8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5" autoAdjust="0"/>
    <p:restoredTop sz="87314" autoAdjust="0"/>
  </p:normalViewPr>
  <p:slideViewPr>
    <p:cSldViewPr>
      <p:cViewPr varScale="1">
        <p:scale>
          <a:sx n="58" d="100"/>
          <a:sy n="58" d="100"/>
        </p:scale>
        <p:origin x="1004" y="48"/>
      </p:cViewPr>
      <p:guideLst>
        <p:guide orient="horz" pos="2640"/>
        <p:guide pos="16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1248"/>
    </p:cViewPr>
  </p:sorterViewPr>
  <p:notesViewPr>
    <p:cSldViewPr>
      <p:cViewPr varScale="1">
        <p:scale>
          <a:sx n="54" d="100"/>
          <a:sy n="54" d="100"/>
        </p:scale>
        <p:origin x="-2838" y="-96"/>
      </p:cViewPr>
      <p:guideLst>
        <p:guide orient="horz" pos="3024"/>
        <p:guide pos="233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 /><Relationship Id="rId13" Type="http://schemas.openxmlformats.org/officeDocument/2006/relationships/slide" Target="slides/slide2.xml" /><Relationship Id="rId18" Type="http://schemas.openxmlformats.org/officeDocument/2006/relationships/handoutMaster" Target="handoutMasters/handoutMaster1.xml" /><Relationship Id="rId3" Type="http://schemas.openxmlformats.org/officeDocument/2006/relationships/slideMaster" Target="slideMasters/slideMaster3.xml" /><Relationship Id="rId21" Type="http://schemas.openxmlformats.org/officeDocument/2006/relationships/presProps" Target="presProps.xml" /><Relationship Id="rId7" Type="http://schemas.openxmlformats.org/officeDocument/2006/relationships/slideMaster" Target="slideMasters/slideMaster7.xml" /><Relationship Id="rId12" Type="http://schemas.openxmlformats.org/officeDocument/2006/relationships/slide" Target="slides/slide1.xml" /><Relationship Id="rId17" Type="http://schemas.openxmlformats.org/officeDocument/2006/relationships/notesMaster" Target="notesMasters/notesMaster1.xml" /><Relationship Id="rId25" Type="http://schemas.microsoft.com/office/2018/10/relationships/authors" Target="authors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5.xml" /><Relationship Id="rId20" Type="http://schemas.openxmlformats.org/officeDocument/2006/relationships/commentAuthors" Target="commentAuthors.xml" /><Relationship Id="rId1" Type="http://schemas.openxmlformats.org/officeDocument/2006/relationships/slideMaster" Target="slideMasters/slideMaster1.xml" /><Relationship Id="rId6" Type="http://schemas.openxmlformats.org/officeDocument/2006/relationships/slideMaster" Target="slideMasters/slideMaster6.xml" /><Relationship Id="rId11" Type="http://schemas.openxmlformats.org/officeDocument/2006/relationships/slideMaster" Target="slideMasters/slideMaster11.xml" /><Relationship Id="rId24" Type="http://schemas.openxmlformats.org/officeDocument/2006/relationships/tableStyles" Target="tableStyles.xml" /><Relationship Id="rId5" Type="http://schemas.openxmlformats.org/officeDocument/2006/relationships/slideMaster" Target="slideMasters/slideMaster5.xml" /><Relationship Id="rId15" Type="http://schemas.openxmlformats.org/officeDocument/2006/relationships/slide" Target="slides/slide4.xml" /><Relationship Id="rId23" Type="http://schemas.openxmlformats.org/officeDocument/2006/relationships/theme" Target="theme/theme1.xml" /><Relationship Id="rId10" Type="http://schemas.openxmlformats.org/officeDocument/2006/relationships/slideMaster" Target="slideMasters/slideMaster10.xml" /><Relationship Id="rId19" Type="http://schemas.openxmlformats.org/officeDocument/2006/relationships/tags" Target="tags/tag1.xml" /><Relationship Id="rId4" Type="http://schemas.openxmlformats.org/officeDocument/2006/relationships/slideMaster" Target="slideMasters/slideMaster4.xml" /><Relationship Id="rId9" Type="http://schemas.openxmlformats.org/officeDocument/2006/relationships/slideMaster" Target="slideMasters/slideMaster9.xml" /><Relationship Id="rId14" Type="http://schemas.openxmlformats.org/officeDocument/2006/relationships/slide" Target="slides/slide3.xml" /><Relationship Id="rId22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714882674381228E-2"/>
          <c:y val="2.8540065861690452E-2"/>
          <c:w val="0.96657023465123759"/>
          <c:h val="0.9429198682766191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6738</c:v>
                </c:pt>
                <c:pt idx="1">
                  <c:v>160089</c:v>
                </c:pt>
                <c:pt idx="2">
                  <c:v>163329</c:v>
                </c:pt>
                <c:pt idx="3">
                  <c:v>89576</c:v>
                </c:pt>
                <c:pt idx="4">
                  <c:v>34980</c:v>
                </c:pt>
                <c:pt idx="5">
                  <c:v>60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71-4575-B7C8-FC3141CAB397}"/>
            </c:ext>
          </c:extLst>
        </c:ser>
        <c:ser>
          <c:idx val="1"/>
          <c:order val="1"/>
          <c:spPr>
            <a:solidFill>
              <a:srgbClr val="44429F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1206</c:v>
                </c:pt>
                <c:pt idx="1">
                  <c:v>12649</c:v>
                </c:pt>
                <c:pt idx="2">
                  <c:v>26720</c:v>
                </c:pt>
                <c:pt idx="3">
                  <c:v>46781</c:v>
                </c:pt>
                <c:pt idx="4">
                  <c:v>26196</c:v>
                </c:pt>
                <c:pt idx="5">
                  <c:v>62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71-4575-B7C8-FC3141CAB3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23468032"/>
        <c:axId val="1"/>
      </c:barChart>
      <c:catAx>
        <c:axId val="212346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3468032"/>
        <c:crosses val="min"/>
        <c:crossBetween val="between"/>
        <c:majorUnit val="200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 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 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 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 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 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AB9D8-F187-428C-A54A-B119EC9BF6BB}" type="datetimeFigureOut">
              <a:rPr lang="en-US" smtClean="0"/>
              <a:t>11/9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79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391250-E778-4ABF-8319-9BDEF10F206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169920" cy="48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661" tIns="48331" rIns="96661" bIns="48331" numCol="1" anchor="t" anchorCtr="0" compatLnSpc="1"/>
          <a:lstStyle>
            <a:lvl1pPr algn="l" eaLnBrk="0" hangingPunct="0">
              <a:defRPr sz="13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145280" y="0"/>
            <a:ext cx="3169920" cy="48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661" tIns="48331" rIns="96661" bIns="48331" numCol="1" anchor="t" anchorCtr="0" compatLnSpc="1"/>
          <a:lstStyle>
            <a:lvl1pPr algn="r" eaLnBrk="0" hangingPunct="0">
              <a:defRPr sz="13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7200" y="720725"/>
            <a:ext cx="6400800" cy="3600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75360" y="4560570"/>
            <a:ext cx="5364480" cy="432054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661" tIns="48331" rIns="96661" bIns="48331" numCol="1" anchor="t" anchorCtr="0" compatLnSpc="1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121140"/>
            <a:ext cx="3169920" cy="48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661" tIns="48331" rIns="96661" bIns="48331" numCol="1" anchor="b" anchorCtr="0" compatLnSpc="1"/>
          <a:lstStyle>
            <a:lvl1pPr algn="l" eaLnBrk="0" hangingPunct="0">
              <a:defRPr sz="13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145280" y="9121140"/>
            <a:ext cx="3169920" cy="4800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6661" tIns="48331" rIns="96661" bIns="48331" numCol="1" anchor="b" anchorCtr="0" compatLnSpc="1"/>
          <a:lstStyle>
            <a:lvl1pPr algn="r" eaLnBrk="0" hangingPunct="0">
              <a:defRPr sz="1300"/>
            </a:lvl1pPr>
          </a:lstStyle>
          <a:p>
            <a:pPr>
              <a:defRPr/>
            </a:pPr>
            <a:fld id="{31992187-B1CC-41CC-9142-F099FCE9EC24}" type="slidenum">
              <a:rPr lang="en-US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8C258E-B50B-4F54-8DA6-DE3BD167E997}" type="slidenum">
              <a:rPr lang="en-ZA" smtClean="0"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04058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D66214-CB5B-4917-AF91-97868017CB76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0187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D66214-CB5B-4917-AF91-97868017CB76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75106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D66214-CB5B-4917-AF91-97868017CB76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67108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D66214-CB5B-4917-AF91-97868017CB76}" type="slidenum">
              <a:rPr kumimoji="0" lang="en-ZA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3854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6.xml" /><Relationship Id="rId1" Type="http://schemas.openxmlformats.org/officeDocument/2006/relationships/vmlDrawing" Target="../drawings/vmlDrawing5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5.bin" 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 /><Relationship Id="rId2" Type="http://schemas.openxmlformats.org/officeDocument/2006/relationships/tags" Target="../tags/tag7.xml" /><Relationship Id="rId1" Type="http://schemas.openxmlformats.org/officeDocument/2006/relationships/vmlDrawing" Target="../drawings/vmlDrawing6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6.bin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 /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4.xml" /><Relationship Id="rId4" Type="http://schemas.openxmlformats.org/officeDocument/2006/relationships/image" Target="../media/image7.png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 /><Relationship Id="rId1" Type="http://schemas.openxmlformats.org/officeDocument/2006/relationships/slideMaster" Target="../slideMasters/slideMaster6.xml" 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 /><Relationship Id="rId7" Type="http://schemas.openxmlformats.org/officeDocument/2006/relationships/image" Target="../media/image11.jpeg" /><Relationship Id="rId2" Type="http://schemas.openxmlformats.org/officeDocument/2006/relationships/image" Target="../media/image10.jpeg" /><Relationship Id="rId1" Type="http://schemas.openxmlformats.org/officeDocument/2006/relationships/slideMaster" Target="../slideMasters/slideMaster6.xml" /><Relationship Id="rId6" Type="http://schemas.openxmlformats.org/officeDocument/2006/relationships/image" Target="../media/image8.jpeg" /><Relationship Id="rId5" Type="http://schemas.openxmlformats.org/officeDocument/2006/relationships/image" Target="../media/image7.png" /><Relationship Id="rId4" Type="http://schemas.openxmlformats.org/officeDocument/2006/relationships/image" Target="../media/image14.jpeg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 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 /><Relationship Id="rId1" Type="http://schemas.openxmlformats.org/officeDocument/2006/relationships/slideMaster" Target="../slideMasters/slideMaster7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 /><Relationship Id="rId1" Type="http://schemas.openxmlformats.org/officeDocument/2006/relationships/slideMaster" Target="../slideMasters/slideMaster7.xml" 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 /><Relationship Id="rId1" Type="http://schemas.openxmlformats.org/officeDocument/2006/relationships/slideMaster" Target="../slideMasters/slideMaster7.xml" 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 /><Relationship Id="rId1" Type="http://schemas.openxmlformats.org/officeDocument/2006/relationships/slideMaster" Target="../slideMasters/slideMaster7.xml" 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 /><Relationship Id="rId1" Type="http://schemas.openxmlformats.org/officeDocument/2006/relationships/slideMaster" Target="../slideMasters/slideMaster7.xml" 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 /><Relationship Id="rId1" Type="http://schemas.openxmlformats.org/officeDocument/2006/relationships/slideMaster" Target="../slideMasters/slideMaster7.xml" 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 /><Relationship Id="rId1" Type="http://schemas.openxmlformats.org/officeDocument/2006/relationships/slideMaster" Target="../slideMasters/slideMaster7.xml" 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 /><Relationship Id="rId1" Type="http://schemas.openxmlformats.org/officeDocument/2006/relationships/slideMaster" Target="../slideMasters/slideMaster7.xml" 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 /><Relationship Id="rId1" Type="http://schemas.openxmlformats.org/officeDocument/2006/relationships/slideMaster" Target="../slideMasters/slideMaster7.xml" 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 /><Relationship Id="rId1" Type="http://schemas.openxmlformats.org/officeDocument/2006/relationships/slideMaster" Target="../slideMasters/slideMaster7.xml" 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 /><Relationship Id="rId1" Type="http://schemas.openxmlformats.org/officeDocument/2006/relationships/slideMaster" Target="../slideMasters/slideMaster7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 /><Relationship Id="rId1" Type="http://schemas.openxmlformats.org/officeDocument/2006/relationships/slideMaster" Target="../slideMasters/slideMaster7.xml" 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 /><Relationship Id="rId1" Type="http://schemas.openxmlformats.org/officeDocument/2006/relationships/slideMaster" Target="../slideMasters/slideMaster7.xml" 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 /><Relationship Id="rId1" Type="http://schemas.openxmlformats.org/officeDocument/2006/relationships/slideMaster" Target="../slideMasters/slideMaster7.xml" 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 /><Relationship Id="rId1" Type="http://schemas.openxmlformats.org/officeDocument/2006/relationships/slideMaster" Target="../slideMasters/slideMaster7.xml" 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 /><Relationship Id="rId1" Type="http://schemas.openxmlformats.org/officeDocument/2006/relationships/slideMaster" Target="../slideMasters/slideMaster7.xml" 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 /><Relationship Id="rId1" Type="http://schemas.openxmlformats.org/officeDocument/2006/relationships/slideMaster" Target="../slideMasters/slideMaster7.xml" 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 /><Relationship Id="rId1" Type="http://schemas.openxmlformats.org/officeDocument/2006/relationships/slideMaster" Target="../slideMasters/slideMaster7.xml" 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 /><Relationship Id="rId1" Type="http://schemas.openxmlformats.org/officeDocument/2006/relationships/slideMaster" Target="../slideMasters/slideMaster7.xml" 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 /><Relationship Id="rId1" Type="http://schemas.openxmlformats.org/officeDocument/2006/relationships/slideMaster" Target="../slideMasters/slideMaster7.xml" 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 /><Relationship Id="rId1" Type="http://schemas.openxmlformats.org/officeDocument/2006/relationships/slideMaster" Target="../slideMasters/slideMaster7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 /><Relationship Id="rId1" Type="http://schemas.openxmlformats.org/officeDocument/2006/relationships/slideMaster" Target="../slideMasters/slideMaster7.xml" 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 /><Relationship Id="rId1" Type="http://schemas.openxmlformats.org/officeDocument/2006/relationships/slideMaster" Target="../slideMasters/slideMaster7.xml" 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 /><Relationship Id="rId1" Type="http://schemas.openxmlformats.org/officeDocument/2006/relationships/slideMaster" Target="../slideMasters/slideMaster7.xml" 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 /><Relationship Id="rId1" Type="http://schemas.openxmlformats.org/officeDocument/2006/relationships/slideMaster" Target="../slideMasters/slideMaster7.xml" 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 /><Relationship Id="rId1" Type="http://schemas.openxmlformats.org/officeDocument/2006/relationships/slideMaster" Target="../slideMasters/slideMaster7.xml" 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 /><Relationship Id="rId1" Type="http://schemas.openxmlformats.org/officeDocument/2006/relationships/slideMaster" Target="../slideMasters/slideMaster7.xml" 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 /><Relationship Id="rId1" Type="http://schemas.openxmlformats.org/officeDocument/2006/relationships/slideMaster" Target="../slideMasters/slideMaster7.xml" 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 /><Relationship Id="rId1" Type="http://schemas.openxmlformats.org/officeDocument/2006/relationships/slideMaster" Target="../slideMasters/slideMaster7.xml" 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 /><Relationship Id="rId1" Type="http://schemas.openxmlformats.org/officeDocument/2006/relationships/slideMaster" Target="../slideMasters/slideMaster7.xml" 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 /><Relationship Id="rId1" Type="http://schemas.openxmlformats.org/officeDocument/2006/relationships/slideMaster" Target="../slideMasters/slideMaster7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 /><Relationship Id="rId1" Type="http://schemas.openxmlformats.org/officeDocument/2006/relationships/slideMaster" Target="../slideMasters/slideMaster7.xml" 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 /><Relationship Id="rId1" Type="http://schemas.openxmlformats.org/officeDocument/2006/relationships/slideMaster" Target="../slideMasters/slideMaster7.xml" 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 /><Relationship Id="rId1" Type="http://schemas.openxmlformats.org/officeDocument/2006/relationships/slideMaster" Target="../slideMasters/slideMaster7.xml" 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 /><Relationship Id="rId1" Type="http://schemas.openxmlformats.org/officeDocument/2006/relationships/slideMaster" Target="../slideMasters/slideMaster7.xml" 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 /><Relationship Id="rId1" Type="http://schemas.openxmlformats.org/officeDocument/2006/relationships/slideMaster" Target="../slideMasters/slideMaster7.xml" 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47.jpeg" /><Relationship Id="rId1" Type="http://schemas.openxmlformats.org/officeDocument/2006/relationships/slideMaster" Target="../slideMasters/slideMaster7.xml" 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 /><Relationship Id="rId1" Type="http://schemas.openxmlformats.org/officeDocument/2006/relationships/slideMaster" Target="../slideMasters/slideMaster7.xml" 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 /><Relationship Id="rId1" Type="http://schemas.openxmlformats.org/officeDocument/2006/relationships/slideMaster" Target="../slideMasters/slideMaster7.xml" 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51.jpeg" /><Relationship Id="rId1" Type="http://schemas.openxmlformats.org/officeDocument/2006/relationships/slideMaster" Target="../slideMasters/slideMaster7.xml" 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 /><Relationship Id="rId1" Type="http://schemas.openxmlformats.org/officeDocument/2006/relationships/slideMaster" Target="../slideMasters/slideMaster7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53.jpeg" /><Relationship Id="rId1" Type="http://schemas.openxmlformats.org/officeDocument/2006/relationships/slideMaster" Target="../slideMasters/slideMaster7.xml" 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 /><Relationship Id="rId1" Type="http://schemas.openxmlformats.org/officeDocument/2006/relationships/slideMaster" Target="../slideMasters/slideMaster7.xml" 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55.jpeg" /><Relationship Id="rId1" Type="http://schemas.openxmlformats.org/officeDocument/2006/relationships/slideMaster" Target="../slideMasters/slideMaster7.xml" 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 /><Relationship Id="rId1" Type="http://schemas.openxmlformats.org/officeDocument/2006/relationships/slideMaster" Target="../slideMasters/slideMaster7.xml" 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 /><Relationship Id="rId1" Type="http://schemas.openxmlformats.org/officeDocument/2006/relationships/slideMaster" Target="../slideMasters/slideMaster7.xml" 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 /><Relationship Id="rId1" Type="http://schemas.openxmlformats.org/officeDocument/2006/relationships/slideMaster" Target="../slideMasters/slideMaster7.xml" 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 /><Relationship Id="rId1" Type="http://schemas.openxmlformats.org/officeDocument/2006/relationships/slideMaster" Target="../slideMasters/slideMaster7.xml" 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 /><Relationship Id="rId1" Type="http://schemas.openxmlformats.org/officeDocument/2006/relationships/slideMaster" Target="../slideMasters/slideMaster7.xml" 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eg" /><Relationship Id="rId1" Type="http://schemas.openxmlformats.org/officeDocument/2006/relationships/slideMaster" Target="../slideMasters/slideMaster7.xml" 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 /><Relationship Id="rId1" Type="http://schemas.openxmlformats.org/officeDocument/2006/relationships/slideMaster" Target="../slideMasters/slideMaster7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63.jpeg" /><Relationship Id="rId1" Type="http://schemas.openxmlformats.org/officeDocument/2006/relationships/slideMaster" Target="../slideMasters/slideMaster7.xml" 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 /><Relationship Id="rId1" Type="http://schemas.openxmlformats.org/officeDocument/2006/relationships/slideMaster" Target="../slideMasters/slideMaster7.xml" 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65.jpeg" /><Relationship Id="rId1" Type="http://schemas.openxmlformats.org/officeDocument/2006/relationships/slideMaster" Target="../slideMasters/slideMaster7.xml" 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66.jpeg" /><Relationship Id="rId1" Type="http://schemas.openxmlformats.org/officeDocument/2006/relationships/slideMaster" Target="../slideMasters/slideMaster7.xml" 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67.jpeg" /><Relationship Id="rId1" Type="http://schemas.openxmlformats.org/officeDocument/2006/relationships/slideMaster" Target="../slideMasters/slideMaster7.xml" 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68.jpeg" /><Relationship Id="rId1" Type="http://schemas.openxmlformats.org/officeDocument/2006/relationships/slideMaster" Target="../slideMasters/slideMaster7.xml" 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69.jpeg" /><Relationship Id="rId1" Type="http://schemas.openxmlformats.org/officeDocument/2006/relationships/slideMaster" Target="../slideMasters/slideMaster7.xml" 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70.jpeg" /><Relationship Id="rId1" Type="http://schemas.openxmlformats.org/officeDocument/2006/relationships/slideMaster" Target="../slideMasters/slideMaster7.xml" 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71.jpeg" /><Relationship Id="rId1" Type="http://schemas.openxmlformats.org/officeDocument/2006/relationships/slideMaster" Target="../slideMasters/slideMaster7.xml" 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72.jpeg" /><Relationship Id="rId1" Type="http://schemas.openxmlformats.org/officeDocument/2006/relationships/slideMaster" Target="../slideMasters/slideMaster7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 /><Relationship Id="rId1" Type="http://schemas.openxmlformats.org/officeDocument/2006/relationships/slideMaster" Target="../slideMasters/slideMaster7.xml" 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 /><Relationship Id="rId2" Type="http://schemas.openxmlformats.org/officeDocument/2006/relationships/image" Target="../media/image74.jpeg" /><Relationship Id="rId1" Type="http://schemas.openxmlformats.org/officeDocument/2006/relationships/slideMaster" Target="../slideMasters/slideMaster7.xml" 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 /><Relationship Id="rId2" Type="http://schemas.openxmlformats.org/officeDocument/2006/relationships/tags" Target="../tags/tag12.xml" /><Relationship Id="rId1" Type="http://schemas.openxmlformats.org/officeDocument/2006/relationships/vmlDrawing" Target="../drawings/vmlDrawing11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1.bin" 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 /><Relationship Id="rId2" Type="http://schemas.openxmlformats.org/officeDocument/2006/relationships/tags" Target="../tags/tag13.xml" /><Relationship Id="rId1" Type="http://schemas.openxmlformats.org/officeDocument/2006/relationships/vmlDrawing" Target="../drawings/vmlDrawing12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2.bin" 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 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 /><Relationship Id="rId2" Type="http://schemas.openxmlformats.org/officeDocument/2006/relationships/image" Target="../media/image4.png" /><Relationship Id="rId1" Type="http://schemas.openxmlformats.org/officeDocument/2006/relationships/slideMaster" Target="../slideMasters/slideMaster8.xml" /><Relationship Id="rId4" Type="http://schemas.openxmlformats.org/officeDocument/2006/relationships/image" Target="../media/image7.png" 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 /><Relationship Id="rId3" Type="http://schemas.openxmlformats.org/officeDocument/2006/relationships/slideMaster" Target="../slideMasters/slideMaster9.xml" /><Relationship Id="rId7" Type="http://schemas.openxmlformats.org/officeDocument/2006/relationships/image" Target="../media/image6.jpeg" /><Relationship Id="rId2" Type="http://schemas.openxmlformats.org/officeDocument/2006/relationships/tags" Target="../tags/tag15.xml" /><Relationship Id="rId1" Type="http://schemas.openxmlformats.org/officeDocument/2006/relationships/vmlDrawing" Target="../drawings/vmlDrawing14.vml" /><Relationship Id="rId6" Type="http://schemas.openxmlformats.org/officeDocument/2006/relationships/image" Target="../media/image4.png" /><Relationship Id="rId5" Type="http://schemas.openxmlformats.org/officeDocument/2006/relationships/image" Target="../media/image75.emf" /><Relationship Id="rId4" Type="http://schemas.openxmlformats.org/officeDocument/2006/relationships/oleObject" Target="../embeddings/oleObject14.bin" 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 /><Relationship Id="rId2" Type="http://schemas.openxmlformats.org/officeDocument/2006/relationships/tags" Target="../tags/tag16.xml" /><Relationship Id="rId1" Type="http://schemas.openxmlformats.org/officeDocument/2006/relationships/vmlDrawing" Target="../drawings/vmlDrawing15.vml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15.bin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ChangeArrowheads="1"/>
          </p:cNvSpPr>
          <p:nvPr/>
        </p:nvSpPr>
        <p:spPr bwMode="gray">
          <a:xfrm>
            <a:off x="0" y="0"/>
            <a:ext cx="12192000" cy="9144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</a:ln>
          <a:effectLst/>
        </p:spPr>
        <p:txBody>
          <a:bodyPr anchor="ctr"/>
          <a:lstStyle/>
          <a:p>
            <a:pPr eaLnBrk="0" hangingPunct="0">
              <a:defRPr/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26624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9243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 sz="32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6247" name="Rectangle 7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914400" y="2130426"/>
            <a:ext cx="10363200" cy="147002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75B93-9E10-4BAD-8DDD-7FCEEDF5E3D1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9665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E97A-5442-4046-B604-C31852B2B863}" type="datetimeFigureOut">
              <a:rPr lang="en-ZA" smtClean="0"/>
              <a:t>2022/11/0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047106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0FCB2-711B-4F8B-B1BC-BBCD2D020EDA}" type="datetimeFigureOut">
              <a:rPr lang="en-GB" smtClean="0"/>
              <a:t>09/11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114E8-B070-4E09-A797-BC354735B3D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66090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61917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335988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220733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FFFFFF"/>
              </a:solidFill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660938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87540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C17A9-1053-4EE0-8A3E-150254159B86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9AE97A-5442-4046-B604-C31852B2B863}" type="datetimeFigureOut">
              <a:rPr lang="en-ZA" smtClean="0"/>
              <a:t>2022/11/0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8C8F-0CEE-4393-9C50-C360D5843A43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24944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50FCB2-711B-4F8B-B1BC-BBCD2D020EDA}" type="datetimeFigureOut">
              <a:rPr lang="en-GB" smtClean="0"/>
              <a:t>09/11/2022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114E8-B070-4E09-A797-BC354735B3D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3216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7F5D2C6-B3F6-474D-92D8-0179C89010C2}"/>
              </a:ext>
            </a:extLst>
          </p:cNvPr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5419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EB7ECD-DC2E-4741-A193-FEED88708F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4D64290-0D9D-4EF4-B0F1-67429A2AD105}" type="datetimeFigureOut">
              <a:rPr lang="en-ZA"/>
              <a:pPr>
                <a:defRPr/>
              </a:pPr>
              <a:t>2022/11/09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4E391F-31A9-415E-9A93-0832BCC3C9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35DF4-B95E-4154-B6C4-087DF0426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0FF87910-E5A0-4B35-8CA8-C7A48BDF1511}" type="slidenum">
              <a:rPr lang="en-ZA" altLang="en-US"/>
              <a:pPr>
                <a:defRPr/>
              </a:pPr>
              <a:t>‹#›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38075293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 Red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C06E150-9016-4B87-B810-12894AFF4C16}"/>
              </a:ext>
            </a:extLst>
          </p:cNvPr>
          <p:cNvSpPr/>
          <p:nvPr/>
        </p:nvSpPr>
        <p:spPr>
          <a:xfrm>
            <a:off x="0" y="1"/>
            <a:ext cx="12192000" cy="822325"/>
          </a:xfrm>
          <a:prstGeom prst="rect">
            <a:avLst/>
          </a:prstGeom>
          <a:solidFill>
            <a:srgbClr val="575F6D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>
              <a:defRPr/>
            </a:pPr>
            <a:endParaRPr lang="en-US" sz="1400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8C0F407-DD28-4FF6-B667-F4F8FB745DF7}"/>
              </a:ext>
            </a:extLst>
          </p:cNvPr>
          <p:cNvSpPr txBox="1">
            <a:spLocks/>
          </p:cNvSpPr>
          <p:nvPr/>
        </p:nvSpPr>
        <p:spPr>
          <a:xfrm>
            <a:off x="11421534" y="6399214"/>
            <a:ext cx="588433" cy="365125"/>
          </a:xfrm>
          <a:prstGeom prst="rect">
            <a:avLst/>
          </a:prstGeom>
        </p:spPr>
        <p:txBody>
          <a:bodyPr lIns="68574" tIns="34288" rIns="68574" bIns="34288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A9DF4CB1-50D6-494A-9880-C9293FB5EDD3}" type="slidenum">
              <a:rPr lang="en-US" altLang="en-US" sz="700" smtClean="0">
                <a:solidFill>
                  <a:srgbClr val="4A452A"/>
                </a:solidFill>
                <a:latin typeface="Calibri" panose="020F0502020204030204" pitchFamily="34" charset="0"/>
              </a:rPr>
              <a:pPr algn="r" eaLnBrk="1" hangingPunct="1">
                <a:defRPr/>
              </a:pPr>
              <a:t>‹#›</a:t>
            </a:fld>
            <a:endParaRPr lang="en-US" altLang="en-US" sz="700">
              <a:solidFill>
                <a:srgbClr val="4A452A"/>
              </a:solidFill>
              <a:latin typeface="Calibri" panose="020F0502020204030204" pitchFamily="34" charset="0"/>
            </a:endParaRPr>
          </a:p>
        </p:txBody>
      </p:sp>
      <p:pic>
        <p:nvPicPr>
          <p:cNvPr id="5" name="Picture 9">
            <a:extLst>
              <a:ext uri="{FF2B5EF4-FFF2-40B4-BE49-F238E27FC236}">
                <a16:creationId xmlns:a16="http://schemas.microsoft.com/office/drawing/2014/main" id="{7B84C4CA-A0EA-45B1-94EE-9FF3C17068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4" y="6026151"/>
            <a:ext cx="865717" cy="671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30025" y="203821"/>
            <a:ext cx="11690844" cy="49244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37674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 descr="Phila.jpg">
            <a:extLst>
              <a:ext uri="{FF2B5EF4-FFF2-40B4-BE49-F238E27FC236}">
                <a16:creationId xmlns:a16="http://schemas.microsoft.com/office/drawing/2014/main" id="{04C59989-F8E2-448D-8F02-59A4226CCB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9418" y="5732464"/>
            <a:ext cx="1500716" cy="112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5127B70-5BF0-43BB-85C8-0A2057119626}"/>
              </a:ext>
            </a:extLst>
          </p:cNvPr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/>
          </a:p>
        </p:txBody>
      </p:sp>
      <p:pic>
        <p:nvPicPr>
          <p:cNvPr id="4" name="Picture 11">
            <a:extLst>
              <a:ext uri="{FF2B5EF4-FFF2-40B4-BE49-F238E27FC236}">
                <a16:creationId xmlns:a16="http://schemas.microsoft.com/office/drawing/2014/main" id="{A9C16A72-7E62-4A8C-B2B5-55A604A0BE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304800" y="1219200"/>
            <a:ext cx="2032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>
            <a:extLst>
              <a:ext uri="{FF2B5EF4-FFF2-40B4-BE49-F238E27FC236}">
                <a16:creationId xmlns:a16="http://schemas.microsoft.com/office/drawing/2014/main" id="{7CE4CE26-38B2-44A5-91A2-34D99C6920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304800" y="2743200"/>
            <a:ext cx="2032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>
            <a:extLst>
              <a:ext uri="{FF2B5EF4-FFF2-40B4-BE49-F238E27FC236}">
                <a16:creationId xmlns:a16="http://schemas.microsoft.com/office/drawing/2014/main" id="{C99266F1-17F5-45B7-B4FB-9EF680C3FA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304801" y="4267200"/>
            <a:ext cx="2089151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C0F5CDF-E18F-4248-A3D3-4B87453FE0BD}"/>
              </a:ext>
            </a:extLst>
          </p:cNvPr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46A58AC-752C-41FB-8461-FE7F114F6971}"/>
              </a:ext>
            </a:extLst>
          </p:cNvPr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NDOH Logo.jpg">
            <a:extLst>
              <a:ext uri="{FF2B5EF4-FFF2-40B4-BE49-F238E27FC236}">
                <a16:creationId xmlns:a16="http://schemas.microsoft.com/office/drawing/2014/main" id="{D882EC38-1FDB-44DD-A418-B3EF9A55B8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5891213"/>
            <a:ext cx="3048000" cy="82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8B1FA1A-2B12-47DB-B3C4-9230ABA1CA23}"/>
              </a:ext>
            </a:extLst>
          </p:cNvPr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6" descr="Logo - NDP - Full colour.jpg">
            <a:extLst>
              <a:ext uri="{FF2B5EF4-FFF2-40B4-BE49-F238E27FC236}">
                <a16:creationId xmlns:a16="http://schemas.microsoft.com/office/drawing/2014/main" id="{918278FC-317F-4E04-8FC8-5FC32DCAD03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11710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直角三角形 4">
            <a:extLst>
              <a:ext uri="{FF2B5EF4-FFF2-40B4-BE49-F238E27FC236}">
                <a16:creationId xmlns:a16="http://schemas.microsoft.com/office/drawing/2014/main" id="{D0952060-7B41-42F7-A56F-2E56F336792E}"/>
              </a:ext>
            </a:extLst>
          </p:cNvPr>
          <p:cNvSpPr/>
          <p:nvPr userDrawn="1"/>
        </p:nvSpPr>
        <p:spPr>
          <a:xfrm rot="10800000">
            <a:off x="10949517" y="-1588"/>
            <a:ext cx="1242483" cy="1566863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  <a:alpha val="44000"/>
                  <a:lumMod val="93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7200000" scaled="0"/>
          </a:gradFill>
          <a:ln w="762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4" tIns="22862" rIns="45724" bIns="22862" anchor="ctr"/>
          <a:lstStyle/>
          <a:p>
            <a:pPr algn="ctr">
              <a:defRPr/>
            </a:pPr>
            <a:endParaRPr kumimoji="1" lang="ja-JP" altLang="en-US" sz="1600"/>
          </a:p>
        </p:txBody>
      </p:sp>
      <p:sp>
        <p:nvSpPr>
          <p:cNvPr id="7" name="直角三角形 6">
            <a:extLst>
              <a:ext uri="{FF2B5EF4-FFF2-40B4-BE49-F238E27FC236}">
                <a16:creationId xmlns:a16="http://schemas.microsoft.com/office/drawing/2014/main" id="{B6DE4B6C-2C21-4DB3-9D92-EAA516E5434F}"/>
              </a:ext>
            </a:extLst>
          </p:cNvPr>
          <p:cNvSpPr/>
          <p:nvPr userDrawn="1"/>
        </p:nvSpPr>
        <p:spPr>
          <a:xfrm rot="10800000">
            <a:off x="9476318" y="-1588"/>
            <a:ext cx="2730500" cy="1300163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  <a:alpha val="44000"/>
                  <a:lumMod val="93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7200000" scaled="0"/>
            <a:tileRect/>
          </a:gradFill>
          <a:ln w="762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4" tIns="22862" rIns="45724" bIns="22862" anchor="ctr"/>
          <a:lstStyle/>
          <a:p>
            <a:pPr algn="ctr">
              <a:defRPr/>
            </a:pPr>
            <a:endParaRPr kumimoji="1" lang="ja-JP" altLang="en-US" sz="1600"/>
          </a:p>
        </p:txBody>
      </p:sp>
      <p:sp>
        <p:nvSpPr>
          <p:cNvPr id="9" name="直角三角形 9">
            <a:extLst>
              <a:ext uri="{FF2B5EF4-FFF2-40B4-BE49-F238E27FC236}">
                <a16:creationId xmlns:a16="http://schemas.microsoft.com/office/drawing/2014/main" id="{CF23870C-D8D2-44FA-95F9-3A03954D07A2}"/>
              </a:ext>
            </a:extLst>
          </p:cNvPr>
          <p:cNvSpPr/>
          <p:nvPr userDrawn="1"/>
        </p:nvSpPr>
        <p:spPr>
          <a:xfrm>
            <a:off x="-8466" y="5287963"/>
            <a:ext cx="1242484" cy="1566862"/>
          </a:xfrm>
          <a:prstGeom prst="rtTriangle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  <a:alpha val="44000"/>
                  <a:lumMod val="93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7200000" scaled="0"/>
          </a:gradFill>
          <a:ln w="762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4" tIns="22862" rIns="45724" bIns="22862" anchor="ctr"/>
          <a:lstStyle/>
          <a:p>
            <a:pPr algn="ctr">
              <a:defRPr/>
            </a:pPr>
            <a:endParaRPr kumimoji="1" lang="ja-JP" altLang="en-US" sz="1600"/>
          </a:p>
        </p:txBody>
      </p:sp>
      <p:sp>
        <p:nvSpPr>
          <p:cNvPr id="10" name="直角三角形 10">
            <a:extLst>
              <a:ext uri="{FF2B5EF4-FFF2-40B4-BE49-F238E27FC236}">
                <a16:creationId xmlns:a16="http://schemas.microsoft.com/office/drawing/2014/main" id="{A75EEFC3-A69F-42FD-803E-63EE7E698018}"/>
              </a:ext>
            </a:extLst>
          </p:cNvPr>
          <p:cNvSpPr/>
          <p:nvPr userDrawn="1"/>
        </p:nvSpPr>
        <p:spPr>
          <a:xfrm>
            <a:off x="-8466" y="5556251"/>
            <a:ext cx="2730500" cy="1298575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  <a:alpha val="44000"/>
                  <a:lumMod val="93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7200000" scaled="0"/>
            <a:tileRect/>
          </a:gradFill>
          <a:ln w="76200" cmpd="sng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4" tIns="22862" rIns="45724" bIns="22862" anchor="ctr"/>
          <a:lstStyle/>
          <a:p>
            <a:pPr algn="ctr">
              <a:defRPr/>
            </a:pPr>
            <a:endParaRPr kumimoji="1" lang="ja-JP" altLang="en-US" sz="1600"/>
          </a:p>
        </p:txBody>
      </p:sp>
      <p:sp>
        <p:nvSpPr>
          <p:cNvPr id="3" name="テキスト プレースホルダー 11"/>
          <p:cNvSpPr>
            <a:spLocks noGrp="1"/>
          </p:cNvSpPr>
          <p:nvPr>
            <p:ph type="body" sz="quarter" idx="15"/>
          </p:nvPr>
        </p:nvSpPr>
        <p:spPr>
          <a:xfrm>
            <a:off x="1445080" y="2258869"/>
            <a:ext cx="9271835" cy="1110124"/>
          </a:xfrm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4800" spc="75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ja-JP"/>
              <a:t>Edit Master text styles</a:t>
            </a:r>
          </a:p>
        </p:txBody>
      </p:sp>
      <p:sp>
        <p:nvSpPr>
          <p:cNvPr id="6" name="テキスト プレースホルダー 11"/>
          <p:cNvSpPr>
            <a:spLocks noGrp="1"/>
          </p:cNvSpPr>
          <p:nvPr>
            <p:ph type="body" sz="quarter" idx="16"/>
          </p:nvPr>
        </p:nvSpPr>
        <p:spPr>
          <a:xfrm>
            <a:off x="1459555" y="3399001"/>
            <a:ext cx="9271835" cy="1290143"/>
          </a:xfrm>
        </p:spPr>
        <p:txBody>
          <a:bodyPr anchor="t">
            <a:noAutofit/>
          </a:bodyPr>
          <a:lstStyle>
            <a:lvl1pPr algn="ctr">
              <a:lnSpc>
                <a:spcPct val="90000"/>
              </a:lnSpc>
              <a:spcBef>
                <a:spcPts val="0"/>
              </a:spcBef>
              <a:defRPr sz="1600" spc="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ja-JP"/>
              <a:t>Edit Master text styles</a:t>
            </a:r>
          </a:p>
        </p:txBody>
      </p:sp>
      <p:sp>
        <p:nvSpPr>
          <p:cNvPr id="8" name="テキスト プレースホルダー 11"/>
          <p:cNvSpPr>
            <a:spLocks noGrp="1"/>
          </p:cNvSpPr>
          <p:nvPr>
            <p:ph type="body" sz="quarter" idx="23"/>
          </p:nvPr>
        </p:nvSpPr>
        <p:spPr>
          <a:xfrm>
            <a:off x="2570303" y="4509124"/>
            <a:ext cx="7051395" cy="2115235"/>
          </a:xfrm>
        </p:spPr>
        <p:txBody>
          <a:bodyPr anchor="b">
            <a:noAutofit/>
          </a:bodyPr>
          <a:lstStyle>
            <a:lvl1pPr algn="ctr">
              <a:lnSpc>
                <a:spcPct val="120000"/>
              </a:lnSpc>
              <a:spcBef>
                <a:spcPts val="600"/>
              </a:spcBef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altLang="ja-JP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21925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9" grpId="0" animBg="1"/>
      <p:bldP spid="10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0169D-F66E-4601-A6E8-D77E63946367}" type="datetimeFigureOut">
              <a:rPr lang="en-US" smtClean="0"/>
              <a:t>11/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618F9-7172-4B36-8DFE-76CAC247C7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2585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22997B-8AF9-4559-BEFD-038936898557}" type="datetime1">
              <a:rPr lang="en-ZA" smtClean="0"/>
              <a:t>2022/11/0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960813-4A14-4F2E-8AA0-895FB1881A3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33833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>
            <a:extLst>
              <a:ext uri="{FF2B5EF4-FFF2-40B4-BE49-F238E27FC236}">
                <a16:creationId xmlns:a16="http://schemas.microsoft.com/office/drawing/2014/main" id="{C99D1606-F976-465D-A764-14F908A36F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1BC881E-A480-4A47-BDF1-C2CD27E883C0}"/>
              </a:ext>
            </a:extLst>
          </p:cNvPr>
          <p:cNvCxnSpPr/>
          <p:nvPr userDrawn="1"/>
        </p:nvCxnSpPr>
        <p:spPr>
          <a:xfrm>
            <a:off x="1117601" y="3376613"/>
            <a:ext cx="942975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16890" y="2341563"/>
            <a:ext cx="10125268" cy="1325563"/>
          </a:xfrm>
          <a:prstGeom prst="rect">
            <a:avLst/>
          </a:prstGeom>
          <a:effectLst>
            <a:outerShdw blurRad="50800" dist="50800" dir="5400000" algn="ctr" rotWithShape="0">
              <a:schemeClr val="tx1">
                <a:alpha val="40000"/>
              </a:schemeClr>
            </a:outerShdw>
          </a:effectLst>
        </p:spPr>
        <p:txBody>
          <a:bodyPr vert="horz" lIns="91440" tIns="45720" rIns="91440" bIns="45720" rtlCol="0" anchor="ctr">
            <a:normAutofit/>
          </a:bodyPr>
          <a:lstStyle>
            <a:lvl1pPr>
              <a:defRPr sz="4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1109133" y="3667126"/>
            <a:ext cx="10133024" cy="1500187"/>
          </a:xfrm>
          <a:prstGeom prst="rect">
            <a:avLst/>
          </a:prstGeom>
          <a:effectLst>
            <a:outerShdw blurRad="50800" dist="50800" dir="5400000" algn="ctr" rotWithShape="0">
              <a:schemeClr val="tx1">
                <a:alpha val="40000"/>
              </a:schemeClr>
            </a:outerShdw>
          </a:effectLst>
        </p:spPr>
        <p:txBody>
          <a:bodyPr/>
          <a:lstStyle>
            <a:lvl1pPr marL="0" indent="0">
              <a:buNone/>
              <a:defRPr sz="3600" b="0" i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13751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614540-2354-4F8A-833F-FB027B8B0B55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Slide_with 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9302D63-F539-4B04-858D-39E8F09B31C0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581E7FF-FB83-4857-9790-70BF52B03B83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928425" cy="60685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1540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8116" y="1584000"/>
            <a:ext cx="10928425" cy="402031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39896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22997A6-57BB-48E7-B648-20C0446C1D05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51AD8F4-8C96-4F95-81DA-F3930D72ABE6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928425" cy="60685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1540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618116" y="1584000"/>
            <a:ext cx="10928425" cy="402031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16261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photo_with 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26AF81C-4B50-4B64-ACE4-FAF72ED6BF54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251D126-AD9D-4E6B-9994-37CFFFCC3ECE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363200" cy="60685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1540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1"/>
          <p:cNvSpPr>
            <a:spLocks noGrp="1"/>
          </p:cNvSpPr>
          <p:nvPr>
            <p:ph type="pic" sz="quarter" idx="12"/>
          </p:nvPr>
        </p:nvSpPr>
        <p:spPr>
          <a:xfrm>
            <a:off x="849855" y="1725449"/>
            <a:ext cx="5130708" cy="3848031"/>
          </a:xfrm>
          <a:prstGeom prst="ellipse">
            <a:avLst/>
          </a:prstGeom>
        </p:spPr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337369" y="1584000"/>
            <a:ext cx="5215057" cy="402031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02355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phot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4239250-CC6C-422B-86CC-AFBE8F7D6D48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225C2E9E-FC68-4DB1-AB5E-6B3205073B84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363200" cy="60685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1540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1"/>
          <p:cNvSpPr>
            <a:spLocks noGrp="1"/>
          </p:cNvSpPr>
          <p:nvPr>
            <p:ph type="pic" sz="quarter" idx="12"/>
          </p:nvPr>
        </p:nvSpPr>
        <p:spPr>
          <a:xfrm>
            <a:off x="849855" y="1725449"/>
            <a:ext cx="5130708" cy="3848031"/>
          </a:xfrm>
          <a:prstGeom prst="ellipse">
            <a:avLst/>
          </a:prstGeom>
        </p:spPr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337369" y="1584000"/>
            <a:ext cx="5215057" cy="402031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41565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Outline_with 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0">
            <a:extLst>
              <a:ext uri="{FF2B5EF4-FFF2-40B4-BE49-F238E27FC236}">
                <a16:creationId xmlns:a16="http://schemas.microsoft.com/office/drawing/2014/main" id="{943529BC-8C0D-45F1-A355-83CF9E3EE086}"/>
              </a:ext>
            </a:extLst>
          </p:cNvPr>
          <p:cNvSpPr txBox="1">
            <a:spLocks/>
          </p:cNvSpPr>
          <p:nvPr userDrawn="1"/>
        </p:nvSpPr>
        <p:spPr>
          <a:xfrm>
            <a:off x="618068" y="361950"/>
            <a:ext cx="8015817" cy="647700"/>
          </a:xfrm>
          <a:prstGeom prst="rect">
            <a:avLst/>
          </a:prstGeom>
        </p:spPr>
        <p:txBody>
          <a:bodyPr tIns="36000" bIns="54000"/>
          <a:lstStyle>
            <a:lvl1pPr algn="l" defTabSz="457200" rtl="0" eaLnBrk="1" latinLnBrk="0" hangingPunct="1">
              <a:spcBef>
                <a:spcPct val="0"/>
              </a:spcBef>
              <a:buNone/>
              <a:defRPr sz="3400" b="0" i="0" kern="1200">
                <a:solidFill>
                  <a:srgbClr val="15406B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en-US" sz="3200" b="1" dirty="0"/>
              <a:t>Presentation Outline</a:t>
            </a:r>
            <a:endParaRPr lang="en-US" sz="1200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D505F2A-57E5-4CDD-A0BB-9B2EBBC49C40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24255D4-9517-492D-A70B-28E64CA4B6E7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24001" y="1584000"/>
            <a:ext cx="10928425" cy="4020317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Pct val="120000"/>
              <a:buFont typeface="Arial" charset="0"/>
              <a:buChar char="•"/>
              <a:tabLst/>
              <a:defRPr sz="2400" b="0">
                <a:solidFill>
                  <a:srgbClr val="15406B"/>
                </a:solidFill>
                <a:latin typeface="Arial"/>
                <a:cs typeface="Arial"/>
              </a:defRPr>
            </a:lvl1pPr>
            <a:lvl2pPr marL="358775" indent="0">
              <a:spcBef>
                <a:spcPts val="0"/>
              </a:spcBef>
              <a:spcAft>
                <a:spcPts val="600"/>
              </a:spcAft>
              <a:buFont typeface="Arial" charset="0"/>
              <a:buNone/>
              <a:tabLst/>
              <a:defRPr sz="2400">
                <a:solidFill>
                  <a:srgbClr val="15406B"/>
                </a:solidFill>
                <a:latin typeface="Arial"/>
                <a:cs typeface="Arial"/>
              </a:defRPr>
            </a:lvl2pPr>
            <a:lvl3pPr marL="893763" indent="-268288">
              <a:buSzPct val="75000"/>
              <a:buFont typeface="Wingdings" charset="2"/>
              <a:buChar char="§"/>
              <a:tabLst/>
              <a:defRPr sz="2400" i="1">
                <a:solidFill>
                  <a:srgbClr val="15406B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2589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Outlin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E48C8EF-6DB1-460F-820E-5942FA222D78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38699C5-206A-4728-A34D-C3D44FEC511F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928425" cy="606851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rgbClr val="15406B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24001" y="1584000"/>
            <a:ext cx="10928425" cy="4020317"/>
          </a:xfrm>
          <a:prstGeom prst="rect">
            <a:avLst/>
          </a:prstGeom>
        </p:spPr>
        <p:txBody>
          <a:bodyPr/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Pct val="120000"/>
              <a:buFont typeface="Arial" charset="0"/>
              <a:buChar char="•"/>
              <a:tabLst/>
              <a:defRPr sz="2400" b="0">
                <a:solidFill>
                  <a:srgbClr val="15406B"/>
                </a:solidFill>
                <a:latin typeface="Arial"/>
                <a:cs typeface="Arial"/>
              </a:defRPr>
            </a:lvl1pPr>
            <a:lvl2pPr marL="358775" indent="0">
              <a:spcBef>
                <a:spcPts val="0"/>
              </a:spcBef>
              <a:spcAft>
                <a:spcPts val="600"/>
              </a:spcAft>
              <a:buFont typeface="Arial" charset="0"/>
              <a:buNone/>
              <a:tabLst/>
              <a:defRPr sz="2400">
                <a:solidFill>
                  <a:srgbClr val="15406B"/>
                </a:solidFill>
                <a:latin typeface="Arial"/>
                <a:cs typeface="Arial"/>
              </a:defRPr>
            </a:lvl2pPr>
            <a:lvl3pPr marL="893763" indent="-268288">
              <a:buSzPct val="75000"/>
              <a:buFont typeface="Wingdings" charset="2"/>
              <a:buChar char="§"/>
              <a:tabLst/>
              <a:defRPr sz="2400" i="1">
                <a:solidFill>
                  <a:srgbClr val="15406B"/>
                </a:solidFill>
                <a:latin typeface="Arial"/>
                <a:cs typeface="Arial"/>
              </a:defRPr>
            </a:lvl3pPr>
            <a:lvl4pPr>
              <a:defRPr sz="1400">
                <a:solidFill>
                  <a:srgbClr val="FFFFFF"/>
                </a:solidFill>
                <a:latin typeface="Arial"/>
                <a:cs typeface="Arial"/>
              </a:defRPr>
            </a:lvl4pPr>
            <a:lvl5pPr>
              <a:defRPr sz="1200">
                <a:solidFill>
                  <a:srgbClr val="FFFFF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5124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_white background_with 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7662DF3-5A56-4D0A-9572-0507A36C1EE1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D1FB9D5-8F1D-4170-A2E0-E60AAA8C9D59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928425" cy="60685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1540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618116" y="1584000"/>
            <a:ext cx="10928425" cy="402031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49431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_white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50AC770-857D-490C-A24D-ED75D8D327E3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D5C483F-2032-43B9-B372-62CCE09FBBFE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18116" y="511749"/>
            <a:ext cx="10928425" cy="606851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15406B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618116" y="1584000"/>
            <a:ext cx="10928425" cy="4020317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15406B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4144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photo_gold background_with logo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257F4A5-5EE7-44B5-8C39-3861D894FA4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91717" y="1281113"/>
            <a:ext cx="449162" cy="104644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6200">
                <a:solidFill>
                  <a:srgbClr val="9D8356"/>
                </a:solidFill>
              </a:rPr>
              <a:t>“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A9FEB4F-FEAD-49FB-948A-3E7A31F3472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928351" y="4668838"/>
            <a:ext cx="449162" cy="104644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6200">
                <a:solidFill>
                  <a:srgbClr val="9D8356"/>
                </a:solidFill>
              </a:rPr>
              <a:t>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8A9215-DE3C-4AA1-B7CE-1F7644E06CAD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4EAABD6E-8468-4DB7-8C3A-B8F81430EBD9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2"/>
          </p:nvPr>
        </p:nvSpPr>
        <p:spPr>
          <a:xfrm>
            <a:off x="849855" y="1725449"/>
            <a:ext cx="5130708" cy="3848031"/>
          </a:xfrm>
          <a:prstGeom prst="ellipse">
            <a:avLst/>
          </a:prstGeom>
        </p:spPr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6373905" y="1756657"/>
            <a:ext cx="4952379" cy="381682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800" b="0" i="1">
                <a:solidFill>
                  <a:srgbClr val="9D835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8660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photo_gold background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6E52DC1-644B-4EBD-B722-C515E08B195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691717" y="1281113"/>
            <a:ext cx="449162" cy="104644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6200">
                <a:solidFill>
                  <a:srgbClr val="9D8356"/>
                </a:solidFill>
              </a:rPr>
              <a:t>“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018509-62A3-4A60-9BFF-F6D78CD702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928351" y="4668838"/>
            <a:ext cx="449162" cy="104644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6200">
                <a:solidFill>
                  <a:srgbClr val="9D8356"/>
                </a:solidFill>
              </a:rPr>
              <a:t>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9191D2-E5E9-47F4-8340-027FE46A956E}"/>
              </a:ext>
            </a:extLst>
          </p:cNvPr>
          <p:cNvSpPr txBox="1">
            <a:spLocks/>
          </p:cNvSpPr>
          <p:nvPr userDrawn="1"/>
        </p:nvSpPr>
        <p:spPr>
          <a:xfrm>
            <a:off x="624417" y="6351589"/>
            <a:ext cx="28448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3DC24C77-2F42-47DF-BA3C-CADB50021896}" type="slidenum">
              <a:rPr lang="en-US" sz="900" smtClean="0">
                <a:solidFill>
                  <a:srgbClr val="15406B"/>
                </a:solidFill>
                <a:latin typeface="Arial"/>
                <a:cs typeface="Arial"/>
              </a:rPr>
              <a:pPr>
                <a:defRPr/>
              </a:pPr>
              <a:t>‹#›</a:t>
            </a:fld>
            <a:r>
              <a:rPr lang="en-US" sz="900" dirty="0">
                <a:solidFill>
                  <a:srgbClr val="15406B"/>
                </a:solidFill>
                <a:latin typeface="Arial"/>
                <a:cs typeface="Arial"/>
              </a:rPr>
              <a:t>  |   Month/Year </a:t>
            </a:r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2"/>
          </p:nvPr>
        </p:nvSpPr>
        <p:spPr>
          <a:xfrm>
            <a:off x="849855" y="1725449"/>
            <a:ext cx="5130708" cy="3848031"/>
          </a:xfrm>
          <a:prstGeom prst="ellipse">
            <a:avLst/>
          </a:prstGeom>
        </p:spPr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6373905" y="1756657"/>
            <a:ext cx="4952379" cy="381682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800" b="0" i="1">
                <a:solidFill>
                  <a:srgbClr val="9D835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72283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181101"/>
            <a:ext cx="5384800" cy="4945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181101"/>
            <a:ext cx="5384800" cy="49450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488AE2-2149-41B9-BDAB-86D1134409E9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5334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2627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0459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3283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092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9276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6711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B6AA664-BF47-49D2-9745-D77364EEE5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32933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E61D8D47-1251-41F0-BF13-031B1D0394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5633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19658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424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36C8BC-220E-4058-B98F-BAF889EFF269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2266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77110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1356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7047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2103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2631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11839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4414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36542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525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1277600" y="6553200"/>
            <a:ext cx="9144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F054A-1A36-443C-BE9A-7E62A227BE5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5559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87322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6670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7493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394358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E6487773-A087-4A9F-8E22-71B2E450C76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4">
            <a:extLst>
              <a:ext uri="{FF2B5EF4-FFF2-40B4-BE49-F238E27FC236}">
                <a16:creationId xmlns:a16="http://schemas.microsoft.com/office/drawing/2014/main" id="{CCDEF461-7922-49B1-8EAB-67BBB141E406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5">
            <a:extLst>
              <a:ext uri="{FF2B5EF4-FFF2-40B4-BE49-F238E27FC236}">
                <a16:creationId xmlns:a16="http://schemas.microsoft.com/office/drawing/2014/main" id="{5CF42DC1-9B9B-45D5-A8A0-163912ECE723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1EBBEF01-AB02-431B-9533-96CDF099011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389467" y="2077721"/>
            <a:ext cx="6214533" cy="955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4217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2523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2864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61C3A049-C3B5-4AF2-8051-D5AB5C4A59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4">
            <a:extLst>
              <a:ext uri="{FF2B5EF4-FFF2-40B4-BE49-F238E27FC236}">
                <a16:creationId xmlns:a16="http://schemas.microsoft.com/office/drawing/2014/main" id="{BED9D715-937A-496F-9A73-1D73C8CAEAD3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5">
            <a:extLst>
              <a:ext uri="{FF2B5EF4-FFF2-40B4-BE49-F238E27FC236}">
                <a16:creationId xmlns:a16="http://schemas.microsoft.com/office/drawing/2014/main" id="{E42B0C0B-6B04-4994-A9D4-277F3AD17352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AE3DCAB5-0239-486D-A704-E100555A6AA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389467" y="2077721"/>
            <a:ext cx="6214533" cy="955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81053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24470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312024-91F9-4B5C-A5CC-E66C8DAEC0A7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90D0852A-D8E8-4B50-8B0F-4B36E5A4E6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4">
            <a:extLst>
              <a:ext uri="{FF2B5EF4-FFF2-40B4-BE49-F238E27FC236}">
                <a16:creationId xmlns:a16="http://schemas.microsoft.com/office/drawing/2014/main" id="{95CABFBB-7EA5-46A9-BBD7-8BECB8D0C54F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5">
            <a:extLst>
              <a:ext uri="{FF2B5EF4-FFF2-40B4-BE49-F238E27FC236}">
                <a16:creationId xmlns:a16="http://schemas.microsoft.com/office/drawing/2014/main" id="{8B146F67-37E6-4A14-B60E-6729043E7CB8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FF0643D-2CC0-49E9-92CE-A6B643A5E7E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389467" y="2077721"/>
            <a:ext cx="6214533" cy="955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161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95941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5282B5B2-144D-4F54-AC26-BA57823815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4">
            <a:extLst>
              <a:ext uri="{FF2B5EF4-FFF2-40B4-BE49-F238E27FC236}">
                <a16:creationId xmlns:a16="http://schemas.microsoft.com/office/drawing/2014/main" id="{3FAB6149-F849-4BE3-A359-CCC89CAE1916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5">
            <a:extLst>
              <a:ext uri="{FF2B5EF4-FFF2-40B4-BE49-F238E27FC236}">
                <a16:creationId xmlns:a16="http://schemas.microsoft.com/office/drawing/2014/main" id="{49A1AD29-E3A8-41A9-B140-2FF3FE7C7C29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B676E01B-6917-43CA-A2C6-026DC8F6F06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8" name="Title 5"/>
          <p:cNvSpPr>
            <a:spLocks noGrp="1"/>
          </p:cNvSpPr>
          <p:nvPr>
            <p:ph type="title"/>
          </p:nvPr>
        </p:nvSpPr>
        <p:spPr>
          <a:xfrm>
            <a:off x="739740" y="2951481"/>
            <a:ext cx="6214533" cy="95503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363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8458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263121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33918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8340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12233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31379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16586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3B84D-7167-43A9-893A-83C8B692CB41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44739362-686A-40C2-A5C4-15DC340EAF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700"/>
            <a:ext cx="12192000" cy="683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reeform 9">
            <a:extLst>
              <a:ext uri="{FF2B5EF4-FFF2-40B4-BE49-F238E27FC236}">
                <a16:creationId xmlns:a16="http://schemas.microsoft.com/office/drawing/2014/main" id="{96779152-9392-4149-85F4-D7F21BD35950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10">
            <a:extLst>
              <a:ext uri="{FF2B5EF4-FFF2-40B4-BE49-F238E27FC236}">
                <a16:creationId xmlns:a16="http://schemas.microsoft.com/office/drawing/2014/main" id="{42AA0FF4-2326-474E-B943-2E57731F9EB4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9B2E86AF-788B-4934-8CF7-772A87CF91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3" name="Title 5"/>
          <p:cNvSpPr>
            <a:spLocks noGrp="1"/>
          </p:cNvSpPr>
          <p:nvPr>
            <p:ph type="title"/>
          </p:nvPr>
        </p:nvSpPr>
        <p:spPr>
          <a:xfrm>
            <a:off x="389467" y="2077721"/>
            <a:ext cx="6214533" cy="955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106493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Divider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A30C5A2-D58B-4FED-96C4-F2D3C0EC07B7}"/>
              </a:ext>
            </a:extLst>
          </p:cNvPr>
          <p:cNvSpPr txBox="1">
            <a:spLocks/>
          </p:cNvSpPr>
          <p:nvPr userDrawn="1"/>
        </p:nvSpPr>
        <p:spPr>
          <a:xfrm>
            <a:off x="903818" y="2933701"/>
            <a:ext cx="5607049" cy="169386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400" b="0" i="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>
              <a:defRPr/>
            </a:pPr>
            <a:endParaRPr lang="en-US" sz="3400" dirty="0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601586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8C40F314-BF1C-40AD-8030-67BBE86E2D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7F13B2E6-5A16-4CBF-8507-448954094CA3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8">
            <a:extLst>
              <a:ext uri="{FF2B5EF4-FFF2-40B4-BE49-F238E27FC236}">
                <a16:creationId xmlns:a16="http://schemas.microsoft.com/office/drawing/2014/main" id="{AEC7D9A5-C250-4139-8354-A6244CA69DE0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04AA3301-3311-48E2-A45D-C992A5E8442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2092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D134828E-217F-49DB-ADC5-9CD49987262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72A5A9DA-9564-48D1-85B0-8A18A9D13B3C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10">
            <a:extLst>
              <a:ext uri="{FF2B5EF4-FFF2-40B4-BE49-F238E27FC236}">
                <a16:creationId xmlns:a16="http://schemas.microsoft.com/office/drawing/2014/main" id="{7245E123-E0E7-42D4-8763-45FB56648C0B}"/>
              </a:ext>
            </a:extLst>
          </p:cNvPr>
          <p:cNvSpPr/>
          <p:nvPr userDrawn="1"/>
        </p:nvSpPr>
        <p:spPr>
          <a:xfrm rot="10800000">
            <a:off x="-372533" y="635000"/>
            <a:ext cx="7687733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F070BC4C-C392-4D1E-B2CA-1F2A268E7F7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83744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A72630F8-670A-41A4-AE8E-FC7B393BF3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07FB5898-9D48-44CE-8977-61919EA69458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8">
            <a:extLst>
              <a:ext uri="{FF2B5EF4-FFF2-40B4-BE49-F238E27FC236}">
                <a16:creationId xmlns:a16="http://schemas.microsoft.com/office/drawing/2014/main" id="{FD001B6D-AFCE-463F-A398-4B8877E33123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FAEDDFD2-1B03-414C-8A4D-9B40BBED5B0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9388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09B13C7B-EBCE-4137-9675-962C1A29204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03317482-D0C3-4FDF-934A-4FE6ED00AB32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8">
            <a:extLst>
              <a:ext uri="{FF2B5EF4-FFF2-40B4-BE49-F238E27FC236}">
                <a16:creationId xmlns:a16="http://schemas.microsoft.com/office/drawing/2014/main" id="{85F3AC71-3B52-4B2F-BAEC-61534E2CFA0D}"/>
              </a:ext>
            </a:extLst>
          </p:cNvPr>
          <p:cNvSpPr/>
          <p:nvPr userDrawn="1"/>
        </p:nvSpPr>
        <p:spPr>
          <a:xfrm rot="10800000">
            <a:off x="-372533" y="635000"/>
            <a:ext cx="7687733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63FE6BC6-08E2-47DE-B302-8B7AF5F91E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0718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0BBBBB1B-CE48-4076-82A7-5D1F4EA5AF7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-74083" y="4764"/>
            <a:ext cx="12192001" cy="6853237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FCDB46AB-3596-4A89-8B9F-18DE01EC82FC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8">
            <a:extLst>
              <a:ext uri="{FF2B5EF4-FFF2-40B4-BE49-F238E27FC236}">
                <a16:creationId xmlns:a16="http://schemas.microsoft.com/office/drawing/2014/main" id="{450A93B4-D3AA-4ECC-B82B-D48696E871D7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DE2C72F6-D1F6-495F-9C86-C349F3666F6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854236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2F34E9F3-9BCD-4A67-8B76-FB7C417CCBE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7">
            <a:extLst>
              <a:ext uri="{FF2B5EF4-FFF2-40B4-BE49-F238E27FC236}">
                <a16:creationId xmlns:a16="http://schemas.microsoft.com/office/drawing/2014/main" id="{E4F15FF6-53D5-484C-AE7C-67DBB63FF918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8">
            <a:extLst>
              <a:ext uri="{FF2B5EF4-FFF2-40B4-BE49-F238E27FC236}">
                <a16:creationId xmlns:a16="http://schemas.microsoft.com/office/drawing/2014/main" id="{7FB39BF2-C0AB-4135-BCDF-FB0CF6846C98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CABB878F-DF1F-4FB2-B7A2-30A149B5C86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64223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k object 16">
            <a:extLst>
              <a:ext uri="{FF2B5EF4-FFF2-40B4-BE49-F238E27FC236}">
                <a16:creationId xmlns:a16="http://schemas.microsoft.com/office/drawing/2014/main" id="{025FDDE4-724E-40E9-AF56-178435B9C4C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Pie 7">
            <a:extLst>
              <a:ext uri="{FF2B5EF4-FFF2-40B4-BE49-F238E27FC236}">
                <a16:creationId xmlns:a16="http://schemas.microsoft.com/office/drawing/2014/main" id="{0EED2667-9924-46FB-B5EC-306E7A343533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300">
              <a:solidFill>
                <a:prstClr val="black"/>
              </a:solidFill>
            </a:endParaRPr>
          </a:p>
        </p:txBody>
      </p:sp>
      <p:sp>
        <p:nvSpPr>
          <p:cNvPr id="5" name="Freeform 8">
            <a:extLst>
              <a:ext uri="{FF2B5EF4-FFF2-40B4-BE49-F238E27FC236}">
                <a16:creationId xmlns:a16="http://schemas.microsoft.com/office/drawing/2014/main" id="{64482577-5402-4FF8-950F-B44E1A619527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300">
              <a:solidFill>
                <a:prstClr val="black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E93668C1-FD22-410F-A04C-EC8366405DA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3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7768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49F050C8-08BA-48AB-B37E-763128293E2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6">
            <a:extLst>
              <a:ext uri="{FF2B5EF4-FFF2-40B4-BE49-F238E27FC236}">
                <a16:creationId xmlns:a16="http://schemas.microsoft.com/office/drawing/2014/main" id="{5C228386-6A3F-4BE9-B0CC-19CD24A25006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7">
            <a:extLst>
              <a:ext uri="{FF2B5EF4-FFF2-40B4-BE49-F238E27FC236}">
                <a16:creationId xmlns:a16="http://schemas.microsoft.com/office/drawing/2014/main" id="{1420F783-7B56-450A-BEF7-621BB09157F7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88B4D383-FA1D-4523-AC38-74622E5D1E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4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7754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1D02BC-BB09-46E2-89ED-6CEC23C06751}" type="slidenum">
              <a:rPr lang="en-US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1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4013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">
            <a:extLst>
              <a:ext uri="{FF2B5EF4-FFF2-40B4-BE49-F238E27FC236}">
                <a16:creationId xmlns:a16="http://schemas.microsoft.com/office/drawing/2014/main" id="{A919BF56-AAA7-4291-B010-4167CB92233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4" name="Freeform 11">
            <a:extLst>
              <a:ext uri="{FF2B5EF4-FFF2-40B4-BE49-F238E27FC236}">
                <a16:creationId xmlns:a16="http://schemas.microsoft.com/office/drawing/2014/main" id="{FC090B77-69BD-4E35-99E0-10ABFA3339DE}"/>
              </a:ext>
            </a:extLst>
          </p:cNvPr>
          <p:cNvSpPr/>
          <p:nvPr userDrawn="1"/>
        </p:nvSpPr>
        <p:spPr>
          <a:xfrm>
            <a:off x="0" y="635000"/>
            <a:ext cx="3471333" cy="5765800"/>
          </a:xfrm>
          <a:custGeom>
            <a:avLst/>
            <a:gdLst>
              <a:gd name="connsiteX0" fmla="*/ 2603500 w 2603500"/>
              <a:gd name="connsiteY0" fmla="*/ 0 h 5765799"/>
              <a:gd name="connsiteX1" fmla="*/ 2603500 w 2603500"/>
              <a:gd name="connsiteY1" fmla="*/ 2882899 h 5765799"/>
              <a:gd name="connsiteX2" fmla="*/ 2602012 w 2603500"/>
              <a:gd name="connsiteY2" fmla="*/ 5765799 h 5765799"/>
              <a:gd name="connsiteX3" fmla="*/ 68082 w 2603500"/>
              <a:gd name="connsiteY3" fmla="*/ 4256196 h 5765799"/>
              <a:gd name="connsiteX4" fmla="*/ 0 w 2603500"/>
              <a:gd name="connsiteY4" fmla="*/ 4114746 h 5765799"/>
              <a:gd name="connsiteX5" fmla="*/ 0 w 2603500"/>
              <a:gd name="connsiteY5" fmla="*/ 1651031 h 5765799"/>
              <a:gd name="connsiteX6" fmla="*/ 68791 w 2603500"/>
              <a:gd name="connsiteY6" fmla="*/ 1508296 h 5765799"/>
              <a:gd name="connsiteX7" fmla="*/ 2603500 w 2603500"/>
              <a:gd name="connsiteY7" fmla="*/ 0 h 5765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03500" h="5765799">
                <a:moveTo>
                  <a:pt x="2603500" y="0"/>
                </a:moveTo>
                <a:lnTo>
                  <a:pt x="2603500" y="2882899"/>
                </a:lnTo>
                <a:lnTo>
                  <a:pt x="2602012" y="5765799"/>
                </a:lnTo>
                <a:cubicBezTo>
                  <a:pt x="1507587" y="5765235"/>
                  <a:pt x="555885" y="5154892"/>
                  <a:pt x="68082" y="4256196"/>
                </a:cubicBezTo>
                <a:lnTo>
                  <a:pt x="0" y="4114746"/>
                </a:lnTo>
                <a:lnTo>
                  <a:pt x="0" y="1651031"/>
                </a:lnTo>
                <a:lnTo>
                  <a:pt x="68791" y="1508296"/>
                </a:lnTo>
                <a:cubicBezTo>
                  <a:pt x="557058" y="609852"/>
                  <a:pt x="1509075" y="0"/>
                  <a:pt x="2603500" y="0"/>
                </a:cubicBezTo>
                <a:close/>
              </a:path>
            </a:pathLst>
          </a:custGeom>
          <a:solidFill>
            <a:srgbClr val="187F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5" name="Pie 12">
            <a:extLst>
              <a:ext uri="{FF2B5EF4-FFF2-40B4-BE49-F238E27FC236}">
                <a16:creationId xmlns:a16="http://schemas.microsoft.com/office/drawing/2014/main" id="{02084342-CD70-414D-A617-70FC58C0663C}"/>
              </a:ext>
            </a:extLst>
          </p:cNvPr>
          <p:cNvSpPr/>
          <p:nvPr userDrawn="1"/>
        </p:nvSpPr>
        <p:spPr>
          <a:xfrm rot="10800000">
            <a:off x="-374650" y="635000"/>
            <a:ext cx="7687735" cy="5765800"/>
          </a:xfrm>
          <a:prstGeom prst="pie">
            <a:avLst>
              <a:gd name="adj1" fmla="val 5401774"/>
              <a:gd name="adj2" fmla="val 16200000"/>
            </a:avLst>
          </a:prstGeom>
          <a:solidFill>
            <a:srgbClr val="187FA8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300">
              <a:solidFill>
                <a:schemeClr val="tx1"/>
              </a:solidFill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3B891EA6-92C6-4071-8581-CBCDE685513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930401" y="5486401"/>
            <a:ext cx="3164417" cy="58102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sz="230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700300" y="2781846"/>
            <a:ext cx="5607912" cy="169255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980504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4787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578722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8445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78374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887639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FFFFFF"/>
              </a:solidFill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 fontAlgn="auto">
              <a:spcBef>
                <a:spcPts val="0"/>
              </a:spcBef>
              <a:spcAft>
                <a:spcPts val="0"/>
              </a:spcAft>
            </a:pPr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defTabSz="80129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359490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6" cstate="print"/>
          <a:srcRect r="26000"/>
          <a:stretch>
            <a:fillRect/>
          </a:stretch>
        </p:blipFill>
        <p:spPr bwMode="auto">
          <a:xfrm>
            <a:off x="304800" y="1219201"/>
            <a:ext cx="2090059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7" cstate="print"/>
          <a:srcRect l="5799" r="18813"/>
          <a:stretch>
            <a:fillRect/>
          </a:stretch>
        </p:blipFill>
        <p:spPr bwMode="auto">
          <a:xfrm flipH="1">
            <a:off x="304800" y="2743203"/>
            <a:ext cx="2090059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8" cstate="print"/>
          <a:srcRect l="11563" r="32932" b="27168"/>
          <a:stretch>
            <a:fillRect/>
          </a:stretch>
        </p:blipFill>
        <p:spPr bwMode="auto">
          <a:xfrm>
            <a:off x="304802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ZA" dirty="0"/>
              <a:t>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1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ZA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29756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3" y="6505757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82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00971"/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 defTabSz="600971"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816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ags" Target="../tags/tag2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vmlDrawing" Target="../drawings/vmlDrawing1.v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theme" Target="../theme/theme1.xml" /><Relationship Id="rId5" Type="http://schemas.openxmlformats.org/officeDocument/2006/relationships/slideLayout" Target="../slideLayouts/slideLayout5.xml" /><Relationship Id="rId15" Type="http://schemas.openxmlformats.org/officeDocument/2006/relationships/image" Target="../media/image1.emf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oleObject" Target="../embeddings/oleObject1.bin" 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 /><Relationship Id="rId7" Type="http://schemas.openxmlformats.org/officeDocument/2006/relationships/image" Target="../media/image76.jpeg" /><Relationship Id="rId2" Type="http://schemas.openxmlformats.org/officeDocument/2006/relationships/vmlDrawing" Target="../drawings/vmlDrawing16.vml" /><Relationship Id="rId1" Type="http://schemas.openxmlformats.org/officeDocument/2006/relationships/theme" Target="../theme/theme10.xml" /><Relationship Id="rId6" Type="http://schemas.openxmlformats.org/officeDocument/2006/relationships/image" Target="../media/image3.jpeg" /><Relationship Id="rId5" Type="http://schemas.openxmlformats.org/officeDocument/2006/relationships/image" Target="../media/image75.emf" /><Relationship Id="rId4" Type="http://schemas.openxmlformats.org/officeDocument/2006/relationships/oleObject" Target="../embeddings/oleObject16.bin" 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 /><Relationship Id="rId7" Type="http://schemas.openxmlformats.org/officeDocument/2006/relationships/image" Target="../media/image76.jpeg" /><Relationship Id="rId2" Type="http://schemas.openxmlformats.org/officeDocument/2006/relationships/vmlDrawing" Target="../drawings/vmlDrawing17.vml" /><Relationship Id="rId1" Type="http://schemas.openxmlformats.org/officeDocument/2006/relationships/theme" Target="../theme/theme11.xml" /><Relationship Id="rId6" Type="http://schemas.openxmlformats.org/officeDocument/2006/relationships/image" Target="../media/image3.jpeg" /><Relationship Id="rId5" Type="http://schemas.openxmlformats.org/officeDocument/2006/relationships/image" Target="../media/image75.emf" /><Relationship Id="rId4" Type="http://schemas.openxmlformats.org/officeDocument/2006/relationships/oleObject" Target="../embeddings/oleObject17.bin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 /><Relationship Id="rId3" Type="http://schemas.openxmlformats.org/officeDocument/2006/relationships/vmlDrawing" Target="../drawings/vmlDrawing2.vml" /><Relationship Id="rId7" Type="http://schemas.openxmlformats.org/officeDocument/2006/relationships/image" Target="../media/image3.jpeg" /><Relationship Id="rId2" Type="http://schemas.openxmlformats.org/officeDocument/2006/relationships/theme" Target="../theme/theme2.xml" /><Relationship Id="rId1" Type="http://schemas.openxmlformats.org/officeDocument/2006/relationships/slideLayout" Target="../slideLayouts/slideLayout11.xml" /><Relationship Id="rId6" Type="http://schemas.openxmlformats.org/officeDocument/2006/relationships/image" Target="../media/image2.emf" /><Relationship Id="rId5" Type="http://schemas.openxmlformats.org/officeDocument/2006/relationships/oleObject" Target="../embeddings/oleObject2.bin" /><Relationship Id="rId4" Type="http://schemas.openxmlformats.org/officeDocument/2006/relationships/tags" Target="../tags/tag3.xml" /><Relationship Id="rId9" Type="http://schemas.openxmlformats.org/officeDocument/2006/relationships/image" Target="../media/image5.png" 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3" Type="http://schemas.openxmlformats.org/officeDocument/2006/relationships/slideLayout" Target="../slideLayouts/slideLayout14.xml" /><Relationship Id="rId7" Type="http://schemas.openxmlformats.org/officeDocument/2006/relationships/oleObject" Target="../embeddings/oleObject3.bin" /><Relationship Id="rId2" Type="http://schemas.openxmlformats.org/officeDocument/2006/relationships/slideLayout" Target="../slideLayouts/slideLayout13.xml" /><Relationship Id="rId1" Type="http://schemas.openxmlformats.org/officeDocument/2006/relationships/slideLayout" Target="../slideLayouts/slideLayout12.xml" /><Relationship Id="rId6" Type="http://schemas.openxmlformats.org/officeDocument/2006/relationships/tags" Target="../tags/tag4.xml" /><Relationship Id="rId11" Type="http://schemas.openxmlformats.org/officeDocument/2006/relationships/image" Target="../media/image5.png" /><Relationship Id="rId5" Type="http://schemas.openxmlformats.org/officeDocument/2006/relationships/vmlDrawing" Target="../drawings/vmlDrawing3.vml" /><Relationship Id="rId10" Type="http://schemas.openxmlformats.org/officeDocument/2006/relationships/image" Target="../media/image4.png" /><Relationship Id="rId4" Type="http://schemas.openxmlformats.org/officeDocument/2006/relationships/theme" Target="../theme/theme3.xml" /><Relationship Id="rId9" Type="http://schemas.openxmlformats.org/officeDocument/2006/relationships/image" Target="../media/image3.jpeg" 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 /><Relationship Id="rId3" Type="http://schemas.openxmlformats.org/officeDocument/2006/relationships/slideLayout" Target="../slideLayouts/slideLayout17.xml" /><Relationship Id="rId7" Type="http://schemas.openxmlformats.org/officeDocument/2006/relationships/tags" Target="../tags/tag5.xml" /><Relationship Id="rId2" Type="http://schemas.openxmlformats.org/officeDocument/2006/relationships/slideLayout" Target="../slideLayouts/slideLayout16.xml" /><Relationship Id="rId1" Type="http://schemas.openxmlformats.org/officeDocument/2006/relationships/slideLayout" Target="../slideLayouts/slideLayout15.xml" /><Relationship Id="rId6" Type="http://schemas.openxmlformats.org/officeDocument/2006/relationships/vmlDrawing" Target="../drawings/vmlDrawing4.vml" /><Relationship Id="rId5" Type="http://schemas.openxmlformats.org/officeDocument/2006/relationships/theme" Target="../theme/theme4.xml" /><Relationship Id="rId4" Type="http://schemas.openxmlformats.org/officeDocument/2006/relationships/slideLayout" Target="../slideLayouts/slideLayout18.xml" /><Relationship Id="rId9" Type="http://schemas.openxmlformats.org/officeDocument/2006/relationships/image" Target="../media/image1.emf" 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 /><Relationship Id="rId3" Type="http://schemas.openxmlformats.org/officeDocument/2006/relationships/slideLayout" Target="../slideLayouts/slideLayout21.xml" /><Relationship Id="rId7" Type="http://schemas.openxmlformats.org/officeDocument/2006/relationships/oleObject" Target="../embeddings/oleObject7.bin" /><Relationship Id="rId2" Type="http://schemas.openxmlformats.org/officeDocument/2006/relationships/slideLayout" Target="../slideLayouts/slideLayout20.xml" /><Relationship Id="rId1" Type="http://schemas.openxmlformats.org/officeDocument/2006/relationships/slideLayout" Target="../slideLayouts/slideLayout19.xml" /><Relationship Id="rId6" Type="http://schemas.openxmlformats.org/officeDocument/2006/relationships/tags" Target="../tags/tag8.xml" /><Relationship Id="rId11" Type="http://schemas.openxmlformats.org/officeDocument/2006/relationships/image" Target="../media/image5.png" /><Relationship Id="rId5" Type="http://schemas.openxmlformats.org/officeDocument/2006/relationships/vmlDrawing" Target="../drawings/vmlDrawing7.vml" /><Relationship Id="rId10" Type="http://schemas.openxmlformats.org/officeDocument/2006/relationships/image" Target="../media/image4.png" /><Relationship Id="rId4" Type="http://schemas.openxmlformats.org/officeDocument/2006/relationships/theme" Target="../theme/theme5.xml" /><Relationship Id="rId9" Type="http://schemas.openxmlformats.org/officeDocument/2006/relationships/image" Target="../media/image3.jpeg" 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 /><Relationship Id="rId13" Type="http://schemas.openxmlformats.org/officeDocument/2006/relationships/image" Target="../media/image8.jpeg" /><Relationship Id="rId3" Type="http://schemas.openxmlformats.org/officeDocument/2006/relationships/slideLayout" Target="../slideLayouts/slideLayout24.xml" /><Relationship Id="rId7" Type="http://schemas.openxmlformats.org/officeDocument/2006/relationships/slideLayout" Target="../slideLayouts/slideLayout28.xml" /><Relationship Id="rId12" Type="http://schemas.openxmlformats.org/officeDocument/2006/relationships/image" Target="../media/image2.emf" /><Relationship Id="rId2" Type="http://schemas.openxmlformats.org/officeDocument/2006/relationships/slideLayout" Target="../slideLayouts/slideLayout23.xml" /><Relationship Id="rId16" Type="http://schemas.openxmlformats.org/officeDocument/2006/relationships/image" Target="../media/image11.jpeg" /><Relationship Id="rId1" Type="http://schemas.openxmlformats.org/officeDocument/2006/relationships/slideLayout" Target="../slideLayouts/slideLayout22.xml" /><Relationship Id="rId6" Type="http://schemas.openxmlformats.org/officeDocument/2006/relationships/slideLayout" Target="../slideLayouts/slideLayout27.xml" /><Relationship Id="rId11" Type="http://schemas.openxmlformats.org/officeDocument/2006/relationships/oleObject" Target="../embeddings/oleObject8.bin" /><Relationship Id="rId5" Type="http://schemas.openxmlformats.org/officeDocument/2006/relationships/slideLayout" Target="../slideLayouts/slideLayout26.xml" /><Relationship Id="rId15" Type="http://schemas.openxmlformats.org/officeDocument/2006/relationships/image" Target="../media/image10.jpeg" /><Relationship Id="rId10" Type="http://schemas.openxmlformats.org/officeDocument/2006/relationships/tags" Target="../tags/tag9.xml" /><Relationship Id="rId4" Type="http://schemas.openxmlformats.org/officeDocument/2006/relationships/slideLayout" Target="../slideLayouts/slideLayout25.xml" /><Relationship Id="rId9" Type="http://schemas.openxmlformats.org/officeDocument/2006/relationships/vmlDrawing" Target="../drawings/vmlDrawing8.vml" /><Relationship Id="rId14" Type="http://schemas.openxmlformats.org/officeDocument/2006/relationships/image" Target="../media/image9.jpeg" 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 /><Relationship Id="rId18" Type="http://schemas.openxmlformats.org/officeDocument/2006/relationships/slideLayout" Target="../slideLayouts/slideLayout46.xml" /><Relationship Id="rId26" Type="http://schemas.openxmlformats.org/officeDocument/2006/relationships/slideLayout" Target="../slideLayouts/slideLayout54.xml" /><Relationship Id="rId39" Type="http://schemas.openxmlformats.org/officeDocument/2006/relationships/slideLayout" Target="../slideLayouts/slideLayout67.xml" /><Relationship Id="rId21" Type="http://schemas.openxmlformats.org/officeDocument/2006/relationships/slideLayout" Target="../slideLayouts/slideLayout49.xml" /><Relationship Id="rId34" Type="http://schemas.openxmlformats.org/officeDocument/2006/relationships/slideLayout" Target="../slideLayouts/slideLayout62.xml" /><Relationship Id="rId42" Type="http://schemas.openxmlformats.org/officeDocument/2006/relationships/slideLayout" Target="../slideLayouts/slideLayout70.xml" /><Relationship Id="rId47" Type="http://schemas.openxmlformats.org/officeDocument/2006/relationships/slideLayout" Target="../slideLayouts/slideLayout75.xml" /><Relationship Id="rId50" Type="http://schemas.openxmlformats.org/officeDocument/2006/relationships/slideLayout" Target="../slideLayouts/slideLayout78.xml" /><Relationship Id="rId55" Type="http://schemas.openxmlformats.org/officeDocument/2006/relationships/slideLayout" Target="../slideLayouts/slideLayout83.xml" /><Relationship Id="rId63" Type="http://schemas.openxmlformats.org/officeDocument/2006/relationships/slideLayout" Target="../slideLayouts/slideLayout91.xml" /><Relationship Id="rId68" Type="http://schemas.openxmlformats.org/officeDocument/2006/relationships/image" Target="../media/image2.emf" /><Relationship Id="rId7" Type="http://schemas.openxmlformats.org/officeDocument/2006/relationships/slideLayout" Target="../slideLayouts/slideLayout35.xml" /><Relationship Id="rId2" Type="http://schemas.openxmlformats.org/officeDocument/2006/relationships/slideLayout" Target="../slideLayouts/slideLayout30.xml" /><Relationship Id="rId16" Type="http://schemas.openxmlformats.org/officeDocument/2006/relationships/slideLayout" Target="../slideLayouts/slideLayout44.xml" /><Relationship Id="rId29" Type="http://schemas.openxmlformats.org/officeDocument/2006/relationships/slideLayout" Target="../slideLayouts/slideLayout57.xml" /><Relationship Id="rId1" Type="http://schemas.openxmlformats.org/officeDocument/2006/relationships/slideLayout" Target="../slideLayouts/slideLayout29.xml" /><Relationship Id="rId6" Type="http://schemas.openxmlformats.org/officeDocument/2006/relationships/slideLayout" Target="../slideLayouts/slideLayout34.xml" /><Relationship Id="rId11" Type="http://schemas.openxmlformats.org/officeDocument/2006/relationships/slideLayout" Target="../slideLayouts/slideLayout39.xml" /><Relationship Id="rId24" Type="http://schemas.openxmlformats.org/officeDocument/2006/relationships/slideLayout" Target="../slideLayouts/slideLayout52.xml" /><Relationship Id="rId32" Type="http://schemas.openxmlformats.org/officeDocument/2006/relationships/slideLayout" Target="../slideLayouts/slideLayout60.xml" /><Relationship Id="rId37" Type="http://schemas.openxmlformats.org/officeDocument/2006/relationships/slideLayout" Target="../slideLayouts/slideLayout65.xml" /><Relationship Id="rId40" Type="http://schemas.openxmlformats.org/officeDocument/2006/relationships/slideLayout" Target="../slideLayouts/slideLayout68.xml" /><Relationship Id="rId45" Type="http://schemas.openxmlformats.org/officeDocument/2006/relationships/slideLayout" Target="../slideLayouts/slideLayout73.xml" /><Relationship Id="rId53" Type="http://schemas.openxmlformats.org/officeDocument/2006/relationships/slideLayout" Target="../slideLayouts/slideLayout81.xml" /><Relationship Id="rId58" Type="http://schemas.openxmlformats.org/officeDocument/2006/relationships/slideLayout" Target="../slideLayouts/slideLayout86.xml" /><Relationship Id="rId66" Type="http://schemas.openxmlformats.org/officeDocument/2006/relationships/tags" Target="../tags/tag10.xml" /><Relationship Id="rId5" Type="http://schemas.openxmlformats.org/officeDocument/2006/relationships/slideLayout" Target="../slideLayouts/slideLayout33.xml" /><Relationship Id="rId15" Type="http://schemas.openxmlformats.org/officeDocument/2006/relationships/slideLayout" Target="../slideLayouts/slideLayout43.xml" /><Relationship Id="rId23" Type="http://schemas.openxmlformats.org/officeDocument/2006/relationships/slideLayout" Target="../slideLayouts/slideLayout51.xml" /><Relationship Id="rId28" Type="http://schemas.openxmlformats.org/officeDocument/2006/relationships/slideLayout" Target="../slideLayouts/slideLayout56.xml" /><Relationship Id="rId36" Type="http://schemas.openxmlformats.org/officeDocument/2006/relationships/slideLayout" Target="../slideLayouts/slideLayout64.xml" /><Relationship Id="rId49" Type="http://schemas.openxmlformats.org/officeDocument/2006/relationships/slideLayout" Target="../slideLayouts/slideLayout77.xml" /><Relationship Id="rId57" Type="http://schemas.openxmlformats.org/officeDocument/2006/relationships/slideLayout" Target="../slideLayouts/slideLayout85.xml" /><Relationship Id="rId61" Type="http://schemas.openxmlformats.org/officeDocument/2006/relationships/slideLayout" Target="../slideLayouts/slideLayout89.xml" /><Relationship Id="rId10" Type="http://schemas.openxmlformats.org/officeDocument/2006/relationships/slideLayout" Target="../slideLayouts/slideLayout38.xml" /><Relationship Id="rId19" Type="http://schemas.openxmlformats.org/officeDocument/2006/relationships/slideLayout" Target="../slideLayouts/slideLayout47.xml" /><Relationship Id="rId31" Type="http://schemas.openxmlformats.org/officeDocument/2006/relationships/slideLayout" Target="../slideLayouts/slideLayout59.xml" /><Relationship Id="rId44" Type="http://schemas.openxmlformats.org/officeDocument/2006/relationships/slideLayout" Target="../slideLayouts/slideLayout72.xml" /><Relationship Id="rId52" Type="http://schemas.openxmlformats.org/officeDocument/2006/relationships/slideLayout" Target="../slideLayouts/slideLayout80.xml" /><Relationship Id="rId60" Type="http://schemas.openxmlformats.org/officeDocument/2006/relationships/slideLayout" Target="../slideLayouts/slideLayout88.xml" /><Relationship Id="rId65" Type="http://schemas.openxmlformats.org/officeDocument/2006/relationships/vmlDrawing" Target="../drawings/vmlDrawing9.vml" /><Relationship Id="rId4" Type="http://schemas.openxmlformats.org/officeDocument/2006/relationships/slideLayout" Target="../slideLayouts/slideLayout32.xml" /><Relationship Id="rId9" Type="http://schemas.openxmlformats.org/officeDocument/2006/relationships/slideLayout" Target="../slideLayouts/slideLayout37.xml" /><Relationship Id="rId14" Type="http://schemas.openxmlformats.org/officeDocument/2006/relationships/slideLayout" Target="../slideLayouts/slideLayout42.xml" /><Relationship Id="rId22" Type="http://schemas.openxmlformats.org/officeDocument/2006/relationships/slideLayout" Target="../slideLayouts/slideLayout50.xml" /><Relationship Id="rId27" Type="http://schemas.openxmlformats.org/officeDocument/2006/relationships/slideLayout" Target="../slideLayouts/slideLayout55.xml" /><Relationship Id="rId30" Type="http://schemas.openxmlformats.org/officeDocument/2006/relationships/slideLayout" Target="../slideLayouts/slideLayout58.xml" /><Relationship Id="rId35" Type="http://schemas.openxmlformats.org/officeDocument/2006/relationships/slideLayout" Target="../slideLayouts/slideLayout63.xml" /><Relationship Id="rId43" Type="http://schemas.openxmlformats.org/officeDocument/2006/relationships/slideLayout" Target="../slideLayouts/slideLayout71.xml" /><Relationship Id="rId48" Type="http://schemas.openxmlformats.org/officeDocument/2006/relationships/slideLayout" Target="../slideLayouts/slideLayout76.xml" /><Relationship Id="rId56" Type="http://schemas.openxmlformats.org/officeDocument/2006/relationships/slideLayout" Target="../slideLayouts/slideLayout84.xml" /><Relationship Id="rId64" Type="http://schemas.openxmlformats.org/officeDocument/2006/relationships/theme" Target="../theme/theme7.xml" /><Relationship Id="rId8" Type="http://schemas.openxmlformats.org/officeDocument/2006/relationships/slideLayout" Target="../slideLayouts/slideLayout36.xml" /><Relationship Id="rId51" Type="http://schemas.openxmlformats.org/officeDocument/2006/relationships/slideLayout" Target="../slideLayouts/slideLayout79.xml" /><Relationship Id="rId3" Type="http://schemas.openxmlformats.org/officeDocument/2006/relationships/slideLayout" Target="../slideLayouts/slideLayout31.xml" /><Relationship Id="rId12" Type="http://schemas.openxmlformats.org/officeDocument/2006/relationships/slideLayout" Target="../slideLayouts/slideLayout40.xml" /><Relationship Id="rId17" Type="http://schemas.openxmlformats.org/officeDocument/2006/relationships/slideLayout" Target="../slideLayouts/slideLayout45.xml" /><Relationship Id="rId25" Type="http://schemas.openxmlformats.org/officeDocument/2006/relationships/slideLayout" Target="../slideLayouts/slideLayout53.xml" /><Relationship Id="rId33" Type="http://schemas.openxmlformats.org/officeDocument/2006/relationships/slideLayout" Target="../slideLayouts/slideLayout61.xml" /><Relationship Id="rId38" Type="http://schemas.openxmlformats.org/officeDocument/2006/relationships/slideLayout" Target="../slideLayouts/slideLayout66.xml" /><Relationship Id="rId46" Type="http://schemas.openxmlformats.org/officeDocument/2006/relationships/slideLayout" Target="../slideLayouts/slideLayout74.xml" /><Relationship Id="rId59" Type="http://schemas.openxmlformats.org/officeDocument/2006/relationships/slideLayout" Target="../slideLayouts/slideLayout87.xml" /><Relationship Id="rId67" Type="http://schemas.openxmlformats.org/officeDocument/2006/relationships/oleObject" Target="../embeddings/oleObject9.bin" /><Relationship Id="rId20" Type="http://schemas.openxmlformats.org/officeDocument/2006/relationships/slideLayout" Target="../slideLayouts/slideLayout48.xml" /><Relationship Id="rId41" Type="http://schemas.openxmlformats.org/officeDocument/2006/relationships/slideLayout" Target="../slideLayouts/slideLayout69.xml" /><Relationship Id="rId54" Type="http://schemas.openxmlformats.org/officeDocument/2006/relationships/slideLayout" Target="../slideLayouts/slideLayout82.xml" /><Relationship Id="rId62" Type="http://schemas.openxmlformats.org/officeDocument/2006/relationships/slideLayout" Target="../slideLayouts/slideLayout90.xml" 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 /><Relationship Id="rId3" Type="http://schemas.openxmlformats.org/officeDocument/2006/relationships/slideLayout" Target="../slideLayouts/slideLayout94.xml" /><Relationship Id="rId7" Type="http://schemas.openxmlformats.org/officeDocument/2006/relationships/tags" Target="../tags/tag11.xml" /><Relationship Id="rId2" Type="http://schemas.openxmlformats.org/officeDocument/2006/relationships/slideLayout" Target="../slideLayouts/slideLayout93.xml" /><Relationship Id="rId1" Type="http://schemas.openxmlformats.org/officeDocument/2006/relationships/slideLayout" Target="../slideLayouts/slideLayout92.xml" /><Relationship Id="rId6" Type="http://schemas.openxmlformats.org/officeDocument/2006/relationships/vmlDrawing" Target="../drawings/vmlDrawing10.vml" /><Relationship Id="rId5" Type="http://schemas.openxmlformats.org/officeDocument/2006/relationships/theme" Target="../theme/theme8.xml" /><Relationship Id="rId4" Type="http://schemas.openxmlformats.org/officeDocument/2006/relationships/slideLayout" Target="../slideLayouts/slideLayout95.xml" /><Relationship Id="rId9" Type="http://schemas.openxmlformats.org/officeDocument/2006/relationships/image" Target="../media/image1.emf" 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 /><Relationship Id="rId3" Type="http://schemas.openxmlformats.org/officeDocument/2006/relationships/theme" Target="../theme/theme9.xml" /><Relationship Id="rId7" Type="http://schemas.openxmlformats.org/officeDocument/2006/relationships/image" Target="../media/image75.emf" /><Relationship Id="rId2" Type="http://schemas.openxmlformats.org/officeDocument/2006/relationships/slideLayout" Target="../slideLayouts/slideLayout97.xml" /><Relationship Id="rId1" Type="http://schemas.openxmlformats.org/officeDocument/2006/relationships/slideLayout" Target="../slideLayouts/slideLayout96.xml" /><Relationship Id="rId6" Type="http://schemas.openxmlformats.org/officeDocument/2006/relationships/oleObject" Target="../embeddings/oleObject13.bin" /><Relationship Id="rId5" Type="http://schemas.openxmlformats.org/officeDocument/2006/relationships/tags" Target="../tags/tag14.xml" /><Relationship Id="rId4" Type="http://schemas.openxmlformats.org/officeDocument/2006/relationships/vmlDrawing" Target="../drawings/vmlDrawing13.vml" /><Relationship Id="rId9" Type="http://schemas.openxmlformats.org/officeDocument/2006/relationships/image" Target="../media/image76.jpeg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103812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4" imgW="12700" imgH="12700" progId="TCLayout.ActiveDocument.1">
                  <p:embed/>
                </p:oleObj>
              </mc:Choice>
              <mc:Fallback>
                <p:oleObj name="think-cell Slide" r:id="rId14" imgW="12700" imgH="1270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81101"/>
            <a:ext cx="10972800" cy="49450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522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l" eaLnBrk="1" hangingPunct="1">
              <a:defRPr sz="14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ctr" eaLnBrk="1" hangingPunct="1">
              <a:defRPr sz="14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26360" y="6477000"/>
            <a:ext cx="865640" cy="38100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t" anchorCtr="0" compatLnSpc="1"/>
          <a:lstStyle>
            <a:lvl1pPr algn="r" eaLnBrk="1" hangingPunct="1">
              <a:defRPr sz="1400" b="0">
                <a:solidFill>
                  <a:srgbClr val="000000"/>
                </a:solidFill>
                <a:latin typeface="Verdana" panose="020B0604030504040204" pitchFamily="-109" charset="0"/>
              </a:defRPr>
            </a:lvl1pPr>
          </a:lstStyle>
          <a:p>
            <a:pPr>
              <a:defRPr/>
            </a:pPr>
            <a:fld id="{4A0ACF5A-AF10-48F9-8A78-5825A055A0E9}" type="slidenum">
              <a:rPr lang="en-US"/>
              <a:t>‹#›</a:t>
            </a:fld>
            <a:endParaRPr lang="en-US" dirty="0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0" y="0"/>
            <a:ext cx="12192000" cy="90328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/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anose="020B0604030504040204" pitchFamily="-109" charset="0"/>
          <a:ea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3675375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9377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474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84948658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9377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4746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CB97D8F-284D-481B-8C1F-C3F24FE0EC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6325247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CB97D8F-284D-481B-8C1F-C3F24FE0EC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00" dirty="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8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763283" y="5814890"/>
            <a:ext cx="1238216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EAF6C71-9B46-4AEA-892A-770CF50C5E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955323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EAF6C71-9B46-4AEA-892A-770CF50C5E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00" dirty="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10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63283" y="5814890"/>
            <a:ext cx="1238216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16117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1" r:id="rId2"/>
    <p:sldLayoutId id="2147483682" r:id="rId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018190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81101"/>
            <a:ext cx="10972800" cy="494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522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ea typeface="MS PGothic" pitchFamily="34" charset="-128"/>
            </a:endParaRP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ea typeface="MS PGothic" pitchFamily="34" charset="-128"/>
            </a:endParaRPr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0" y="0"/>
            <a:ext cx="12192000" cy="90328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/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801294"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28557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0FE67B-7C80-46A9-8EDC-6807BD033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962242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0FE67B-7C80-46A9-8EDC-6807BD03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10" cstate="print"/>
          <a:srcRect r="26000"/>
          <a:stretch>
            <a:fillRect/>
          </a:stretch>
        </p:blipFill>
        <p:spPr bwMode="auto">
          <a:xfrm>
            <a:off x="9789162" y="4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63283" y="5814892"/>
            <a:ext cx="1238216" cy="104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47471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30" r:id="rId2"/>
    <p:sldLayoutId id="2147483731" r:id="rId3"/>
  </p:sldLayoutIdLst>
  <p:hf hd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6EF6F03-7657-4E96-9429-F95F394ACA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59680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6EF6F03-7657-4E96-9429-F95F394AC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8C5301FA-39D7-46D8-B69E-A461519255FD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/>
          </a:p>
        </p:txBody>
      </p:sp>
      <p:pic>
        <p:nvPicPr>
          <p:cNvPr id="1027" name="Picture 7" descr="NDOH Logo.jpg">
            <a:extLst>
              <a:ext uri="{FF2B5EF4-FFF2-40B4-BE49-F238E27FC236}">
                <a16:creationId xmlns:a16="http://schemas.microsoft.com/office/drawing/2014/main" id="{5E945DD1-5D03-4C4E-B614-B789321BDE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5867401"/>
            <a:ext cx="3048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11">
            <a:extLst>
              <a:ext uri="{FF2B5EF4-FFF2-40B4-BE49-F238E27FC236}">
                <a16:creationId xmlns:a16="http://schemas.microsoft.com/office/drawing/2014/main" id="{B81AB95E-EED0-4E35-9D5D-505F11DAA0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9789585" y="0"/>
            <a:ext cx="1579033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4" descr="Phila.jpg">
            <a:extLst>
              <a:ext uri="{FF2B5EF4-FFF2-40B4-BE49-F238E27FC236}">
                <a16:creationId xmlns:a16="http://schemas.microsoft.com/office/drawing/2014/main" id="{4F84534D-FDA6-4743-B748-94553B0811AA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9418" y="5732464"/>
            <a:ext cx="1500716" cy="1125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5" descr="Logo - NDP - Full colour.jpg">
            <a:extLst>
              <a:ext uri="{FF2B5EF4-FFF2-40B4-BE49-F238E27FC236}">
                <a16:creationId xmlns:a16="http://schemas.microsoft.com/office/drawing/2014/main" id="{12AF37AD-1DB9-4558-8F39-535454B0C4F7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3484" y="5805488"/>
            <a:ext cx="1479549" cy="105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2684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5" r:id="rId6"/>
    <p:sldLayoutId id="2147483766" r:id="rId7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F81B0C-E4C1-40CF-8B16-CDC4954893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20502684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67" imgW="395" imgH="396" progId="TCLayout.ActiveDocument.1">
                  <p:embed/>
                </p:oleObj>
              </mc:Choice>
              <mc:Fallback>
                <p:oleObj name="think-cell Slide" r:id="rId67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5F81B0C-E4C1-40CF-8B16-CDC4954893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87096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842" r:id="rId9"/>
    <p:sldLayoutId id="2147483843" r:id="rId10"/>
    <p:sldLayoutId id="2147483778" r:id="rId11"/>
    <p:sldLayoutId id="2147483779" r:id="rId12"/>
    <p:sldLayoutId id="2147483780" r:id="rId13"/>
    <p:sldLayoutId id="2147483781" r:id="rId14"/>
    <p:sldLayoutId id="2147483782" r:id="rId15"/>
    <p:sldLayoutId id="2147483845" r:id="rId16"/>
    <p:sldLayoutId id="2147483784" r:id="rId17"/>
    <p:sldLayoutId id="2147483785" r:id="rId18"/>
    <p:sldLayoutId id="2147483786" r:id="rId19"/>
    <p:sldLayoutId id="2147483787" r:id="rId20"/>
    <p:sldLayoutId id="2147483788" r:id="rId21"/>
    <p:sldLayoutId id="2147483789" r:id="rId22"/>
    <p:sldLayoutId id="2147483790" r:id="rId23"/>
    <p:sldLayoutId id="2147483791" r:id="rId24"/>
    <p:sldLayoutId id="2147483792" r:id="rId25"/>
    <p:sldLayoutId id="2147483793" r:id="rId26"/>
    <p:sldLayoutId id="2147483794" r:id="rId27"/>
    <p:sldLayoutId id="2147483795" r:id="rId28"/>
    <p:sldLayoutId id="2147483796" r:id="rId29"/>
    <p:sldLayoutId id="2147483797" r:id="rId30"/>
    <p:sldLayoutId id="2147483798" r:id="rId31"/>
    <p:sldLayoutId id="2147483799" r:id="rId32"/>
    <p:sldLayoutId id="2147483800" r:id="rId33"/>
    <p:sldLayoutId id="2147483801" r:id="rId34"/>
    <p:sldLayoutId id="2147483802" r:id="rId35"/>
    <p:sldLayoutId id="2147483803" r:id="rId36"/>
    <p:sldLayoutId id="2147483804" r:id="rId37"/>
    <p:sldLayoutId id="2147483805" r:id="rId38"/>
    <p:sldLayoutId id="2147483806" r:id="rId39"/>
    <p:sldLayoutId id="2147483807" r:id="rId40"/>
    <p:sldLayoutId id="2147483808" r:id="rId41"/>
    <p:sldLayoutId id="2147483809" r:id="rId42"/>
    <p:sldLayoutId id="2147483810" r:id="rId43"/>
    <p:sldLayoutId id="2147483811" r:id="rId44"/>
    <p:sldLayoutId id="2147483812" r:id="rId45"/>
    <p:sldLayoutId id="2147483813" r:id="rId46"/>
    <p:sldLayoutId id="2147483814" r:id="rId47"/>
    <p:sldLayoutId id="2147483815" r:id="rId48"/>
    <p:sldLayoutId id="2147483816" r:id="rId49"/>
    <p:sldLayoutId id="2147483817" r:id="rId50"/>
    <p:sldLayoutId id="2147483818" r:id="rId51"/>
    <p:sldLayoutId id="2147483819" r:id="rId52"/>
    <p:sldLayoutId id="2147483820" r:id="rId53"/>
    <p:sldLayoutId id="2147483821" r:id="rId54"/>
    <p:sldLayoutId id="2147483822" r:id="rId55"/>
    <p:sldLayoutId id="2147483823" r:id="rId56"/>
    <p:sldLayoutId id="2147483824" r:id="rId57"/>
    <p:sldLayoutId id="2147483825" r:id="rId58"/>
    <p:sldLayoutId id="2147483826" r:id="rId59"/>
    <p:sldLayoutId id="2147483827" r:id="rId60"/>
    <p:sldLayoutId id="2147483828" r:id="rId61"/>
    <p:sldLayoutId id="2147483829" r:id="rId62"/>
    <p:sldLayoutId id="2147483830" r:id="rId63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400" kern="1200">
          <a:solidFill>
            <a:schemeClr val="bg1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400">
          <a:solidFill>
            <a:schemeClr val="bg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9786600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181101"/>
            <a:ext cx="10972800" cy="494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522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ea typeface="MS PGothic" pitchFamily="34" charset="-128"/>
            </a:endParaRP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b="0">
                <a:solidFill>
                  <a:srgbClr val="00000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ea typeface="MS PGothic" pitchFamily="34" charset="-128"/>
            </a:endParaRPr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title"/>
          </p:nvPr>
        </p:nvSpPr>
        <p:spPr bwMode="gray">
          <a:xfrm>
            <a:off x="0" y="0"/>
            <a:ext cx="12192000" cy="90328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2" y="6505755"/>
            <a:ext cx="2743199" cy="365125"/>
          </a:xfrm>
          <a:prstGeom prst="rect">
            <a:avLst/>
          </a:prstGeom>
        </p:spPr>
        <p:txBody>
          <a:bodyPr vert="horz" lIns="109213" tIns="54606" rIns="109213" bIns="5460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01294"/>
            <a:fld id="{C09F78AA-DC23-40C8-BD3F-A1A08EA63BFB}" type="slidenum">
              <a:rPr lang="en-ZA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 defTabSz="801294"/>
              <a:t>‹#›</a:t>
            </a:fld>
            <a:endParaRPr lang="en-ZA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90656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Verdana" pitchFamily="-109" charset="0"/>
          <a:ea typeface="Arial" pitchFamily="-109" charset="0"/>
          <a:cs typeface="Arial" pitchFamily="-109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6583045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ZA" sz="135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9377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pic>
        <p:nvPicPr>
          <p:cNvPr id="9" name="Picture 8" descr="Logo, company name&#10;&#10;Description automatically generated">
            <a:extLst>
              <a:ext uri="{FF2B5EF4-FFF2-40B4-BE49-F238E27FC236}">
                <a16:creationId xmlns:a16="http://schemas.microsoft.com/office/drawing/2014/main" id="{186CA701-53A2-4F42-922B-3767B465EBB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1752" y="5993296"/>
            <a:ext cx="838200" cy="83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747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848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 /><Relationship Id="rId7" Type="http://schemas.openxmlformats.org/officeDocument/2006/relationships/image" Target="../media/image77.emf" /><Relationship Id="rId2" Type="http://schemas.openxmlformats.org/officeDocument/2006/relationships/tags" Target="../tags/tag19.xml" /><Relationship Id="rId1" Type="http://schemas.openxmlformats.org/officeDocument/2006/relationships/vmlDrawing" Target="../drawings/vmlDrawing18.vml" /><Relationship Id="rId6" Type="http://schemas.openxmlformats.org/officeDocument/2006/relationships/oleObject" Target="../embeddings/oleObject18.bin" /><Relationship Id="rId5" Type="http://schemas.openxmlformats.org/officeDocument/2006/relationships/notesSlide" Target="../notesSlides/notesSlide1.xml" /><Relationship Id="rId4" Type="http://schemas.openxmlformats.org/officeDocument/2006/relationships/slideLayout" Target="../slideLayouts/slideLayout96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 /><Relationship Id="rId2" Type="http://schemas.openxmlformats.org/officeDocument/2006/relationships/tags" Target="../tags/tag21.xml" /><Relationship Id="rId1" Type="http://schemas.openxmlformats.org/officeDocument/2006/relationships/vmlDrawing" Target="../drawings/vmlDrawing19.vml" /><Relationship Id="rId6" Type="http://schemas.openxmlformats.org/officeDocument/2006/relationships/image" Target="../media/image2.emf" /><Relationship Id="rId5" Type="http://schemas.openxmlformats.org/officeDocument/2006/relationships/oleObject" Target="../embeddings/oleObject19.bin" /><Relationship Id="rId4" Type="http://schemas.openxmlformats.org/officeDocument/2006/relationships/notesSlide" Target="../notesSlides/notesSlide2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 /><Relationship Id="rId2" Type="http://schemas.openxmlformats.org/officeDocument/2006/relationships/tags" Target="../tags/tag22.xml" /><Relationship Id="rId1" Type="http://schemas.openxmlformats.org/officeDocument/2006/relationships/vmlDrawing" Target="../drawings/vmlDrawing20.vml" /><Relationship Id="rId6" Type="http://schemas.openxmlformats.org/officeDocument/2006/relationships/image" Target="../media/image2.emf" /><Relationship Id="rId5" Type="http://schemas.openxmlformats.org/officeDocument/2006/relationships/oleObject" Target="../embeddings/oleObject20.bin" /><Relationship Id="rId4" Type="http://schemas.openxmlformats.org/officeDocument/2006/relationships/notesSlide" Target="../notesSlides/notesSlide3.xml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 /><Relationship Id="rId3" Type="http://schemas.openxmlformats.org/officeDocument/2006/relationships/slideLayout" Target="../slideLayouts/slideLayout97.xml" /><Relationship Id="rId7" Type="http://schemas.openxmlformats.org/officeDocument/2006/relationships/image" Target="../media/image78.png" /><Relationship Id="rId2" Type="http://schemas.openxmlformats.org/officeDocument/2006/relationships/tags" Target="../tags/tag23.xml" /><Relationship Id="rId1" Type="http://schemas.openxmlformats.org/officeDocument/2006/relationships/vmlDrawing" Target="../drawings/vmlDrawing21.vml" /><Relationship Id="rId6" Type="http://schemas.openxmlformats.org/officeDocument/2006/relationships/image" Target="../media/image2.emf" /><Relationship Id="rId5" Type="http://schemas.openxmlformats.org/officeDocument/2006/relationships/oleObject" Target="../embeddings/oleObject21.bin" /><Relationship Id="rId4" Type="http://schemas.openxmlformats.org/officeDocument/2006/relationships/notesSlide" Target="../notesSlides/notesSlide4.xml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 /><Relationship Id="rId13" Type="http://schemas.openxmlformats.org/officeDocument/2006/relationships/tags" Target="../tags/tag35.xml" /><Relationship Id="rId18" Type="http://schemas.openxmlformats.org/officeDocument/2006/relationships/tags" Target="../tags/tag40.xml" /><Relationship Id="rId26" Type="http://schemas.openxmlformats.org/officeDocument/2006/relationships/oleObject" Target="../embeddings/oleObject22.bin" /><Relationship Id="rId3" Type="http://schemas.openxmlformats.org/officeDocument/2006/relationships/tags" Target="../tags/tag25.xml" /><Relationship Id="rId21" Type="http://schemas.openxmlformats.org/officeDocument/2006/relationships/tags" Target="../tags/tag43.xml" /><Relationship Id="rId7" Type="http://schemas.openxmlformats.org/officeDocument/2006/relationships/tags" Target="../tags/tag29.xml" /><Relationship Id="rId12" Type="http://schemas.openxmlformats.org/officeDocument/2006/relationships/tags" Target="../tags/tag34.xml" /><Relationship Id="rId17" Type="http://schemas.openxmlformats.org/officeDocument/2006/relationships/tags" Target="../tags/tag39.xml" /><Relationship Id="rId25" Type="http://schemas.openxmlformats.org/officeDocument/2006/relationships/notesSlide" Target="../notesSlides/notesSlide5.xml" /><Relationship Id="rId2" Type="http://schemas.openxmlformats.org/officeDocument/2006/relationships/tags" Target="../tags/tag24.xml" /><Relationship Id="rId16" Type="http://schemas.openxmlformats.org/officeDocument/2006/relationships/tags" Target="../tags/tag38.xml" /><Relationship Id="rId20" Type="http://schemas.openxmlformats.org/officeDocument/2006/relationships/tags" Target="../tags/tag42.xml" /><Relationship Id="rId1" Type="http://schemas.openxmlformats.org/officeDocument/2006/relationships/vmlDrawing" Target="../drawings/vmlDrawing22.vml" /><Relationship Id="rId6" Type="http://schemas.openxmlformats.org/officeDocument/2006/relationships/tags" Target="../tags/tag28.xml" /><Relationship Id="rId11" Type="http://schemas.openxmlformats.org/officeDocument/2006/relationships/tags" Target="../tags/tag33.xml" /><Relationship Id="rId24" Type="http://schemas.openxmlformats.org/officeDocument/2006/relationships/slideLayout" Target="../slideLayouts/slideLayout97.xml" /><Relationship Id="rId5" Type="http://schemas.openxmlformats.org/officeDocument/2006/relationships/tags" Target="../tags/tag27.xml" /><Relationship Id="rId15" Type="http://schemas.openxmlformats.org/officeDocument/2006/relationships/tags" Target="../tags/tag37.xml" /><Relationship Id="rId23" Type="http://schemas.openxmlformats.org/officeDocument/2006/relationships/tags" Target="../tags/tag45.xml" /><Relationship Id="rId28" Type="http://schemas.openxmlformats.org/officeDocument/2006/relationships/chart" Target="../charts/chart1.xml" /><Relationship Id="rId10" Type="http://schemas.openxmlformats.org/officeDocument/2006/relationships/tags" Target="../tags/tag32.xml" /><Relationship Id="rId19" Type="http://schemas.openxmlformats.org/officeDocument/2006/relationships/tags" Target="../tags/tag41.xml" /><Relationship Id="rId4" Type="http://schemas.openxmlformats.org/officeDocument/2006/relationships/tags" Target="../tags/tag26.xml" /><Relationship Id="rId9" Type="http://schemas.openxmlformats.org/officeDocument/2006/relationships/tags" Target="../tags/tag31.xml" /><Relationship Id="rId14" Type="http://schemas.openxmlformats.org/officeDocument/2006/relationships/tags" Target="../tags/tag36.xml" /><Relationship Id="rId22" Type="http://schemas.openxmlformats.org/officeDocument/2006/relationships/tags" Target="../tags/tag44.xml" /><Relationship Id="rId27" Type="http://schemas.openxmlformats.org/officeDocument/2006/relationships/image" Target="../media/image2.emf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479891-2829-42FE-87CF-B8FFC631DE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600639"/>
              </p:ext>
            </p:extLst>
          </p:nvPr>
        </p:nvGraphicFramePr>
        <p:xfrm>
          <a:off x="1525192" y="85844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479891-2829-42FE-87CF-B8FFC631DE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AEA42CD-1B2F-45CA-8CDE-F52778BB6EC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24001" y="857251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135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352800" y="2743200"/>
            <a:ext cx="8534400" cy="1333500"/>
          </a:xfrm>
        </p:spPr>
        <p:txBody>
          <a:bodyPr/>
          <a:lstStyle/>
          <a:p>
            <a:pPr algn="ctr" defTabSz="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atin typeface="Calibri" panose="020F0502020204030204" pitchFamily="34" charset="0"/>
                <a:ea typeface="MS PGothic" pitchFamily="34" charset="-128"/>
                <a:cs typeface="+mn-cs"/>
              </a:rPr>
              <a:t>South Africa</a:t>
            </a:r>
          </a:p>
          <a:p>
            <a:pPr algn="ctr" defTabSz="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atin typeface="Calibri" panose="020F0502020204030204" pitchFamily="34" charset="0"/>
                <a:ea typeface="MS PGothic" pitchFamily="34" charset="-128"/>
                <a:cs typeface="+mn-cs"/>
              </a:rPr>
              <a:t>Overview of Oral Pre-Exposure Prophylaxis (PrEP)</a:t>
            </a:r>
          </a:p>
          <a:p>
            <a:pPr algn="ctr" defTabSz="3429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atin typeface="Calibri" panose="020F0502020204030204" pitchFamily="34" charset="0"/>
                <a:ea typeface="MS PGothic" pitchFamily="34" charset="-128"/>
                <a:cs typeface="+mn-cs"/>
              </a:rPr>
              <a:t>November 2022</a:t>
            </a:r>
          </a:p>
        </p:txBody>
      </p:sp>
    </p:spTree>
    <p:extLst>
      <p:ext uri="{BB962C8B-B14F-4D97-AF65-F5344CB8AC3E}">
        <p14:creationId xmlns:p14="http://schemas.microsoft.com/office/powerpoint/2010/main" val="11423113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F35ACDC-0D49-412F-95D5-C909D48CF5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F35ACDC-0D49-412F-95D5-C909D48CF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itle 1">
            <a:extLst>
              <a:ext uri="{FF2B5EF4-FFF2-40B4-BE49-F238E27FC236}">
                <a16:creationId xmlns:a16="http://schemas.microsoft.com/office/drawing/2014/main" id="{C167719D-AC9E-4058-854B-C3998AE418A9}"/>
              </a:ext>
            </a:extLst>
          </p:cNvPr>
          <p:cNvSpPr txBox="1">
            <a:spLocks/>
          </p:cNvSpPr>
          <p:nvPr/>
        </p:nvSpPr>
        <p:spPr>
          <a:xfrm>
            <a:off x="284041" y="128606"/>
            <a:ext cx="8286750" cy="720503"/>
          </a:xfrm>
          <a:prstGeom prst="rect">
            <a:avLst/>
          </a:prstGeom>
          <a:solidFill>
            <a:srgbClr val="005C28"/>
          </a:solidFill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9pPr>
          </a:lstStyle>
          <a:p>
            <a:pPr>
              <a:defRPr/>
            </a:pPr>
            <a:r>
              <a:rPr lang="en-ZA" sz="2400" b="1" kern="0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South Africa </a:t>
            </a:r>
          </a:p>
          <a:p>
            <a:pPr>
              <a:defRPr/>
            </a:pPr>
            <a:r>
              <a:rPr lang="en-ZA" sz="2400" b="1" kern="0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Introduction and Phased Implementation of Oral PrEP</a:t>
            </a:r>
          </a:p>
          <a:p>
            <a:pPr>
              <a:defRPr/>
            </a:pPr>
            <a:r>
              <a:rPr lang="en-US" sz="2000" b="1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(June 2016 – September 2022)</a:t>
            </a:r>
            <a:endParaRPr lang="en-ZA" sz="2000" b="1" kern="0" dirty="0">
              <a:solidFill>
                <a:prstClr val="white"/>
              </a:solidFill>
              <a:latin typeface="Calibri (Headings)"/>
              <a:cs typeface="Arial" panose="020B0604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08715DB-A55C-4B53-A5A6-FE05DF7157CD}"/>
              </a:ext>
            </a:extLst>
          </p:cNvPr>
          <p:cNvSpPr txBox="1"/>
          <p:nvPr/>
        </p:nvSpPr>
        <p:spPr>
          <a:xfrm>
            <a:off x="2810977" y="6092382"/>
            <a:ext cx="40743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Source:Consolidated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from DHIS, TIER and implementing partner reports.</a:t>
            </a:r>
          </a:p>
        </p:txBody>
      </p:sp>
      <p:sp>
        <p:nvSpPr>
          <p:cNvPr id="150" name="Chevron 55">
            <a:extLst>
              <a:ext uri="{FF2B5EF4-FFF2-40B4-BE49-F238E27FC236}">
                <a16:creationId xmlns:a16="http://schemas.microsoft.com/office/drawing/2014/main" id="{020EEBB4-93AF-4366-B021-DF81FBFF56D2}"/>
              </a:ext>
            </a:extLst>
          </p:cNvPr>
          <p:cNvSpPr/>
          <p:nvPr/>
        </p:nvSpPr>
        <p:spPr>
          <a:xfrm>
            <a:off x="8000183" y="4226290"/>
            <a:ext cx="1174349" cy="351974"/>
          </a:xfrm>
          <a:prstGeom prst="chevron">
            <a:avLst>
              <a:gd name="adj" fmla="val 40000"/>
            </a:avLst>
          </a:prstGeom>
          <a:solidFill>
            <a:srgbClr val="FF0000"/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pPr>
              <a:defRPr/>
            </a:pPr>
            <a:endParaRPr lang="en-US" sz="1000" ker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cs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024274D-7439-6545-9AC3-8CF99975647B}"/>
              </a:ext>
            </a:extLst>
          </p:cNvPr>
          <p:cNvSpPr txBox="1"/>
          <p:nvPr/>
        </p:nvSpPr>
        <p:spPr>
          <a:xfrm>
            <a:off x="1032117" y="1212333"/>
            <a:ext cx="9809204" cy="338554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ince programme inception in June 2016  to September 2022 , over </a:t>
            </a:r>
            <a:r>
              <a:rPr lang="en-US" sz="1400" b="1" dirty="0">
                <a:solidFill>
                  <a:srgbClr val="000000">
                    <a:lumMod val="75000"/>
                    <a:lumOff val="25000"/>
                  </a:srgbClr>
                </a:solidFill>
                <a:cs typeface="Segoe UI" panose="020B0502040204020203" pitchFamily="34" charset="0"/>
              </a:rPr>
              <a:t>726 745 </a:t>
            </a:r>
            <a:r>
              <a:rPr lang="en-US" sz="1400" dirty="0"/>
              <a:t>individuals </a:t>
            </a:r>
            <a:r>
              <a:rPr lang="en-US" sz="1600" dirty="0"/>
              <a:t>were</a:t>
            </a:r>
            <a:r>
              <a:rPr lang="en-US" sz="1400" dirty="0"/>
              <a:t> initiated on oral PrEP</a:t>
            </a:r>
          </a:p>
        </p:txBody>
      </p:sp>
      <p:sp>
        <p:nvSpPr>
          <p:cNvPr id="117" name="Chevron 4">
            <a:extLst>
              <a:ext uri="{FF2B5EF4-FFF2-40B4-BE49-F238E27FC236}">
                <a16:creationId xmlns:a16="http://schemas.microsoft.com/office/drawing/2014/main" id="{9245FFBA-599A-44F2-BAE9-4A049C09F7BB}"/>
              </a:ext>
            </a:extLst>
          </p:cNvPr>
          <p:cNvSpPr/>
          <p:nvPr/>
        </p:nvSpPr>
        <p:spPr>
          <a:xfrm>
            <a:off x="1372020" y="4225272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DE64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18" name="Chevron 14">
            <a:extLst>
              <a:ext uri="{FF2B5EF4-FFF2-40B4-BE49-F238E27FC236}">
                <a16:creationId xmlns:a16="http://schemas.microsoft.com/office/drawing/2014/main" id="{8FCFBC56-C9B7-4BA3-8C27-9B6522FFF53E}"/>
              </a:ext>
            </a:extLst>
          </p:cNvPr>
          <p:cNvSpPr/>
          <p:nvPr/>
        </p:nvSpPr>
        <p:spPr>
          <a:xfrm>
            <a:off x="2697898" y="4225273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BC55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19" name="Chevron 17">
            <a:extLst>
              <a:ext uri="{FF2B5EF4-FFF2-40B4-BE49-F238E27FC236}">
                <a16:creationId xmlns:a16="http://schemas.microsoft.com/office/drawing/2014/main" id="{110C16AC-1912-43C9-9853-8CF09D4C54E2}"/>
              </a:ext>
            </a:extLst>
          </p:cNvPr>
          <p:cNvSpPr/>
          <p:nvPr/>
        </p:nvSpPr>
        <p:spPr>
          <a:xfrm>
            <a:off x="4023775" y="4225272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9242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20" name="Chevron 19">
            <a:extLst>
              <a:ext uri="{FF2B5EF4-FFF2-40B4-BE49-F238E27FC236}">
                <a16:creationId xmlns:a16="http://schemas.microsoft.com/office/drawing/2014/main" id="{5B2CBF81-CF7C-428E-B977-15C3EBD81B7C}"/>
              </a:ext>
            </a:extLst>
          </p:cNvPr>
          <p:cNvSpPr/>
          <p:nvPr/>
        </p:nvSpPr>
        <p:spPr>
          <a:xfrm>
            <a:off x="5349653" y="4225272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7434">
              <a:alpha val="90000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21" name="Chevron 21">
            <a:extLst>
              <a:ext uri="{FF2B5EF4-FFF2-40B4-BE49-F238E27FC236}">
                <a16:creationId xmlns:a16="http://schemas.microsoft.com/office/drawing/2014/main" id="{3CF3EB26-5C19-4931-AC7E-00701B7225D4}"/>
              </a:ext>
            </a:extLst>
          </p:cNvPr>
          <p:cNvSpPr/>
          <p:nvPr/>
        </p:nvSpPr>
        <p:spPr>
          <a:xfrm>
            <a:off x="6675531" y="4225272"/>
            <a:ext cx="1174349" cy="351974"/>
          </a:xfrm>
          <a:prstGeom prst="chevron">
            <a:avLst>
              <a:gd name="adj" fmla="val 40000"/>
            </a:avLst>
          </a:prstGeom>
          <a:solidFill>
            <a:srgbClr val="FF0000"/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23" name="Freeform 8">
            <a:extLst>
              <a:ext uri="{FF2B5EF4-FFF2-40B4-BE49-F238E27FC236}">
                <a16:creationId xmlns:a16="http://schemas.microsoft.com/office/drawing/2014/main" id="{5C79AA4D-F914-40E3-A19A-933A25CA9E92}"/>
              </a:ext>
            </a:extLst>
          </p:cNvPr>
          <p:cNvSpPr/>
          <p:nvPr/>
        </p:nvSpPr>
        <p:spPr>
          <a:xfrm>
            <a:off x="1498232" y="4505068"/>
            <a:ext cx="1229895" cy="1384642"/>
          </a:xfrm>
          <a:custGeom>
            <a:avLst/>
            <a:gdLst>
              <a:gd name="connsiteX0" fmla="*/ 0 w 1448456"/>
              <a:gd name="connsiteY0" fmla="*/ 144846 h 1552927"/>
              <a:gd name="connsiteX1" fmla="*/ 144846 w 1448456"/>
              <a:gd name="connsiteY1" fmla="*/ 0 h 1552927"/>
              <a:gd name="connsiteX2" fmla="*/ 1303610 w 1448456"/>
              <a:gd name="connsiteY2" fmla="*/ 0 h 1552927"/>
              <a:gd name="connsiteX3" fmla="*/ 1448456 w 1448456"/>
              <a:gd name="connsiteY3" fmla="*/ 144846 h 1552927"/>
              <a:gd name="connsiteX4" fmla="*/ 1448456 w 1448456"/>
              <a:gd name="connsiteY4" fmla="*/ 1408081 h 1552927"/>
              <a:gd name="connsiteX5" fmla="*/ 1303610 w 1448456"/>
              <a:gd name="connsiteY5" fmla="*/ 1552927 h 1552927"/>
              <a:gd name="connsiteX6" fmla="*/ 144846 w 1448456"/>
              <a:gd name="connsiteY6" fmla="*/ 1552927 h 1552927"/>
              <a:gd name="connsiteX7" fmla="*/ 0 w 1448456"/>
              <a:gd name="connsiteY7" fmla="*/ 1408081 h 1552927"/>
              <a:gd name="connsiteX8" fmla="*/ 0 w 1448456"/>
              <a:gd name="connsiteY8" fmla="*/ 144846 h 155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292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8081"/>
                </a:lnTo>
                <a:cubicBezTo>
                  <a:pt x="1448456" y="1488077"/>
                  <a:pt x="1383606" y="1552927"/>
                  <a:pt x="1303610" y="1552927"/>
                </a:cubicBezTo>
                <a:lnTo>
                  <a:pt x="144846" y="1552927"/>
                </a:lnTo>
                <a:cubicBezTo>
                  <a:pt x="64850" y="1552927"/>
                  <a:pt x="0" y="1488077"/>
                  <a:pt x="0" y="140808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13   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771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</a:t>
            </a:r>
          </a:p>
        </p:txBody>
      </p:sp>
      <p:sp>
        <p:nvSpPr>
          <p:cNvPr id="124" name="Freeform 16">
            <a:extLst>
              <a:ext uri="{FF2B5EF4-FFF2-40B4-BE49-F238E27FC236}">
                <a16:creationId xmlns:a16="http://schemas.microsoft.com/office/drawing/2014/main" id="{210B815F-F289-43AE-A352-CDAE1FF05B8A}"/>
              </a:ext>
            </a:extLst>
          </p:cNvPr>
          <p:cNvSpPr/>
          <p:nvPr/>
        </p:nvSpPr>
        <p:spPr>
          <a:xfrm>
            <a:off x="2841161" y="4494921"/>
            <a:ext cx="1229895" cy="1383457"/>
          </a:xfrm>
          <a:custGeom>
            <a:avLst/>
            <a:gdLst>
              <a:gd name="connsiteX0" fmla="*/ 0 w 1448456"/>
              <a:gd name="connsiteY0" fmla="*/ 144846 h 1551597"/>
              <a:gd name="connsiteX1" fmla="*/ 144846 w 1448456"/>
              <a:gd name="connsiteY1" fmla="*/ 0 h 1551597"/>
              <a:gd name="connsiteX2" fmla="*/ 1303610 w 1448456"/>
              <a:gd name="connsiteY2" fmla="*/ 0 h 1551597"/>
              <a:gd name="connsiteX3" fmla="*/ 1448456 w 1448456"/>
              <a:gd name="connsiteY3" fmla="*/ 144846 h 1551597"/>
              <a:gd name="connsiteX4" fmla="*/ 1448456 w 1448456"/>
              <a:gd name="connsiteY4" fmla="*/ 1406751 h 1551597"/>
              <a:gd name="connsiteX5" fmla="*/ 1303610 w 1448456"/>
              <a:gd name="connsiteY5" fmla="*/ 1551597 h 1551597"/>
              <a:gd name="connsiteX6" fmla="*/ 144846 w 1448456"/>
              <a:gd name="connsiteY6" fmla="*/ 1551597 h 1551597"/>
              <a:gd name="connsiteX7" fmla="*/ 0 w 1448456"/>
              <a:gd name="connsiteY7" fmla="*/ 1406751 h 1551597"/>
              <a:gd name="connsiteX8" fmla="*/ 0 w 1448456"/>
              <a:gd name="connsiteY8" fmla="*/ 144846 h 1551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159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6751"/>
                </a:lnTo>
                <a:cubicBezTo>
                  <a:pt x="1448456" y="1486747"/>
                  <a:pt x="1383606" y="1551597"/>
                  <a:pt x="1303610" y="1551597"/>
                </a:cubicBezTo>
                <a:lnTo>
                  <a:pt x="144846" y="1551597"/>
                </a:lnTo>
                <a:cubicBezTo>
                  <a:pt x="64850" y="1551597"/>
                  <a:pt x="0" y="1486747"/>
                  <a:pt x="0" y="140675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21    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3 196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</a:t>
            </a:r>
          </a:p>
        </p:txBody>
      </p:sp>
      <p:sp>
        <p:nvSpPr>
          <p:cNvPr id="125" name="Freeform 18">
            <a:extLst>
              <a:ext uri="{FF2B5EF4-FFF2-40B4-BE49-F238E27FC236}">
                <a16:creationId xmlns:a16="http://schemas.microsoft.com/office/drawing/2014/main" id="{C2034A42-A3AE-418A-9AE8-9D07BEDFC878}"/>
              </a:ext>
            </a:extLst>
          </p:cNvPr>
          <p:cNvSpPr/>
          <p:nvPr/>
        </p:nvSpPr>
        <p:spPr>
          <a:xfrm>
            <a:off x="4184092" y="4505069"/>
            <a:ext cx="1229895" cy="1384648"/>
          </a:xfrm>
          <a:custGeom>
            <a:avLst/>
            <a:gdLst>
              <a:gd name="connsiteX0" fmla="*/ 0 w 1448456"/>
              <a:gd name="connsiteY0" fmla="*/ 144846 h 1552933"/>
              <a:gd name="connsiteX1" fmla="*/ 144846 w 1448456"/>
              <a:gd name="connsiteY1" fmla="*/ 0 h 1552933"/>
              <a:gd name="connsiteX2" fmla="*/ 1303610 w 1448456"/>
              <a:gd name="connsiteY2" fmla="*/ 0 h 1552933"/>
              <a:gd name="connsiteX3" fmla="*/ 1448456 w 1448456"/>
              <a:gd name="connsiteY3" fmla="*/ 144846 h 1552933"/>
              <a:gd name="connsiteX4" fmla="*/ 1448456 w 1448456"/>
              <a:gd name="connsiteY4" fmla="*/ 1408087 h 1552933"/>
              <a:gd name="connsiteX5" fmla="*/ 1303610 w 1448456"/>
              <a:gd name="connsiteY5" fmla="*/ 1552933 h 1552933"/>
              <a:gd name="connsiteX6" fmla="*/ 144846 w 1448456"/>
              <a:gd name="connsiteY6" fmla="*/ 1552933 h 1552933"/>
              <a:gd name="connsiteX7" fmla="*/ 0 w 1448456"/>
              <a:gd name="connsiteY7" fmla="*/ 1408087 h 1552933"/>
              <a:gd name="connsiteX8" fmla="*/ 0 w 1448456"/>
              <a:gd name="connsiteY8" fmla="*/ 144846 h 155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2933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8087"/>
                </a:lnTo>
                <a:cubicBezTo>
                  <a:pt x="1448456" y="1488083"/>
                  <a:pt x="1383606" y="1552933"/>
                  <a:pt x="1303610" y="1552933"/>
                </a:cubicBezTo>
                <a:lnTo>
                  <a:pt x="144846" y="1552933"/>
                </a:lnTo>
                <a:cubicBezTo>
                  <a:pt x="64850" y="1552933"/>
                  <a:pt x="0" y="1488083"/>
                  <a:pt x="0" y="1408087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74    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8 593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</a:t>
            </a:r>
          </a:p>
        </p:txBody>
      </p:sp>
      <p:sp>
        <p:nvSpPr>
          <p:cNvPr id="126" name="Freeform 20">
            <a:extLst>
              <a:ext uri="{FF2B5EF4-FFF2-40B4-BE49-F238E27FC236}">
                <a16:creationId xmlns:a16="http://schemas.microsoft.com/office/drawing/2014/main" id="{24FFCD29-00C5-4552-80AC-72B7265A4B01}"/>
              </a:ext>
            </a:extLst>
          </p:cNvPr>
          <p:cNvSpPr/>
          <p:nvPr/>
        </p:nvSpPr>
        <p:spPr>
          <a:xfrm>
            <a:off x="5509157" y="4494378"/>
            <a:ext cx="1229895" cy="1383457"/>
          </a:xfrm>
          <a:custGeom>
            <a:avLst/>
            <a:gdLst>
              <a:gd name="connsiteX0" fmla="*/ 0 w 1448456"/>
              <a:gd name="connsiteY0" fmla="*/ 144846 h 1551597"/>
              <a:gd name="connsiteX1" fmla="*/ 144846 w 1448456"/>
              <a:gd name="connsiteY1" fmla="*/ 0 h 1551597"/>
              <a:gd name="connsiteX2" fmla="*/ 1303610 w 1448456"/>
              <a:gd name="connsiteY2" fmla="*/ 0 h 1551597"/>
              <a:gd name="connsiteX3" fmla="*/ 1448456 w 1448456"/>
              <a:gd name="connsiteY3" fmla="*/ 144846 h 1551597"/>
              <a:gd name="connsiteX4" fmla="*/ 1448456 w 1448456"/>
              <a:gd name="connsiteY4" fmla="*/ 1406751 h 1551597"/>
              <a:gd name="connsiteX5" fmla="*/ 1303610 w 1448456"/>
              <a:gd name="connsiteY5" fmla="*/ 1551597 h 1551597"/>
              <a:gd name="connsiteX6" fmla="*/ 144846 w 1448456"/>
              <a:gd name="connsiteY6" fmla="*/ 1551597 h 1551597"/>
              <a:gd name="connsiteX7" fmla="*/ 0 w 1448456"/>
              <a:gd name="connsiteY7" fmla="*/ 1406751 h 1551597"/>
              <a:gd name="connsiteX8" fmla="*/ 0 w 1448456"/>
              <a:gd name="connsiteY8" fmla="*/ 144846 h 1551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159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6751"/>
                </a:lnTo>
                <a:cubicBezTo>
                  <a:pt x="1448456" y="1486747"/>
                  <a:pt x="1383606" y="1551597"/>
                  <a:pt x="1303610" y="1551597"/>
                </a:cubicBezTo>
                <a:lnTo>
                  <a:pt x="144846" y="1551597"/>
                </a:lnTo>
                <a:cubicBezTo>
                  <a:pt x="64850" y="1551597"/>
                  <a:pt x="0" y="1486747"/>
                  <a:pt x="0" y="140675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120  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45 576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</a:t>
            </a:r>
          </a:p>
        </p:txBody>
      </p:sp>
      <p:sp>
        <p:nvSpPr>
          <p:cNvPr id="127" name="Freeform 22">
            <a:extLst>
              <a:ext uri="{FF2B5EF4-FFF2-40B4-BE49-F238E27FC236}">
                <a16:creationId xmlns:a16="http://schemas.microsoft.com/office/drawing/2014/main" id="{8CB98573-CDC6-4089-8F51-7F2074172B22}"/>
              </a:ext>
            </a:extLst>
          </p:cNvPr>
          <p:cNvSpPr/>
          <p:nvPr/>
        </p:nvSpPr>
        <p:spPr>
          <a:xfrm>
            <a:off x="6812599" y="4506037"/>
            <a:ext cx="1229895" cy="1383459"/>
          </a:xfrm>
          <a:custGeom>
            <a:avLst/>
            <a:gdLst>
              <a:gd name="connsiteX0" fmla="*/ 0 w 1448456"/>
              <a:gd name="connsiteY0" fmla="*/ 144846 h 1551597"/>
              <a:gd name="connsiteX1" fmla="*/ 144846 w 1448456"/>
              <a:gd name="connsiteY1" fmla="*/ 0 h 1551597"/>
              <a:gd name="connsiteX2" fmla="*/ 1303610 w 1448456"/>
              <a:gd name="connsiteY2" fmla="*/ 0 h 1551597"/>
              <a:gd name="connsiteX3" fmla="*/ 1448456 w 1448456"/>
              <a:gd name="connsiteY3" fmla="*/ 144846 h 1551597"/>
              <a:gd name="connsiteX4" fmla="*/ 1448456 w 1448456"/>
              <a:gd name="connsiteY4" fmla="*/ 1406751 h 1551597"/>
              <a:gd name="connsiteX5" fmla="*/ 1303610 w 1448456"/>
              <a:gd name="connsiteY5" fmla="*/ 1551597 h 1551597"/>
              <a:gd name="connsiteX6" fmla="*/ 144846 w 1448456"/>
              <a:gd name="connsiteY6" fmla="*/ 1551597 h 1551597"/>
              <a:gd name="connsiteX7" fmla="*/ 0 w 1448456"/>
              <a:gd name="connsiteY7" fmla="*/ 1406751 h 1551597"/>
              <a:gd name="connsiteX8" fmla="*/ 0 w 1448456"/>
              <a:gd name="connsiteY8" fmla="*/ 144846 h 1551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159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6751"/>
                </a:lnTo>
                <a:cubicBezTo>
                  <a:pt x="1448456" y="1486747"/>
                  <a:pt x="1383606" y="1551597"/>
                  <a:pt x="1303610" y="1551597"/>
                </a:cubicBezTo>
                <a:lnTo>
                  <a:pt x="144846" y="1551597"/>
                </a:lnTo>
                <a:cubicBezTo>
                  <a:pt x="64850" y="1551597"/>
                  <a:pt x="0" y="1486747"/>
                  <a:pt x="0" y="140675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1 421 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98 586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</a:t>
            </a:r>
          </a:p>
        </p:txBody>
      </p:sp>
      <p:sp>
        <p:nvSpPr>
          <p:cNvPr id="139" name="Arrow: Chevron 138">
            <a:extLst>
              <a:ext uri="{FF2B5EF4-FFF2-40B4-BE49-F238E27FC236}">
                <a16:creationId xmlns:a16="http://schemas.microsoft.com/office/drawing/2014/main" id="{94E5B7E6-E7BA-46A1-B4E2-68FCD96F9BFD}"/>
              </a:ext>
            </a:extLst>
          </p:cNvPr>
          <p:cNvSpPr/>
          <p:nvPr/>
        </p:nvSpPr>
        <p:spPr>
          <a:xfrm>
            <a:off x="6675531" y="1696644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4821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40" name="Freeform 59">
            <a:extLst>
              <a:ext uri="{FF2B5EF4-FFF2-40B4-BE49-F238E27FC236}">
                <a16:creationId xmlns:a16="http://schemas.microsoft.com/office/drawing/2014/main" id="{C4BA49FC-8D58-4AF1-A95D-C8F016519324}"/>
              </a:ext>
            </a:extLst>
          </p:cNvPr>
          <p:cNvSpPr/>
          <p:nvPr/>
        </p:nvSpPr>
        <p:spPr>
          <a:xfrm>
            <a:off x="6885279" y="1786941"/>
            <a:ext cx="1068401" cy="329753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/>
                </a:solidFill>
                <a:latin typeface="Calibri (body)"/>
                <a:cs typeface="Arial"/>
              </a:rPr>
              <a:t>2020</a:t>
            </a:r>
          </a:p>
        </p:txBody>
      </p:sp>
      <p:sp>
        <p:nvSpPr>
          <p:cNvPr id="141" name="Chevron 43">
            <a:extLst>
              <a:ext uri="{FF2B5EF4-FFF2-40B4-BE49-F238E27FC236}">
                <a16:creationId xmlns:a16="http://schemas.microsoft.com/office/drawing/2014/main" id="{10D6C075-3711-4DF2-A024-9D1A8B1C38E9}"/>
              </a:ext>
            </a:extLst>
          </p:cNvPr>
          <p:cNvSpPr/>
          <p:nvPr/>
        </p:nvSpPr>
        <p:spPr>
          <a:xfrm>
            <a:off x="1371601" y="1698406"/>
            <a:ext cx="1174127" cy="355839"/>
          </a:xfrm>
          <a:prstGeom prst="chevron">
            <a:avLst>
              <a:gd name="adj" fmla="val 40000"/>
            </a:avLst>
          </a:prstGeom>
          <a:solidFill>
            <a:srgbClr val="00DE64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42" name="Chevron 44">
            <a:extLst>
              <a:ext uri="{FF2B5EF4-FFF2-40B4-BE49-F238E27FC236}">
                <a16:creationId xmlns:a16="http://schemas.microsoft.com/office/drawing/2014/main" id="{DF1AF1A2-4D4C-45CC-B498-5AB00BCE5646}"/>
              </a:ext>
            </a:extLst>
          </p:cNvPr>
          <p:cNvSpPr/>
          <p:nvPr/>
        </p:nvSpPr>
        <p:spPr>
          <a:xfrm>
            <a:off x="2699931" y="1698406"/>
            <a:ext cx="1174127" cy="355839"/>
          </a:xfrm>
          <a:prstGeom prst="chevron">
            <a:avLst>
              <a:gd name="adj" fmla="val 40000"/>
            </a:avLst>
          </a:prstGeom>
          <a:solidFill>
            <a:srgbClr val="00BC55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43" name="Chevron 45">
            <a:extLst>
              <a:ext uri="{FF2B5EF4-FFF2-40B4-BE49-F238E27FC236}">
                <a16:creationId xmlns:a16="http://schemas.microsoft.com/office/drawing/2014/main" id="{1D74AD55-B6A4-43C1-897A-9ECDD29EF68E}"/>
              </a:ext>
            </a:extLst>
          </p:cNvPr>
          <p:cNvSpPr/>
          <p:nvPr/>
        </p:nvSpPr>
        <p:spPr>
          <a:xfrm>
            <a:off x="4023779" y="1698406"/>
            <a:ext cx="1174127" cy="355839"/>
          </a:xfrm>
          <a:prstGeom prst="chevron">
            <a:avLst>
              <a:gd name="adj" fmla="val 40000"/>
            </a:avLst>
          </a:prstGeom>
          <a:solidFill>
            <a:srgbClr val="009242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44" name="Chevron 46">
            <a:extLst>
              <a:ext uri="{FF2B5EF4-FFF2-40B4-BE49-F238E27FC236}">
                <a16:creationId xmlns:a16="http://schemas.microsoft.com/office/drawing/2014/main" id="{F8E03D04-EB40-419E-BA84-995D41CFD2C6}"/>
              </a:ext>
            </a:extLst>
          </p:cNvPr>
          <p:cNvSpPr/>
          <p:nvPr/>
        </p:nvSpPr>
        <p:spPr>
          <a:xfrm>
            <a:off x="5349656" y="1698406"/>
            <a:ext cx="1174127" cy="355839"/>
          </a:xfrm>
          <a:prstGeom prst="chevron">
            <a:avLst>
              <a:gd name="adj" fmla="val 40000"/>
            </a:avLst>
          </a:prstGeom>
          <a:solidFill>
            <a:srgbClr val="007434">
              <a:alpha val="90000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45" name="Freeform 47">
            <a:extLst>
              <a:ext uri="{FF2B5EF4-FFF2-40B4-BE49-F238E27FC236}">
                <a16:creationId xmlns:a16="http://schemas.microsoft.com/office/drawing/2014/main" id="{81AB230C-8CE2-43D8-B509-3B4CB3D95D7B}"/>
              </a:ext>
            </a:extLst>
          </p:cNvPr>
          <p:cNvSpPr/>
          <p:nvPr/>
        </p:nvSpPr>
        <p:spPr>
          <a:xfrm>
            <a:off x="5579777" y="1790033"/>
            <a:ext cx="991484" cy="355839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endParaRPr lang="en-ZA" sz="1800" b="1" kern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(body)"/>
              <a:cs typeface="Arial"/>
            </a:endParaRPr>
          </a:p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/>
                </a:solidFill>
                <a:latin typeface="Calibri (body)"/>
                <a:cs typeface="Arial"/>
              </a:rPr>
              <a:t>2019</a:t>
            </a:r>
          </a:p>
          <a:p>
            <a:pPr defTabSz="600075">
              <a:lnSpc>
                <a:spcPct val="90000"/>
              </a:lnSpc>
              <a:spcAft>
                <a:spcPct val="35000"/>
              </a:spcAft>
              <a:defRPr/>
            </a:pPr>
            <a:endParaRPr lang="en-US" sz="1800" kern="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bri (body)"/>
              <a:cs typeface="Arial"/>
            </a:endParaRPr>
          </a:p>
        </p:txBody>
      </p:sp>
      <p:sp>
        <p:nvSpPr>
          <p:cNvPr id="146" name="Freeform 48">
            <a:extLst>
              <a:ext uri="{FF2B5EF4-FFF2-40B4-BE49-F238E27FC236}">
                <a16:creationId xmlns:a16="http://schemas.microsoft.com/office/drawing/2014/main" id="{E1205FB3-6D95-4A1C-A03B-3914D9231E42}"/>
              </a:ext>
            </a:extLst>
          </p:cNvPr>
          <p:cNvSpPr/>
          <p:nvPr/>
        </p:nvSpPr>
        <p:spPr>
          <a:xfrm>
            <a:off x="4238115" y="1787752"/>
            <a:ext cx="991484" cy="355839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/>
                </a:solidFill>
                <a:latin typeface="Calibri (body)"/>
                <a:cs typeface="Arial"/>
              </a:rPr>
              <a:t>2018</a:t>
            </a:r>
          </a:p>
        </p:txBody>
      </p:sp>
      <p:sp>
        <p:nvSpPr>
          <p:cNvPr id="147" name="Freeform 49">
            <a:extLst>
              <a:ext uri="{FF2B5EF4-FFF2-40B4-BE49-F238E27FC236}">
                <a16:creationId xmlns:a16="http://schemas.microsoft.com/office/drawing/2014/main" id="{754007FF-C102-4784-B8BB-CB3F17EAF3F3}"/>
              </a:ext>
            </a:extLst>
          </p:cNvPr>
          <p:cNvSpPr/>
          <p:nvPr/>
        </p:nvSpPr>
        <p:spPr>
          <a:xfrm>
            <a:off x="2896452" y="1787752"/>
            <a:ext cx="991484" cy="355839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>
                    <a:lumMod val="95000"/>
                  </a:srgbClr>
                </a:solidFill>
                <a:latin typeface="Calibri (body)"/>
                <a:cs typeface="Arial"/>
              </a:rPr>
              <a:t>2017</a:t>
            </a:r>
          </a:p>
        </p:txBody>
      </p:sp>
      <p:sp>
        <p:nvSpPr>
          <p:cNvPr id="137" name="Arrow: Chevron 7">
            <a:extLst>
              <a:ext uri="{FF2B5EF4-FFF2-40B4-BE49-F238E27FC236}">
                <a16:creationId xmlns:a16="http://schemas.microsoft.com/office/drawing/2014/main" id="{5CEA12B6-8091-401F-A12C-8EDD6C6BD5F3}"/>
              </a:ext>
            </a:extLst>
          </p:cNvPr>
          <p:cNvSpPr/>
          <p:nvPr/>
        </p:nvSpPr>
        <p:spPr>
          <a:xfrm>
            <a:off x="8000180" y="1700724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220F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138" name="Freeform 53">
            <a:extLst>
              <a:ext uri="{FF2B5EF4-FFF2-40B4-BE49-F238E27FC236}">
                <a16:creationId xmlns:a16="http://schemas.microsoft.com/office/drawing/2014/main" id="{5124ECCD-9AFE-41F1-A6A9-B0A84BCA831E}"/>
              </a:ext>
            </a:extLst>
          </p:cNvPr>
          <p:cNvSpPr/>
          <p:nvPr/>
        </p:nvSpPr>
        <p:spPr>
          <a:xfrm>
            <a:off x="8225709" y="1789257"/>
            <a:ext cx="1068402" cy="329753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/>
                </a:solidFill>
                <a:latin typeface="Calibri (body)"/>
                <a:cs typeface="Arial"/>
              </a:rPr>
              <a:t>2021</a:t>
            </a:r>
          </a:p>
        </p:txBody>
      </p:sp>
      <p:sp>
        <p:nvSpPr>
          <p:cNvPr id="151" name="Freeform 56">
            <a:extLst>
              <a:ext uri="{FF2B5EF4-FFF2-40B4-BE49-F238E27FC236}">
                <a16:creationId xmlns:a16="http://schemas.microsoft.com/office/drawing/2014/main" id="{7F295E90-2021-49F2-A7ED-7DEBC5728CA5}"/>
              </a:ext>
            </a:extLst>
          </p:cNvPr>
          <p:cNvSpPr/>
          <p:nvPr/>
        </p:nvSpPr>
        <p:spPr>
          <a:xfrm>
            <a:off x="8136434" y="4494376"/>
            <a:ext cx="1228536" cy="1383459"/>
          </a:xfrm>
          <a:custGeom>
            <a:avLst/>
            <a:gdLst>
              <a:gd name="connsiteX0" fmla="*/ 0 w 1448456"/>
              <a:gd name="connsiteY0" fmla="*/ 144846 h 1551597"/>
              <a:gd name="connsiteX1" fmla="*/ 144846 w 1448456"/>
              <a:gd name="connsiteY1" fmla="*/ 0 h 1551597"/>
              <a:gd name="connsiteX2" fmla="*/ 1303610 w 1448456"/>
              <a:gd name="connsiteY2" fmla="*/ 0 h 1551597"/>
              <a:gd name="connsiteX3" fmla="*/ 1448456 w 1448456"/>
              <a:gd name="connsiteY3" fmla="*/ 144846 h 1551597"/>
              <a:gd name="connsiteX4" fmla="*/ 1448456 w 1448456"/>
              <a:gd name="connsiteY4" fmla="*/ 1406751 h 1551597"/>
              <a:gd name="connsiteX5" fmla="*/ 1303610 w 1448456"/>
              <a:gd name="connsiteY5" fmla="*/ 1551597 h 1551597"/>
              <a:gd name="connsiteX6" fmla="*/ 144846 w 1448456"/>
              <a:gd name="connsiteY6" fmla="*/ 1551597 h 1551597"/>
              <a:gd name="connsiteX7" fmla="*/ 0 w 1448456"/>
              <a:gd name="connsiteY7" fmla="*/ 1406751 h 1551597"/>
              <a:gd name="connsiteX8" fmla="*/ 0 w 1448456"/>
              <a:gd name="connsiteY8" fmla="*/ 144846 h 1551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159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6751"/>
                </a:lnTo>
                <a:cubicBezTo>
                  <a:pt x="1448456" y="1486747"/>
                  <a:pt x="1383606" y="1551597"/>
                  <a:pt x="1303610" y="1551597"/>
                </a:cubicBezTo>
                <a:lnTo>
                  <a:pt x="144846" y="1551597"/>
                </a:lnTo>
                <a:cubicBezTo>
                  <a:pt x="64850" y="1551597"/>
                  <a:pt x="0" y="1486747"/>
                  <a:pt x="0" y="140675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2 702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288 237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</a:t>
            </a:r>
          </a:p>
        </p:txBody>
      </p:sp>
      <p:sp>
        <p:nvSpPr>
          <p:cNvPr id="154" name="Freeform 49">
            <a:extLst>
              <a:ext uri="{FF2B5EF4-FFF2-40B4-BE49-F238E27FC236}">
                <a16:creationId xmlns:a16="http://schemas.microsoft.com/office/drawing/2014/main" id="{31049CAA-0191-41F2-92B3-F21629D9C899}"/>
              </a:ext>
            </a:extLst>
          </p:cNvPr>
          <p:cNvSpPr/>
          <p:nvPr/>
        </p:nvSpPr>
        <p:spPr>
          <a:xfrm>
            <a:off x="1578585" y="1789955"/>
            <a:ext cx="991484" cy="355839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>
                    <a:lumMod val="95000"/>
                  </a:srgbClr>
                </a:solidFill>
                <a:latin typeface="Calibri (body)"/>
                <a:cs typeface="Arial"/>
              </a:rPr>
              <a:t>2016</a:t>
            </a:r>
          </a:p>
        </p:txBody>
      </p:sp>
      <p:sp>
        <p:nvSpPr>
          <p:cNvPr id="36" name="Freeform 8">
            <a:extLst>
              <a:ext uri="{FF2B5EF4-FFF2-40B4-BE49-F238E27FC236}">
                <a16:creationId xmlns:a16="http://schemas.microsoft.com/office/drawing/2014/main" id="{53EA899F-DBAE-4401-AE4D-9D68E186A4B4}"/>
              </a:ext>
            </a:extLst>
          </p:cNvPr>
          <p:cNvSpPr/>
          <p:nvPr/>
        </p:nvSpPr>
        <p:spPr>
          <a:xfrm>
            <a:off x="1469627" y="2205848"/>
            <a:ext cx="1229895" cy="707894"/>
          </a:xfrm>
          <a:custGeom>
            <a:avLst/>
            <a:gdLst>
              <a:gd name="connsiteX0" fmla="*/ 0 w 1448456"/>
              <a:gd name="connsiteY0" fmla="*/ 144846 h 1552927"/>
              <a:gd name="connsiteX1" fmla="*/ 144846 w 1448456"/>
              <a:gd name="connsiteY1" fmla="*/ 0 h 1552927"/>
              <a:gd name="connsiteX2" fmla="*/ 1303610 w 1448456"/>
              <a:gd name="connsiteY2" fmla="*/ 0 h 1552927"/>
              <a:gd name="connsiteX3" fmla="*/ 1448456 w 1448456"/>
              <a:gd name="connsiteY3" fmla="*/ 144846 h 1552927"/>
              <a:gd name="connsiteX4" fmla="*/ 1448456 w 1448456"/>
              <a:gd name="connsiteY4" fmla="*/ 1408081 h 1552927"/>
              <a:gd name="connsiteX5" fmla="*/ 1303610 w 1448456"/>
              <a:gd name="connsiteY5" fmla="*/ 1552927 h 1552927"/>
              <a:gd name="connsiteX6" fmla="*/ 144846 w 1448456"/>
              <a:gd name="connsiteY6" fmla="*/ 1552927 h 1552927"/>
              <a:gd name="connsiteX7" fmla="*/ 0 w 1448456"/>
              <a:gd name="connsiteY7" fmla="*/ 1408081 h 1552927"/>
              <a:gd name="connsiteX8" fmla="*/ 0 w 1448456"/>
              <a:gd name="connsiteY8" fmla="*/ 144846 h 15529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292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8081"/>
                </a:lnTo>
                <a:cubicBezTo>
                  <a:pt x="1448456" y="1488077"/>
                  <a:pt x="1383606" y="1552927"/>
                  <a:pt x="1303610" y="1552927"/>
                </a:cubicBezTo>
                <a:lnTo>
                  <a:pt x="144846" y="1552927"/>
                </a:lnTo>
                <a:cubicBezTo>
                  <a:pt x="64850" y="1552927"/>
                  <a:pt x="0" y="1488077"/>
                  <a:pt x="0" y="140808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ex Workers</a:t>
            </a:r>
          </a:p>
        </p:txBody>
      </p:sp>
      <p:sp>
        <p:nvSpPr>
          <p:cNvPr id="37" name="Freeform 16">
            <a:extLst>
              <a:ext uri="{FF2B5EF4-FFF2-40B4-BE49-F238E27FC236}">
                <a16:creationId xmlns:a16="http://schemas.microsoft.com/office/drawing/2014/main" id="{6BEA6F5E-1856-4C90-A8DF-9414A326A2E1}"/>
              </a:ext>
            </a:extLst>
          </p:cNvPr>
          <p:cNvSpPr/>
          <p:nvPr/>
        </p:nvSpPr>
        <p:spPr>
          <a:xfrm>
            <a:off x="2841162" y="2206102"/>
            <a:ext cx="1229895" cy="947940"/>
          </a:xfrm>
          <a:custGeom>
            <a:avLst/>
            <a:gdLst>
              <a:gd name="connsiteX0" fmla="*/ 0 w 1448456"/>
              <a:gd name="connsiteY0" fmla="*/ 144846 h 1551597"/>
              <a:gd name="connsiteX1" fmla="*/ 144846 w 1448456"/>
              <a:gd name="connsiteY1" fmla="*/ 0 h 1551597"/>
              <a:gd name="connsiteX2" fmla="*/ 1303610 w 1448456"/>
              <a:gd name="connsiteY2" fmla="*/ 0 h 1551597"/>
              <a:gd name="connsiteX3" fmla="*/ 1448456 w 1448456"/>
              <a:gd name="connsiteY3" fmla="*/ 144846 h 1551597"/>
              <a:gd name="connsiteX4" fmla="*/ 1448456 w 1448456"/>
              <a:gd name="connsiteY4" fmla="*/ 1406751 h 1551597"/>
              <a:gd name="connsiteX5" fmla="*/ 1303610 w 1448456"/>
              <a:gd name="connsiteY5" fmla="*/ 1551597 h 1551597"/>
              <a:gd name="connsiteX6" fmla="*/ 144846 w 1448456"/>
              <a:gd name="connsiteY6" fmla="*/ 1551597 h 1551597"/>
              <a:gd name="connsiteX7" fmla="*/ 0 w 1448456"/>
              <a:gd name="connsiteY7" fmla="*/ 1406751 h 1551597"/>
              <a:gd name="connsiteX8" fmla="*/ 0 w 1448456"/>
              <a:gd name="connsiteY8" fmla="*/ 144846 h 1551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159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6751"/>
                </a:lnTo>
                <a:cubicBezTo>
                  <a:pt x="1448456" y="1486747"/>
                  <a:pt x="1383606" y="1551597"/>
                  <a:pt x="1303610" y="1551597"/>
                </a:cubicBezTo>
                <a:lnTo>
                  <a:pt x="144846" y="1551597"/>
                </a:lnTo>
                <a:cubicBezTo>
                  <a:pt x="64850" y="1551597"/>
                  <a:pt x="0" y="1486747"/>
                  <a:pt x="0" y="140675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ex Workers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MSM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Universities</a:t>
            </a:r>
          </a:p>
        </p:txBody>
      </p:sp>
      <p:sp>
        <p:nvSpPr>
          <p:cNvPr id="38" name="Freeform 18">
            <a:extLst>
              <a:ext uri="{FF2B5EF4-FFF2-40B4-BE49-F238E27FC236}">
                <a16:creationId xmlns:a16="http://schemas.microsoft.com/office/drawing/2014/main" id="{4BD2546E-929C-4F93-AD65-2C2D981A84C3}"/>
              </a:ext>
            </a:extLst>
          </p:cNvPr>
          <p:cNvSpPr/>
          <p:nvPr/>
        </p:nvSpPr>
        <p:spPr>
          <a:xfrm>
            <a:off x="4152952" y="2206408"/>
            <a:ext cx="1229895" cy="1273179"/>
          </a:xfrm>
          <a:custGeom>
            <a:avLst/>
            <a:gdLst>
              <a:gd name="connsiteX0" fmla="*/ 0 w 1448456"/>
              <a:gd name="connsiteY0" fmla="*/ 144846 h 1552933"/>
              <a:gd name="connsiteX1" fmla="*/ 144846 w 1448456"/>
              <a:gd name="connsiteY1" fmla="*/ 0 h 1552933"/>
              <a:gd name="connsiteX2" fmla="*/ 1303610 w 1448456"/>
              <a:gd name="connsiteY2" fmla="*/ 0 h 1552933"/>
              <a:gd name="connsiteX3" fmla="*/ 1448456 w 1448456"/>
              <a:gd name="connsiteY3" fmla="*/ 144846 h 1552933"/>
              <a:gd name="connsiteX4" fmla="*/ 1448456 w 1448456"/>
              <a:gd name="connsiteY4" fmla="*/ 1408087 h 1552933"/>
              <a:gd name="connsiteX5" fmla="*/ 1303610 w 1448456"/>
              <a:gd name="connsiteY5" fmla="*/ 1552933 h 1552933"/>
              <a:gd name="connsiteX6" fmla="*/ 144846 w 1448456"/>
              <a:gd name="connsiteY6" fmla="*/ 1552933 h 1552933"/>
              <a:gd name="connsiteX7" fmla="*/ 0 w 1448456"/>
              <a:gd name="connsiteY7" fmla="*/ 1408087 h 1552933"/>
              <a:gd name="connsiteX8" fmla="*/ 0 w 1448456"/>
              <a:gd name="connsiteY8" fmla="*/ 144846 h 155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2933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8087"/>
                </a:lnTo>
                <a:cubicBezTo>
                  <a:pt x="1448456" y="1488083"/>
                  <a:pt x="1383606" y="1552933"/>
                  <a:pt x="1303610" y="1552933"/>
                </a:cubicBezTo>
                <a:lnTo>
                  <a:pt x="144846" y="1552933"/>
                </a:lnTo>
                <a:cubicBezTo>
                  <a:pt x="64850" y="1552933"/>
                  <a:pt x="0" y="1488083"/>
                  <a:pt x="0" y="1408087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ex Workers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MSM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Universities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AGYW</a:t>
            </a:r>
          </a:p>
        </p:txBody>
      </p:sp>
      <p:sp>
        <p:nvSpPr>
          <p:cNvPr id="39" name="Freeform 18">
            <a:extLst>
              <a:ext uri="{FF2B5EF4-FFF2-40B4-BE49-F238E27FC236}">
                <a16:creationId xmlns:a16="http://schemas.microsoft.com/office/drawing/2014/main" id="{893B0D6F-47FF-492E-AD33-BE522C9A6F88}"/>
              </a:ext>
            </a:extLst>
          </p:cNvPr>
          <p:cNvSpPr/>
          <p:nvPr/>
        </p:nvSpPr>
        <p:spPr>
          <a:xfrm>
            <a:off x="5507927" y="2206715"/>
            <a:ext cx="1229895" cy="1692677"/>
          </a:xfrm>
          <a:custGeom>
            <a:avLst/>
            <a:gdLst>
              <a:gd name="connsiteX0" fmla="*/ 0 w 1448456"/>
              <a:gd name="connsiteY0" fmla="*/ 144846 h 1552933"/>
              <a:gd name="connsiteX1" fmla="*/ 144846 w 1448456"/>
              <a:gd name="connsiteY1" fmla="*/ 0 h 1552933"/>
              <a:gd name="connsiteX2" fmla="*/ 1303610 w 1448456"/>
              <a:gd name="connsiteY2" fmla="*/ 0 h 1552933"/>
              <a:gd name="connsiteX3" fmla="*/ 1448456 w 1448456"/>
              <a:gd name="connsiteY3" fmla="*/ 144846 h 1552933"/>
              <a:gd name="connsiteX4" fmla="*/ 1448456 w 1448456"/>
              <a:gd name="connsiteY4" fmla="*/ 1408087 h 1552933"/>
              <a:gd name="connsiteX5" fmla="*/ 1303610 w 1448456"/>
              <a:gd name="connsiteY5" fmla="*/ 1552933 h 1552933"/>
              <a:gd name="connsiteX6" fmla="*/ 144846 w 1448456"/>
              <a:gd name="connsiteY6" fmla="*/ 1552933 h 1552933"/>
              <a:gd name="connsiteX7" fmla="*/ 0 w 1448456"/>
              <a:gd name="connsiteY7" fmla="*/ 1408087 h 1552933"/>
              <a:gd name="connsiteX8" fmla="*/ 0 w 1448456"/>
              <a:gd name="connsiteY8" fmla="*/ 144846 h 155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2933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8087"/>
                </a:lnTo>
                <a:cubicBezTo>
                  <a:pt x="1448456" y="1488083"/>
                  <a:pt x="1383606" y="1552933"/>
                  <a:pt x="1303610" y="1552933"/>
                </a:cubicBezTo>
                <a:lnTo>
                  <a:pt x="144846" y="1552933"/>
                </a:lnTo>
                <a:cubicBezTo>
                  <a:pt x="64850" y="1552933"/>
                  <a:pt x="0" y="1488083"/>
                  <a:pt x="0" y="1408087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ex Workers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MSM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Universities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AGYW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TG</a:t>
            </a:r>
          </a:p>
          <a:p>
            <a:pPr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WID</a:t>
            </a:r>
          </a:p>
        </p:txBody>
      </p:sp>
      <p:sp>
        <p:nvSpPr>
          <p:cNvPr id="42" name="Chevron 55">
            <a:extLst>
              <a:ext uri="{FF2B5EF4-FFF2-40B4-BE49-F238E27FC236}">
                <a16:creationId xmlns:a16="http://schemas.microsoft.com/office/drawing/2014/main" id="{104F9522-F98A-4AF8-B7F9-87152397A262}"/>
              </a:ext>
            </a:extLst>
          </p:cNvPr>
          <p:cNvSpPr/>
          <p:nvPr/>
        </p:nvSpPr>
        <p:spPr>
          <a:xfrm>
            <a:off x="9324835" y="4241405"/>
            <a:ext cx="1223422" cy="314070"/>
          </a:xfrm>
          <a:prstGeom prst="chevron">
            <a:avLst>
              <a:gd name="adj" fmla="val 40000"/>
            </a:avLst>
          </a:prstGeom>
          <a:solidFill>
            <a:srgbClr val="FF0000"/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pPr>
              <a:defRPr/>
            </a:pPr>
            <a:endParaRPr lang="en-US" sz="1000" ker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Verdana"/>
              <a:cs typeface="Arial"/>
            </a:endParaRPr>
          </a:p>
        </p:txBody>
      </p:sp>
      <p:sp>
        <p:nvSpPr>
          <p:cNvPr id="43" name="Arrow: Chevron 7">
            <a:extLst>
              <a:ext uri="{FF2B5EF4-FFF2-40B4-BE49-F238E27FC236}">
                <a16:creationId xmlns:a16="http://schemas.microsoft.com/office/drawing/2014/main" id="{400DD48A-9FC7-479C-B6A1-610D0B165C0B}"/>
              </a:ext>
            </a:extLst>
          </p:cNvPr>
          <p:cNvSpPr/>
          <p:nvPr/>
        </p:nvSpPr>
        <p:spPr>
          <a:xfrm>
            <a:off x="9326751" y="1711312"/>
            <a:ext cx="1174349" cy="351974"/>
          </a:xfrm>
          <a:prstGeom prst="chevron">
            <a:avLst>
              <a:gd name="adj" fmla="val 40000"/>
            </a:avLst>
          </a:prstGeom>
          <a:solidFill>
            <a:srgbClr val="00220F">
              <a:alpha val="89804"/>
            </a:srgbClr>
          </a:solidFill>
          <a:ln w="12700" cap="flat" cmpd="sng" algn="ctr">
            <a:solidFill>
              <a:srgbClr val="4D4D4D"/>
            </a:solidFill>
            <a:prstDash val="solid"/>
          </a:ln>
          <a:effectLst/>
        </p:spPr>
        <p:txBody>
          <a:bodyPr/>
          <a:lstStyle/>
          <a:p>
            <a:endParaRPr lang="en-ZA" sz="1800"/>
          </a:p>
        </p:txBody>
      </p:sp>
      <p:sp>
        <p:nvSpPr>
          <p:cNvPr id="44" name="Freeform 53">
            <a:extLst>
              <a:ext uri="{FF2B5EF4-FFF2-40B4-BE49-F238E27FC236}">
                <a16:creationId xmlns:a16="http://schemas.microsoft.com/office/drawing/2014/main" id="{D3FD59F9-BDD2-4A71-889D-39AD612041BD}"/>
              </a:ext>
            </a:extLst>
          </p:cNvPr>
          <p:cNvSpPr/>
          <p:nvPr/>
        </p:nvSpPr>
        <p:spPr>
          <a:xfrm>
            <a:off x="9549991" y="1795882"/>
            <a:ext cx="1068402" cy="329753"/>
          </a:xfrm>
          <a:custGeom>
            <a:avLst/>
            <a:gdLst>
              <a:gd name="connsiteX0" fmla="*/ 0 w 1325717"/>
              <a:gd name="connsiteY0" fmla="*/ 60599 h 605992"/>
              <a:gd name="connsiteX1" fmla="*/ 60599 w 1325717"/>
              <a:gd name="connsiteY1" fmla="*/ 0 h 605992"/>
              <a:gd name="connsiteX2" fmla="*/ 1265118 w 1325717"/>
              <a:gd name="connsiteY2" fmla="*/ 0 h 605992"/>
              <a:gd name="connsiteX3" fmla="*/ 1325717 w 1325717"/>
              <a:gd name="connsiteY3" fmla="*/ 60599 h 605992"/>
              <a:gd name="connsiteX4" fmla="*/ 1325717 w 1325717"/>
              <a:gd name="connsiteY4" fmla="*/ 545393 h 605992"/>
              <a:gd name="connsiteX5" fmla="*/ 1265118 w 1325717"/>
              <a:gd name="connsiteY5" fmla="*/ 605992 h 605992"/>
              <a:gd name="connsiteX6" fmla="*/ 60599 w 1325717"/>
              <a:gd name="connsiteY6" fmla="*/ 605992 h 605992"/>
              <a:gd name="connsiteX7" fmla="*/ 0 w 1325717"/>
              <a:gd name="connsiteY7" fmla="*/ 545393 h 605992"/>
              <a:gd name="connsiteX8" fmla="*/ 0 w 1325717"/>
              <a:gd name="connsiteY8" fmla="*/ 60599 h 60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5717" h="605992">
                <a:moveTo>
                  <a:pt x="0" y="60599"/>
                </a:moveTo>
                <a:cubicBezTo>
                  <a:pt x="0" y="27131"/>
                  <a:pt x="27131" y="0"/>
                  <a:pt x="60599" y="0"/>
                </a:cubicBezTo>
                <a:lnTo>
                  <a:pt x="1265118" y="0"/>
                </a:lnTo>
                <a:cubicBezTo>
                  <a:pt x="1298586" y="0"/>
                  <a:pt x="1325717" y="27131"/>
                  <a:pt x="1325717" y="60599"/>
                </a:cubicBezTo>
                <a:lnTo>
                  <a:pt x="1325717" y="545393"/>
                </a:lnTo>
                <a:cubicBezTo>
                  <a:pt x="1325717" y="578861"/>
                  <a:pt x="1298586" y="605992"/>
                  <a:pt x="1265118" y="605992"/>
                </a:cubicBezTo>
                <a:lnTo>
                  <a:pt x="60599" y="605992"/>
                </a:lnTo>
                <a:cubicBezTo>
                  <a:pt x="27131" y="605992"/>
                  <a:pt x="0" y="578861"/>
                  <a:pt x="0" y="545393"/>
                </a:cubicBezTo>
                <a:lnTo>
                  <a:pt x="0" y="60599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100000"/>
                  <a:shade val="100000"/>
                  <a:satMod val="130000"/>
                </a:srgbClr>
              </a:gs>
              <a:gs pos="100000">
                <a:srgbClr val="000000"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9525" cap="flat" cmpd="sng" algn="ctr">
            <a:solidFill>
              <a:srgbClr val="0000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spcFirstLastPara="0" vert="horz" wrap="square" lIns="109324" tIns="109324" rIns="109324" bIns="109324" numCol="1" spcCol="1270" anchor="ctr" anchorCtr="0">
            <a:noAutofit/>
          </a:bodyPr>
          <a:lstStyle/>
          <a:p>
            <a:pPr algn="ctr" defTabSz="60007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FFFFFF"/>
                </a:solidFill>
                <a:latin typeface="Calibri (body)"/>
                <a:cs typeface="Arial"/>
              </a:rPr>
              <a:t>2022</a:t>
            </a:r>
          </a:p>
        </p:txBody>
      </p:sp>
      <p:sp>
        <p:nvSpPr>
          <p:cNvPr id="45" name="Freeform 56">
            <a:extLst>
              <a:ext uri="{FF2B5EF4-FFF2-40B4-BE49-F238E27FC236}">
                <a16:creationId xmlns:a16="http://schemas.microsoft.com/office/drawing/2014/main" id="{633CD813-86E6-4FA6-9176-7DC6B1EE9A3A}"/>
              </a:ext>
            </a:extLst>
          </p:cNvPr>
          <p:cNvSpPr/>
          <p:nvPr/>
        </p:nvSpPr>
        <p:spPr>
          <a:xfrm>
            <a:off x="9461085" y="4509492"/>
            <a:ext cx="1279873" cy="1365000"/>
          </a:xfrm>
          <a:custGeom>
            <a:avLst/>
            <a:gdLst>
              <a:gd name="connsiteX0" fmla="*/ 0 w 1448456"/>
              <a:gd name="connsiteY0" fmla="*/ 144846 h 1551597"/>
              <a:gd name="connsiteX1" fmla="*/ 144846 w 1448456"/>
              <a:gd name="connsiteY1" fmla="*/ 0 h 1551597"/>
              <a:gd name="connsiteX2" fmla="*/ 1303610 w 1448456"/>
              <a:gd name="connsiteY2" fmla="*/ 0 h 1551597"/>
              <a:gd name="connsiteX3" fmla="*/ 1448456 w 1448456"/>
              <a:gd name="connsiteY3" fmla="*/ 144846 h 1551597"/>
              <a:gd name="connsiteX4" fmla="*/ 1448456 w 1448456"/>
              <a:gd name="connsiteY4" fmla="*/ 1406751 h 1551597"/>
              <a:gd name="connsiteX5" fmla="*/ 1303610 w 1448456"/>
              <a:gd name="connsiteY5" fmla="*/ 1551597 h 1551597"/>
              <a:gd name="connsiteX6" fmla="*/ 144846 w 1448456"/>
              <a:gd name="connsiteY6" fmla="*/ 1551597 h 1551597"/>
              <a:gd name="connsiteX7" fmla="*/ 0 w 1448456"/>
              <a:gd name="connsiteY7" fmla="*/ 1406751 h 1551597"/>
              <a:gd name="connsiteX8" fmla="*/ 0 w 1448456"/>
              <a:gd name="connsiteY8" fmla="*/ 144846 h 1551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1597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6751"/>
                </a:lnTo>
                <a:cubicBezTo>
                  <a:pt x="1448456" y="1486747"/>
                  <a:pt x="1383606" y="1551597"/>
                  <a:pt x="1303610" y="1551597"/>
                </a:cubicBezTo>
                <a:lnTo>
                  <a:pt x="144846" y="1551597"/>
                </a:lnTo>
                <a:cubicBezTo>
                  <a:pt x="64850" y="1551597"/>
                  <a:pt x="0" y="1486747"/>
                  <a:pt x="0" y="1406751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3 162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ites* 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281 786</a:t>
            </a:r>
          </a:p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PrEP initiations*</a:t>
            </a:r>
          </a:p>
        </p:txBody>
      </p:sp>
      <p:sp>
        <p:nvSpPr>
          <p:cNvPr id="47" name="Freeform 18">
            <a:extLst>
              <a:ext uri="{FF2B5EF4-FFF2-40B4-BE49-F238E27FC236}">
                <a16:creationId xmlns:a16="http://schemas.microsoft.com/office/drawing/2014/main" id="{5D8A1C2D-3287-42E1-B89A-A9E069BF9C03}"/>
              </a:ext>
            </a:extLst>
          </p:cNvPr>
          <p:cNvSpPr/>
          <p:nvPr/>
        </p:nvSpPr>
        <p:spPr>
          <a:xfrm>
            <a:off x="6847305" y="2362200"/>
            <a:ext cx="3771088" cy="1029732"/>
          </a:xfrm>
          <a:custGeom>
            <a:avLst/>
            <a:gdLst>
              <a:gd name="connsiteX0" fmla="*/ 0 w 1448456"/>
              <a:gd name="connsiteY0" fmla="*/ 144846 h 1552933"/>
              <a:gd name="connsiteX1" fmla="*/ 144846 w 1448456"/>
              <a:gd name="connsiteY1" fmla="*/ 0 h 1552933"/>
              <a:gd name="connsiteX2" fmla="*/ 1303610 w 1448456"/>
              <a:gd name="connsiteY2" fmla="*/ 0 h 1552933"/>
              <a:gd name="connsiteX3" fmla="*/ 1448456 w 1448456"/>
              <a:gd name="connsiteY3" fmla="*/ 144846 h 1552933"/>
              <a:gd name="connsiteX4" fmla="*/ 1448456 w 1448456"/>
              <a:gd name="connsiteY4" fmla="*/ 1408087 h 1552933"/>
              <a:gd name="connsiteX5" fmla="*/ 1303610 w 1448456"/>
              <a:gd name="connsiteY5" fmla="*/ 1552933 h 1552933"/>
              <a:gd name="connsiteX6" fmla="*/ 144846 w 1448456"/>
              <a:gd name="connsiteY6" fmla="*/ 1552933 h 1552933"/>
              <a:gd name="connsiteX7" fmla="*/ 0 w 1448456"/>
              <a:gd name="connsiteY7" fmla="*/ 1408087 h 1552933"/>
              <a:gd name="connsiteX8" fmla="*/ 0 w 1448456"/>
              <a:gd name="connsiteY8" fmla="*/ 144846 h 15529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48456" h="1552933">
                <a:moveTo>
                  <a:pt x="0" y="144846"/>
                </a:moveTo>
                <a:cubicBezTo>
                  <a:pt x="0" y="64850"/>
                  <a:pt x="64850" y="0"/>
                  <a:pt x="144846" y="0"/>
                </a:cubicBezTo>
                <a:lnTo>
                  <a:pt x="1303610" y="0"/>
                </a:lnTo>
                <a:cubicBezTo>
                  <a:pt x="1383606" y="0"/>
                  <a:pt x="1448456" y="64850"/>
                  <a:pt x="1448456" y="144846"/>
                </a:cubicBezTo>
                <a:lnTo>
                  <a:pt x="1448456" y="1408087"/>
                </a:lnTo>
                <a:cubicBezTo>
                  <a:pt x="1448456" y="1488083"/>
                  <a:pt x="1383606" y="1552933"/>
                  <a:pt x="1303610" y="1552933"/>
                </a:cubicBezTo>
                <a:lnTo>
                  <a:pt x="144846" y="1552933"/>
                </a:lnTo>
                <a:cubicBezTo>
                  <a:pt x="64850" y="1552933"/>
                  <a:pt x="0" y="1488083"/>
                  <a:pt x="0" y="1408087"/>
                </a:cubicBezTo>
                <a:lnTo>
                  <a:pt x="0" y="144846"/>
                </a:lnTo>
                <a:close/>
              </a:path>
            </a:pathLst>
          </a:cu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rgbClr val="000000">
                  <a:tint val="37000"/>
                  <a:satMod val="300000"/>
                </a:srgbClr>
              </a:gs>
              <a:gs pos="100000">
                <a:srgbClr val="000000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txBody>
          <a:bodyPr spcFirstLastPara="0" vert="horz" wrap="square" lIns="106494" tIns="106494" rIns="106494" bIns="106494" numCol="1" spcCol="1270" anchor="ctr" anchorCtr="0">
            <a:noAutofit/>
          </a:bodyPr>
          <a:lstStyle/>
          <a:p>
            <a:pPr algn="ctr" defTabSz="466725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8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Calibri (body)"/>
                <a:cs typeface="Arial"/>
              </a:rPr>
              <a:t>Scale-up to Public Facilities</a:t>
            </a:r>
          </a:p>
        </p:txBody>
      </p:sp>
      <p:sp>
        <p:nvSpPr>
          <p:cNvPr id="3" name="Arrow: Left-Right 2">
            <a:extLst>
              <a:ext uri="{FF2B5EF4-FFF2-40B4-BE49-F238E27FC236}">
                <a16:creationId xmlns:a16="http://schemas.microsoft.com/office/drawing/2014/main" id="{0819FCEC-405B-FD96-C99D-1897F236F61C}"/>
              </a:ext>
            </a:extLst>
          </p:cNvPr>
          <p:cNvSpPr/>
          <p:nvPr/>
        </p:nvSpPr>
        <p:spPr>
          <a:xfrm>
            <a:off x="6772022" y="3611099"/>
            <a:ext cx="3771088" cy="468632"/>
          </a:xfrm>
          <a:prstGeom prst="left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b="1" dirty="0"/>
              <a:t>Covid-19 Pandemic</a:t>
            </a:r>
          </a:p>
        </p:txBody>
      </p:sp>
    </p:spTree>
    <p:extLst>
      <p:ext uri="{BB962C8B-B14F-4D97-AF65-F5344CB8AC3E}">
        <p14:creationId xmlns:p14="http://schemas.microsoft.com/office/powerpoint/2010/main" val="3888788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19891BD6-706A-422E-8C0F-AC5B91261E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19891BD6-706A-422E-8C0F-AC5B91261E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7BF17CF6-AFF6-46C4-BD88-18A49454CBFD}"/>
              </a:ext>
            </a:extLst>
          </p:cNvPr>
          <p:cNvSpPr txBox="1">
            <a:spLocks/>
          </p:cNvSpPr>
          <p:nvPr/>
        </p:nvSpPr>
        <p:spPr>
          <a:xfrm>
            <a:off x="425449" y="93661"/>
            <a:ext cx="8642351" cy="820739"/>
          </a:xfrm>
          <a:prstGeom prst="rect">
            <a:avLst/>
          </a:prstGeom>
          <a:solidFill>
            <a:srgbClr val="005C28"/>
          </a:solidFill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  <a:t>South Africa Provincial Distribution of </a:t>
            </a:r>
            <a:r>
              <a:rPr lang="en-US" sz="2400" b="1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O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  <a:t>ral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  <a:t> PrEP Initiations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  <a:t>(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  <a:t>June 2016 – September</a:t>
            </a:r>
            <a:r>
              <a:rPr lang="en-US" sz="2000" b="1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 202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(Headings)"/>
                <a:ea typeface="+mj-ea"/>
                <a:cs typeface="Arial" panose="020B0604020202020204" pitchFamily="34" charset="0"/>
              </a:rPr>
              <a:t>)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(Headings)"/>
              <a:ea typeface="+mj-ea"/>
              <a:cs typeface="+mj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95F1728-B6DE-496F-8B34-5FD61680E4BA}"/>
              </a:ext>
            </a:extLst>
          </p:cNvPr>
          <p:cNvSpPr txBox="1"/>
          <p:nvPr/>
        </p:nvSpPr>
        <p:spPr>
          <a:xfrm>
            <a:off x="3581400" y="6107669"/>
            <a:ext cx="3512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Source: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Consolidated from DHIS, TIER and implementing partner reports. 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C17A9FE-062B-4E6E-A123-2AE198E5CEDF}"/>
              </a:ext>
            </a:extLst>
          </p:cNvPr>
          <p:cNvSpPr/>
          <p:nvPr/>
        </p:nvSpPr>
        <p:spPr bwMode="auto">
          <a:xfrm>
            <a:off x="701729" y="1325717"/>
            <a:ext cx="1431871" cy="3190916"/>
          </a:xfrm>
          <a:prstGeom prst="rect">
            <a:avLst/>
          </a:prstGeom>
          <a:solidFill>
            <a:srgbClr val="F2F2F2">
              <a:alpha val="85098"/>
            </a:srgbClr>
          </a:solidFill>
          <a:ln w="9525" cap="flat" cmpd="sng" algn="ctr">
            <a:solidFill>
              <a:schemeClr val="bg2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alibri"/>
                <a:cs typeface="Segoe UI" panose="020B0502040204020203" pitchFamily="34" charset="0"/>
              </a:rPr>
              <a:t>726 745</a:t>
            </a:r>
            <a:endParaRPr lang="en-US" sz="1800" b="1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  <a:ea typeface="MS PGothic" pitchFamily="34" charset="-128"/>
              <a:cs typeface="Segoe UI" panose="020B0502040204020203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dirty="0">
                <a:solidFill>
                  <a:srgbClr val="000000"/>
                </a:solidFill>
                <a:latin typeface="Calibri"/>
                <a:ea typeface="MS PGothic" panose="020B0600070205080204" pitchFamily="34" charset="-128"/>
                <a:cs typeface="Segoe UI" panose="020B0502040204020203" pitchFamily="34" charset="0"/>
              </a:rPr>
              <a:t>Individuals Initiated on oral PrEP</a:t>
            </a:r>
          </a:p>
          <a:p>
            <a:pPr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800" b="1" dirty="0">
              <a:solidFill>
                <a:srgbClr val="000000"/>
              </a:solidFill>
              <a:latin typeface="Calibri"/>
              <a:ea typeface="MS PGothic" panose="020B0600070205080204" pitchFamily="34" charset="-128"/>
              <a:cs typeface="Segoe UI" panose="020B0502040204020203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dirty="0">
                <a:solidFill>
                  <a:srgbClr val="000000">
                    <a:lumMod val="75000"/>
                    <a:lumOff val="25000"/>
                  </a:srgbClr>
                </a:solidFill>
                <a:latin typeface="Calibri"/>
                <a:cs typeface="Segoe UI" panose="020B0502040204020203" pitchFamily="34" charset="0"/>
              </a:rPr>
              <a:t>3 162</a:t>
            </a:r>
            <a:endParaRPr lang="en-US" sz="1800" b="1" dirty="0">
              <a:solidFill>
                <a:srgbClr val="000000">
                  <a:lumMod val="75000"/>
                  <a:lumOff val="25000"/>
                </a:srgbClr>
              </a:solidFill>
              <a:latin typeface="Calibri"/>
              <a:ea typeface="MS PGothic" pitchFamily="34" charset="-128"/>
              <a:cs typeface="Segoe UI" panose="020B0502040204020203" pitchFamily="34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000000"/>
                </a:solidFill>
                <a:latin typeface="Calibri"/>
                <a:cs typeface="Segoe UI" panose="020B0502040204020203" pitchFamily="34" charset="0"/>
              </a:rPr>
              <a:t>Facilities </a:t>
            </a:r>
            <a:endParaRPr lang="en-US" sz="1600" dirty="0">
              <a:solidFill>
                <a:srgbClr val="000000"/>
              </a:solidFill>
              <a:latin typeface="Calibri"/>
              <a:ea typeface="MS PGothic" panose="020B0600070205080204" pitchFamily="34" charset="-128"/>
              <a:cs typeface="Segoe UI" panose="020B0502040204020203" pitchFamily="34" charset="0"/>
            </a:endParaRPr>
          </a:p>
        </p:txBody>
      </p:sp>
      <p:sp>
        <p:nvSpPr>
          <p:cNvPr id="22" name="Freeform 4">
            <a:extLst>
              <a:ext uri="{FF2B5EF4-FFF2-40B4-BE49-F238E27FC236}">
                <a16:creationId xmlns:a16="http://schemas.microsoft.com/office/drawing/2014/main" id="{B2A30A30-5DEA-425B-91C1-37F90E16A378}"/>
              </a:ext>
            </a:extLst>
          </p:cNvPr>
          <p:cNvSpPr/>
          <p:nvPr/>
        </p:nvSpPr>
        <p:spPr>
          <a:xfrm>
            <a:off x="6275087" y="2955808"/>
            <a:ext cx="1899579" cy="1410780"/>
          </a:xfrm>
          <a:custGeom>
            <a:avLst/>
            <a:gdLst>
              <a:gd name="connsiteX0" fmla="*/ 1313077 w 1970753"/>
              <a:gd name="connsiteY0" fmla="*/ 2282 h 1651987"/>
              <a:gd name="connsiteX1" fmla="*/ 1313077 w 1970753"/>
              <a:gd name="connsiteY1" fmla="*/ 4564 h 1651987"/>
              <a:gd name="connsiteX2" fmla="*/ 1315361 w 1970753"/>
              <a:gd name="connsiteY2" fmla="*/ 4564 h 1651987"/>
              <a:gd name="connsiteX3" fmla="*/ 1315361 w 1970753"/>
              <a:gd name="connsiteY3" fmla="*/ 6846 h 1651987"/>
              <a:gd name="connsiteX4" fmla="*/ 1317645 w 1970753"/>
              <a:gd name="connsiteY4" fmla="*/ 6846 h 1651987"/>
              <a:gd name="connsiteX5" fmla="*/ 1317645 w 1970753"/>
              <a:gd name="connsiteY5" fmla="*/ 9128 h 1651987"/>
              <a:gd name="connsiteX6" fmla="*/ 1319928 w 1970753"/>
              <a:gd name="connsiteY6" fmla="*/ 9128 h 1651987"/>
              <a:gd name="connsiteX7" fmla="*/ 1319928 w 1970753"/>
              <a:gd name="connsiteY7" fmla="*/ 11409 h 1651987"/>
              <a:gd name="connsiteX8" fmla="*/ 1319928 w 1970753"/>
              <a:gd name="connsiteY8" fmla="*/ 13691 h 1651987"/>
              <a:gd name="connsiteX9" fmla="*/ 1319928 w 1970753"/>
              <a:gd name="connsiteY9" fmla="*/ 15973 h 1651987"/>
              <a:gd name="connsiteX10" fmla="*/ 1319928 w 1970753"/>
              <a:gd name="connsiteY10" fmla="*/ 18255 h 1651987"/>
              <a:gd name="connsiteX11" fmla="*/ 1319928 w 1970753"/>
              <a:gd name="connsiteY11" fmla="*/ 20537 h 1651987"/>
              <a:gd name="connsiteX12" fmla="*/ 1317645 w 1970753"/>
              <a:gd name="connsiteY12" fmla="*/ 20537 h 1651987"/>
              <a:gd name="connsiteX13" fmla="*/ 1317645 w 1970753"/>
              <a:gd name="connsiteY13" fmla="*/ 22819 h 1651987"/>
              <a:gd name="connsiteX14" fmla="*/ 1317645 w 1970753"/>
              <a:gd name="connsiteY14" fmla="*/ 25101 h 1651987"/>
              <a:gd name="connsiteX15" fmla="*/ 1317645 w 1970753"/>
              <a:gd name="connsiteY15" fmla="*/ 27383 h 1651987"/>
              <a:gd name="connsiteX16" fmla="*/ 1317645 w 1970753"/>
              <a:gd name="connsiteY16" fmla="*/ 29665 h 1651987"/>
              <a:gd name="connsiteX17" fmla="*/ 1319928 w 1970753"/>
              <a:gd name="connsiteY17" fmla="*/ 29665 h 1651987"/>
              <a:gd name="connsiteX18" fmla="*/ 1319928 w 1970753"/>
              <a:gd name="connsiteY18" fmla="*/ 31947 h 1651987"/>
              <a:gd name="connsiteX19" fmla="*/ 1319928 w 1970753"/>
              <a:gd name="connsiteY19" fmla="*/ 34228 h 1651987"/>
              <a:gd name="connsiteX20" fmla="*/ 1322212 w 1970753"/>
              <a:gd name="connsiteY20" fmla="*/ 34228 h 1651987"/>
              <a:gd name="connsiteX21" fmla="*/ 1322212 w 1970753"/>
              <a:gd name="connsiteY21" fmla="*/ 36510 h 1651987"/>
              <a:gd name="connsiteX22" fmla="*/ 1322212 w 1970753"/>
              <a:gd name="connsiteY22" fmla="*/ 38792 h 1651987"/>
              <a:gd name="connsiteX23" fmla="*/ 1322212 w 1970753"/>
              <a:gd name="connsiteY23" fmla="*/ 41074 h 1651987"/>
              <a:gd name="connsiteX24" fmla="*/ 1322212 w 1970753"/>
              <a:gd name="connsiteY24" fmla="*/ 43356 h 1651987"/>
              <a:gd name="connsiteX25" fmla="*/ 1324496 w 1970753"/>
              <a:gd name="connsiteY25" fmla="*/ 43356 h 1651987"/>
              <a:gd name="connsiteX26" fmla="*/ 1326779 w 1970753"/>
              <a:gd name="connsiteY26" fmla="*/ 43356 h 1651987"/>
              <a:gd name="connsiteX27" fmla="*/ 1326779 w 1970753"/>
              <a:gd name="connsiteY27" fmla="*/ 45638 h 1651987"/>
              <a:gd name="connsiteX28" fmla="*/ 1329063 w 1970753"/>
              <a:gd name="connsiteY28" fmla="*/ 45638 h 1651987"/>
              <a:gd name="connsiteX29" fmla="*/ 1331346 w 1970753"/>
              <a:gd name="connsiteY29" fmla="*/ 45638 h 1651987"/>
              <a:gd name="connsiteX30" fmla="*/ 1331346 w 1970753"/>
              <a:gd name="connsiteY30" fmla="*/ 47920 h 1651987"/>
              <a:gd name="connsiteX31" fmla="*/ 1329063 w 1970753"/>
              <a:gd name="connsiteY31" fmla="*/ 47920 h 1651987"/>
              <a:gd name="connsiteX32" fmla="*/ 1329063 w 1970753"/>
              <a:gd name="connsiteY32" fmla="*/ 50202 h 1651987"/>
              <a:gd name="connsiteX33" fmla="*/ 1326779 w 1970753"/>
              <a:gd name="connsiteY33" fmla="*/ 50202 h 1651987"/>
              <a:gd name="connsiteX34" fmla="*/ 1324496 w 1970753"/>
              <a:gd name="connsiteY34" fmla="*/ 50202 h 1651987"/>
              <a:gd name="connsiteX35" fmla="*/ 1324496 w 1970753"/>
              <a:gd name="connsiteY35" fmla="*/ 52484 h 1651987"/>
              <a:gd name="connsiteX36" fmla="*/ 1326779 w 1970753"/>
              <a:gd name="connsiteY36" fmla="*/ 52484 h 1651987"/>
              <a:gd name="connsiteX37" fmla="*/ 1329063 w 1970753"/>
              <a:gd name="connsiteY37" fmla="*/ 52484 h 1651987"/>
              <a:gd name="connsiteX38" fmla="*/ 1331346 w 1970753"/>
              <a:gd name="connsiteY38" fmla="*/ 52484 h 1651987"/>
              <a:gd name="connsiteX39" fmla="*/ 1333630 w 1970753"/>
              <a:gd name="connsiteY39" fmla="*/ 52484 h 1651987"/>
              <a:gd name="connsiteX40" fmla="*/ 1333630 w 1970753"/>
              <a:gd name="connsiteY40" fmla="*/ 54765 h 1651987"/>
              <a:gd name="connsiteX41" fmla="*/ 1335913 w 1970753"/>
              <a:gd name="connsiteY41" fmla="*/ 54765 h 1651987"/>
              <a:gd name="connsiteX42" fmla="*/ 1338197 w 1970753"/>
              <a:gd name="connsiteY42" fmla="*/ 54765 h 1651987"/>
              <a:gd name="connsiteX43" fmla="*/ 1338197 w 1970753"/>
              <a:gd name="connsiteY43" fmla="*/ 57047 h 1651987"/>
              <a:gd name="connsiteX44" fmla="*/ 1338197 w 1970753"/>
              <a:gd name="connsiteY44" fmla="*/ 59329 h 1651987"/>
              <a:gd name="connsiteX45" fmla="*/ 1338197 w 1970753"/>
              <a:gd name="connsiteY45" fmla="*/ 61611 h 1651987"/>
              <a:gd name="connsiteX46" fmla="*/ 1340481 w 1970753"/>
              <a:gd name="connsiteY46" fmla="*/ 61611 h 1651987"/>
              <a:gd name="connsiteX47" fmla="*/ 1342764 w 1970753"/>
              <a:gd name="connsiteY47" fmla="*/ 61611 h 1651987"/>
              <a:gd name="connsiteX48" fmla="*/ 1342764 w 1970753"/>
              <a:gd name="connsiteY48" fmla="*/ 63893 h 1651987"/>
              <a:gd name="connsiteX49" fmla="*/ 1345048 w 1970753"/>
              <a:gd name="connsiteY49" fmla="*/ 63893 h 1651987"/>
              <a:gd name="connsiteX50" fmla="*/ 1345048 w 1970753"/>
              <a:gd name="connsiteY50" fmla="*/ 66175 h 1651987"/>
              <a:gd name="connsiteX51" fmla="*/ 1347331 w 1970753"/>
              <a:gd name="connsiteY51" fmla="*/ 66175 h 1651987"/>
              <a:gd name="connsiteX52" fmla="*/ 1347331 w 1970753"/>
              <a:gd name="connsiteY52" fmla="*/ 68457 h 1651987"/>
              <a:gd name="connsiteX53" fmla="*/ 1349615 w 1970753"/>
              <a:gd name="connsiteY53" fmla="*/ 68457 h 1651987"/>
              <a:gd name="connsiteX54" fmla="*/ 1349615 w 1970753"/>
              <a:gd name="connsiteY54" fmla="*/ 70739 h 1651987"/>
              <a:gd name="connsiteX55" fmla="*/ 1351899 w 1970753"/>
              <a:gd name="connsiteY55" fmla="*/ 70739 h 1651987"/>
              <a:gd name="connsiteX56" fmla="*/ 1354182 w 1970753"/>
              <a:gd name="connsiteY56" fmla="*/ 70739 h 1651987"/>
              <a:gd name="connsiteX57" fmla="*/ 1356466 w 1970753"/>
              <a:gd name="connsiteY57" fmla="*/ 70739 h 1651987"/>
              <a:gd name="connsiteX58" fmla="*/ 1358750 w 1970753"/>
              <a:gd name="connsiteY58" fmla="*/ 70739 h 1651987"/>
              <a:gd name="connsiteX59" fmla="*/ 1358750 w 1970753"/>
              <a:gd name="connsiteY59" fmla="*/ 73021 h 1651987"/>
              <a:gd name="connsiteX60" fmla="*/ 1361033 w 1970753"/>
              <a:gd name="connsiteY60" fmla="*/ 73021 h 1651987"/>
              <a:gd name="connsiteX61" fmla="*/ 1363317 w 1970753"/>
              <a:gd name="connsiteY61" fmla="*/ 73021 h 1651987"/>
              <a:gd name="connsiteX62" fmla="*/ 1363317 w 1970753"/>
              <a:gd name="connsiteY62" fmla="*/ 75303 h 1651987"/>
              <a:gd name="connsiteX63" fmla="*/ 1363317 w 1970753"/>
              <a:gd name="connsiteY63" fmla="*/ 77584 h 1651987"/>
              <a:gd name="connsiteX64" fmla="*/ 1365600 w 1970753"/>
              <a:gd name="connsiteY64" fmla="*/ 77584 h 1651987"/>
              <a:gd name="connsiteX65" fmla="*/ 1365600 w 1970753"/>
              <a:gd name="connsiteY65" fmla="*/ 79866 h 1651987"/>
              <a:gd name="connsiteX66" fmla="*/ 1365600 w 1970753"/>
              <a:gd name="connsiteY66" fmla="*/ 82139 h 1651987"/>
              <a:gd name="connsiteX67" fmla="*/ 1363317 w 1970753"/>
              <a:gd name="connsiteY67" fmla="*/ 82139 h 1651987"/>
              <a:gd name="connsiteX68" fmla="*/ 1363317 w 1970753"/>
              <a:gd name="connsiteY68" fmla="*/ 84421 h 1651987"/>
              <a:gd name="connsiteX69" fmla="*/ 1363317 w 1970753"/>
              <a:gd name="connsiteY69" fmla="*/ 86712 h 1651987"/>
              <a:gd name="connsiteX70" fmla="*/ 1363317 w 1970753"/>
              <a:gd name="connsiteY70" fmla="*/ 88984 h 1651987"/>
              <a:gd name="connsiteX71" fmla="*/ 1363317 w 1970753"/>
              <a:gd name="connsiteY71" fmla="*/ 91266 h 1651987"/>
              <a:gd name="connsiteX72" fmla="*/ 1365600 w 1970753"/>
              <a:gd name="connsiteY72" fmla="*/ 91266 h 1651987"/>
              <a:gd name="connsiteX73" fmla="*/ 1367884 w 1970753"/>
              <a:gd name="connsiteY73" fmla="*/ 91266 h 1651987"/>
              <a:gd name="connsiteX74" fmla="*/ 1370167 w 1970753"/>
              <a:gd name="connsiteY74" fmla="*/ 91266 h 1651987"/>
              <a:gd name="connsiteX75" fmla="*/ 1372451 w 1970753"/>
              <a:gd name="connsiteY75" fmla="*/ 91266 h 1651987"/>
              <a:gd name="connsiteX76" fmla="*/ 1374735 w 1970753"/>
              <a:gd name="connsiteY76" fmla="*/ 91266 h 1651987"/>
              <a:gd name="connsiteX77" fmla="*/ 1374735 w 1970753"/>
              <a:gd name="connsiteY77" fmla="*/ 88984 h 1651987"/>
              <a:gd name="connsiteX78" fmla="*/ 1377018 w 1970753"/>
              <a:gd name="connsiteY78" fmla="*/ 88984 h 1651987"/>
              <a:gd name="connsiteX79" fmla="*/ 1379302 w 1970753"/>
              <a:gd name="connsiteY79" fmla="*/ 88984 h 1651987"/>
              <a:gd name="connsiteX80" fmla="*/ 1379302 w 1970753"/>
              <a:gd name="connsiteY80" fmla="*/ 91266 h 1651987"/>
              <a:gd name="connsiteX81" fmla="*/ 1381585 w 1970753"/>
              <a:gd name="connsiteY81" fmla="*/ 91266 h 1651987"/>
              <a:gd name="connsiteX82" fmla="*/ 1383869 w 1970753"/>
              <a:gd name="connsiteY82" fmla="*/ 91266 h 1651987"/>
              <a:gd name="connsiteX83" fmla="*/ 1383869 w 1970753"/>
              <a:gd name="connsiteY83" fmla="*/ 88984 h 1651987"/>
              <a:gd name="connsiteX84" fmla="*/ 1381585 w 1970753"/>
              <a:gd name="connsiteY84" fmla="*/ 88984 h 1651987"/>
              <a:gd name="connsiteX85" fmla="*/ 1381585 w 1970753"/>
              <a:gd name="connsiteY85" fmla="*/ 86712 h 1651987"/>
              <a:gd name="connsiteX86" fmla="*/ 1381585 w 1970753"/>
              <a:gd name="connsiteY86" fmla="*/ 84421 h 1651987"/>
              <a:gd name="connsiteX87" fmla="*/ 1381585 w 1970753"/>
              <a:gd name="connsiteY87" fmla="*/ 82139 h 1651987"/>
              <a:gd name="connsiteX88" fmla="*/ 1379302 w 1970753"/>
              <a:gd name="connsiteY88" fmla="*/ 82139 h 1651987"/>
              <a:gd name="connsiteX89" fmla="*/ 1379302 w 1970753"/>
              <a:gd name="connsiteY89" fmla="*/ 79866 h 1651987"/>
              <a:gd name="connsiteX90" fmla="*/ 1379302 w 1970753"/>
              <a:gd name="connsiteY90" fmla="*/ 77584 h 1651987"/>
              <a:gd name="connsiteX91" fmla="*/ 1377018 w 1970753"/>
              <a:gd name="connsiteY91" fmla="*/ 77584 h 1651987"/>
              <a:gd name="connsiteX92" fmla="*/ 1377018 w 1970753"/>
              <a:gd name="connsiteY92" fmla="*/ 75303 h 1651987"/>
              <a:gd name="connsiteX93" fmla="*/ 1377018 w 1970753"/>
              <a:gd name="connsiteY93" fmla="*/ 73021 h 1651987"/>
              <a:gd name="connsiteX94" fmla="*/ 1379302 w 1970753"/>
              <a:gd name="connsiteY94" fmla="*/ 73021 h 1651987"/>
              <a:gd name="connsiteX95" fmla="*/ 1381585 w 1970753"/>
              <a:gd name="connsiteY95" fmla="*/ 73021 h 1651987"/>
              <a:gd name="connsiteX96" fmla="*/ 1383869 w 1970753"/>
              <a:gd name="connsiteY96" fmla="*/ 73021 h 1651987"/>
              <a:gd name="connsiteX97" fmla="*/ 1383869 w 1970753"/>
              <a:gd name="connsiteY97" fmla="*/ 75303 h 1651987"/>
              <a:gd name="connsiteX98" fmla="*/ 1386152 w 1970753"/>
              <a:gd name="connsiteY98" fmla="*/ 75303 h 1651987"/>
              <a:gd name="connsiteX99" fmla="*/ 1386152 w 1970753"/>
              <a:gd name="connsiteY99" fmla="*/ 77584 h 1651987"/>
              <a:gd name="connsiteX100" fmla="*/ 1386152 w 1970753"/>
              <a:gd name="connsiteY100" fmla="*/ 79866 h 1651987"/>
              <a:gd name="connsiteX101" fmla="*/ 1386152 w 1970753"/>
              <a:gd name="connsiteY101" fmla="*/ 82139 h 1651987"/>
              <a:gd name="connsiteX102" fmla="*/ 1388436 w 1970753"/>
              <a:gd name="connsiteY102" fmla="*/ 82139 h 1651987"/>
              <a:gd name="connsiteX103" fmla="*/ 1388436 w 1970753"/>
              <a:gd name="connsiteY103" fmla="*/ 84421 h 1651987"/>
              <a:gd name="connsiteX104" fmla="*/ 1388436 w 1970753"/>
              <a:gd name="connsiteY104" fmla="*/ 86712 h 1651987"/>
              <a:gd name="connsiteX105" fmla="*/ 1388436 w 1970753"/>
              <a:gd name="connsiteY105" fmla="*/ 88984 h 1651987"/>
              <a:gd name="connsiteX106" fmla="*/ 1388436 w 1970753"/>
              <a:gd name="connsiteY106" fmla="*/ 91266 h 1651987"/>
              <a:gd name="connsiteX107" fmla="*/ 1388436 w 1970753"/>
              <a:gd name="connsiteY107" fmla="*/ 93548 h 1651987"/>
              <a:gd name="connsiteX108" fmla="*/ 1390720 w 1970753"/>
              <a:gd name="connsiteY108" fmla="*/ 93548 h 1651987"/>
              <a:gd name="connsiteX109" fmla="*/ 1390720 w 1970753"/>
              <a:gd name="connsiteY109" fmla="*/ 95830 h 1651987"/>
              <a:gd name="connsiteX110" fmla="*/ 1393003 w 1970753"/>
              <a:gd name="connsiteY110" fmla="*/ 95830 h 1651987"/>
              <a:gd name="connsiteX111" fmla="*/ 1393003 w 1970753"/>
              <a:gd name="connsiteY111" fmla="*/ 98112 h 1651987"/>
              <a:gd name="connsiteX112" fmla="*/ 1393003 w 1970753"/>
              <a:gd name="connsiteY112" fmla="*/ 100394 h 1651987"/>
              <a:gd name="connsiteX113" fmla="*/ 1395287 w 1970753"/>
              <a:gd name="connsiteY113" fmla="*/ 100394 h 1651987"/>
              <a:gd name="connsiteX114" fmla="*/ 1397571 w 1970753"/>
              <a:gd name="connsiteY114" fmla="*/ 100394 h 1651987"/>
              <a:gd name="connsiteX115" fmla="*/ 1399854 w 1970753"/>
              <a:gd name="connsiteY115" fmla="*/ 100394 h 1651987"/>
              <a:gd name="connsiteX116" fmla="*/ 1399854 w 1970753"/>
              <a:gd name="connsiteY116" fmla="*/ 102676 h 1651987"/>
              <a:gd name="connsiteX117" fmla="*/ 1402138 w 1970753"/>
              <a:gd name="connsiteY117" fmla="*/ 102676 h 1651987"/>
              <a:gd name="connsiteX118" fmla="*/ 1402138 w 1970753"/>
              <a:gd name="connsiteY118" fmla="*/ 104958 h 1651987"/>
              <a:gd name="connsiteX119" fmla="*/ 1402138 w 1970753"/>
              <a:gd name="connsiteY119" fmla="*/ 107240 h 1651987"/>
              <a:gd name="connsiteX120" fmla="*/ 1404421 w 1970753"/>
              <a:gd name="connsiteY120" fmla="*/ 107240 h 1651987"/>
              <a:gd name="connsiteX121" fmla="*/ 1404421 w 1970753"/>
              <a:gd name="connsiteY121" fmla="*/ 104958 h 1651987"/>
              <a:gd name="connsiteX122" fmla="*/ 1406705 w 1970753"/>
              <a:gd name="connsiteY122" fmla="*/ 104958 h 1651987"/>
              <a:gd name="connsiteX123" fmla="*/ 1406705 w 1970753"/>
              <a:gd name="connsiteY123" fmla="*/ 102676 h 1651987"/>
              <a:gd name="connsiteX124" fmla="*/ 1408989 w 1970753"/>
              <a:gd name="connsiteY124" fmla="*/ 102676 h 1651987"/>
              <a:gd name="connsiteX125" fmla="*/ 1406705 w 1970753"/>
              <a:gd name="connsiteY125" fmla="*/ 102676 h 1651987"/>
              <a:gd name="connsiteX126" fmla="*/ 1406705 w 1970753"/>
              <a:gd name="connsiteY126" fmla="*/ 100394 h 1651987"/>
              <a:gd name="connsiteX127" fmla="*/ 1404421 w 1970753"/>
              <a:gd name="connsiteY127" fmla="*/ 100394 h 1651987"/>
              <a:gd name="connsiteX128" fmla="*/ 1404421 w 1970753"/>
              <a:gd name="connsiteY128" fmla="*/ 98112 h 1651987"/>
              <a:gd name="connsiteX129" fmla="*/ 1404421 w 1970753"/>
              <a:gd name="connsiteY129" fmla="*/ 95830 h 1651987"/>
              <a:gd name="connsiteX130" fmla="*/ 1404421 w 1970753"/>
              <a:gd name="connsiteY130" fmla="*/ 93548 h 1651987"/>
              <a:gd name="connsiteX131" fmla="*/ 1404421 w 1970753"/>
              <a:gd name="connsiteY131" fmla="*/ 91266 h 1651987"/>
              <a:gd name="connsiteX132" fmla="*/ 1406705 w 1970753"/>
              <a:gd name="connsiteY132" fmla="*/ 91266 h 1651987"/>
              <a:gd name="connsiteX133" fmla="*/ 1406705 w 1970753"/>
              <a:gd name="connsiteY133" fmla="*/ 88984 h 1651987"/>
              <a:gd name="connsiteX134" fmla="*/ 1408989 w 1970753"/>
              <a:gd name="connsiteY134" fmla="*/ 88984 h 1651987"/>
              <a:gd name="connsiteX135" fmla="*/ 1408989 w 1970753"/>
              <a:gd name="connsiteY135" fmla="*/ 91266 h 1651987"/>
              <a:gd name="connsiteX136" fmla="*/ 1411272 w 1970753"/>
              <a:gd name="connsiteY136" fmla="*/ 91266 h 1651987"/>
              <a:gd name="connsiteX137" fmla="*/ 1413556 w 1970753"/>
              <a:gd name="connsiteY137" fmla="*/ 91266 h 1651987"/>
              <a:gd name="connsiteX138" fmla="*/ 1413556 w 1970753"/>
              <a:gd name="connsiteY138" fmla="*/ 93548 h 1651987"/>
              <a:gd name="connsiteX139" fmla="*/ 1411272 w 1970753"/>
              <a:gd name="connsiteY139" fmla="*/ 93548 h 1651987"/>
              <a:gd name="connsiteX140" fmla="*/ 1413556 w 1970753"/>
              <a:gd name="connsiteY140" fmla="*/ 93548 h 1651987"/>
              <a:gd name="connsiteX141" fmla="*/ 1413556 w 1970753"/>
              <a:gd name="connsiteY141" fmla="*/ 95830 h 1651987"/>
              <a:gd name="connsiteX142" fmla="*/ 1415839 w 1970753"/>
              <a:gd name="connsiteY142" fmla="*/ 95830 h 1651987"/>
              <a:gd name="connsiteX143" fmla="*/ 1415839 w 1970753"/>
              <a:gd name="connsiteY143" fmla="*/ 98112 h 1651987"/>
              <a:gd name="connsiteX144" fmla="*/ 1415839 w 1970753"/>
              <a:gd name="connsiteY144" fmla="*/ 100394 h 1651987"/>
              <a:gd name="connsiteX145" fmla="*/ 1415839 w 1970753"/>
              <a:gd name="connsiteY145" fmla="*/ 102676 h 1651987"/>
              <a:gd name="connsiteX146" fmla="*/ 1418123 w 1970753"/>
              <a:gd name="connsiteY146" fmla="*/ 102676 h 1651987"/>
              <a:gd name="connsiteX147" fmla="*/ 1418123 w 1970753"/>
              <a:gd name="connsiteY147" fmla="*/ 100394 h 1651987"/>
              <a:gd name="connsiteX148" fmla="*/ 1420406 w 1970753"/>
              <a:gd name="connsiteY148" fmla="*/ 100394 h 1651987"/>
              <a:gd name="connsiteX149" fmla="*/ 1422690 w 1970753"/>
              <a:gd name="connsiteY149" fmla="*/ 100394 h 1651987"/>
              <a:gd name="connsiteX150" fmla="*/ 1422690 w 1970753"/>
              <a:gd name="connsiteY150" fmla="*/ 98112 h 1651987"/>
              <a:gd name="connsiteX151" fmla="*/ 1422690 w 1970753"/>
              <a:gd name="connsiteY151" fmla="*/ 100394 h 1651987"/>
              <a:gd name="connsiteX152" fmla="*/ 1422690 w 1970753"/>
              <a:gd name="connsiteY152" fmla="*/ 102676 h 1651987"/>
              <a:gd name="connsiteX153" fmla="*/ 1424974 w 1970753"/>
              <a:gd name="connsiteY153" fmla="*/ 102676 h 1651987"/>
              <a:gd name="connsiteX154" fmla="*/ 1424974 w 1970753"/>
              <a:gd name="connsiteY154" fmla="*/ 104958 h 1651987"/>
              <a:gd name="connsiteX155" fmla="*/ 1424974 w 1970753"/>
              <a:gd name="connsiteY155" fmla="*/ 107240 h 1651987"/>
              <a:gd name="connsiteX156" fmla="*/ 1427257 w 1970753"/>
              <a:gd name="connsiteY156" fmla="*/ 109521 h 1651987"/>
              <a:gd name="connsiteX157" fmla="*/ 1429541 w 1970753"/>
              <a:gd name="connsiteY157" fmla="*/ 111803 h 1651987"/>
              <a:gd name="connsiteX158" fmla="*/ 1429541 w 1970753"/>
              <a:gd name="connsiteY158" fmla="*/ 114085 h 1651987"/>
              <a:gd name="connsiteX159" fmla="*/ 1431825 w 1970753"/>
              <a:gd name="connsiteY159" fmla="*/ 114085 h 1651987"/>
              <a:gd name="connsiteX160" fmla="*/ 1431825 w 1970753"/>
              <a:gd name="connsiteY160" fmla="*/ 111803 h 1651987"/>
              <a:gd name="connsiteX161" fmla="*/ 1434108 w 1970753"/>
              <a:gd name="connsiteY161" fmla="*/ 111803 h 1651987"/>
              <a:gd name="connsiteX162" fmla="*/ 1434108 w 1970753"/>
              <a:gd name="connsiteY162" fmla="*/ 109521 h 1651987"/>
              <a:gd name="connsiteX163" fmla="*/ 1434108 w 1970753"/>
              <a:gd name="connsiteY163" fmla="*/ 107240 h 1651987"/>
              <a:gd name="connsiteX164" fmla="*/ 1436392 w 1970753"/>
              <a:gd name="connsiteY164" fmla="*/ 107240 h 1651987"/>
              <a:gd name="connsiteX165" fmla="*/ 1438675 w 1970753"/>
              <a:gd name="connsiteY165" fmla="*/ 104958 h 1651987"/>
              <a:gd name="connsiteX166" fmla="*/ 1440959 w 1970753"/>
              <a:gd name="connsiteY166" fmla="*/ 104958 h 1651987"/>
              <a:gd name="connsiteX167" fmla="*/ 1440959 w 1970753"/>
              <a:gd name="connsiteY167" fmla="*/ 107240 h 1651987"/>
              <a:gd name="connsiteX168" fmla="*/ 1440959 w 1970753"/>
              <a:gd name="connsiteY168" fmla="*/ 109521 h 1651987"/>
              <a:gd name="connsiteX169" fmla="*/ 1438675 w 1970753"/>
              <a:gd name="connsiteY169" fmla="*/ 109521 h 1651987"/>
              <a:gd name="connsiteX170" fmla="*/ 1438675 w 1970753"/>
              <a:gd name="connsiteY170" fmla="*/ 111803 h 1651987"/>
              <a:gd name="connsiteX171" fmla="*/ 1436392 w 1970753"/>
              <a:gd name="connsiteY171" fmla="*/ 111803 h 1651987"/>
              <a:gd name="connsiteX172" fmla="*/ 1436392 w 1970753"/>
              <a:gd name="connsiteY172" fmla="*/ 114085 h 1651987"/>
              <a:gd name="connsiteX173" fmla="*/ 1438675 w 1970753"/>
              <a:gd name="connsiteY173" fmla="*/ 114085 h 1651987"/>
              <a:gd name="connsiteX174" fmla="*/ 1438675 w 1970753"/>
              <a:gd name="connsiteY174" fmla="*/ 116367 h 1651987"/>
              <a:gd name="connsiteX175" fmla="*/ 1440959 w 1970753"/>
              <a:gd name="connsiteY175" fmla="*/ 116367 h 1651987"/>
              <a:gd name="connsiteX176" fmla="*/ 1443242 w 1970753"/>
              <a:gd name="connsiteY176" fmla="*/ 114085 h 1651987"/>
              <a:gd name="connsiteX177" fmla="*/ 1445526 w 1970753"/>
              <a:gd name="connsiteY177" fmla="*/ 114085 h 1651987"/>
              <a:gd name="connsiteX178" fmla="*/ 1445526 w 1970753"/>
              <a:gd name="connsiteY178" fmla="*/ 111803 h 1651987"/>
              <a:gd name="connsiteX179" fmla="*/ 1447810 w 1970753"/>
              <a:gd name="connsiteY179" fmla="*/ 111803 h 1651987"/>
              <a:gd name="connsiteX180" fmla="*/ 1447810 w 1970753"/>
              <a:gd name="connsiteY180" fmla="*/ 109521 h 1651987"/>
              <a:gd name="connsiteX181" fmla="*/ 1450093 w 1970753"/>
              <a:gd name="connsiteY181" fmla="*/ 109521 h 1651987"/>
              <a:gd name="connsiteX182" fmla="*/ 1452377 w 1970753"/>
              <a:gd name="connsiteY182" fmla="*/ 109521 h 1651987"/>
              <a:gd name="connsiteX183" fmla="*/ 1454660 w 1970753"/>
              <a:gd name="connsiteY183" fmla="*/ 109521 h 1651987"/>
              <a:gd name="connsiteX184" fmla="*/ 1454660 w 1970753"/>
              <a:gd name="connsiteY184" fmla="*/ 111803 h 1651987"/>
              <a:gd name="connsiteX185" fmla="*/ 1456944 w 1970753"/>
              <a:gd name="connsiteY185" fmla="*/ 111803 h 1651987"/>
              <a:gd name="connsiteX186" fmla="*/ 1459228 w 1970753"/>
              <a:gd name="connsiteY186" fmla="*/ 111803 h 1651987"/>
              <a:gd name="connsiteX187" fmla="*/ 1459228 w 1970753"/>
              <a:gd name="connsiteY187" fmla="*/ 109521 h 1651987"/>
              <a:gd name="connsiteX188" fmla="*/ 1461511 w 1970753"/>
              <a:gd name="connsiteY188" fmla="*/ 109521 h 1651987"/>
              <a:gd name="connsiteX189" fmla="*/ 1463795 w 1970753"/>
              <a:gd name="connsiteY189" fmla="*/ 109521 h 1651987"/>
              <a:gd name="connsiteX190" fmla="*/ 1466079 w 1970753"/>
              <a:gd name="connsiteY190" fmla="*/ 109521 h 1651987"/>
              <a:gd name="connsiteX191" fmla="*/ 1466079 w 1970753"/>
              <a:gd name="connsiteY191" fmla="*/ 111803 h 1651987"/>
              <a:gd name="connsiteX192" fmla="*/ 1468362 w 1970753"/>
              <a:gd name="connsiteY192" fmla="*/ 111803 h 1651987"/>
              <a:gd name="connsiteX193" fmla="*/ 1468362 w 1970753"/>
              <a:gd name="connsiteY193" fmla="*/ 114085 h 1651987"/>
              <a:gd name="connsiteX194" fmla="*/ 1468362 w 1970753"/>
              <a:gd name="connsiteY194" fmla="*/ 116367 h 1651987"/>
              <a:gd name="connsiteX195" fmla="*/ 1466079 w 1970753"/>
              <a:gd name="connsiteY195" fmla="*/ 116367 h 1651987"/>
              <a:gd name="connsiteX196" fmla="*/ 1466079 w 1970753"/>
              <a:gd name="connsiteY196" fmla="*/ 118649 h 1651987"/>
              <a:gd name="connsiteX197" fmla="*/ 1468362 w 1970753"/>
              <a:gd name="connsiteY197" fmla="*/ 118649 h 1651987"/>
              <a:gd name="connsiteX198" fmla="*/ 1468362 w 1970753"/>
              <a:gd name="connsiteY198" fmla="*/ 120931 h 1651987"/>
              <a:gd name="connsiteX199" fmla="*/ 1470646 w 1970753"/>
              <a:gd name="connsiteY199" fmla="*/ 120931 h 1651987"/>
              <a:gd name="connsiteX200" fmla="*/ 1470646 w 1970753"/>
              <a:gd name="connsiteY200" fmla="*/ 123213 h 1651987"/>
              <a:gd name="connsiteX201" fmla="*/ 1470646 w 1970753"/>
              <a:gd name="connsiteY201" fmla="*/ 125495 h 1651987"/>
              <a:gd name="connsiteX202" fmla="*/ 1472929 w 1970753"/>
              <a:gd name="connsiteY202" fmla="*/ 125495 h 1651987"/>
              <a:gd name="connsiteX203" fmla="*/ 1472929 w 1970753"/>
              <a:gd name="connsiteY203" fmla="*/ 127777 h 1651987"/>
              <a:gd name="connsiteX204" fmla="*/ 1475213 w 1970753"/>
              <a:gd name="connsiteY204" fmla="*/ 130059 h 1651987"/>
              <a:gd name="connsiteX205" fmla="*/ 1475213 w 1970753"/>
              <a:gd name="connsiteY205" fmla="*/ 132340 h 1651987"/>
              <a:gd name="connsiteX206" fmla="*/ 1477496 w 1970753"/>
              <a:gd name="connsiteY206" fmla="*/ 132340 h 1651987"/>
              <a:gd name="connsiteX207" fmla="*/ 1477496 w 1970753"/>
              <a:gd name="connsiteY207" fmla="*/ 134622 h 1651987"/>
              <a:gd name="connsiteX208" fmla="*/ 1475213 w 1970753"/>
              <a:gd name="connsiteY208" fmla="*/ 134622 h 1651987"/>
              <a:gd name="connsiteX209" fmla="*/ 1475213 w 1970753"/>
              <a:gd name="connsiteY209" fmla="*/ 136904 h 1651987"/>
              <a:gd name="connsiteX210" fmla="*/ 1472929 w 1970753"/>
              <a:gd name="connsiteY210" fmla="*/ 136904 h 1651987"/>
              <a:gd name="connsiteX211" fmla="*/ 1472929 w 1970753"/>
              <a:gd name="connsiteY211" fmla="*/ 139186 h 1651987"/>
              <a:gd name="connsiteX212" fmla="*/ 1470646 w 1970753"/>
              <a:gd name="connsiteY212" fmla="*/ 139186 h 1651987"/>
              <a:gd name="connsiteX213" fmla="*/ 1470646 w 1970753"/>
              <a:gd name="connsiteY213" fmla="*/ 141468 h 1651987"/>
              <a:gd name="connsiteX214" fmla="*/ 1472929 w 1970753"/>
              <a:gd name="connsiteY214" fmla="*/ 141468 h 1651987"/>
              <a:gd name="connsiteX215" fmla="*/ 1472929 w 1970753"/>
              <a:gd name="connsiteY215" fmla="*/ 143750 h 1651987"/>
              <a:gd name="connsiteX216" fmla="*/ 1475213 w 1970753"/>
              <a:gd name="connsiteY216" fmla="*/ 143750 h 1651987"/>
              <a:gd name="connsiteX217" fmla="*/ 1475213 w 1970753"/>
              <a:gd name="connsiteY217" fmla="*/ 141468 h 1651987"/>
              <a:gd name="connsiteX218" fmla="*/ 1477496 w 1970753"/>
              <a:gd name="connsiteY218" fmla="*/ 141468 h 1651987"/>
              <a:gd name="connsiteX219" fmla="*/ 1477496 w 1970753"/>
              <a:gd name="connsiteY219" fmla="*/ 139186 h 1651987"/>
              <a:gd name="connsiteX220" fmla="*/ 1479780 w 1970753"/>
              <a:gd name="connsiteY220" fmla="*/ 139186 h 1651987"/>
              <a:gd name="connsiteX221" fmla="*/ 1479780 w 1970753"/>
              <a:gd name="connsiteY221" fmla="*/ 136904 h 1651987"/>
              <a:gd name="connsiteX222" fmla="*/ 1482064 w 1970753"/>
              <a:gd name="connsiteY222" fmla="*/ 136904 h 1651987"/>
              <a:gd name="connsiteX223" fmla="*/ 1482064 w 1970753"/>
              <a:gd name="connsiteY223" fmla="*/ 134622 h 1651987"/>
              <a:gd name="connsiteX224" fmla="*/ 1484347 w 1970753"/>
              <a:gd name="connsiteY224" fmla="*/ 134622 h 1651987"/>
              <a:gd name="connsiteX225" fmla="*/ 1484347 w 1970753"/>
              <a:gd name="connsiteY225" fmla="*/ 132340 h 1651987"/>
              <a:gd name="connsiteX226" fmla="*/ 1484347 w 1970753"/>
              <a:gd name="connsiteY226" fmla="*/ 130059 h 1651987"/>
              <a:gd name="connsiteX227" fmla="*/ 1486631 w 1970753"/>
              <a:gd name="connsiteY227" fmla="*/ 130059 h 1651987"/>
              <a:gd name="connsiteX228" fmla="*/ 1484347 w 1970753"/>
              <a:gd name="connsiteY228" fmla="*/ 130059 h 1651987"/>
              <a:gd name="connsiteX229" fmla="*/ 1484347 w 1970753"/>
              <a:gd name="connsiteY229" fmla="*/ 127777 h 1651987"/>
              <a:gd name="connsiteX230" fmla="*/ 1482064 w 1970753"/>
              <a:gd name="connsiteY230" fmla="*/ 127777 h 1651987"/>
              <a:gd name="connsiteX231" fmla="*/ 1482064 w 1970753"/>
              <a:gd name="connsiteY231" fmla="*/ 125495 h 1651987"/>
              <a:gd name="connsiteX232" fmla="*/ 1479780 w 1970753"/>
              <a:gd name="connsiteY232" fmla="*/ 125495 h 1651987"/>
              <a:gd name="connsiteX233" fmla="*/ 1479780 w 1970753"/>
              <a:gd name="connsiteY233" fmla="*/ 123213 h 1651987"/>
              <a:gd name="connsiteX234" fmla="*/ 1482064 w 1970753"/>
              <a:gd name="connsiteY234" fmla="*/ 123213 h 1651987"/>
              <a:gd name="connsiteX235" fmla="*/ 1482064 w 1970753"/>
              <a:gd name="connsiteY235" fmla="*/ 120931 h 1651987"/>
              <a:gd name="connsiteX236" fmla="*/ 1484347 w 1970753"/>
              <a:gd name="connsiteY236" fmla="*/ 120931 h 1651987"/>
              <a:gd name="connsiteX237" fmla="*/ 1484347 w 1970753"/>
              <a:gd name="connsiteY237" fmla="*/ 123213 h 1651987"/>
              <a:gd name="connsiteX238" fmla="*/ 1486631 w 1970753"/>
              <a:gd name="connsiteY238" fmla="*/ 123213 h 1651987"/>
              <a:gd name="connsiteX239" fmla="*/ 1486631 w 1970753"/>
              <a:gd name="connsiteY239" fmla="*/ 125495 h 1651987"/>
              <a:gd name="connsiteX240" fmla="*/ 1488914 w 1970753"/>
              <a:gd name="connsiteY240" fmla="*/ 125495 h 1651987"/>
              <a:gd name="connsiteX241" fmla="*/ 1488914 w 1970753"/>
              <a:gd name="connsiteY241" fmla="*/ 127777 h 1651987"/>
              <a:gd name="connsiteX242" fmla="*/ 1488914 w 1970753"/>
              <a:gd name="connsiteY242" fmla="*/ 130059 h 1651987"/>
              <a:gd name="connsiteX243" fmla="*/ 1491198 w 1970753"/>
              <a:gd name="connsiteY243" fmla="*/ 130059 h 1651987"/>
              <a:gd name="connsiteX244" fmla="*/ 1491198 w 1970753"/>
              <a:gd name="connsiteY244" fmla="*/ 132340 h 1651987"/>
              <a:gd name="connsiteX245" fmla="*/ 1491198 w 1970753"/>
              <a:gd name="connsiteY245" fmla="*/ 130059 h 1651987"/>
              <a:gd name="connsiteX246" fmla="*/ 1493482 w 1970753"/>
              <a:gd name="connsiteY246" fmla="*/ 130059 h 1651987"/>
              <a:gd name="connsiteX247" fmla="*/ 1493482 w 1970753"/>
              <a:gd name="connsiteY247" fmla="*/ 127777 h 1651987"/>
              <a:gd name="connsiteX248" fmla="*/ 1493482 w 1970753"/>
              <a:gd name="connsiteY248" fmla="*/ 125495 h 1651987"/>
              <a:gd name="connsiteX249" fmla="*/ 1493482 w 1970753"/>
              <a:gd name="connsiteY249" fmla="*/ 123213 h 1651987"/>
              <a:gd name="connsiteX250" fmla="*/ 1495765 w 1970753"/>
              <a:gd name="connsiteY250" fmla="*/ 123213 h 1651987"/>
              <a:gd name="connsiteX251" fmla="*/ 1495765 w 1970753"/>
              <a:gd name="connsiteY251" fmla="*/ 120931 h 1651987"/>
              <a:gd name="connsiteX252" fmla="*/ 1493482 w 1970753"/>
              <a:gd name="connsiteY252" fmla="*/ 120931 h 1651987"/>
              <a:gd name="connsiteX253" fmla="*/ 1493482 w 1970753"/>
              <a:gd name="connsiteY253" fmla="*/ 118649 h 1651987"/>
              <a:gd name="connsiteX254" fmla="*/ 1495765 w 1970753"/>
              <a:gd name="connsiteY254" fmla="*/ 118649 h 1651987"/>
              <a:gd name="connsiteX255" fmla="*/ 1495765 w 1970753"/>
              <a:gd name="connsiteY255" fmla="*/ 120931 h 1651987"/>
              <a:gd name="connsiteX256" fmla="*/ 1498049 w 1970753"/>
              <a:gd name="connsiteY256" fmla="*/ 120931 h 1651987"/>
              <a:gd name="connsiteX257" fmla="*/ 1498049 w 1970753"/>
              <a:gd name="connsiteY257" fmla="*/ 123213 h 1651987"/>
              <a:gd name="connsiteX258" fmla="*/ 1498049 w 1970753"/>
              <a:gd name="connsiteY258" fmla="*/ 125495 h 1651987"/>
              <a:gd name="connsiteX259" fmla="*/ 1498049 w 1970753"/>
              <a:gd name="connsiteY259" fmla="*/ 127777 h 1651987"/>
              <a:gd name="connsiteX260" fmla="*/ 1500332 w 1970753"/>
              <a:gd name="connsiteY260" fmla="*/ 127777 h 1651987"/>
              <a:gd name="connsiteX261" fmla="*/ 1502616 w 1970753"/>
              <a:gd name="connsiteY261" fmla="*/ 127777 h 1651987"/>
              <a:gd name="connsiteX262" fmla="*/ 1502616 w 1970753"/>
              <a:gd name="connsiteY262" fmla="*/ 130059 h 1651987"/>
              <a:gd name="connsiteX263" fmla="*/ 1504900 w 1970753"/>
              <a:gd name="connsiteY263" fmla="*/ 130059 h 1651987"/>
              <a:gd name="connsiteX264" fmla="*/ 1504900 w 1970753"/>
              <a:gd name="connsiteY264" fmla="*/ 132340 h 1651987"/>
              <a:gd name="connsiteX265" fmla="*/ 1507183 w 1970753"/>
              <a:gd name="connsiteY265" fmla="*/ 132340 h 1651987"/>
              <a:gd name="connsiteX266" fmla="*/ 1507183 w 1970753"/>
              <a:gd name="connsiteY266" fmla="*/ 134622 h 1651987"/>
              <a:gd name="connsiteX267" fmla="*/ 1507183 w 1970753"/>
              <a:gd name="connsiteY267" fmla="*/ 136904 h 1651987"/>
              <a:gd name="connsiteX268" fmla="*/ 1504900 w 1970753"/>
              <a:gd name="connsiteY268" fmla="*/ 136904 h 1651987"/>
              <a:gd name="connsiteX269" fmla="*/ 1504900 w 1970753"/>
              <a:gd name="connsiteY269" fmla="*/ 139186 h 1651987"/>
              <a:gd name="connsiteX270" fmla="*/ 1504900 w 1970753"/>
              <a:gd name="connsiteY270" fmla="*/ 141468 h 1651987"/>
              <a:gd name="connsiteX271" fmla="*/ 1507183 w 1970753"/>
              <a:gd name="connsiteY271" fmla="*/ 141468 h 1651987"/>
              <a:gd name="connsiteX272" fmla="*/ 1507183 w 1970753"/>
              <a:gd name="connsiteY272" fmla="*/ 143750 h 1651987"/>
              <a:gd name="connsiteX273" fmla="*/ 1509467 w 1970753"/>
              <a:gd name="connsiteY273" fmla="*/ 143750 h 1651987"/>
              <a:gd name="connsiteX274" fmla="*/ 1511750 w 1970753"/>
              <a:gd name="connsiteY274" fmla="*/ 143750 h 1651987"/>
              <a:gd name="connsiteX275" fmla="*/ 1511750 w 1970753"/>
              <a:gd name="connsiteY275" fmla="*/ 146032 h 1651987"/>
              <a:gd name="connsiteX276" fmla="*/ 1514034 w 1970753"/>
              <a:gd name="connsiteY276" fmla="*/ 146032 h 1651987"/>
              <a:gd name="connsiteX277" fmla="*/ 1514034 w 1970753"/>
              <a:gd name="connsiteY277" fmla="*/ 148314 h 1651987"/>
              <a:gd name="connsiteX278" fmla="*/ 1514034 w 1970753"/>
              <a:gd name="connsiteY278" fmla="*/ 150596 h 1651987"/>
              <a:gd name="connsiteX279" fmla="*/ 1516318 w 1970753"/>
              <a:gd name="connsiteY279" fmla="*/ 150596 h 1651987"/>
              <a:gd name="connsiteX280" fmla="*/ 1516318 w 1970753"/>
              <a:gd name="connsiteY280" fmla="*/ 152877 h 1651987"/>
              <a:gd name="connsiteX281" fmla="*/ 1518601 w 1970753"/>
              <a:gd name="connsiteY281" fmla="*/ 152877 h 1651987"/>
              <a:gd name="connsiteX282" fmla="*/ 1520885 w 1970753"/>
              <a:gd name="connsiteY282" fmla="*/ 152877 h 1651987"/>
              <a:gd name="connsiteX283" fmla="*/ 1520885 w 1970753"/>
              <a:gd name="connsiteY283" fmla="*/ 155159 h 1651987"/>
              <a:gd name="connsiteX284" fmla="*/ 1520885 w 1970753"/>
              <a:gd name="connsiteY284" fmla="*/ 157441 h 1651987"/>
              <a:gd name="connsiteX285" fmla="*/ 1520885 w 1970753"/>
              <a:gd name="connsiteY285" fmla="*/ 159723 h 1651987"/>
              <a:gd name="connsiteX286" fmla="*/ 1518601 w 1970753"/>
              <a:gd name="connsiteY286" fmla="*/ 159723 h 1651987"/>
              <a:gd name="connsiteX287" fmla="*/ 1518601 w 1970753"/>
              <a:gd name="connsiteY287" fmla="*/ 162005 h 1651987"/>
              <a:gd name="connsiteX288" fmla="*/ 1516318 w 1970753"/>
              <a:gd name="connsiteY288" fmla="*/ 162005 h 1651987"/>
              <a:gd name="connsiteX289" fmla="*/ 1516318 w 1970753"/>
              <a:gd name="connsiteY289" fmla="*/ 164287 h 1651987"/>
              <a:gd name="connsiteX290" fmla="*/ 1514034 w 1970753"/>
              <a:gd name="connsiteY290" fmla="*/ 164287 h 1651987"/>
              <a:gd name="connsiteX291" fmla="*/ 1514034 w 1970753"/>
              <a:gd name="connsiteY291" fmla="*/ 166569 h 1651987"/>
              <a:gd name="connsiteX292" fmla="*/ 1516318 w 1970753"/>
              <a:gd name="connsiteY292" fmla="*/ 166569 h 1651987"/>
              <a:gd name="connsiteX293" fmla="*/ 1518601 w 1970753"/>
              <a:gd name="connsiteY293" fmla="*/ 166569 h 1651987"/>
              <a:gd name="connsiteX294" fmla="*/ 1518601 w 1970753"/>
              <a:gd name="connsiteY294" fmla="*/ 164287 h 1651987"/>
              <a:gd name="connsiteX295" fmla="*/ 1520885 w 1970753"/>
              <a:gd name="connsiteY295" fmla="*/ 164287 h 1651987"/>
              <a:gd name="connsiteX296" fmla="*/ 1523168 w 1970753"/>
              <a:gd name="connsiteY296" fmla="*/ 164287 h 1651987"/>
              <a:gd name="connsiteX297" fmla="*/ 1523168 w 1970753"/>
              <a:gd name="connsiteY297" fmla="*/ 162005 h 1651987"/>
              <a:gd name="connsiteX298" fmla="*/ 1525452 w 1970753"/>
              <a:gd name="connsiteY298" fmla="*/ 162005 h 1651987"/>
              <a:gd name="connsiteX299" fmla="*/ 1525452 w 1970753"/>
              <a:gd name="connsiteY299" fmla="*/ 159723 h 1651987"/>
              <a:gd name="connsiteX300" fmla="*/ 1525452 w 1970753"/>
              <a:gd name="connsiteY300" fmla="*/ 157441 h 1651987"/>
              <a:gd name="connsiteX301" fmla="*/ 1525452 w 1970753"/>
              <a:gd name="connsiteY301" fmla="*/ 155159 h 1651987"/>
              <a:gd name="connsiteX302" fmla="*/ 1527735 w 1970753"/>
              <a:gd name="connsiteY302" fmla="*/ 155159 h 1651987"/>
              <a:gd name="connsiteX303" fmla="*/ 1527735 w 1970753"/>
              <a:gd name="connsiteY303" fmla="*/ 152877 h 1651987"/>
              <a:gd name="connsiteX304" fmla="*/ 1530019 w 1970753"/>
              <a:gd name="connsiteY304" fmla="*/ 152877 h 1651987"/>
              <a:gd name="connsiteX305" fmla="*/ 1530019 w 1970753"/>
              <a:gd name="connsiteY305" fmla="*/ 155159 h 1651987"/>
              <a:gd name="connsiteX306" fmla="*/ 1532303 w 1970753"/>
              <a:gd name="connsiteY306" fmla="*/ 155159 h 1651987"/>
              <a:gd name="connsiteX307" fmla="*/ 1534586 w 1970753"/>
              <a:gd name="connsiteY307" fmla="*/ 155159 h 1651987"/>
              <a:gd name="connsiteX308" fmla="*/ 1534586 w 1970753"/>
              <a:gd name="connsiteY308" fmla="*/ 152877 h 1651987"/>
              <a:gd name="connsiteX309" fmla="*/ 1536870 w 1970753"/>
              <a:gd name="connsiteY309" fmla="*/ 150596 h 1651987"/>
              <a:gd name="connsiteX310" fmla="*/ 1536870 w 1970753"/>
              <a:gd name="connsiteY310" fmla="*/ 148314 h 1651987"/>
              <a:gd name="connsiteX311" fmla="*/ 1539154 w 1970753"/>
              <a:gd name="connsiteY311" fmla="*/ 148314 h 1651987"/>
              <a:gd name="connsiteX312" fmla="*/ 1541437 w 1970753"/>
              <a:gd name="connsiteY312" fmla="*/ 148314 h 1651987"/>
              <a:gd name="connsiteX313" fmla="*/ 1543721 w 1970753"/>
              <a:gd name="connsiteY313" fmla="*/ 148314 h 1651987"/>
              <a:gd name="connsiteX314" fmla="*/ 1543721 w 1970753"/>
              <a:gd name="connsiteY314" fmla="*/ 146032 h 1651987"/>
              <a:gd name="connsiteX315" fmla="*/ 1543721 w 1970753"/>
              <a:gd name="connsiteY315" fmla="*/ 143750 h 1651987"/>
              <a:gd name="connsiteX316" fmla="*/ 1543721 w 1970753"/>
              <a:gd name="connsiteY316" fmla="*/ 141468 h 1651987"/>
              <a:gd name="connsiteX317" fmla="*/ 1546004 w 1970753"/>
              <a:gd name="connsiteY317" fmla="*/ 141468 h 1651987"/>
              <a:gd name="connsiteX318" fmla="*/ 1546004 w 1970753"/>
              <a:gd name="connsiteY318" fmla="*/ 143750 h 1651987"/>
              <a:gd name="connsiteX319" fmla="*/ 1548288 w 1970753"/>
              <a:gd name="connsiteY319" fmla="*/ 143750 h 1651987"/>
              <a:gd name="connsiteX320" fmla="*/ 1550572 w 1970753"/>
              <a:gd name="connsiteY320" fmla="*/ 143750 h 1651987"/>
              <a:gd name="connsiteX321" fmla="*/ 1552855 w 1970753"/>
              <a:gd name="connsiteY321" fmla="*/ 143750 h 1651987"/>
              <a:gd name="connsiteX322" fmla="*/ 1552855 w 1970753"/>
              <a:gd name="connsiteY322" fmla="*/ 146032 h 1651987"/>
              <a:gd name="connsiteX323" fmla="*/ 1555139 w 1970753"/>
              <a:gd name="connsiteY323" fmla="*/ 146032 h 1651987"/>
              <a:gd name="connsiteX324" fmla="*/ 1555139 w 1970753"/>
              <a:gd name="connsiteY324" fmla="*/ 148314 h 1651987"/>
              <a:gd name="connsiteX325" fmla="*/ 1557422 w 1970753"/>
              <a:gd name="connsiteY325" fmla="*/ 148314 h 1651987"/>
              <a:gd name="connsiteX326" fmla="*/ 1557422 w 1970753"/>
              <a:gd name="connsiteY326" fmla="*/ 146032 h 1651987"/>
              <a:gd name="connsiteX327" fmla="*/ 1557422 w 1970753"/>
              <a:gd name="connsiteY327" fmla="*/ 143750 h 1651987"/>
              <a:gd name="connsiteX328" fmla="*/ 1559706 w 1970753"/>
              <a:gd name="connsiteY328" fmla="*/ 143750 h 1651987"/>
              <a:gd name="connsiteX329" fmla="*/ 1559706 w 1970753"/>
              <a:gd name="connsiteY329" fmla="*/ 141468 h 1651987"/>
              <a:gd name="connsiteX330" fmla="*/ 1559706 w 1970753"/>
              <a:gd name="connsiteY330" fmla="*/ 139186 h 1651987"/>
              <a:gd name="connsiteX331" fmla="*/ 1559706 w 1970753"/>
              <a:gd name="connsiteY331" fmla="*/ 136904 h 1651987"/>
              <a:gd name="connsiteX332" fmla="*/ 1557422 w 1970753"/>
              <a:gd name="connsiteY332" fmla="*/ 136904 h 1651987"/>
              <a:gd name="connsiteX333" fmla="*/ 1555139 w 1970753"/>
              <a:gd name="connsiteY333" fmla="*/ 136904 h 1651987"/>
              <a:gd name="connsiteX334" fmla="*/ 1555139 w 1970753"/>
              <a:gd name="connsiteY334" fmla="*/ 134622 h 1651987"/>
              <a:gd name="connsiteX335" fmla="*/ 1552855 w 1970753"/>
              <a:gd name="connsiteY335" fmla="*/ 134622 h 1651987"/>
              <a:gd name="connsiteX336" fmla="*/ 1550572 w 1970753"/>
              <a:gd name="connsiteY336" fmla="*/ 134622 h 1651987"/>
              <a:gd name="connsiteX337" fmla="*/ 1550572 w 1970753"/>
              <a:gd name="connsiteY337" fmla="*/ 136904 h 1651987"/>
              <a:gd name="connsiteX338" fmla="*/ 1548288 w 1970753"/>
              <a:gd name="connsiteY338" fmla="*/ 136904 h 1651987"/>
              <a:gd name="connsiteX339" fmla="*/ 1548288 w 1970753"/>
              <a:gd name="connsiteY339" fmla="*/ 139186 h 1651987"/>
              <a:gd name="connsiteX340" fmla="*/ 1546004 w 1970753"/>
              <a:gd name="connsiteY340" fmla="*/ 139186 h 1651987"/>
              <a:gd name="connsiteX341" fmla="*/ 1546004 w 1970753"/>
              <a:gd name="connsiteY341" fmla="*/ 136904 h 1651987"/>
              <a:gd name="connsiteX342" fmla="*/ 1543721 w 1970753"/>
              <a:gd name="connsiteY342" fmla="*/ 136904 h 1651987"/>
              <a:gd name="connsiteX343" fmla="*/ 1541437 w 1970753"/>
              <a:gd name="connsiteY343" fmla="*/ 136904 h 1651987"/>
              <a:gd name="connsiteX344" fmla="*/ 1541437 w 1970753"/>
              <a:gd name="connsiteY344" fmla="*/ 134622 h 1651987"/>
              <a:gd name="connsiteX345" fmla="*/ 1543721 w 1970753"/>
              <a:gd name="connsiteY345" fmla="*/ 134622 h 1651987"/>
              <a:gd name="connsiteX346" fmla="*/ 1543721 w 1970753"/>
              <a:gd name="connsiteY346" fmla="*/ 132340 h 1651987"/>
              <a:gd name="connsiteX347" fmla="*/ 1546004 w 1970753"/>
              <a:gd name="connsiteY347" fmla="*/ 132340 h 1651987"/>
              <a:gd name="connsiteX348" fmla="*/ 1546004 w 1970753"/>
              <a:gd name="connsiteY348" fmla="*/ 130059 h 1651987"/>
              <a:gd name="connsiteX349" fmla="*/ 1546004 w 1970753"/>
              <a:gd name="connsiteY349" fmla="*/ 127777 h 1651987"/>
              <a:gd name="connsiteX350" fmla="*/ 1548288 w 1970753"/>
              <a:gd name="connsiteY350" fmla="*/ 127777 h 1651987"/>
              <a:gd name="connsiteX351" fmla="*/ 1548288 w 1970753"/>
              <a:gd name="connsiteY351" fmla="*/ 125495 h 1651987"/>
              <a:gd name="connsiteX352" fmla="*/ 1550572 w 1970753"/>
              <a:gd name="connsiteY352" fmla="*/ 125495 h 1651987"/>
              <a:gd name="connsiteX353" fmla="*/ 1552855 w 1970753"/>
              <a:gd name="connsiteY353" fmla="*/ 123213 h 1651987"/>
              <a:gd name="connsiteX354" fmla="*/ 1552855 w 1970753"/>
              <a:gd name="connsiteY354" fmla="*/ 120931 h 1651987"/>
              <a:gd name="connsiteX355" fmla="*/ 1555139 w 1970753"/>
              <a:gd name="connsiteY355" fmla="*/ 120931 h 1651987"/>
              <a:gd name="connsiteX356" fmla="*/ 1557422 w 1970753"/>
              <a:gd name="connsiteY356" fmla="*/ 120931 h 1651987"/>
              <a:gd name="connsiteX357" fmla="*/ 1557422 w 1970753"/>
              <a:gd name="connsiteY357" fmla="*/ 118649 h 1651987"/>
              <a:gd name="connsiteX358" fmla="*/ 1557422 w 1970753"/>
              <a:gd name="connsiteY358" fmla="*/ 120931 h 1651987"/>
              <a:gd name="connsiteX359" fmla="*/ 1559706 w 1970753"/>
              <a:gd name="connsiteY359" fmla="*/ 120931 h 1651987"/>
              <a:gd name="connsiteX360" fmla="*/ 1559706 w 1970753"/>
              <a:gd name="connsiteY360" fmla="*/ 123213 h 1651987"/>
              <a:gd name="connsiteX361" fmla="*/ 1561989 w 1970753"/>
              <a:gd name="connsiteY361" fmla="*/ 123213 h 1651987"/>
              <a:gd name="connsiteX362" fmla="*/ 1564273 w 1970753"/>
              <a:gd name="connsiteY362" fmla="*/ 123213 h 1651987"/>
              <a:gd name="connsiteX363" fmla="*/ 1564273 w 1970753"/>
              <a:gd name="connsiteY363" fmla="*/ 125495 h 1651987"/>
              <a:gd name="connsiteX364" fmla="*/ 1566557 w 1970753"/>
              <a:gd name="connsiteY364" fmla="*/ 125495 h 1651987"/>
              <a:gd name="connsiteX365" fmla="*/ 1568840 w 1970753"/>
              <a:gd name="connsiteY365" fmla="*/ 127777 h 1651987"/>
              <a:gd name="connsiteX366" fmla="*/ 1571124 w 1970753"/>
              <a:gd name="connsiteY366" fmla="*/ 127777 h 1651987"/>
              <a:gd name="connsiteX367" fmla="*/ 1571124 w 1970753"/>
              <a:gd name="connsiteY367" fmla="*/ 130059 h 1651987"/>
              <a:gd name="connsiteX368" fmla="*/ 1573408 w 1970753"/>
              <a:gd name="connsiteY368" fmla="*/ 130059 h 1651987"/>
              <a:gd name="connsiteX369" fmla="*/ 1575691 w 1970753"/>
              <a:gd name="connsiteY369" fmla="*/ 130059 h 1651987"/>
              <a:gd name="connsiteX370" fmla="*/ 1577975 w 1970753"/>
              <a:gd name="connsiteY370" fmla="*/ 130059 h 1651987"/>
              <a:gd name="connsiteX371" fmla="*/ 1577975 w 1970753"/>
              <a:gd name="connsiteY371" fmla="*/ 127777 h 1651987"/>
              <a:gd name="connsiteX372" fmla="*/ 1580258 w 1970753"/>
              <a:gd name="connsiteY372" fmla="*/ 127777 h 1651987"/>
              <a:gd name="connsiteX373" fmla="*/ 1580258 w 1970753"/>
              <a:gd name="connsiteY373" fmla="*/ 125495 h 1651987"/>
              <a:gd name="connsiteX374" fmla="*/ 1580258 w 1970753"/>
              <a:gd name="connsiteY374" fmla="*/ 127777 h 1651987"/>
              <a:gd name="connsiteX375" fmla="*/ 1582542 w 1970753"/>
              <a:gd name="connsiteY375" fmla="*/ 127777 h 1651987"/>
              <a:gd name="connsiteX376" fmla="*/ 1582542 w 1970753"/>
              <a:gd name="connsiteY376" fmla="*/ 130059 h 1651987"/>
              <a:gd name="connsiteX377" fmla="*/ 1582542 w 1970753"/>
              <a:gd name="connsiteY377" fmla="*/ 132340 h 1651987"/>
              <a:gd name="connsiteX378" fmla="*/ 1584825 w 1970753"/>
              <a:gd name="connsiteY378" fmla="*/ 132340 h 1651987"/>
              <a:gd name="connsiteX379" fmla="*/ 1587109 w 1970753"/>
              <a:gd name="connsiteY379" fmla="*/ 132340 h 1651987"/>
              <a:gd name="connsiteX380" fmla="*/ 1587109 w 1970753"/>
              <a:gd name="connsiteY380" fmla="*/ 134622 h 1651987"/>
              <a:gd name="connsiteX381" fmla="*/ 1587109 w 1970753"/>
              <a:gd name="connsiteY381" fmla="*/ 136904 h 1651987"/>
              <a:gd name="connsiteX382" fmla="*/ 1589393 w 1970753"/>
              <a:gd name="connsiteY382" fmla="*/ 136904 h 1651987"/>
              <a:gd name="connsiteX383" fmla="*/ 1589393 w 1970753"/>
              <a:gd name="connsiteY383" fmla="*/ 139186 h 1651987"/>
              <a:gd name="connsiteX384" fmla="*/ 1591676 w 1970753"/>
              <a:gd name="connsiteY384" fmla="*/ 141468 h 1651987"/>
              <a:gd name="connsiteX385" fmla="*/ 1593960 w 1970753"/>
              <a:gd name="connsiteY385" fmla="*/ 141468 h 1651987"/>
              <a:gd name="connsiteX386" fmla="*/ 1593960 w 1970753"/>
              <a:gd name="connsiteY386" fmla="*/ 139186 h 1651987"/>
              <a:gd name="connsiteX387" fmla="*/ 1596243 w 1970753"/>
              <a:gd name="connsiteY387" fmla="*/ 139186 h 1651987"/>
              <a:gd name="connsiteX388" fmla="*/ 1598527 w 1970753"/>
              <a:gd name="connsiteY388" fmla="*/ 139186 h 1651987"/>
              <a:gd name="connsiteX389" fmla="*/ 1600811 w 1970753"/>
              <a:gd name="connsiteY389" fmla="*/ 139186 h 1651987"/>
              <a:gd name="connsiteX390" fmla="*/ 1600811 w 1970753"/>
              <a:gd name="connsiteY390" fmla="*/ 141468 h 1651987"/>
              <a:gd name="connsiteX391" fmla="*/ 1603094 w 1970753"/>
              <a:gd name="connsiteY391" fmla="*/ 141468 h 1651987"/>
              <a:gd name="connsiteX392" fmla="*/ 1605378 w 1970753"/>
              <a:gd name="connsiteY392" fmla="*/ 141468 h 1651987"/>
              <a:gd name="connsiteX393" fmla="*/ 1605378 w 1970753"/>
              <a:gd name="connsiteY393" fmla="*/ 143750 h 1651987"/>
              <a:gd name="connsiteX394" fmla="*/ 1605378 w 1970753"/>
              <a:gd name="connsiteY394" fmla="*/ 146032 h 1651987"/>
              <a:gd name="connsiteX395" fmla="*/ 1603094 w 1970753"/>
              <a:gd name="connsiteY395" fmla="*/ 146032 h 1651987"/>
              <a:gd name="connsiteX396" fmla="*/ 1603094 w 1970753"/>
              <a:gd name="connsiteY396" fmla="*/ 148314 h 1651987"/>
              <a:gd name="connsiteX397" fmla="*/ 1605378 w 1970753"/>
              <a:gd name="connsiteY397" fmla="*/ 148314 h 1651987"/>
              <a:gd name="connsiteX398" fmla="*/ 1607662 w 1970753"/>
              <a:gd name="connsiteY398" fmla="*/ 148314 h 1651987"/>
              <a:gd name="connsiteX399" fmla="*/ 1607662 w 1970753"/>
              <a:gd name="connsiteY399" fmla="*/ 150596 h 1651987"/>
              <a:gd name="connsiteX400" fmla="*/ 1609945 w 1970753"/>
              <a:gd name="connsiteY400" fmla="*/ 150596 h 1651987"/>
              <a:gd name="connsiteX401" fmla="*/ 1612229 w 1970753"/>
              <a:gd name="connsiteY401" fmla="*/ 150596 h 1651987"/>
              <a:gd name="connsiteX402" fmla="*/ 1612229 w 1970753"/>
              <a:gd name="connsiteY402" fmla="*/ 152877 h 1651987"/>
              <a:gd name="connsiteX403" fmla="*/ 1612229 w 1970753"/>
              <a:gd name="connsiteY403" fmla="*/ 150596 h 1651987"/>
              <a:gd name="connsiteX404" fmla="*/ 1612229 w 1970753"/>
              <a:gd name="connsiteY404" fmla="*/ 148314 h 1651987"/>
              <a:gd name="connsiteX405" fmla="*/ 1614512 w 1970753"/>
              <a:gd name="connsiteY405" fmla="*/ 148314 h 1651987"/>
              <a:gd name="connsiteX406" fmla="*/ 1614512 w 1970753"/>
              <a:gd name="connsiteY406" fmla="*/ 146032 h 1651987"/>
              <a:gd name="connsiteX407" fmla="*/ 1614512 w 1970753"/>
              <a:gd name="connsiteY407" fmla="*/ 143750 h 1651987"/>
              <a:gd name="connsiteX408" fmla="*/ 1616796 w 1970753"/>
              <a:gd name="connsiteY408" fmla="*/ 143750 h 1651987"/>
              <a:gd name="connsiteX409" fmla="*/ 1616796 w 1970753"/>
              <a:gd name="connsiteY409" fmla="*/ 146032 h 1651987"/>
              <a:gd name="connsiteX410" fmla="*/ 1616796 w 1970753"/>
              <a:gd name="connsiteY410" fmla="*/ 148314 h 1651987"/>
              <a:gd name="connsiteX411" fmla="*/ 1616796 w 1970753"/>
              <a:gd name="connsiteY411" fmla="*/ 150596 h 1651987"/>
              <a:gd name="connsiteX412" fmla="*/ 1616796 w 1970753"/>
              <a:gd name="connsiteY412" fmla="*/ 152877 h 1651987"/>
              <a:gd name="connsiteX413" fmla="*/ 1616796 w 1970753"/>
              <a:gd name="connsiteY413" fmla="*/ 155159 h 1651987"/>
              <a:gd name="connsiteX414" fmla="*/ 1616796 w 1970753"/>
              <a:gd name="connsiteY414" fmla="*/ 157441 h 1651987"/>
              <a:gd name="connsiteX415" fmla="*/ 1619079 w 1970753"/>
              <a:gd name="connsiteY415" fmla="*/ 157441 h 1651987"/>
              <a:gd name="connsiteX416" fmla="*/ 1621363 w 1970753"/>
              <a:gd name="connsiteY416" fmla="*/ 157441 h 1651987"/>
              <a:gd name="connsiteX417" fmla="*/ 1621363 w 1970753"/>
              <a:gd name="connsiteY417" fmla="*/ 155159 h 1651987"/>
              <a:gd name="connsiteX418" fmla="*/ 1623647 w 1970753"/>
              <a:gd name="connsiteY418" fmla="*/ 155159 h 1651987"/>
              <a:gd name="connsiteX419" fmla="*/ 1625930 w 1970753"/>
              <a:gd name="connsiteY419" fmla="*/ 157441 h 1651987"/>
              <a:gd name="connsiteX420" fmla="*/ 1628214 w 1970753"/>
              <a:gd name="connsiteY420" fmla="*/ 157441 h 1651987"/>
              <a:gd name="connsiteX421" fmla="*/ 1630497 w 1970753"/>
              <a:gd name="connsiteY421" fmla="*/ 157441 h 1651987"/>
              <a:gd name="connsiteX422" fmla="*/ 1630497 w 1970753"/>
              <a:gd name="connsiteY422" fmla="*/ 155159 h 1651987"/>
              <a:gd name="connsiteX423" fmla="*/ 1630497 w 1970753"/>
              <a:gd name="connsiteY423" fmla="*/ 152877 h 1651987"/>
              <a:gd name="connsiteX424" fmla="*/ 1632781 w 1970753"/>
              <a:gd name="connsiteY424" fmla="*/ 152877 h 1651987"/>
              <a:gd name="connsiteX425" fmla="*/ 1632781 w 1970753"/>
              <a:gd name="connsiteY425" fmla="*/ 150596 h 1651987"/>
              <a:gd name="connsiteX426" fmla="*/ 1635064 w 1970753"/>
              <a:gd name="connsiteY426" fmla="*/ 150596 h 1651987"/>
              <a:gd name="connsiteX427" fmla="*/ 1635064 w 1970753"/>
              <a:gd name="connsiteY427" fmla="*/ 152877 h 1651987"/>
              <a:gd name="connsiteX428" fmla="*/ 1637348 w 1970753"/>
              <a:gd name="connsiteY428" fmla="*/ 152877 h 1651987"/>
              <a:gd name="connsiteX429" fmla="*/ 1639632 w 1970753"/>
              <a:gd name="connsiteY429" fmla="*/ 152877 h 1651987"/>
              <a:gd name="connsiteX430" fmla="*/ 1639632 w 1970753"/>
              <a:gd name="connsiteY430" fmla="*/ 155159 h 1651987"/>
              <a:gd name="connsiteX431" fmla="*/ 1639632 w 1970753"/>
              <a:gd name="connsiteY431" fmla="*/ 157441 h 1651987"/>
              <a:gd name="connsiteX432" fmla="*/ 1641915 w 1970753"/>
              <a:gd name="connsiteY432" fmla="*/ 157441 h 1651987"/>
              <a:gd name="connsiteX433" fmla="*/ 1641915 w 1970753"/>
              <a:gd name="connsiteY433" fmla="*/ 159723 h 1651987"/>
              <a:gd name="connsiteX434" fmla="*/ 1641915 w 1970753"/>
              <a:gd name="connsiteY434" fmla="*/ 162005 h 1651987"/>
              <a:gd name="connsiteX435" fmla="*/ 1641915 w 1970753"/>
              <a:gd name="connsiteY435" fmla="*/ 164287 h 1651987"/>
              <a:gd name="connsiteX436" fmla="*/ 1644199 w 1970753"/>
              <a:gd name="connsiteY436" fmla="*/ 164287 h 1651987"/>
              <a:gd name="connsiteX437" fmla="*/ 1646483 w 1970753"/>
              <a:gd name="connsiteY437" fmla="*/ 164287 h 1651987"/>
              <a:gd name="connsiteX438" fmla="*/ 1648766 w 1970753"/>
              <a:gd name="connsiteY438" fmla="*/ 164287 h 1651987"/>
              <a:gd name="connsiteX439" fmla="*/ 1648766 w 1970753"/>
              <a:gd name="connsiteY439" fmla="*/ 162005 h 1651987"/>
              <a:gd name="connsiteX440" fmla="*/ 1651050 w 1970753"/>
              <a:gd name="connsiteY440" fmla="*/ 162005 h 1651987"/>
              <a:gd name="connsiteX441" fmla="*/ 1651050 w 1970753"/>
              <a:gd name="connsiteY441" fmla="*/ 159723 h 1651987"/>
              <a:gd name="connsiteX442" fmla="*/ 1648766 w 1970753"/>
              <a:gd name="connsiteY442" fmla="*/ 159723 h 1651987"/>
              <a:gd name="connsiteX443" fmla="*/ 1648766 w 1970753"/>
              <a:gd name="connsiteY443" fmla="*/ 157441 h 1651987"/>
              <a:gd name="connsiteX444" fmla="*/ 1648766 w 1970753"/>
              <a:gd name="connsiteY444" fmla="*/ 155159 h 1651987"/>
              <a:gd name="connsiteX445" fmla="*/ 1651050 w 1970753"/>
              <a:gd name="connsiteY445" fmla="*/ 155159 h 1651987"/>
              <a:gd name="connsiteX446" fmla="*/ 1651050 w 1970753"/>
              <a:gd name="connsiteY446" fmla="*/ 152877 h 1651987"/>
              <a:gd name="connsiteX447" fmla="*/ 1648766 w 1970753"/>
              <a:gd name="connsiteY447" fmla="*/ 152877 h 1651987"/>
              <a:gd name="connsiteX448" fmla="*/ 1648766 w 1970753"/>
              <a:gd name="connsiteY448" fmla="*/ 150596 h 1651987"/>
              <a:gd name="connsiteX449" fmla="*/ 1646483 w 1970753"/>
              <a:gd name="connsiteY449" fmla="*/ 150596 h 1651987"/>
              <a:gd name="connsiteX450" fmla="*/ 1644199 w 1970753"/>
              <a:gd name="connsiteY450" fmla="*/ 150596 h 1651987"/>
              <a:gd name="connsiteX451" fmla="*/ 1646483 w 1970753"/>
              <a:gd name="connsiteY451" fmla="*/ 150596 h 1651987"/>
              <a:gd name="connsiteX452" fmla="*/ 1646483 w 1970753"/>
              <a:gd name="connsiteY452" fmla="*/ 148314 h 1651987"/>
              <a:gd name="connsiteX453" fmla="*/ 1646483 w 1970753"/>
              <a:gd name="connsiteY453" fmla="*/ 146032 h 1651987"/>
              <a:gd name="connsiteX454" fmla="*/ 1648766 w 1970753"/>
              <a:gd name="connsiteY454" fmla="*/ 146032 h 1651987"/>
              <a:gd name="connsiteX455" fmla="*/ 1651050 w 1970753"/>
              <a:gd name="connsiteY455" fmla="*/ 148314 h 1651987"/>
              <a:gd name="connsiteX456" fmla="*/ 1653333 w 1970753"/>
              <a:gd name="connsiteY456" fmla="*/ 148314 h 1651987"/>
              <a:gd name="connsiteX457" fmla="*/ 1655617 w 1970753"/>
              <a:gd name="connsiteY457" fmla="*/ 148314 h 1651987"/>
              <a:gd name="connsiteX458" fmla="*/ 1655617 w 1970753"/>
              <a:gd name="connsiteY458" fmla="*/ 146032 h 1651987"/>
              <a:gd name="connsiteX459" fmla="*/ 1657901 w 1970753"/>
              <a:gd name="connsiteY459" fmla="*/ 146032 h 1651987"/>
              <a:gd name="connsiteX460" fmla="*/ 1660184 w 1970753"/>
              <a:gd name="connsiteY460" fmla="*/ 146032 h 1651987"/>
              <a:gd name="connsiteX461" fmla="*/ 1662468 w 1970753"/>
              <a:gd name="connsiteY461" fmla="*/ 146032 h 1651987"/>
              <a:gd name="connsiteX462" fmla="*/ 1664751 w 1970753"/>
              <a:gd name="connsiteY462" fmla="*/ 146032 h 1651987"/>
              <a:gd name="connsiteX463" fmla="*/ 1667035 w 1970753"/>
              <a:gd name="connsiteY463" fmla="*/ 146032 h 1651987"/>
              <a:gd name="connsiteX464" fmla="*/ 1669319 w 1970753"/>
              <a:gd name="connsiteY464" fmla="*/ 146032 h 1651987"/>
              <a:gd name="connsiteX465" fmla="*/ 1671602 w 1970753"/>
              <a:gd name="connsiteY465" fmla="*/ 146032 h 1651987"/>
              <a:gd name="connsiteX466" fmla="*/ 1671602 w 1970753"/>
              <a:gd name="connsiteY466" fmla="*/ 143750 h 1651987"/>
              <a:gd name="connsiteX467" fmla="*/ 1671602 w 1970753"/>
              <a:gd name="connsiteY467" fmla="*/ 141468 h 1651987"/>
              <a:gd name="connsiteX468" fmla="*/ 1673886 w 1970753"/>
              <a:gd name="connsiteY468" fmla="*/ 141468 h 1651987"/>
              <a:gd name="connsiteX469" fmla="*/ 1673886 w 1970753"/>
              <a:gd name="connsiteY469" fmla="*/ 139186 h 1651987"/>
              <a:gd name="connsiteX470" fmla="*/ 1676169 w 1970753"/>
              <a:gd name="connsiteY470" fmla="*/ 139186 h 1651987"/>
              <a:gd name="connsiteX471" fmla="*/ 1676169 w 1970753"/>
              <a:gd name="connsiteY471" fmla="*/ 136904 h 1651987"/>
              <a:gd name="connsiteX472" fmla="*/ 1678453 w 1970753"/>
              <a:gd name="connsiteY472" fmla="*/ 136904 h 1651987"/>
              <a:gd name="connsiteX473" fmla="*/ 1678453 w 1970753"/>
              <a:gd name="connsiteY473" fmla="*/ 139186 h 1651987"/>
              <a:gd name="connsiteX474" fmla="*/ 1680737 w 1970753"/>
              <a:gd name="connsiteY474" fmla="*/ 139186 h 1651987"/>
              <a:gd name="connsiteX475" fmla="*/ 1680737 w 1970753"/>
              <a:gd name="connsiteY475" fmla="*/ 141468 h 1651987"/>
              <a:gd name="connsiteX476" fmla="*/ 1683020 w 1970753"/>
              <a:gd name="connsiteY476" fmla="*/ 141468 h 1651987"/>
              <a:gd name="connsiteX477" fmla="*/ 1685304 w 1970753"/>
              <a:gd name="connsiteY477" fmla="*/ 141468 h 1651987"/>
              <a:gd name="connsiteX478" fmla="*/ 1685304 w 1970753"/>
              <a:gd name="connsiteY478" fmla="*/ 143750 h 1651987"/>
              <a:gd name="connsiteX479" fmla="*/ 1687587 w 1970753"/>
              <a:gd name="connsiteY479" fmla="*/ 143750 h 1651987"/>
              <a:gd name="connsiteX480" fmla="*/ 1689871 w 1970753"/>
              <a:gd name="connsiteY480" fmla="*/ 143750 h 1651987"/>
              <a:gd name="connsiteX481" fmla="*/ 1692154 w 1970753"/>
              <a:gd name="connsiteY481" fmla="*/ 143750 h 1651987"/>
              <a:gd name="connsiteX482" fmla="*/ 1692154 w 1970753"/>
              <a:gd name="connsiteY482" fmla="*/ 146032 h 1651987"/>
              <a:gd name="connsiteX483" fmla="*/ 1694438 w 1970753"/>
              <a:gd name="connsiteY483" fmla="*/ 146032 h 1651987"/>
              <a:gd name="connsiteX484" fmla="*/ 1694438 w 1970753"/>
              <a:gd name="connsiteY484" fmla="*/ 148314 h 1651987"/>
              <a:gd name="connsiteX485" fmla="*/ 1696722 w 1970753"/>
              <a:gd name="connsiteY485" fmla="*/ 148314 h 1651987"/>
              <a:gd name="connsiteX486" fmla="*/ 1696722 w 1970753"/>
              <a:gd name="connsiteY486" fmla="*/ 150596 h 1651987"/>
              <a:gd name="connsiteX487" fmla="*/ 1699005 w 1970753"/>
              <a:gd name="connsiteY487" fmla="*/ 150596 h 1651987"/>
              <a:gd name="connsiteX488" fmla="*/ 1699005 w 1970753"/>
              <a:gd name="connsiteY488" fmla="*/ 152877 h 1651987"/>
              <a:gd name="connsiteX489" fmla="*/ 1701289 w 1970753"/>
              <a:gd name="connsiteY489" fmla="*/ 152877 h 1651987"/>
              <a:gd name="connsiteX490" fmla="*/ 1701289 w 1970753"/>
              <a:gd name="connsiteY490" fmla="*/ 150596 h 1651987"/>
              <a:gd name="connsiteX491" fmla="*/ 1701289 w 1970753"/>
              <a:gd name="connsiteY491" fmla="*/ 148314 h 1651987"/>
              <a:gd name="connsiteX492" fmla="*/ 1701289 w 1970753"/>
              <a:gd name="connsiteY492" fmla="*/ 146032 h 1651987"/>
              <a:gd name="connsiteX493" fmla="*/ 1701289 w 1970753"/>
              <a:gd name="connsiteY493" fmla="*/ 143750 h 1651987"/>
              <a:gd name="connsiteX494" fmla="*/ 1703573 w 1970753"/>
              <a:gd name="connsiteY494" fmla="*/ 143750 h 1651987"/>
              <a:gd name="connsiteX495" fmla="*/ 1705856 w 1970753"/>
              <a:gd name="connsiteY495" fmla="*/ 143750 h 1651987"/>
              <a:gd name="connsiteX496" fmla="*/ 1708140 w 1970753"/>
              <a:gd name="connsiteY496" fmla="*/ 143750 h 1651987"/>
              <a:gd name="connsiteX497" fmla="*/ 1708140 w 1970753"/>
              <a:gd name="connsiteY497" fmla="*/ 146032 h 1651987"/>
              <a:gd name="connsiteX498" fmla="*/ 1708140 w 1970753"/>
              <a:gd name="connsiteY498" fmla="*/ 148314 h 1651987"/>
              <a:gd name="connsiteX499" fmla="*/ 1708140 w 1970753"/>
              <a:gd name="connsiteY499" fmla="*/ 150596 h 1651987"/>
              <a:gd name="connsiteX500" fmla="*/ 1708140 w 1970753"/>
              <a:gd name="connsiteY500" fmla="*/ 152877 h 1651987"/>
              <a:gd name="connsiteX501" fmla="*/ 1705856 w 1970753"/>
              <a:gd name="connsiteY501" fmla="*/ 152877 h 1651987"/>
              <a:gd name="connsiteX502" fmla="*/ 1705856 w 1970753"/>
              <a:gd name="connsiteY502" fmla="*/ 155159 h 1651987"/>
              <a:gd name="connsiteX503" fmla="*/ 1708140 w 1970753"/>
              <a:gd name="connsiteY503" fmla="*/ 155159 h 1651987"/>
              <a:gd name="connsiteX504" fmla="*/ 1708140 w 1970753"/>
              <a:gd name="connsiteY504" fmla="*/ 157441 h 1651987"/>
              <a:gd name="connsiteX505" fmla="*/ 1710423 w 1970753"/>
              <a:gd name="connsiteY505" fmla="*/ 157441 h 1651987"/>
              <a:gd name="connsiteX506" fmla="*/ 1710423 w 1970753"/>
              <a:gd name="connsiteY506" fmla="*/ 159723 h 1651987"/>
              <a:gd name="connsiteX507" fmla="*/ 1710423 w 1970753"/>
              <a:gd name="connsiteY507" fmla="*/ 162005 h 1651987"/>
              <a:gd name="connsiteX508" fmla="*/ 1710423 w 1970753"/>
              <a:gd name="connsiteY508" fmla="*/ 164287 h 1651987"/>
              <a:gd name="connsiteX509" fmla="*/ 1712707 w 1970753"/>
              <a:gd name="connsiteY509" fmla="*/ 164287 h 1651987"/>
              <a:gd name="connsiteX510" fmla="*/ 1712707 w 1970753"/>
              <a:gd name="connsiteY510" fmla="*/ 166569 h 1651987"/>
              <a:gd name="connsiteX511" fmla="*/ 1714991 w 1970753"/>
              <a:gd name="connsiteY511" fmla="*/ 166569 h 1651987"/>
              <a:gd name="connsiteX512" fmla="*/ 1714991 w 1970753"/>
              <a:gd name="connsiteY512" fmla="*/ 168851 h 1651987"/>
              <a:gd name="connsiteX513" fmla="*/ 1712707 w 1970753"/>
              <a:gd name="connsiteY513" fmla="*/ 168851 h 1651987"/>
              <a:gd name="connsiteX514" fmla="*/ 1712707 w 1970753"/>
              <a:gd name="connsiteY514" fmla="*/ 166569 h 1651987"/>
              <a:gd name="connsiteX515" fmla="*/ 1712707 w 1970753"/>
              <a:gd name="connsiteY515" fmla="*/ 168851 h 1651987"/>
              <a:gd name="connsiteX516" fmla="*/ 1710423 w 1970753"/>
              <a:gd name="connsiteY516" fmla="*/ 168851 h 1651987"/>
              <a:gd name="connsiteX517" fmla="*/ 1710423 w 1970753"/>
              <a:gd name="connsiteY517" fmla="*/ 171133 h 1651987"/>
              <a:gd name="connsiteX518" fmla="*/ 1710423 w 1970753"/>
              <a:gd name="connsiteY518" fmla="*/ 173415 h 1651987"/>
              <a:gd name="connsiteX519" fmla="*/ 1708140 w 1970753"/>
              <a:gd name="connsiteY519" fmla="*/ 173415 h 1651987"/>
              <a:gd name="connsiteX520" fmla="*/ 1708140 w 1970753"/>
              <a:gd name="connsiteY520" fmla="*/ 175697 h 1651987"/>
              <a:gd name="connsiteX521" fmla="*/ 1710423 w 1970753"/>
              <a:gd name="connsiteY521" fmla="*/ 175697 h 1651987"/>
              <a:gd name="connsiteX522" fmla="*/ 1712707 w 1970753"/>
              <a:gd name="connsiteY522" fmla="*/ 175697 h 1651987"/>
              <a:gd name="connsiteX523" fmla="*/ 1712707 w 1970753"/>
              <a:gd name="connsiteY523" fmla="*/ 177978 h 1651987"/>
              <a:gd name="connsiteX524" fmla="*/ 1714991 w 1970753"/>
              <a:gd name="connsiteY524" fmla="*/ 177978 h 1651987"/>
              <a:gd name="connsiteX525" fmla="*/ 1714991 w 1970753"/>
              <a:gd name="connsiteY525" fmla="*/ 180260 h 1651987"/>
              <a:gd name="connsiteX526" fmla="*/ 1714991 w 1970753"/>
              <a:gd name="connsiteY526" fmla="*/ 177978 h 1651987"/>
              <a:gd name="connsiteX527" fmla="*/ 1714991 w 1970753"/>
              <a:gd name="connsiteY527" fmla="*/ 180260 h 1651987"/>
              <a:gd name="connsiteX528" fmla="*/ 1714991 w 1970753"/>
              <a:gd name="connsiteY528" fmla="*/ 182542 h 1651987"/>
              <a:gd name="connsiteX529" fmla="*/ 1717274 w 1970753"/>
              <a:gd name="connsiteY529" fmla="*/ 182542 h 1651987"/>
              <a:gd name="connsiteX530" fmla="*/ 1717274 w 1970753"/>
              <a:gd name="connsiteY530" fmla="*/ 184824 h 1651987"/>
              <a:gd name="connsiteX531" fmla="*/ 1719558 w 1970753"/>
              <a:gd name="connsiteY531" fmla="*/ 184824 h 1651987"/>
              <a:gd name="connsiteX532" fmla="*/ 1717274 w 1970753"/>
              <a:gd name="connsiteY532" fmla="*/ 184824 h 1651987"/>
              <a:gd name="connsiteX533" fmla="*/ 1717274 w 1970753"/>
              <a:gd name="connsiteY533" fmla="*/ 187106 h 1651987"/>
              <a:gd name="connsiteX534" fmla="*/ 1719558 w 1970753"/>
              <a:gd name="connsiteY534" fmla="*/ 187106 h 1651987"/>
              <a:gd name="connsiteX535" fmla="*/ 1719558 w 1970753"/>
              <a:gd name="connsiteY535" fmla="*/ 189388 h 1651987"/>
              <a:gd name="connsiteX536" fmla="*/ 1717274 w 1970753"/>
              <a:gd name="connsiteY536" fmla="*/ 189388 h 1651987"/>
              <a:gd name="connsiteX537" fmla="*/ 1719558 w 1970753"/>
              <a:gd name="connsiteY537" fmla="*/ 189388 h 1651987"/>
              <a:gd name="connsiteX538" fmla="*/ 1721841 w 1970753"/>
              <a:gd name="connsiteY538" fmla="*/ 189388 h 1651987"/>
              <a:gd name="connsiteX539" fmla="*/ 1719558 w 1970753"/>
              <a:gd name="connsiteY539" fmla="*/ 189388 h 1651987"/>
              <a:gd name="connsiteX540" fmla="*/ 1719558 w 1970753"/>
              <a:gd name="connsiteY540" fmla="*/ 191670 h 1651987"/>
              <a:gd name="connsiteX541" fmla="*/ 1721841 w 1970753"/>
              <a:gd name="connsiteY541" fmla="*/ 191670 h 1651987"/>
              <a:gd name="connsiteX542" fmla="*/ 1721841 w 1970753"/>
              <a:gd name="connsiteY542" fmla="*/ 193952 h 1651987"/>
              <a:gd name="connsiteX543" fmla="*/ 1724125 w 1970753"/>
              <a:gd name="connsiteY543" fmla="*/ 193952 h 1651987"/>
              <a:gd name="connsiteX544" fmla="*/ 1724125 w 1970753"/>
              <a:gd name="connsiteY544" fmla="*/ 196233 h 1651987"/>
              <a:gd name="connsiteX545" fmla="*/ 1724125 w 1970753"/>
              <a:gd name="connsiteY545" fmla="*/ 198515 h 1651987"/>
              <a:gd name="connsiteX546" fmla="*/ 1726408 w 1970753"/>
              <a:gd name="connsiteY546" fmla="*/ 198515 h 1651987"/>
              <a:gd name="connsiteX547" fmla="*/ 1726408 w 1970753"/>
              <a:gd name="connsiteY547" fmla="*/ 200797 h 1651987"/>
              <a:gd name="connsiteX548" fmla="*/ 1726408 w 1970753"/>
              <a:gd name="connsiteY548" fmla="*/ 203079 h 1651987"/>
              <a:gd name="connsiteX549" fmla="*/ 1728692 w 1970753"/>
              <a:gd name="connsiteY549" fmla="*/ 203079 h 1651987"/>
              <a:gd name="connsiteX550" fmla="*/ 1728692 w 1970753"/>
              <a:gd name="connsiteY550" fmla="*/ 205361 h 1651987"/>
              <a:gd name="connsiteX551" fmla="*/ 1728692 w 1970753"/>
              <a:gd name="connsiteY551" fmla="*/ 207643 h 1651987"/>
              <a:gd name="connsiteX552" fmla="*/ 1728692 w 1970753"/>
              <a:gd name="connsiteY552" fmla="*/ 209925 h 1651987"/>
              <a:gd name="connsiteX553" fmla="*/ 1728692 w 1970753"/>
              <a:gd name="connsiteY553" fmla="*/ 212207 h 1651987"/>
              <a:gd name="connsiteX554" fmla="*/ 1730976 w 1970753"/>
              <a:gd name="connsiteY554" fmla="*/ 212207 h 1651987"/>
              <a:gd name="connsiteX555" fmla="*/ 1730976 w 1970753"/>
              <a:gd name="connsiteY555" fmla="*/ 209925 h 1651987"/>
              <a:gd name="connsiteX556" fmla="*/ 1733259 w 1970753"/>
              <a:gd name="connsiteY556" fmla="*/ 209925 h 1651987"/>
              <a:gd name="connsiteX557" fmla="*/ 1733259 w 1970753"/>
              <a:gd name="connsiteY557" fmla="*/ 212207 h 1651987"/>
              <a:gd name="connsiteX558" fmla="*/ 1733259 w 1970753"/>
              <a:gd name="connsiteY558" fmla="*/ 209925 h 1651987"/>
              <a:gd name="connsiteX559" fmla="*/ 1733259 w 1970753"/>
              <a:gd name="connsiteY559" fmla="*/ 207643 h 1651987"/>
              <a:gd name="connsiteX560" fmla="*/ 1735543 w 1970753"/>
              <a:gd name="connsiteY560" fmla="*/ 207643 h 1651987"/>
              <a:gd name="connsiteX561" fmla="*/ 1737827 w 1970753"/>
              <a:gd name="connsiteY561" fmla="*/ 207643 h 1651987"/>
              <a:gd name="connsiteX562" fmla="*/ 1737827 w 1970753"/>
              <a:gd name="connsiteY562" fmla="*/ 205361 h 1651987"/>
              <a:gd name="connsiteX563" fmla="*/ 1735543 w 1970753"/>
              <a:gd name="connsiteY563" fmla="*/ 205361 h 1651987"/>
              <a:gd name="connsiteX564" fmla="*/ 1737827 w 1970753"/>
              <a:gd name="connsiteY564" fmla="*/ 205361 h 1651987"/>
              <a:gd name="connsiteX565" fmla="*/ 1740110 w 1970753"/>
              <a:gd name="connsiteY565" fmla="*/ 205361 h 1651987"/>
              <a:gd name="connsiteX566" fmla="*/ 1740110 w 1970753"/>
              <a:gd name="connsiteY566" fmla="*/ 203079 h 1651987"/>
              <a:gd name="connsiteX567" fmla="*/ 1742394 w 1970753"/>
              <a:gd name="connsiteY567" fmla="*/ 203079 h 1651987"/>
              <a:gd name="connsiteX568" fmla="*/ 1742394 w 1970753"/>
              <a:gd name="connsiteY568" fmla="*/ 205361 h 1651987"/>
              <a:gd name="connsiteX569" fmla="*/ 1742394 w 1970753"/>
              <a:gd name="connsiteY569" fmla="*/ 203079 h 1651987"/>
              <a:gd name="connsiteX570" fmla="*/ 1742394 w 1970753"/>
              <a:gd name="connsiteY570" fmla="*/ 200797 h 1651987"/>
              <a:gd name="connsiteX571" fmla="*/ 1744677 w 1970753"/>
              <a:gd name="connsiteY571" fmla="*/ 200797 h 1651987"/>
              <a:gd name="connsiteX572" fmla="*/ 1744677 w 1970753"/>
              <a:gd name="connsiteY572" fmla="*/ 203079 h 1651987"/>
              <a:gd name="connsiteX573" fmla="*/ 1744677 w 1970753"/>
              <a:gd name="connsiteY573" fmla="*/ 200797 h 1651987"/>
              <a:gd name="connsiteX574" fmla="*/ 1746961 w 1970753"/>
              <a:gd name="connsiteY574" fmla="*/ 200797 h 1651987"/>
              <a:gd name="connsiteX575" fmla="*/ 1749244 w 1970753"/>
              <a:gd name="connsiteY575" fmla="*/ 200797 h 1651987"/>
              <a:gd name="connsiteX576" fmla="*/ 1751528 w 1970753"/>
              <a:gd name="connsiteY576" fmla="*/ 200797 h 1651987"/>
              <a:gd name="connsiteX577" fmla="*/ 1751528 w 1970753"/>
              <a:gd name="connsiteY577" fmla="*/ 203079 h 1651987"/>
              <a:gd name="connsiteX578" fmla="*/ 1751528 w 1970753"/>
              <a:gd name="connsiteY578" fmla="*/ 200797 h 1651987"/>
              <a:gd name="connsiteX579" fmla="*/ 1753812 w 1970753"/>
              <a:gd name="connsiteY579" fmla="*/ 200797 h 1651987"/>
              <a:gd name="connsiteX580" fmla="*/ 1756095 w 1970753"/>
              <a:gd name="connsiteY580" fmla="*/ 200797 h 1651987"/>
              <a:gd name="connsiteX581" fmla="*/ 1758379 w 1970753"/>
              <a:gd name="connsiteY581" fmla="*/ 200797 h 1651987"/>
              <a:gd name="connsiteX582" fmla="*/ 1758379 w 1970753"/>
              <a:gd name="connsiteY582" fmla="*/ 198515 h 1651987"/>
              <a:gd name="connsiteX583" fmla="*/ 1756095 w 1970753"/>
              <a:gd name="connsiteY583" fmla="*/ 198515 h 1651987"/>
              <a:gd name="connsiteX584" fmla="*/ 1758379 w 1970753"/>
              <a:gd name="connsiteY584" fmla="*/ 198515 h 1651987"/>
              <a:gd name="connsiteX585" fmla="*/ 1758379 w 1970753"/>
              <a:gd name="connsiteY585" fmla="*/ 200797 h 1651987"/>
              <a:gd name="connsiteX586" fmla="*/ 1760662 w 1970753"/>
              <a:gd name="connsiteY586" fmla="*/ 200797 h 1651987"/>
              <a:gd name="connsiteX587" fmla="*/ 1762946 w 1970753"/>
              <a:gd name="connsiteY587" fmla="*/ 200797 h 1651987"/>
              <a:gd name="connsiteX588" fmla="*/ 1765230 w 1970753"/>
              <a:gd name="connsiteY588" fmla="*/ 200797 h 1651987"/>
              <a:gd name="connsiteX589" fmla="*/ 1765230 w 1970753"/>
              <a:gd name="connsiteY589" fmla="*/ 203079 h 1651987"/>
              <a:gd name="connsiteX590" fmla="*/ 1767513 w 1970753"/>
              <a:gd name="connsiteY590" fmla="*/ 203079 h 1651987"/>
              <a:gd name="connsiteX591" fmla="*/ 1767513 w 1970753"/>
              <a:gd name="connsiteY591" fmla="*/ 200797 h 1651987"/>
              <a:gd name="connsiteX592" fmla="*/ 1769797 w 1970753"/>
              <a:gd name="connsiteY592" fmla="*/ 200797 h 1651987"/>
              <a:gd name="connsiteX593" fmla="*/ 1769797 w 1970753"/>
              <a:gd name="connsiteY593" fmla="*/ 203079 h 1651987"/>
              <a:gd name="connsiteX594" fmla="*/ 1769797 w 1970753"/>
              <a:gd name="connsiteY594" fmla="*/ 205361 h 1651987"/>
              <a:gd name="connsiteX595" fmla="*/ 1769797 w 1970753"/>
              <a:gd name="connsiteY595" fmla="*/ 207643 h 1651987"/>
              <a:gd name="connsiteX596" fmla="*/ 1772081 w 1970753"/>
              <a:gd name="connsiteY596" fmla="*/ 207643 h 1651987"/>
              <a:gd name="connsiteX597" fmla="*/ 1772081 w 1970753"/>
              <a:gd name="connsiteY597" fmla="*/ 209925 h 1651987"/>
              <a:gd name="connsiteX598" fmla="*/ 1769797 w 1970753"/>
              <a:gd name="connsiteY598" fmla="*/ 209925 h 1651987"/>
              <a:gd name="connsiteX599" fmla="*/ 1769797 w 1970753"/>
              <a:gd name="connsiteY599" fmla="*/ 212207 h 1651987"/>
              <a:gd name="connsiteX600" fmla="*/ 1772081 w 1970753"/>
              <a:gd name="connsiteY600" fmla="*/ 212207 h 1651987"/>
              <a:gd name="connsiteX601" fmla="*/ 1772081 w 1970753"/>
              <a:gd name="connsiteY601" fmla="*/ 214489 h 1651987"/>
              <a:gd name="connsiteX602" fmla="*/ 1772081 w 1970753"/>
              <a:gd name="connsiteY602" fmla="*/ 216771 h 1651987"/>
              <a:gd name="connsiteX603" fmla="*/ 1774364 w 1970753"/>
              <a:gd name="connsiteY603" fmla="*/ 216771 h 1651987"/>
              <a:gd name="connsiteX604" fmla="*/ 1776648 w 1970753"/>
              <a:gd name="connsiteY604" fmla="*/ 216771 h 1651987"/>
              <a:gd name="connsiteX605" fmla="*/ 1776648 w 1970753"/>
              <a:gd name="connsiteY605" fmla="*/ 219053 h 1651987"/>
              <a:gd name="connsiteX606" fmla="*/ 1774364 w 1970753"/>
              <a:gd name="connsiteY606" fmla="*/ 219053 h 1651987"/>
              <a:gd name="connsiteX607" fmla="*/ 1776648 w 1970753"/>
              <a:gd name="connsiteY607" fmla="*/ 219053 h 1651987"/>
              <a:gd name="connsiteX608" fmla="*/ 1776648 w 1970753"/>
              <a:gd name="connsiteY608" fmla="*/ 221334 h 1651987"/>
              <a:gd name="connsiteX609" fmla="*/ 1778931 w 1970753"/>
              <a:gd name="connsiteY609" fmla="*/ 221334 h 1651987"/>
              <a:gd name="connsiteX610" fmla="*/ 1778931 w 1970753"/>
              <a:gd name="connsiteY610" fmla="*/ 223616 h 1651987"/>
              <a:gd name="connsiteX611" fmla="*/ 1781215 w 1970753"/>
              <a:gd name="connsiteY611" fmla="*/ 223616 h 1651987"/>
              <a:gd name="connsiteX612" fmla="*/ 1781215 w 1970753"/>
              <a:gd name="connsiteY612" fmla="*/ 221334 h 1651987"/>
              <a:gd name="connsiteX613" fmla="*/ 1781215 w 1970753"/>
              <a:gd name="connsiteY613" fmla="*/ 219053 h 1651987"/>
              <a:gd name="connsiteX614" fmla="*/ 1781215 w 1970753"/>
              <a:gd name="connsiteY614" fmla="*/ 216771 h 1651987"/>
              <a:gd name="connsiteX615" fmla="*/ 1783498 w 1970753"/>
              <a:gd name="connsiteY615" fmla="*/ 216771 h 1651987"/>
              <a:gd name="connsiteX616" fmla="*/ 1783498 w 1970753"/>
              <a:gd name="connsiteY616" fmla="*/ 219053 h 1651987"/>
              <a:gd name="connsiteX617" fmla="*/ 1783498 w 1970753"/>
              <a:gd name="connsiteY617" fmla="*/ 216771 h 1651987"/>
              <a:gd name="connsiteX618" fmla="*/ 1781215 w 1970753"/>
              <a:gd name="connsiteY618" fmla="*/ 216771 h 1651987"/>
              <a:gd name="connsiteX619" fmla="*/ 1781215 w 1970753"/>
              <a:gd name="connsiteY619" fmla="*/ 219053 h 1651987"/>
              <a:gd name="connsiteX620" fmla="*/ 1783498 w 1970753"/>
              <a:gd name="connsiteY620" fmla="*/ 219053 h 1651987"/>
              <a:gd name="connsiteX621" fmla="*/ 1785782 w 1970753"/>
              <a:gd name="connsiteY621" fmla="*/ 219053 h 1651987"/>
              <a:gd name="connsiteX622" fmla="*/ 1783498 w 1970753"/>
              <a:gd name="connsiteY622" fmla="*/ 219053 h 1651987"/>
              <a:gd name="connsiteX623" fmla="*/ 1783498 w 1970753"/>
              <a:gd name="connsiteY623" fmla="*/ 221334 h 1651987"/>
              <a:gd name="connsiteX624" fmla="*/ 1785782 w 1970753"/>
              <a:gd name="connsiteY624" fmla="*/ 221334 h 1651987"/>
              <a:gd name="connsiteX625" fmla="*/ 1785782 w 1970753"/>
              <a:gd name="connsiteY625" fmla="*/ 223616 h 1651987"/>
              <a:gd name="connsiteX626" fmla="*/ 1783498 w 1970753"/>
              <a:gd name="connsiteY626" fmla="*/ 223616 h 1651987"/>
              <a:gd name="connsiteX627" fmla="*/ 1785782 w 1970753"/>
              <a:gd name="connsiteY627" fmla="*/ 223616 h 1651987"/>
              <a:gd name="connsiteX628" fmla="*/ 1785782 w 1970753"/>
              <a:gd name="connsiteY628" fmla="*/ 221334 h 1651987"/>
              <a:gd name="connsiteX629" fmla="*/ 1788066 w 1970753"/>
              <a:gd name="connsiteY629" fmla="*/ 221334 h 1651987"/>
              <a:gd name="connsiteX630" fmla="*/ 1785782 w 1970753"/>
              <a:gd name="connsiteY630" fmla="*/ 221334 h 1651987"/>
              <a:gd name="connsiteX631" fmla="*/ 1785782 w 1970753"/>
              <a:gd name="connsiteY631" fmla="*/ 223616 h 1651987"/>
              <a:gd name="connsiteX632" fmla="*/ 1788066 w 1970753"/>
              <a:gd name="connsiteY632" fmla="*/ 223616 h 1651987"/>
              <a:gd name="connsiteX633" fmla="*/ 1790349 w 1970753"/>
              <a:gd name="connsiteY633" fmla="*/ 223616 h 1651987"/>
              <a:gd name="connsiteX634" fmla="*/ 1788066 w 1970753"/>
              <a:gd name="connsiteY634" fmla="*/ 223616 h 1651987"/>
              <a:gd name="connsiteX635" fmla="*/ 1790349 w 1970753"/>
              <a:gd name="connsiteY635" fmla="*/ 223616 h 1651987"/>
              <a:gd name="connsiteX636" fmla="*/ 1790349 w 1970753"/>
              <a:gd name="connsiteY636" fmla="*/ 221334 h 1651987"/>
              <a:gd name="connsiteX637" fmla="*/ 1792633 w 1970753"/>
              <a:gd name="connsiteY637" fmla="*/ 221334 h 1651987"/>
              <a:gd name="connsiteX638" fmla="*/ 1790349 w 1970753"/>
              <a:gd name="connsiteY638" fmla="*/ 221334 h 1651987"/>
              <a:gd name="connsiteX639" fmla="*/ 1792633 w 1970753"/>
              <a:gd name="connsiteY639" fmla="*/ 221334 h 1651987"/>
              <a:gd name="connsiteX640" fmla="*/ 1792633 w 1970753"/>
              <a:gd name="connsiteY640" fmla="*/ 223616 h 1651987"/>
              <a:gd name="connsiteX641" fmla="*/ 1792633 w 1970753"/>
              <a:gd name="connsiteY641" fmla="*/ 225898 h 1651987"/>
              <a:gd name="connsiteX642" fmla="*/ 1794916 w 1970753"/>
              <a:gd name="connsiteY642" fmla="*/ 225898 h 1651987"/>
              <a:gd name="connsiteX643" fmla="*/ 1794916 w 1970753"/>
              <a:gd name="connsiteY643" fmla="*/ 228180 h 1651987"/>
              <a:gd name="connsiteX644" fmla="*/ 1797200 w 1970753"/>
              <a:gd name="connsiteY644" fmla="*/ 228180 h 1651987"/>
              <a:gd name="connsiteX645" fmla="*/ 1797200 w 1970753"/>
              <a:gd name="connsiteY645" fmla="*/ 230462 h 1651987"/>
              <a:gd name="connsiteX646" fmla="*/ 1799483 w 1970753"/>
              <a:gd name="connsiteY646" fmla="*/ 230462 h 1651987"/>
              <a:gd name="connsiteX647" fmla="*/ 1799483 w 1970753"/>
              <a:gd name="connsiteY647" fmla="*/ 232744 h 1651987"/>
              <a:gd name="connsiteX648" fmla="*/ 1799483 w 1970753"/>
              <a:gd name="connsiteY648" fmla="*/ 230462 h 1651987"/>
              <a:gd name="connsiteX649" fmla="*/ 1801767 w 1970753"/>
              <a:gd name="connsiteY649" fmla="*/ 230462 h 1651987"/>
              <a:gd name="connsiteX650" fmla="*/ 1801767 w 1970753"/>
              <a:gd name="connsiteY650" fmla="*/ 228180 h 1651987"/>
              <a:gd name="connsiteX651" fmla="*/ 1801767 w 1970753"/>
              <a:gd name="connsiteY651" fmla="*/ 230462 h 1651987"/>
              <a:gd name="connsiteX652" fmla="*/ 1804051 w 1970753"/>
              <a:gd name="connsiteY652" fmla="*/ 230462 h 1651987"/>
              <a:gd name="connsiteX653" fmla="*/ 1804051 w 1970753"/>
              <a:gd name="connsiteY653" fmla="*/ 228180 h 1651987"/>
              <a:gd name="connsiteX654" fmla="*/ 1806334 w 1970753"/>
              <a:gd name="connsiteY654" fmla="*/ 228180 h 1651987"/>
              <a:gd name="connsiteX655" fmla="*/ 1806334 w 1970753"/>
              <a:gd name="connsiteY655" fmla="*/ 225898 h 1651987"/>
              <a:gd name="connsiteX656" fmla="*/ 1808618 w 1970753"/>
              <a:gd name="connsiteY656" fmla="*/ 225898 h 1651987"/>
              <a:gd name="connsiteX657" fmla="*/ 1808618 w 1970753"/>
              <a:gd name="connsiteY657" fmla="*/ 228180 h 1651987"/>
              <a:gd name="connsiteX658" fmla="*/ 1806334 w 1970753"/>
              <a:gd name="connsiteY658" fmla="*/ 228180 h 1651987"/>
              <a:gd name="connsiteX659" fmla="*/ 1808618 w 1970753"/>
              <a:gd name="connsiteY659" fmla="*/ 228180 h 1651987"/>
              <a:gd name="connsiteX660" fmla="*/ 1808618 w 1970753"/>
              <a:gd name="connsiteY660" fmla="*/ 230462 h 1651987"/>
              <a:gd name="connsiteX661" fmla="*/ 1808618 w 1970753"/>
              <a:gd name="connsiteY661" fmla="*/ 232744 h 1651987"/>
              <a:gd name="connsiteX662" fmla="*/ 1808618 w 1970753"/>
              <a:gd name="connsiteY662" fmla="*/ 230462 h 1651987"/>
              <a:gd name="connsiteX663" fmla="*/ 1808618 w 1970753"/>
              <a:gd name="connsiteY663" fmla="*/ 232744 h 1651987"/>
              <a:gd name="connsiteX664" fmla="*/ 1808618 w 1970753"/>
              <a:gd name="connsiteY664" fmla="*/ 235026 h 1651987"/>
              <a:gd name="connsiteX665" fmla="*/ 1810902 w 1970753"/>
              <a:gd name="connsiteY665" fmla="*/ 235026 h 1651987"/>
              <a:gd name="connsiteX666" fmla="*/ 1808618 w 1970753"/>
              <a:gd name="connsiteY666" fmla="*/ 235026 h 1651987"/>
              <a:gd name="connsiteX667" fmla="*/ 1808618 w 1970753"/>
              <a:gd name="connsiteY667" fmla="*/ 237298 h 1651987"/>
              <a:gd name="connsiteX668" fmla="*/ 1808618 w 1970753"/>
              <a:gd name="connsiteY668" fmla="*/ 239590 h 1651987"/>
              <a:gd name="connsiteX669" fmla="*/ 1810902 w 1970753"/>
              <a:gd name="connsiteY669" fmla="*/ 239590 h 1651987"/>
              <a:gd name="connsiteX670" fmla="*/ 1808618 w 1970753"/>
              <a:gd name="connsiteY670" fmla="*/ 239590 h 1651987"/>
              <a:gd name="connsiteX671" fmla="*/ 1808618 w 1970753"/>
              <a:gd name="connsiteY671" fmla="*/ 241871 h 1651987"/>
              <a:gd name="connsiteX672" fmla="*/ 1808618 w 1970753"/>
              <a:gd name="connsiteY672" fmla="*/ 244144 h 1651987"/>
              <a:gd name="connsiteX673" fmla="*/ 1806334 w 1970753"/>
              <a:gd name="connsiteY673" fmla="*/ 244144 h 1651987"/>
              <a:gd name="connsiteX674" fmla="*/ 1806334 w 1970753"/>
              <a:gd name="connsiteY674" fmla="*/ 246426 h 1651987"/>
              <a:gd name="connsiteX675" fmla="*/ 1804051 w 1970753"/>
              <a:gd name="connsiteY675" fmla="*/ 246426 h 1651987"/>
              <a:gd name="connsiteX676" fmla="*/ 1806334 w 1970753"/>
              <a:gd name="connsiteY676" fmla="*/ 246426 h 1651987"/>
              <a:gd name="connsiteX677" fmla="*/ 1806334 w 1970753"/>
              <a:gd name="connsiteY677" fmla="*/ 248708 h 1651987"/>
              <a:gd name="connsiteX678" fmla="*/ 1806334 w 1970753"/>
              <a:gd name="connsiteY678" fmla="*/ 250989 h 1651987"/>
              <a:gd name="connsiteX679" fmla="*/ 1808618 w 1970753"/>
              <a:gd name="connsiteY679" fmla="*/ 250989 h 1651987"/>
              <a:gd name="connsiteX680" fmla="*/ 1810902 w 1970753"/>
              <a:gd name="connsiteY680" fmla="*/ 250989 h 1651987"/>
              <a:gd name="connsiteX681" fmla="*/ 1810902 w 1970753"/>
              <a:gd name="connsiteY681" fmla="*/ 248708 h 1651987"/>
              <a:gd name="connsiteX682" fmla="*/ 1810902 w 1970753"/>
              <a:gd name="connsiteY682" fmla="*/ 246426 h 1651987"/>
              <a:gd name="connsiteX683" fmla="*/ 1810902 w 1970753"/>
              <a:gd name="connsiteY683" fmla="*/ 244144 h 1651987"/>
              <a:gd name="connsiteX684" fmla="*/ 1813185 w 1970753"/>
              <a:gd name="connsiteY684" fmla="*/ 244144 h 1651987"/>
              <a:gd name="connsiteX685" fmla="*/ 1813185 w 1970753"/>
              <a:gd name="connsiteY685" fmla="*/ 246426 h 1651987"/>
              <a:gd name="connsiteX686" fmla="*/ 1815469 w 1970753"/>
              <a:gd name="connsiteY686" fmla="*/ 246426 h 1651987"/>
              <a:gd name="connsiteX687" fmla="*/ 1817752 w 1970753"/>
              <a:gd name="connsiteY687" fmla="*/ 246426 h 1651987"/>
              <a:gd name="connsiteX688" fmla="*/ 1817752 w 1970753"/>
              <a:gd name="connsiteY688" fmla="*/ 244144 h 1651987"/>
              <a:gd name="connsiteX689" fmla="*/ 1820036 w 1970753"/>
              <a:gd name="connsiteY689" fmla="*/ 244144 h 1651987"/>
              <a:gd name="connsiteX690" fmla="*/ 1820036 w 1970753"/>
              <a:gd name="connsiteY690" fmla="*/ 246426 h 1651987"/>
              <a:gd name="connsiteX691" fmla="*/ 1822320 w 1970753"/>
              <a:gd name="connsiteY691" fmla="*/ 246426 h 1651987"/>
              <a:gd name="connsiteX692" fmla="*/ 1824603 w 1970753"/>
              <a:gd name="connsiteY692" fmla="*/ 246426 h 1651987"/>
              <a:gd name="connsiteX693" fmla="*/ 1824603 w 1970753"/>
              <a:gd name="connsiteY693" fmla="*/ 244144 h 1651987"/>
              <a:gd name="connsiteX694" fmla="*/ 1826887 w 1970753"/>
              <a:gd name="connsiteY694" fmla="*/ 244144 h 1651987"/>
              <a:gd name="connsiteX695" fmla="*/ 1826887 w 1970753"/>
              <a:gd name="connsiteY695" fmla="*/ 246426 h 1651987"/>
              <a:gd name="connsiteX696" fmla="*/ 1826887 w 1970753"/>
              <a:gd name="connsiteY696" fmla="*/ 244144 h 1651987"/>
              <a:gd name="connsiteX697" fmla="*/ 1829170 w 1970753"/>
              <a:gd name="connsiteY697" fmla="*/ 244144 h 1651987"/>
              <a:gd name="connsiteX698" fmla="*/ 1829170 w 1970753"/>
              <a:gd name="connsiteY698" fmla="*/ 246426 h 1651987"/>
              <a:gd name="connsiteX699" fmla="*/ 1826887 w 1970753"/>
              <a:gd name="connsiteY699" fmla="*/ 246426 h 1651987"/>
              <a:gd name="connsiteX700" fmla="*/ 1829170 w 1970753"/>
              <a:gd name="connsiteY700" fmla="*/ 246426 h 1651987"/>
              <a:gd name="connsiteX701" fmla="*/ 1829170 w 1970753"/>
              <a:gd name="connsiteY701" fmla="*/ 244144 h 1651987"/>
              <a:gd name="connsiteX702" fmla="*/ 1826887 w 1970753"/>
              <a:gd name="connsiteY702" fmla="*/ 244144 h 1651987"/>
              <a:gd name="connsiteX703" fmla="*/ 1829170 w 1970753"/>
              <a:gd name="connsiteY703" fmla="*/ 244144 h 1651987"/>
              <a:gd name="connsiteX704" fmla="*/ 1831454 w 1970753"/>
              <a:gd name="connsiteY704" fmla="*/ 244144 h 1651987"/>
              <a:gd name="connsiteX705" fmla="*/ 1833737 w 1970753"/>
              <a:gd name="connsiteY705" fmla="*/ 244144 h 1651987"/>
              <a:gd name="connsiteX706" fmla="*/ 1831454 w 1970753"/>
              <a:gd name="connsiteY706" fmla="*/ 244144 h 1651987"/>
              <a:gd name="connsiteX707" fmla="*/ 1833737 w 1970753"/>
              <a:gd name="connsiteY707" fmla="*/ 244144 h 1651987"/>
              <a:gd name="connsiteX708" fmla="*/ 1833737 w 1970753"/>
              <a:gd name="connsiteY708" fmla="*/ 246426 h 1651987"/>
              <a:gd name="connsiteX709" fmla="*/ 1836021 w 1970753"/>
              <a:gd name="connsiteY709" fmla="*/ 246426 h 1651987"/>
              <a:gd name="connsiteX710" fmla="*/ 1838305 w 1970753"/>
              <a:gd name="connsiteY710" fmla="*/ 246426 h 1651987"/>
              <a:gd name="connsiteX711" fmla="*/ 1838305 w 1970753"/>
              <a:gd name="connsiteY711" fmla="*/ 248708 h 1651987"/>
              <a:gd name="connsiteX712" fmla="*/ 1840588 w 1970753"/>
              <a:gd name="connsiteY712" fmla="*/ 248708 h 1651987"/>
              <a:gd name="connsiteX713" fmla="*/ 1842872 w 1970753"/>
              <a:gd name="connsiteY713" fmla="*/ 248708 h 1651987"/>
              <a:gd name="connsiteX714" fmla="*/ 1840588 w 1970753"/>
              <a:gd name="connsiteY714" fmla="*/ 248708 h 1651987"/>
              <a:gd name="connsiteX715" fmla="*/ 1842872 w 1970753"/>
              <a:gd name="connsiteY715" fmla="*/ 248708 h 1651987"/>
              <a:gd name="connsiteX716" fmla="*/ 1842872 w 1970753"/>
              <a:gd name="connsiteY716" fmla="*/ 250989 h 1651987"/>
              <a:gd name="connsiteX717" fmla="*/ 1845156 w 1970753"/>
              <a:gd name="connsiteY717" fmla="*/ 250989 h 1651987"/>
              <a:gd name="connsiteX718" fmla="*/ 1847439 w 1970753"/>
              <a:gd name="connsiteY718" fmla="*/ 250989 h 1651987"/>
              <a:gd name="connsiteX719" fmla="*/ 1847439 w 1970753"/>
              <a:gd name="connsiteY719" fmla="*/ 253271 h 1651987"/>
              <a:gd name="connsiteX720" fmla="*/ 1849723 w 1970753"/>
              <a:gd name="connsiteY720" fmla="*/ 253271 h 1651987"/>
              <a:gd name="connsiteX721" fmla="*/ 1849723 w 1970753"/>
              <a:gd name="connsiteY721" fmla="*/ 255553 h 1651987"/>
              <a:gd name="connsiteX722" fmla="*/ 1849723 w 1970753"/>
              <a:gd name="connsiteY722" fmla="*/ 257835 h 1651987"/>
              <a:gd name="connsiteX723" fmla="*/ 1849723 w 1970753"/>
              <a:gd name="connsiteY723" fmla="*/ 255553 h 1651987"/>
              <a:gd name="connsiteX724" fmla="*/ 1852006 w 1970753"/>
              <a:gd name="connsiteY724" fmla="*/ 257835 h 1651987"/>
              <a:gd name="connsiteX725" fmla="*/ 1849723 w 1970753"/>
              <a:gd name="connsiteY725" fmla="*/ 257835 h 1651987"/>
              <a:gd name="connsiteX726" fmla="*/ 1852006 w 1970753"/>
              <a:gd name="connsiteY726" fmla="*/ 257835 h 1651987"/>
              <a:gd name="connsiteX727" fmla="*/ 1852006 w 1970753"/>
              <a:gd name="connsiteY727" fmla="*/ 260117 h 1651987"/>
              <a:gd name="connsiteX728" fmla="*/ 1854290 w 1970753"/>
              <a:gd name="connsiteY728" fmla="*/ 260117 h 1651987"/>
              <a:gd name="connsiteX729" fmla="*/ 1852006 w 1970753"/>
              <a:gd name="connsiteY729" fmla="*/ 260117 h 1651987"/>
              <a:gd name="connsiteX730" fmla="*/ 1854290 w 1970753"/>
              <a:gd name="connsiteY730" fmla="*/ 260117 h 1651987"/>
              <a:gd name="connsiteX731" fmla="*/ 1854290 w 1970753"/>
              <a:gd name="connsiteY731" fmla="*/ 262399 h 1651987"/>
              <a:gd name="connsiteX732" fmla="*/ 1854290 w 1970753"/>
              <a:gd name="connsiteY732" fmla="*/ 260117 h 1651987"/>
              <a:gd name="connsiteX733" fmla="*/ 1854290 w 1970753"/>
              <a:gd name="connsiteY733" fmla="*/ 262399 h 1651987"/>
              <a:gd name="connsiteX734" fmla="*/ 1856573 w 1970753"/>
              <a:gd name="connsiteY734" fmla="*/ 262399 h 1651987"/>
              <a:gd name="connsiteX735" fmla="*/ 1856573 w 1970753"/>
              <a:gd name="connsiteY735" fmla="*/ 264681 h 1651987"/>
              <a:gd name="connsiteX736" fmla="*/ 1856573 w 1970753"/>
              <a:gd name="connsiteY736" fmla="*/ 266963 h 1651987"/>
              <a:gd name="connsiteX737" fmla="*/ 1858857 w 1970753"/>
              <a:gd name="connsiteY737" fmla="*/ 266963 h 1651987"/>
              <a:gd name="connsiteX738" fmla="*/ 1856573 w 1970753"/>
              <a:gd name="connsiteY738" fmla="*/ 266963 h 1651987"/>
              <a:gd name="connsiteX739" fmla="*/ 1858857 w 1970753"/>
              <a:gd name="connsiteY739" fmla="*/ 266963 h 1651987"/>
              <a:gd name="connsiteX740" fmla="*/ 1858857 w 1970753"/>
              <a:gd name="connsiteY740" fmla="*/ 269245 h 1651987"/>
              <a:gd name="connsiteX741" fmla="*/ 1858857 w 1970753"/>
              <a:gd name="connsiteY741" fmla="*/ 271527 h 1651987"/>
              <a:gd name="connsiteX742" fmla="*/ 1856573 w 1970753"/>
              <a:gd name="connsiteY742" fmla="*/ 271527 h 1651987"/>
              <a:gd name="connsiteX743" fmla="*/ 1856573 w 1970753"/>
              <a:gd name="connsiteY743" fmla="*/ 273809 h 1651987"/>
              <a:gd name="connsiteX744" fmla="*/ 1856573 w 1970753"/>
              <a:gd name="connsiteY744" fmla="*/ 276090 h 1651987"/>
              <a:gd name="connsiteX745" fmla="*/ 1858857 w 1970753"/>
              <a:gd name="connsiteY745" fmla="*/ 276090 h 1651987"/>
              <a:gd name="connsiteX746" fmla="*/ 1856573 w 1970753"/>
              <a:gd name="connsiteY746" fmla="*/ 276090 h 1651987"/>
              <a:gd name="connsiteX747" fmla="*/ 1856573 w 1970753"/>
              <a:gd name="connsiteY747" fmla="*/ 278372 h 1651987"/>
              <a:gd name="connsiteX748" fmla="*/ 1858857 w 1970753"/>
              <a:gd name="connsiteY748" fmla="*/ 278372 h 1651987"/>
              <a:gd name="connsiteX749" fmla="*/ 1861141 w 1970753"/>
              <a:gd name="connsiteY749" fmla="*/ 280654 h 1651987"/>
              <a:gd name="connsiteX750" fmla="*/ 1863424 w 1970753"/>
              <a:gd name="connsiteY750" fmla="*/ 280654 h 1651987"/>
              <a:gd name="connsiteX751" fmla="*/ 1861141 w 1970753"/>
              <a:gd name="connsiteY751" fmla="*/ 280654 h 1651987"/>
              <a:gd name="connsiteX752" fmla="*/ 1861141 w 1970753"/>
              <a:gd name="connsiteY752" fmla="*/ 278372 h 1651987"/>
              <a:gd name="connsiteX753" fmla="*/ 1863424 w 1970753"/>
              <a:gd name="connsiteY753" fmla="*/ 278372 h 1651987"/>
              <a:gd name="connsiteX754" fmla="*/ 1863424 w 1970753"/>
              <a:gd name="connsiteY754" fmla="*/ 280654 h 1651987"/>
              <a:gd name="connsiteX755" fmla="*/ 1863424 w 1970753"/>
              <a:gd name="connsiteY755" fmla="*/ 282936 h 1651987"/>
              <a:gd name="connsiteX756" fmla="*/ 1863424 w 1970753"/>
              <a:gd name="connsiteY756" fmla="*/ 285218 h 1651987"/>
              <a:gd name="connsiteX757" fmla="*/ 1863424 w 1970753"/>
              <a:gd name="connsiteY757" fmla="*/ 282936 h 1651987"/>
              <a:gd name="connsiteX758" fmla="*/ 1865708 w 1970753"/>
              <a:gd name="connsiteY758" fmla="*/ 282936 h 1651987"/>
              <a:gd name="connsiteX759" fmla="*/ 1865708 w 1970753"/>
              <a:gd name="connsiteY759" fmla="*/ 285218 h 1651987"/>
              <a:gd name="connsiteX760" fmla="*/ 1863424 w 1970753"/>
              <a:gd name="connsiteY760" fmla="*/ 285218 h 1651987"/>
              <a:gd name="connsiteX761" fmla="*/ 1863424 w 1970753"/>
              <a:gd name="connsiteY761" fmla="*/ 287500 h 1651987"/>
              <a:gd name="connsiteX762" fmla="*/ 1863424 w 1970753"/>
              <a:gd name="connsiteY762" fmla="*/ 289782 h 1651987"/>
              <a:gd name="connsiteX763" fmla="*/ 1861141 w 1970753"/>
              <a:gd name="connsiteY763" fmla="*/ 289782 h 1651987"/>
              <a:gd name="connsiteX764" fmla="*/ 1861141 w 1970753"/>
              <a:gd name="connsiteY764" fmla="*/ 292064 h 1651987"/>
              <a:gd name="connsiteX765" fmla="*/ 1863424 w 1970753"/>
              <a:gd name="connsiteY765" fmla="*/ 292064 h 1651987"/>
              <a:gd name="connsiteX766" fmla="*/ 1865708 w 1970753"/>
              <a:gd name="connsiteY766" fmla="*/ 292064 h 1651987"/>
              <a:gd name="connsiteX767" fmla="*/ 1867991 w 1970753"/>
              <a:gd name="connsiteY767" fmla="*/ 292064 h 1651987"/>
              <a:gd name="connsiteX768" fmla="*/ 1870275 w 1970753"/>
              <a:gd name="connsiteY768" fmla="*/ 292064 h 1651987"/>
              <a:gd name="connsiteX769" fmla="*/ 1870275 w 1970753"/>
              <a:gd name="connsiteY769" fmla="*/ 294345 h 1651987"/>
              <a:gd name="connsiteX770" fmla="*/ 1872559 w 1970753"/>
              <a:gd name="connsiteY770" fmla="*/ 294345 h 1651987"/>
              <a:gd name="connsiteX771" fmla="*/ 1872559 w 1970753"/>
              <a:gd name="connsiteY771" fmla="*/ 296627 h 1651987"/>
              <a:gd name="connsiteX772" fmla="*/ 1872559 w 1970753"/>
              <a:gd name="connsiteY772" fmla="*/ 298909 h 1651987"/>
              <a:gd name="connsiteX773" fmla="*/ 1872559 w 1970753"/>
              <a:gd name="connsiteY773" fmla="*/ 301191 h 1651987"/>
              <a:gd name="connsiteX774" fmla="*/ 1874842 w 1970753"/>
              <a:gd name="connsiteY774" fmla="*/ 301191 h 1651987"/>
              <a:gd name="connsiteX775" fmla="*/ 1877126 w 1970753"/>
              <a:gd name="connsiteY775" fmla="*/ 301191 h 1651987"/>
              <a:gd name="connsiteX776" fmla="*/ 1874842 w 1970753"/>
              <a:gd name="connsiteY776" fmla="*/ 301191 h 1651987"/>
              <a:gd name="connsiteX777" fmla="*/ 1874842 w 1970753"/>
              <a:gd name="connsiteY777" fmla="*/ 298909 h 1651987"/>
              <a:gd name="connsiteX778" fmla="*/ 1877126 w 1970753"/>
              <a:gd name="connsiteY778" fmla="*/ 298909 h 1651987"/>
              <a:gd name="connsiteX779" fmla="*/ 1879410 w 1970753"/>
              <a:gd name="connsiteY779" fmla="*/ 298909 h 1651987"/>
              <a:gd name="connsiteX780" fmla="*/ 1879410 w 1970753"/>
              <a:gd name="connsiteY780" fmla="*/ 301191 h 1651987"/>
              <a:gd name="connsiteX781" fmla="*/ 1879410 w 1970753"/>
              <a:gd name="connsiteY781" fmla="*/ 303473 h 1651987"/>
              <a:gd name="connsiteX782" fmla="*/ 1877126 w 1970753"/>
              <a:gd name="connsiteY782" fmla="*/ 303473 h 1651987"/>
              <a:gd name="connsiteX783" fmla="*/ 1877126 w 1970753"/>
              <a:gd name="connsiteY783" fmla="*/ 305755 h 1651987"/>
              <a:gd name="connsiteX784" fmla="*/ 1879410 w 1970753"/>
              <a:gd name="connsiteY784" fmla="*/ 305755 h 1651987"/>
              <a:gd name="connsiteX785" fmla="*/ 1879410 w 1970753"/>
              <a:gd name="connsiteY785" fmla="*/ 303473 h 1651987"/>
              <a:gd name="connsiteX786" fmla="*/ 1881693 w 1970753"/>
              <a:gd name="connsiteY786" fmla="*/ 303473 h 1651987"/>
              <a:gd name="connsiteX787" fmla="*/ 1883977 w 1970753"/>
              <a:gd name="connsiteY787" fmla="*/ 305755 h 1651987"/>
              <a:gd name="connsiteX788" fmla="*/ 1883977 w 1970753"/>
              <a:gd name="connsiteY788" fmla="*/ 308037 h 1651987"/>
              <a:gd name="connsiteX789" fmla="*/ 1886260 w 1970753"/>
              <a:gd name="connsiteY789" fmla="*/ 308037 h 1651987"/>
              <a:gd name="connsiteX790" fmla="*/ 1886260 w 1970753"/>
              <a:gd name="connsiteY790" fmla="*/ 310319 h 1651987"/>
              <a:gd name="connsiteX791" fmla="*/ 1886260 w 1970753"/>
              <a:gd name="connsiteY791" fmla="*/ 312601 h 1651987"/>
              <a:gd name="connsiteX792" fmla="*/ 1886260 w 1970753"/>
              <a:gd name="connsiteY792" fmla="*/ 314883 h 1651987"/>
              <a:gd name="connsiteX793" fmla="*/ 1883977 w 1970753"/>
              <a:gd name="connsiteY793" fmla="*/ 314883 h 1651987"/>
              <a:gd name="connsiteX794" fmla="*/ 1883977 w 1970753"/>
              <a:gd name="connsiteY794" fmla="*/ 317165 h 1651987"/>
              <a:gd name="connsiteX795" fmla="*/ 1886260 w 1970753"/>
              <a:gd name="connsiteY795" fmla="*/ 317165 h 1651987"/>
              <a:gd name="connsiteX796" fmla="*/ 1886260 w 1970753"/>
              <a:gd name="connsiteY796" fmla="*/ 319446 h 1651987"/>
              <a:gd name="connsiteX797" fmla="*/ 1883977 w 1970753"/>
              <a:gd name="connsiteY797" fmla="*/ 319446 h 1651987"/>
              <a:gd name="connsiteX798" fmla="*/ 1883977 w 1970753"/>
              <a:gd name="connsiteY798" fmla="*/ 321728 h 1651987"/>
              <a:gd name="connsiteX799" fmla="*/ 1886260 w 1970753"/>
              <a:gd name="connsiteY799" fmla="*/ 321728 h 1651987"/>
              <a:gd name="connsiteX800" fmla="*/ 1888544 w 1970753"/>
              <a:gd name="connsiteY800" fmla="*/ 321728 h 1651987"/>
              <a:gd name="connsiteX801" fmla="*/ 1890827 w 1970753"/>
              <a:gd name="connsiteY801" fmla="*/ 321728 h 1651987"/>
              <a:gd name="connsiteX802" fmla="*/ 1890827 w 1970753"/>
              <a:gd name="connsiteY802" fmla="*/ 324010 h 1651987"/>
              <a:gd name="connsiteX803" fmla="*/ 1890827 w 1970753"/>
              <a:gd name="connsiteY803" fmla="*/ 326292 h 1651987"/>
              <a:gd name="connsiteX804" fmla="*/ 1893111 w 1970753"/>
              <a:gd name="connsiteY804" fmla="*/ 326292 h 1651987"/>
              <a:gd name="connsiteX805" fmla="*/ 1893111 w 1970753"/>
              <a:gd name="connsiteY805" fmla="*/ 328574 h 1651987"/>
              <a:gd name="connsiteX806" fmla="*/ 1895395 w 1970753"/>
              <a:gd name="connsiteY806" fmla="*/ 328574 h 1651987"/>
              <a:gd name="connsiteX807" fmla="*/ 1895395 w 1970753"/>
              <a:gd name="connsiteY807" fmla="*/ 330856 h 1651987"/>
              <a:gd name="connsiteX808" fmla="*/ 1897678 w 1970753"/>
              <a:gd name="connsiteY808" fmla="*/ 330856 h 1651987"/>
              <a:gd name="connsiteX809" fmla="*/ 1895395 w 1970753"/>
              <a:gd name="connsiteY809" fmla="*/ 330856 h 1651987"/>
              <a:gd name="connsiteX810" fmla="*/ 1895395 w 1970753"/>
              <a:gd name="connsiteY810" fmla="*/ 333138 h 1651987"/>
              <a:gd name="connsiteX811" fmla="*/ 1897678 w 1970753"/>
              <a:gd name="connsiteY811" fmla="*/ 333138 h 1651987"/>
              <a:gd name="connsiteX812" fmla="*/ 1897678 w 1970753"/>
              <a:gd name="connsiteY812" fmla="*/ 335420 h 1651987"/>
              <a:gd name="connsiteX813" fmla="*/ 1899962 w 1970753"/>
              <a:gd name="connsiteY813" fmla="*/ 335420 h 1651987"/>
              <a:gd name="connsiteX814" fmla="*/ 1899962 w 1970753"/>
              <a:gd name="connsiteY814" fmla="*/ 337702 h 1651987"/>
              <a:gd name="connsiteX815" fmla="*/ 1902245 w 1970753"/>
              <a:gd name="connsiteY815" fmla="*/ 337702 h 1651987"/>
              <a:gd name="connsiteX816" fmla="*/ 1904529 w 1970753"/>
              <a:gd name="connsiteY816" fmla="*/ 337702 h 1651987"/>
              <a:gd name="connsiteX817" fmla="*/ 1904529 w 1970753"/>
              <a:gd name="connsiteY817" fmla="*/ 339983 h 1651987"/>
              <a:gd name="connsiteX818" fmla="*/ 1904529 w 1970753"/>
              <a:gd name="connsiteY818" fmla="*/ 337702 h 1651987"/>
              <a:gd name="connsiteX819" fmla="*/ 1904529 w 1970753"/>
              <a:gd name="connsiteY819" fmla="*/ 339983 h 1651987"/>
              <a:gd name="connsiteX820" fmla="*/ 1904529 w 1970753"/>
              <a:gd name="connsiteY820" fmla="*/ 342265 h 1651987"/>
              <a:gd name="connsiteX821" fmla="*/ 1904529 w 1970753"/>
              <a:gd name="connsiteY821" fmla="*/ 344547 h 1651987"/>
              <a:gd name="connsiteX822" fmla="*/ 1906812 w 1970753"/>
              <a:gd name="connsiteY822" fmla="*/ 344547 h 1651987"/>
              <a:gd name="connsiteX823" fmla="*/ 1904529 w 1970753"/>
              <a:gd name="connsiteY823" fmla="*/ 344547 h 1651987"/>
              <a:gd name="connsiteX824" fmla="*/ 1904529 w 1970753"/>
              <a:gd name="connsiteY824" fmla="*/ 346829 h 1651987"/>
              <a:gd name="connsiteX825" fmla="*/ 1906812 w 1970753"/>
              <a:gd name="connsiteY825" fmla="*/ 346829 h 1651987"/>
              <a:gd name="connsiteX826" fmla="*/ 1904529 w 1970753"/>
              <a:gd name="connsiteY826" fmla="*/ 346829 h 1651987"/>
              <a:gd name="connsiteX827" fmla="*/ 1906812 w 1970753"/>
              <a:gd name="connsiteY827" fmla="*/ 346829 h 1651987"/>
              <a:gd name="connsiteX828" fmla="*/ 1904529 w 1970753"/>
              <a:gd name="connsiteY828" fmla="*/ 346829 h 1651987"/>
              <a:gd name="connsiteX829" fmla="*/ 1904529 w 1970753"/>
              <a:gd name="connsiteY829" fmla="*/ 349111 h 1651987"/>
              <a:gd name="connsiteX830" fmla="*/ 1906812 w 1970753"/>
              <a:gd name="connsiteY830" fmla="*/ 349111 h 1651987"/>
              <a:gd name="connsiteX831" fmla="*/ 1909096 w 1970753"/>
              <a:gd name="connsiteY831" fmla="*/ 349111 h 1651987"/>
              <a:gd name="connsiteX832" fmla="*/ 1909096 w 1970753"/>
              <a:gd name="connsiteY832" fmla="*/ 351393 h 1651987"/>
              <a:gd name="connsiteX833" fmla="*/ 1911380 w 1970753"/>
              <a:gd name="connsiteY833" fmla="*/ 351393 h 1651987"/>
              <a:gd name="connsiteX834" fmla="*/ 1911380 w 1970753"/>
              <a:gd name="connsiteY834" fmla="*/ 353675 h 1651987"/>
              <a:gd name="connsiteX835" fmla="*/ 1913663 w 1970753"/>
              <a:gd name="connsiteY835" fmla="*/ 353675 h 1651987"/>
              <a:gd name="connsiteX836" fmla="*/ 1913663 w 1970753"/>
              <a:gd name="connsiteY836" fmla="*/ 351393 h 1651987"/>
              <a:gd name="connsiteX837" fmla="*/ 1915947 w 1970753"/>
              <a:gd name="connsiteY837" fmla="*/ 351393 h 1651987"/>
              <a:gd name="connsiteX838" fmla="*/ 1918231 w 1970753"/>
              <a:gd name="connsiteY838" fmla="*/ 351393 h 1651987"/>
              <a:gd name="connsiteX839" fmla="*/ 1918231 w 1970753"/>
              <a:gd name="connsiteY839" fmla="*/ 353675 h 1651987"/>
              <a:gd name="connsiteX840" fmla="*/ 1918231 w 1970753"/>
              <a:gd name="connsiteY840" fmla="*/ 351393 h 1651987"/>
              <a:gd name="connsiteX841" fmla="*/ 1918231 w 1970753"/>
              <a:gd name="connsiteY841" fmla="*/ 353675 h 1651987"/>
              <a:gd name="connsiteX842" fmla="*/ 1918231 w 1970753"/>
              <a:gd name="connsiteY842" fmla="*/ 351393 h 1651987"/>
              <a:gd name="connsiteX843" fmla="*/ 1920514 w 1970753"/>
              <a:gd name="connsiteY843" fmla="*/ 351393 h 1651987"/>
              <a:gd name="connsiteX844" fmla="*/ 1922798 w 1970753"/>
              <a:gd name="connsiteY844" fmla="*/ 351393 h 1651987"/>
              <a:gd name="connsiteX845" fmla="*/ 1922798 w 1970753"/>
              <a:gd name="connsiteY845" fmla="*/ 349111 h 1651987"/>
              <a:gd name="connsiteX846" fmla="*/ 1925081 w 1970753"/>
              <a:gd name="connsiteY846" fmla="*/ 349111 h 1651987"/>
              <a:gd name="connsiteX847" fmla="*/ 1927365 w 1970753"/>
              <a:gd name="connsiteY847" fmla="*/ 349111 h 1651987"/>
              <a:gd name="connsiteX848" fmla="*/ 1929649 w 1970753"/>
              <a:gd name="connsiteY848" fmla="*/ 349111 h 1651987"/>
              <a:gd name="connsiteX849" fmla="*/ 1931932 w 1970753"/>
              <a:gd name="connsiteY849" fmla="*/ 349111 h 1651987"/>
              <a:gd name="connsiteX850" fmla="*/ 1934216 w 1970753"/>
              <a:gd name="connsiteY850" fmla="*/ 349111 h 1651987"/>
              <a:gd name="connsiteX851" fmla="*/ 1934216 w 1970753"/>
              <a:gd name="connsiteY851" fmla="*/ 351393 h 1651987"/>
              <a:gd name="connsiteX852" fmla="*/ 1934216 w 1970753"/>
              <a:gd name="connsiteY852" fmla="*/ 349111 h 1651987"/>
              <a:gd name="connsiteX853" fmla="*/ 1936499 w 1970753"/>
              <a:gd name="connsiteY853" fmla="*/ 349111 h 1651987"/>
              <a:gd name="connsiteX854" fmla="*/ 1934216 w 1970753"/>
              <a:gd name="connsiteY854" fmla="*/ 349111 h 1651987"/>
              <a:gd name="connsiteX855" fmla="*/ 1936499 w 1970753"/>
              <a:gd name="connsiteY855" fmla="*/ 349111 h 1651987"/>
              <a:gd name="connsiteX856" fmla="*/ 1938783 w 1970753"/>
              <a:gd name="connsiteY856" fmla="*/ 349111 h 1651987"/>
              <a:gd name="connsiteX857" fmla="*/ 1938783 w 1970753"/>
              <a:gd name="connsiteY857" fmla="*/ 346829 h 1651987"/>
              <a:gd name="connsiteX858" fmla="*/ 1938783 w 1970753"/>
              <a:gd name="connsiteY858" fmla="*/ 349111 h 1651987"/>
              <a:gd name="connsiteX859" fmla="*/ 1941066 w 1970753"/>
              <a:gd name="connsiteY859" fmla="*/ 349111 h 1651987"/>
              <a:gd name="connsiteX860" fmla="*/ 1941066 w 1970753"/>
              <a:gd name="connsiteY860" fmla="*/ 346829 h 1651987"/>
              <a:gd name="connsiteX861" fmla="*/ 1943350 w 1970753"/>
              <a:gd name="connsiteY861" fmla="*/ 346829 h 1651987"/>
              <a:gd name="connsiteX862" fmla="*/ 1943350 w 1970753"/>
              <a:gd name="connsiteY862" fmla="*/ 344547 h 1651987"/>
              <a:gd name="connsiteX863" fmla="*/ 1943350 w 1970753"/>
              <a:gd name="connsiteY863" fmla="*/ 342265 h 1651987"/>
              <a:gd name="connsiteX864" fmla="*/ 1941066 w 1970753"/>
              <a:gd name="connsiteY864" fmla="*/ 342265 h 1651987"/>
              <a:gd name="connsiteX865" fmla="*/ 1941066 w 1970753"/>
              <a:gd name="connsiteY865" fmla="*/ 339983 h 1651987"/>
              <a:gd name="connsiteX866" fmla="*/ 1938783 w 1970753"/>
              <a:gd name="connsiteY866" fmla="*/ 339983 h 1651987"/>
              <a:gd name="connsiteX867" fmla="*/ 1941066 w 1970753"/>
              <a:gd name="connsiteY867" fmla="*/ 339983 h 1651987"/>
              <a:gd name="connsiteX868" fmla="*/ 1941066 w 1970753"/>
              <a:gd name="connsiteY868" fmla="*/ 337702 h 1651987"/>
              <a:gd name="connsiteX869" fmla="*/ 1941066 w 1970753"/>
              <a:gd name="connsiteY869" fmla="*/ 335420 h 1651987"/>
              <a:gd name="connsiteX870" fmla="*/ 1941066 w 1970753"/>
              <a:gd name="connsiteY870" fmla="*/ 333138 h 1651987"/>
              <a:gd name="connsiteX871" fmla="*/ 1941066 w 1970753"/>
              <a:gd name="connsiteY871" fmla="*/ 330856 h 1651987"/>
              <a:gd name="connsiteX872" fmla="*/ 1941066 w 1970753"/>
              <a:gd name="connsiteY872" fmla="*/ 328574 h 1651987"/>
              <a:gd name="connsiteX873" fmla="*/ 1943350 w 1970753"/>
              <a:gd name="connsiteY873" fmla="*/ 328574 h 1651987"/>
              <a:gd name="connsiteX874" fmla="*/ 1945634 w 1970753"/>
              <a:gd name="connsiteY874" fmla="*/ 328574 h 1651987"/>
              <a:gd name="connsiteX875" fmla="*/ 1945634 w 1970753"/>
              <a:gd name="connsiteY875" fmla="*/ 326292 h 1651987"/>
              <a:gd name="connsiteX876" fmla="*/ 1947917 w 1970753"/>
              <a:gd name="connsiteY876" fmla="*/ 326292 h 1651987"/>
              <a:gd name="connsiteX877" fmla="*/ 1947917 w 1970753"/>
              <a:gd name="connsiteY877" fmla="*/ 324010 h 1651987"/>
              <a:gd name="connsiteX878" fmla="*/ 1950201 w 1970753"/>
              <a:gd name="connsiteY878" fmla="*/ 324010 h 1651987"/>
              <a:gd name="connsiteX879" fmla="*/ 1952485 w 1970753"/>
              <a:gd name="connsiteY879" fmla="*/ 324010 h 1651987"/>
              <a:gd name="connsiteX880" fmla="*/ 1954768 w 1970753"/>
              <a:gd name="connsiteY880" fmla="*/ 324010 h 1651987"/>
              <a:gd name="connsiteX881" fmla="*/ 1957052 w 1970753"/>
              <a:gd name="connsiteY881" fmla="*/ 324010 h 1651987"/>
              <a:gd name="connsiteX882" fmla="*/ 1959335 w 1970753"/>
              <a:gd name="connsiteY882" fmla="*/ 324010 h 1651987"/>
              <a:gd name="connsiteX883" fmla="*/ 1959335 w 1970753"/>
              <a:gd name="connsiteY883" fmla="*/ 326292 h 1651987"/>
              <a:gd name="connsiteX884" fmla="*/ 1961619 w 1970753"/>
              <a:gd name="connsiteY884" fmla="*/ 326292 h 1651987"/>
              <a:gd name="connsiteX885" fmla="*/ 1961619 w 1970753"/>
              <a:gd name="connsiteY885" fmla="*/ 328574 h 1651987"/>
              <a:gd name="connsiteX886" fmla="*/ 1954768 w 1970753"/>
              <a:gd name="connsiteY886" fmla="*/ 330856 h 1651987"/>
              <a:gd name="connsiteX887" fmla="*/ 1950201 w 1970753"/>
              <a:gd name="connsiteY887" fmla="*/ 335420 h 1651987"/>
              <a:gd name="connsiteX888" fmla="*/ 1947917 w 1970753"/>
              <a:gd name="connsiteY888" fmla="*/ 335420 h 1651987"/>
              <a:gd name="connsiteX889" fmla="*/ 1947917 w 1970753"/>
              <a:gd name="connsiteY889" fmla="*/ 337702 h 1651987"/>
              <a:gd name="connsiteX890" fmla="*/ 1945634 w 1970753"/>
              <a:gd name="connsiteY890" fmla="*/ 335420 h 1651987"/>
              <a:gd name="connsiteX891" fmla="*/ 1943350 w 1970753"/>
              <a:gd name="connsiteY891" fmla="*/ 335420 h 1651987"/>
              <a:gd name="connsiteX892" fmla="*/ 1943350 w 1970753"/>
              <a:gd name="connsiteY892" fmla="*/ 337702 h 1651987"/>
              <a:gd name="connsiteX893" fmla="*/ 1941066 w 1970753"/>
              <a:gd name="connsiteY893" fmla="*/ 339983 h 1651987"/>
              <a:gd name="connsiteX894" fmla="*/ 1943350 w 1970753"/>
              <a:gd name="connsiteY894" fmla="*/ 339983 h 1651987"/>
              <a:gd name="connsiteX895" fmla="*/ 1943350 w 1970753"/>
              <a:gd name="connsiteY895" fmla="*/ 342265 h 1651987"/>
              <a:gd name="connsiteX896" fmla="*/ 1945634 w 1970753"/>
              <a:gd name="connsiteY896" fmla="*/ 342265 h 1651987"/>
              <a:gd name="connsiteX897" fmla="*/ 1947917 w 1970753"/>
              <a:gd name="connsiteY897" fmla="*/ 342265 h 1651987"/>
              <a:gd name="connsiteX898" fmla="*/ 1947917 w 1970753"/>
              <a:gd name="connsiteY898" fmla="*/ 344547 h 1651987"/>
              <a:gd name="connsiteX899" fmla="*/ 1952485 w 1970753"/>
              <a:gd name="connsiteY899" fmla="*/ 346829 h 1651987"/>
              <a:gd name="connsiteX900" fmla="*/ 1950201 w 1970753"/>
              <a:gd name="connsiteY900" fmla="*/ 346829 h 1651987"/>
              <a:gd name="connsiteX901" fmla="*/ 1947917 w 1970753"/>
              <a:gd name="connsiteY901" fmla="*/ 346829 h 1651987"/>
              <a:gd name="connsiteX902" fmla="*/ 1943350 w 1970753"/>
              <a:gd name="connsiteY902" fmla="*/ 351393 h 1651987"/>
              <a:gd name="connsiteX903" fmla="*/ 1943350 w 1970753"/>
              <a:gd name="connsiteY903" fmla="*/ 353675 h 1651987"/>
              <a:gd name="connsiteX904" fmla="*/ 1943350 w 1970753"/>
              <a:gd name="connsiteY904" fmla="*/ 355957 h 1651987"/>
              <a:gd name="connsiteX905" fmla="*/ 1943350 w 1970753"/>
              <a:gd name="connsiteY905" fmla="*/ 358239 h 1651987"/>
              <a:gd name="connsiteX906" fmla="*/ 1945634 w 1970753"/>
              <a:gd name="connsiteY906" fmla="*/ 358239 h 1651987"/>
              <a:gd name="connsiteX907" fmla="*/ 1945634 w 1970753"/>
              <a:gd name="connsiteY907" fmla="*/ 360521 h 1651987"/>
              <a:gd name="connsiteX908" fmla="*/ 1950201 w 1970753"/>
              <a:gd name="connsiteY908" fmla="*/ 360521 h 1651987"/>
              <a:gd name="connsiteX909" fmla="*/ 1952485 w 1970753"/>
              <a:gd name="connsiteY909" fmla="*/ 360521 h 1651987"/>
              <a:gd name="connsiteX910" fmla="*/ 1954768 w 1970753"/>
              <a:gd name="connsiteY910" fmla="*/ 360521 h 1651987"/>
              <a:gd name="connsiteX911" fmla="*/ 1957052 w 1970753"/>
              <a:gd name="connsiteY911" fmla="*/ 360521 h 1651987"/>
              <a:gd name="connsiteX912" fmla="*/ 1957052 w 1970753"/>
              <a:gd name="connsiteY912" fmla="*/ 362802 h 1651987"/>
              <a:gd name="connsiteX913" fmla="*/ 1959335 w 1970753"/>
              <a:gd name="connsiteY913" fmla="*/ 362802 h 1651987"/>
              <a:gd name="connsiteX914" fmla="*/ 1961619 w 1970753"/>
              <a:gd name="connsiteY914" fmla="*/ 362802 h 1651987"/>
              <a:gd name="connsiteX915" fmla="*/ 1963902 w 1970753"/>
              <a:gd name="connsiteY915" fmla="*/ 365084 h 1651987"/>
              <a:gd name="connsiteX916" fmla="*/ 1963902 w 1970753"/>
              <a:gd name="connsiteY916" fmla="*/ 367366 h 1651987"/>
              <a:gd name="connsiteX917" fmla="*/ 1963902 w 1970753"/>
              <a:gd name="connsiteY917" fmla="*/ 369648 h 1651987"/>
              <a:gd name="connsiteX918" fmla="*/ 1966186 w 1970753"/>
              <a:gd name="connsiteY918" fmla="*/ 369648 h 1651987"/>
              <a:gd name="connsiteX919" fmla="*/ 1966186 w 1970753"/>
              <a:gd name="connsiteY919" fmla="*/ 371930 h 1651987"/>
              <a:gd name="connsiteX920" fmla="*/ 1966186 w 1970753"/>
              <a:gd name="connsiteY920" fmla="*/ 374212 h 1651987"/>
              <a:gd name="connsiteX921" fmla="*/ 1968470 w 1970753"/>
              <a:gd name="connsiteY921" fmla="*/ 374212 h 1651987"/>
              <a:gd name="connsiteX922" fmla="*/ 1968470 w 1970753"/>
              <a:gd name="connsiteY922" fmla="*/ 376494 h 1651987"/>
              <a:gd name="connsiteX923" fmla="*/ 1970753 w 1970753"/>
              <a:gd name="connsiteY923" fmla="*/ 378776 h 1651987"/>
              <a:gd name="connsiteX924" fmla="*/ 1970753 w 1970753"/>
              <a:gd name="connsiteY924" fmla="*/ 381058 h 1651987"/>
              <a:gd name="connsiteX925" fmla="*/ 1970753 w 1970753"/>
              <a:gd name="connsiteY925" fmla="*/ 383339 h 1651987"/>
              <a:gd name="connsiteX926" fmla="*/ 1968470 w 1970753"/>
              <a:gd name="connsiteY926" fmla="*/ 383339 h 1651987"/>
              <a:gd name="connsiteX927" fmla="*/ 1968470 w 1970753"/>
              <a:gd name="connsiteY927" fmla="*/ 385621 h 1651987"/>
              <a:gd name="connsiteX928" fmla="*/ 1968470 w 1970753"/>
              <a:gd name="connsiteY928" fmla="*/ 387903 h 1651987"/>
              <a:gd name="connsiteX929" fmla="*/ 1970753 w 1970753"/>
              <a:gd name="connsiteY929" fmla="*/ 392467 h 1651987"/>
              <a:gd name="connsiteX930" fmla="*/ 1968470 w 1970753"/>
              <a:gd name="connsiteY930" fmla="*/ 392467 h 1651987"/>
              <a:gd name="connsiteX931" fmla="*/ 1966186 w 1970753"/>
              <a:gd name="connsiteY931" fmla="*/ 390185 h 1651987"/>
              <a:gd name="connsiteX932" fmla="*/ 1963902 w 1970753"/>
              <a:gd name="connsiteY932" fmla="*/ 392467 h 1651987"/>
              <a:gd name="connsiteX933" fmla="*/ 1961619 w 1970753"/>
              <a:gd name="connsiteY933" fmla="*/ 392467 h 1651987"/>
              <a:gd name="connsiteX934" fmla="*/ 1959335 w 1970753"/>
              <a:gd name="connsiteY934" fmla="*/ 394749 h 1651987"/>
              <a:gd name="connsiteX935" fmla="*/ 1959335 w 1970753"/>
              <a:gd name="connsiteY935" fmla="*/ 397021 h 1651987"/>
              <a:gd name="connsiteX936" fmla="*/ 1957052 w 1970753"/>
              <a:gd name="connsiteY936" fmla="*/ 397021 h 1651987"/>
              <a:gd name="connsiteX937" fmla="*/ 1957052 w 1970753"/>
              <a:gd name="connsiteY937" fmla="*/ 399303 h 1651987"/>
              <a:gd name="connsiteX938" fmla="*/ 1954768 w 1970753"/>
              <a:gd name="connsiteY938" fmla="*/ 394749 h 1651987"/>
              <a:gd name="connsiteX939" fmla="*/ 1952485 w 1970753"/>
              <a:gd name="connsiteY939" fmla="*/ 394749 h 1651987"/>
              <a:gd name="connsiteX940" fmla="*/ 1950201 w 1970753"/>
              <a:gd name="connsiteY940" fmla="*/ 397021 h 1651987"/>
              <a:gd name="connsiteX941" fmla="*/ 1950201 w 1970753"/>
              <a:gd name="connsiteY941" fmla="*/ 399303 h 1651987"/>
              <a:gd name="connsiteX942" fmla="*/ 1947917 w 1970753"/>
              <a:gd name="connsiteY942" fmla="*/ 399303 h 1651987"/>
              <a:gd name="connsiteX943" fmla="*/ 1947917 w 1970753"/>
              <a:gd name="connsiteY943" fmla="*/ 401585 h 1651987"/>
              <a:gd name="connsiteX944" fmla="*/ 1947917 w 1970753"/>
              <a:gd name="connsiteY944" fmla="*/ 403867 h 1651987"/>
              <a:gd name="connsiteX945" fmla="*/ 1945634 w 1970753"/>
              <a:gd name="connsiteY945" fmla="*/ 403867 h 1651987"/>
              <a:gd name="connsiteX946" fmla="*/ 1947917 w 1970753"/>
              <a:gd name="connsiteY946" fmla="*/ 403867 h 1651987"/>
              <a:gd name="connsiteX947" fmla="*/ 1945634 w 1970753"/>
              <a:gd name="connsiteY947" fmla="*/ 403867 h 1651987"/>
              <a:gd name="connsiteX948" fmla="*/ 1945634 w 1970753"/>
              <a:gd name="connsiteY948" fmla="*/ 406149 h 1651987"/>
              <a:gd name="connsiteX949" fmla="*/ 1943350 w 1970753"/>
              <a:gd name="connsiteY949" fmla="*/ 406149 h 1651987"/>
              <a:gd name="connsiteX950" fmla="*/ 1943350 w 1970753"/>
              <a:gd name="connsiteY950" fmla="*/ 403867 h 1651987"/>
              <a:gd name="connsiteX951" fmla="*/ 1943350 w 1970753"/>
              <a:gd name="connsiteY951" fmla="*/ 406149 h 1651987"/>
              <a:gd name="connsiteX952" fmla="*/ 1941066 w 1970753"/>
              <a:gd name="connsiteY952" fmla="*/ 406149 h 1651987"/>
              <a:gd name="connsiteX953" fmla="*/ 1943350 w 1970753"/>
              <a:gd name="connsiteY953" fmla="*/ 406149 h 1651987"/>
              <a:gd name="connsiteX954" fmla="*/ 1938783 w 1970753"/>
              <a:gd name="connsiteY954" fmla="*/ 408431 h 1651987"/>
              <a:gd name="connsiteX955" fmla="*/ 1936499 w 1970753"/>
              <a:gd name="connsiteY955" fmla="*/ 408431 h 1651987"/>
              <a:gd name="connsiteX956" fmla="*/ 1934216 w 1970753"/>
              <a:gd name="connsiteY956" fmla="*/ 408431 h 1651987"/>
              <a:gd name="connsiteX957" fmla="*/ 1931932 w 1970753"/>
              <a:gd name="connsiteY957" fmla="*/ 408431 h 1651987"/>
              <a:gd name="connsiteX958" fmla="*/ 1929649 w 1970753"/>
              <a:gd name="connsiteY958" fmla="*/ 408431 h 1651987"/>
              <a:gd name="connsiteX959" fmla="*/ 1929649 w 1970753"/>
              <a:gd name="connsiteY959" fmla="*/ 410713 h 1651987"/>
              <a:gd name="connsiteX960" fmla="*/ 1929649 w 1970753"/>
              <a:gd name="connsiteY960" fmla="*/ 412995 h 1651987"/>
              <a:gd name="connsiteX961" fmla="*/ 1929649 w 1970753"/>
              <a:gd name="connsiteY961" fmla="*/ 415277 h 1651987"/>
              <a:gd name="connsiteX962" fmla="*/ 1929649 w 1970753"/>
              <a:gd name="connsiteY962" fmla="*/ 417558 h 1651987"/>
              <a:gd name="connsiteX963" fmla="*/ 1927365 w 1970753"/>
              <a:gd name="connsiteY963" fmla="*/ 419840 h 1651987"/>
              <a:gd name="connsiteX964" fmla="*/ 1929649 w 1970753"/>
              <a:gd name="connsiteY964" fmla="*/ 422122 h 1651987"/>
              <a:gd name="connsiteX965" fmla="*/ 1929649 w 1970753"/>
              <a:gd name="connsiteY965" fmla="*/ 424404 h 1651987"/>
              <a:gd name="connsiteX966" fmla="*/ 1931932 w 1970753"/>
              <a:gd name="connsiteY966" fmla="*/ 424404 h 1651987"/>
              <a:gd name="connsiteX967" fmla="*/ 1934216 w 1970753"/>
              <a:gd name="connsiteY967" fmla="*/ 424404 h 1651987"/>
              <a:gd name="connsiteX968" fmla="*/ 1934216 w 1970753"/>
              <a:gd name="connsiteY968" fmla="*/ 426686 h 1651987"/>
              <a:gd name="connsiteX969" fmla="*/ 1934216 w 1970753"/>
              <a:gd name="connsiteY969" fmla="*/ 428968 h 1651987"/>
              <a:gd name="connsiteX970" fmla="*/ 1936499 w 1970753"/>
              <a:gd name="connsiteY970" fmla="*/ 428968 h 1651987"/>
              <a:gd name="connsiteX971" fmla="*/ 1936499 w 1970753"/>
              <a:gd name="connsiteY971" fmla="*/ 431250 h 1651987"/>
              <a:gd name="connsiteX972" fmla="*/ 1938783 w 1970753"/>
              <a:gd name="connsiteY972" fmla="*/ 431250 h 1651987"/>
              <a:gd name="connsiteX973" fmla="*/ 1938783 w 1970753"/>
              <a:gd name="connsiteY973" fmla="*/ 433532 h 1651987"/>
              <a:gd name="connsiteX974" fmla="*/ 1941066 w 1970753"/>
              <a:gd name="connsiteY974" fmla="*/ 433532 h 1651987"/>
              <a:gd name="connsiteX975" fmla="*/ 1941066 w 1970753"/>
              <a:gd name="connsiteY975" fmla="*/ 435814 h 1651987"/>
              <a:gd name="connsiteX976" fmla="*/ 1941066 w 1970753"/>
              <a:gd name="connsiteY976" fmla="*/ 438095 h 1651987"/>
              <a:gd name="connsiteX977" fmla="*/ 1941066 w 1970753"/>
              <a:gd name="connsiteY977" fmla="*/ 440377 h 1651987"/>
              <a:gd name="connsiteX978" fmla="*/ 1943350 w 1970753"/>
              <a:gd name="connsiteY978" fmla="*/ 442659 h 1651987"/>
              <a:gd name="connsiteX979" fmla="*/ 1941066 w 1970753"/>
              <a:gd name="connsiteY979" fmla="*/ 442659 h 1651987"/>
              <a:gd name="connsiteX980" fmla="*/ 1941066 w 1970753"/>
              <a:gd name="connsiteY980" fmla="*/ 444941 h 1651987"/>
              <a:gd name="connsiteX981" fmla="*/ 1943350 w 1970753"/>
              <a:gd name="connsiteY981" fmla="*/ 444941 h 1651987"/>
              <a:gd name="connsiteX982" fmla="*/ 1941066 w 1970753"/>
              <a:gd name="connsiteY982" fmla="*/ 449505 h 1651987"/>
              <a:gd name="connsiteX983" fmla="*/ 1941066 w 1970753"/>
              <a:gd name="connsiteY983" fmla="*/ 451787 h 1651987"/>
              <a:gd name="connsiteX984" fmla="*/ 1941066 w 1970753"/>
              <a:gd name="connsiteY984" fmla="*/ 454069 h 1651987"/>
              <a:gd name="connsiteX985" fmla="*/ 1941066 w 1970753"/>
              <a:gd name="connsiteY985" fmla="*/ 456351 h 1651987"/>
              <a:gd name="connsiteX986" fmla="*/ 1938783 w 1970753"/>
              <a:gd name="connsiteY986" fmla="*/ 458633 h 1651987"/>
              <a:gd name="connsiteX987" fmla="*/ 1938783 w 1970753"/>
              <a:gd name="connsiteY987" fmla="*/ 460915 h 1651987"/>
              <a:gd name="connsiteX988" fmla="*/ 1941066 w 1970753"/>
              <a:gd name="connsiteY988" fmla="*/ 460915 h 1651987"/>
              <a:gd name="connsiteX989" fmla="*/ 1941066 w 1970753"/>
              <a:gd name="connsiteY989" fmla="*/ 463196 h 1651987"/>
              <a:gd name="connsiteX990" fmla="*/ 1941066 w 1970753"/>
              <a:gd name="connsiteY990" fmla="*/ 465478 h 1651987"/>
              <a:gd name="connsiteX991" fmla="*/ 1943350 w 1970753"/>
              <a:gd name="connsiteY991" fmla="*/ 465478 h 1651987"/>
              <a:gd name="connsiteX992" fmla="*/ 1943350 w 1970753"/>
              <a:gd name="connsiteY992" fmla="*/ 467760 h 1651987"/>
              <a:gd name="connsiteX993" fmla="*/ 1943350 w 1970753"/>
              <a:gd name="connsiteY993" fmla="*/ 470042 h 1651987"/>
              <a:gd name="connsiteX994" fmla="*/ 1941066 w 1970753"/>
              <a:gd name="connsiteY994" fmla="*/ 472324 h 1651987"/>
              <a:gd name="connsiteX995" fmla="*/ 1943350 w 1970753"/>
              <a:gd name="connsiteY995" fmla="*/ 472324 h 1651987"/>
              <a:gd name="connsiteX996" fmla="*/ 1945634 w 1970753"/>
              <a:gd name="connsiteY996" fmla="*/ 472324 h 1651987"/>
              <a:gd name="connsiteX997" fmla="*/ 1947917 w 1970753"/>
              <a:gd name="connsiteY997" fmla="*/ 474606 h 1651987"/>
              <a:gd name="connsiteX998" fmla="*/ 1947917 w 1970753"/>
              <a:gd name="connsiteY998" fmla="*/ 476888 h 1651987"/>
              <a:gd name="connsiteX999" fmla="*/ 1950201 w 1970753"/>
              <a:gd name="connsiteY999" fmla="*/ 476888 h 1651987"/>
              <a:gd name="connsiteX1000" fmla="*/ 1947917 w 1970753"/>
              <a:gd name="connsiteY1000" fmla="*/ 479170 h 1651987"/>
              <a:gd name="connsiteX1001" fmla="*/ 1945634 w 1970753"/>
              <a:gd name="connsiteY1001" fmla="*/ 479170 h 1651987"/>
              <a:gd name="connsiteX1002" fmla="*/ 1943350 w 1970753"/>
              <a:gd name="connsiteY1002" fmla="*/ 481451 h 1651987"/>
              <a:gd name="connsiteX1003" fmla="*/ 1941066 w 1970753"/>
              <a:gd name="connsiteY1003" fmla="*/ 481451 h 1651987"/>
              <a:gd name="connsiteX1004" fmla="*/ 1938783 w 1970753"/>
              <a:gd name="connsiteY1004" fmla="*/ 481451 h 1651987"/>
              <a:gd name="connsiteX1005" fmla="*/ 1938783 w 1970753"/>
              <a:gd name="connsiteY1005" fmla="*/ 483733 h 1651987"/>
              <a:gd name="connsiteX1006" fmla="*/ 1936499 w 1970753"/>
              <a:gd name="connsiteY1006" fmla="*/ 483733 h 1651987"/>
              <a:gd name="connsiteX1007" fmla="*/ 1936499 w 1970753"/>
              <a:gd name="connsiteY1007" fmla="*/ 486015 h 1651987"/>
              <a:gd name="connsiteX1008" fmla="*/ 1936499 w 1970753"/>
              <a:gd name="connsiteY1008" fmla="*/ 488297 h 1651987"/>
              <a:gd name="connsiteX1009" fmla="*/ 1934216 w 1970753"/>
              <a:gd name="connsiteY1009" fmla="*/ 488297 h 1651987"/>
              <a:gd name="connsiteX1010" fmla="*/ 1934216 w 1970753"/>
              <a:gd name="connsiteY1010" fmla="*/ 490579 h 1651987"/>
              <a:gd name="connsiteX1011" fmla="*/ 1936499 w 1970753"/>
              <a:gd name="connsiteY1011" fmla="*/ 492861 h 1651987"/>
              <a:gd name="connsiteX1012" fmla="*/ 1936499 w 1970753"/>
              <a:gd name="connsiteY1012" fmla="*/ 495143 h 1651987"/>
              <a:gd name="connsiteX1013" fmla="*/ 1936499 w 1970753"/>
              <a:gd name="connsiteY1013" fmla="*/ 497425 h 1651987"/>
              <a:gd name="connsiteX1014" fmla="*/ 1938783 w 1970753"/>
              <a:gd name="connsiteY1014" fmla="*/ 497425 h 1651987"/>
              <a:gd name="connsiteX1015" fmla="*/ 1936499 w 1970753"/>
              <a:gd name="connsiteY1015" fmla="*/ 499707 h 1651987"/>
              <a:gd name="connsiteX1016" fmla="*/ 1936499 w 1970753"/>
              <a:gd name="connsiteY1016" fmla="*/ 497425 h 1651987"/>
              <a:gd name="connsiteX1017" fmla="*/ 1934216 w 1970753"/>
              <a:gd name="connsiteY1017" fmla="*/ 497425 h 1651987"/>
              <a:gd name="connsiteX1018" fmla="*/ 1931932 w 1970753"/>
              <a:gd name="connsiteY1018" fmla="*/ 497425 h 1651987"/>
              <a:gd name="connsiteX1019" fmla="*/ 1931932 w 1970753"/>
              <a:gd name="connsiteY1019" fmla="*/ 499707 h 1651987"/>
              <a:gd name="connsiteX1020" fmla="*/ 1934216 w 1970753"/>
              <a:gd name="connsiteY1020" fmla="*/ 499707 h 1651987"/>
              <a:gd name="connsiteX1021" fmla="*/ 1931932 w 1970753"/>
              <a:gd name="connsiteY1021" fmla="*/ 501989 h 1651987"/>
              <a:gd name="connsiteX1022" fmla="*/ 1931932 w 1970753"/>
              <a:gd name="connsiteY1022" fmla="*/ 504271 h 1651987"/>
              <a:gd name="connsiteX1023" fmla="*/ 1931932 w 1970753"/>
              <a:gd name="connsiteY1023" fmla="*/ 506552 h 1651987"/>
              <a:gd name="connsiteX1024" fmla="*/ 1931932 w 1970753"/>
              <a:gd name="connsiteY1024" fmla="*/ 508834 h 1651987"/>
              <a:gd name="connsiteX1025" fmla="*/ 1929649 w 1970753"/>
              <a:gd name="connsiteY1025" fmla="*/ 511116 h 1651987"/>
              <a:gd name="connsiteX1026" fmla="*/ 1931932 w 1970753"/>
              <a:gd name="connsiteY1026" fmla="*/ 511116 h 1651987"/>
              <a:gd name="connsiteX1027" fmla="*/ 1934216 w 1970753"/>
              <a:gd name="connsiteY1027" fmla="*/ 513398 h 1651987"/>
              <a:gd name="connsiteX1028" fmla="*/ 1931932 w 1970753"/>
              <a:gd name="connsiteY1028" fmla="*/ 515680 h 1651987"/>
              <a:gd name="connsiteX1029" fmla="*/ 1929649 w 1970753"/>
              <a:gd name="connsiteY1029" fmla="*/ 517962 h 1651987"/>
              <a:gd name="connsiteX1030" fmla="*/ 1927365 w 1970753"/>
              <a:gd name="connsiteY1030" fmla="*/ 522526 h 1651987"/>
              <a:gd name="connsiteX1031" fmla="*/ 1925081 w 1970753"/>
              <a:gd name="connsiteY1031" fmla="*/ 522526 h 1651987"/>
              <a:gd name="connsiteX1032" fmla="*/ 1922798 w 1970753"/>
              <a:gd name="connsiteY1032" fmla="*/ 524807 h 1651987"/>
              <a:gd name="connsiteX1033" fmla="*/ 1922798 w 1970753"/>
              <a:gd name="connsiteY1033" fmla="*/ 522526 h 1651987"/>
              <a:gd name="connsiteX1034" fmla="*/ 1920514 w 1970753"/>
              <a:gd name="connsiteY1034" fmla="*/ 522526 h 1651987"/>
              <a:gd name="connsiteX1035" fmla="*/ 1920514 w 1970753"/>
              <a:gd name="connsiteY1035" fmla="*/ 524807 h 1651987"/>
              <a:gd name="connsiteX1036" fmla="*/ 1922798 w 1970753"/>
              <a:gd name="connsiteY1036" fmla="*/ 527089 h 1651987"/>
              <a:gd name="connsiteX1037" fmla="*/ 1922798 w 1970753"/>
              <a:gd name="connsiteY1037" fmla="*/ 529371 h 1651987"/>
              <a:gd name="connsiteX1038" fmla="*/ 1920514 w 1970753"/>
              <a:gd name="connsiteY1038" fmla="*/ 529371 h 1651987"/>
              <a:gd name="connsiteX1039" fmla="*/ 1920514 w 1970753"/>
              <a:gd name="connsiteY1039" fmla="*/ 531653 h 1651987"/>
              <a:gd name="connsiteX1040" fmla="*/ 1922798 w 1970753"/>
              <a:gd name="connsiteY1040" fmla="*/ 531653 h 1651987"/>
              <a:gd name="connsiteX1041" fmla="*/ 1925081 w 1970753"/>
              <a:gd name="connsiteY1041" fmla="*/ 531653 h 1651987"/>
              <a:gd name="connsiteX1042" fmla="*/ 1925081 w 1970753"/>
              <a:gd name="connsiteY1042" fmla="*/ 533935 h 1651987"/>
              <a:gd name="connsiteX1043" fmla="*/ 1927365 w 1970753"/>
              <a:gd name="connsiteY1043" fmla="*/ 533935 h 1651987"/>
              <a:gd name="connsiteX1044" fmla="*/ 1927365 w 1970753"/>
              <a:gd name="connsiteY1044" fmla="*/ 536217 h 1651987"/>
              <a:gd name="connsiteX1045" fmla="*/ 1927365 w 1970753"/>
              <a:gd name="connsiteY1045" fmla="*/ 538499 h 1651987"/>
              <a:gd name="connsiteX1046" fmla="*/ 1929649 w 1970753"/>
              <a:gd name="connsiteY1046" fmla="*/ 538499 h 1651987"/>
              <a:gd name="connsiteX1047" fmla="*/ 1927365 w 1970753"/>
              <a:gd name="connsiteY1047" fmla="*/ 538499 h 1651987"/>
              <a:gd name="connsiteX1048" fmla="*/ 1925081 w 1970753"/>
              <a:gd name="connsiteY1048" fmla="*/ 538499 h 1651987"/>
              <a:gd name="connsiteX1049" fmla="*/ 1922798 w 1970753"/>
              <a:gd name="connsiteY1049" fmla="*/ 538499 h 1651987"/>
              <a:gd name="connsiteX1050" fmla="*/ 1922798 w 1970753"/>
              <a:gd name="connsiteY1050" fmla="*/ 540781 h 1651987"/>
              <a:gd name="connsiteX1051" fmla="*/ 1920514 w 1970753"/>
              <a:gd name="connsiteY1051" fmla="*/ 540781 h 1651987"/>
              <a:gd name="connsiteX1052" fmla="*/ 1918231 w 1970753"/>
              <a:gd name="connsiteY1052" fmla="*/ 540781 h 1651987"/>
              <a:gd name="connsiteX1053" fmla="*/ 1918231 w 1970753"/>
              <a:gd name="connsiteY1053" fmla="*/ 543063 h 1651987"/>
              <a:gd name="connsiteX1054" fmla="*/ 1915947 w 1970753"/>
              <a:gd name="connsiteY1054" fmla="*/ 549908 h 1651987"/>
              <a:gd name="connsiteX1055" fmla="*/ 1913663 w 1970753"/>
              <a:gd name="connsiteY1055" fmla="*/ 554463 h 1651987"/>
              <a:gd name="connsiteX1056" fmla="*/ 1913663 w 1970753"/>
              <a:gd name="connsiteY1056" fmla="*/ 556745 h 1651987"/>
              <a:gd name="connsiteX1057" fmla="*/ 1913663 w 1970753"/>
              <a:gd name="connsiteY1057" fmla="*/ 561308 h 1651987"/>
              <a:gd name="connsiteX1058" fmla="*/ 1913663 w 1970753"/>
              <a:gd name="connsiteY1058" fmla="*/ 563590 h 1651987"/>
              <a:gd name="connsiteX1059" fmla="*/ 1906812 w 1970753"/>
              <a:gd name="connsiteY1059" fmla="*/ 572718 h 1651987"/>
              <a:gd name="connsiteX1060" fmla="*/ 1904529 w 1970753"/>
              <a:gd name="connsiteY1060" fmla="*/ 575000 h 1651987"/>
              <a:gd name="connsiteX1061" fmla="*/ 1911380 w 1970753"/>
              <a:gd name="connsiteY1061" fmla="*/ 584127 h 1651987"/>
              <a:gd name="connsiteX1062" fmla="*/ 1918231 w 1970753"/>
              <a:gd name="connsiteY1062" fmla="*/ 593255 h 1651987"/>
              <a:gd name="connsiteX1063" fmla="*/ 1918231 w 1970753"/>
              <a:gd name="connsiteY1063" fmla="*/ 595537 h 1651987"/>
              <a:gd name="connsiteX1064" fmla="*/ 1920514 w 1970753"/>
              <a:gd name="connsiteY1064" fmla="*/ 604664 h 1651987"/>
              <a:gd name="connsiteX1065" fmla="*/ 1920514 w 1970753"/>
              <a:gd name="connsiteY1065" fmla="*/ 606946 h 1651987"/>
              <a:gd name="connsiteX1066" fmla="*/ 1918231 w 1970753"/>
              <a:gd name="connsiteY1066" fmla="*/ 613792 h 1651987"/>
              <a:gd name="connsiteX1067" fmla="*/ 1920514 w 1970753"/>
              <a:gd name="connsiteY1067" fmla="*/ 613792 h 1651987"/>
              <a:gd name="connsiteX1068" fmla="*/ 1920514 w 1970753"/>
              <a:gd name="connsiteY1068" fmla="*/ 616074 h 1651987"/>
              <a:gd name="connsiteX1069" fmla="*/ 1920514 w 1970753"/>
              <a:gd name="connsiteY1069" fmla="*/ 618356 h 1651987"/>
              <a:gd name="connsiteX1070" fmla="*/ 1920514 w 1970753"/>
              <a:gd name="connsiteY1070" fmla="*/ 620638 h 1651987"/>
              <a:gd name="connsiteX1071" fmla="*/ 1920514 w 1970753"/>
              <a:gd name="connsiteY1071" fmla="*/ 622919 h 1651987"/>
              <a:gd name="connsiteX1072" fmla="*/ 1920514 w 1970753"/>
              <a:gd name="connsiteY1072" fmla="*/ 625202 h 1651987"/>
              <a:gd name="connsiteX1073" fmla="*/ 1920514 w 1970753"/>
              <a:gd name="connsiteY1073" fmla="*/ 627483 h 1651987"/>
              <a:gd name="connsiteX1074" fmla="*/ 1920514 w 1970753"/>
              <a:gd name="connsiteY1074" fmla="*/ 629765 h 1651987"/>
              <a:gd name="connsiteX1075" fmla="*/ 1918231 w 1970753"/>
              <a:gd name="connsiteY1075" fmla="*/ 629765 h 1651987"/>
              <a:gd name="connsiteX1076" fmla="*/ 1915947 w 1970753"/>
              <a:gd name="connsiteY1076" fmla="*/ 629765 h 1651987"/>
              <a:gd name="connsiteX1077" fmla="*/ 1913663 w 1970753"/>
              <a:gd name="connsiteY1077" fmla="*/ 629765 h 1651987"/>
              <a:gd name="connsiteX1078" fmla="*/ 1911380 w 1970753"/>
              <a:gd name="connsiteY1078" fmla="*/ 632047 h 1651987"/>
              <a:gd name="connsiteX1079" fmla="*/ 1909096 w 1970753"/>
              <a:gd name="connsiteY1079" fmla="*/ 632047 h 1651987"/>
              <a:gd name="connsiteX1080" fmla="*/ 1906812 w 1970753"/>
              <a:gd name="connsiteY1080" fmla="*/ 632047 h 1651987"/>
              <a:gd name="connsiteX1081" fmla="*/ 1906812 w 1970753"/>
              <a:gd name="connsiteY1081" fmla="*/ 634329 h 1651987"/>
              <a:gd name="connsiteX1082" fmla="*/ 1904529 w 1970753"/>
              <a:gd name="connsiteY1082" fmla="*/ 636611 h 1651987"/>
              <a:gd name="connsiteX1083" fmla="*/ 1904529 w 1970753"/>
              <a:gd name="connsiteY1083" fmla="*/ 638893 h 1651987"/>
              <a:gd name="connsiteX1084" fmla="*/ 1902245 w 1970753"/>
              <a:gd name="connsiteY1084" fmla="*/ 641175 h 1651987"/>
              <a:gd name="connsiteX1085" fmla="*/ 1902245 w 1970753"/>
              <a:gd name="connsiteY1085" fmla="*/ 643457 h 1651987"/>
              <a:gd name="connsiteX1086" fmla="*/ 1902245 w 1970753"/>
              <a:gd name="connsiteY1086" fmla="*/ 645738 h 1651987"/>
              <a:gd name="connsiteX1087" fmla="*/ 1904529 w 1970753"/>
              <a:gd name="connsiteY1087" fmla="*/ 645738 h 1651987"/>
              <a:gd name="connsiteX1088" fmla="*/ 1904529 w 1970753"/>
              <a:gd name="connsiteY1088" fmla="*/ 648020 h 1651987"/>
              <a:gd name="connsiteX1089" fmla="*/ 1906812 w 1970753"/>
              <a:gd name="connsiteY1089" fmla="*/ 648020 h 1651987"/>
              <a:gd name="connsiteX1090" fmla="*/ 1906812 w 1970753"/>
              <a:gd name="connsiteY1090" fmla="*/ 650302 h 1651987"/>
              <a:gd name="connsiteX1091" fmla="*/ 1904529 w 1970753"/>
              <a:gd name="connsiteY1091" fmla="*/ 650302 h 1651987"/>
              <a:gd name="connsiteX1092" fmla="*/ 1904529 w 1970753"/>
              <a:gd name="connsiteY1092" fmla="*/ 652584 h 1651987"/>
              <a:gd name="connsiteX1093" fmla="*/ 1904529 w 1970753"/>
              <a:gd name="connsiteY1093" fmla="*/ 654866 h 1651987"/>
              <a:gd name="connsiteX1094" fmla="*/ 1902245 w 1970753"/>
              <a:gd name="connsiteY1094" fmla="*/ 654866 h 1651987"/>
              <a:gd name="connsiteX1095" fmla="*/ 1899962 w 1970753"/>
              <a:gd name="connsiteY1095" fmla="*/ 654866 h 1651987"/>
              <a:gd name="connsiteX1096" fmla="*/ 1899962 w 1970753"/>
              <a:gd name="connsiteY1096" fmla="*/ 657148 h 1651987"/>
              <a:gd name="connsiteX1097" fmla="*/ 1897678 w 1970753"/>
              <a:gd name="connsiteY1097" fmla="*/ 657148 h 1651987"/>
              <a:gd name="connsiteX1098" fmla="*/ 1895395 w 1970753"/>
              <a:gd name="connsiteY1098" fmla="*/ 657148 h 1651987"/>
              <a:gd name="connsiteX1099" fmla="*/ 1881693 w 1970753"/>
              <a:gd name="connsiteY1099" fmla="*/ 661712 h 1651987"/>
              <a:gd name="connsiteX1100" fmla="*/ 1881693 w 1970753"/>
              <a:gd name="connsiteY1100" fmla="*/ 659430 h 1651987"/>
              <a:gd name="connsiteX1101" fmla="*/ 1879410 w 1970753"/>
              <a:gd name="connsiteY1101" fmla="*/ 659430 h 1651987"/>
              <a:gd name="connsiteX1102" fmla="*/ 1879410 w 1970753"/>
              <a:gd name="connsiteY1102" fmla="*/ 657148 h 1651987"/>
              <a:gd name="connsiteX1103" fmla="*/ 1874842 w 1970753"/>
              <a:gd name="connsiteY1103" fmla="*/ 659430 h 1651987"/>
              <a:gd name="connsiteX1104" fmla="*/ 1872559 w 1970753"/>
              <a:gd name="connsiteY1104" fmla="*/ 659430 h 1651987"/>
              <a:gd name="connsiteX1105" fmla="*/ 1870275 w 1970753"/>
              <a:gd name="connsiteY1105" fmla="*/ 661712 h 1651987"/>
              <a:gd name="connsiteX1106" fmla="*/ 1867991 w 1970753"/>
              <a:gd name="connsiteY1106" fmla="*/ 661712 h 1651987"/>
              <a:gd name="connsiteX1107" fmla="*/ 1865708 w 1970753"/>
              <a:gd name="connsiteY1107" fmla="*/ 663994 h 1651987"/>
              <a:gd name="connsiteX1108" fmla="*/ 1863424 w 1970753"/>
              <a:gd name="connsiteY1108" fmla="*/ 663994 h 1651987"/>
              <a:gd name="connsiteX1109" fmla="*/ 1861141 w 1970753"/>
              <a:gd name="connsiteY1109" fmla="*/ 663994 h 1651987"/>
              <a:gd name="connsiteX1110" fmla="*/ 1858857 w 1970753"/>
              <a:gd name="connsiteY1110" fmla="*/ 666275 h 1651987"/>
              <a:gd name="connsiteX1111" fmla="*/ 1856573 w 1970753"/>
              <a:gd name="connsiteY1111" fmla="*/ 666275 h 1651987"/>
              <a:gd name="connsiteX1112" fmla="*/ 1854290 w 1970753"/>
              <a:gd name="connsiteY1112" fmla="*/ 666275 h 1651987"/>
              <a:gd name="connsiteX1113" fmla="*/ 1854290 w 1970753"/>
              <a:gd name="connsiteY1113" fmla="*/ 668558 h 1651987"/>
              <a:gd name="connsiteX1114" fmla="*/ 1854290 w 1970753"/>
              <a:gd name="connsiteY1114" fmla="*/ 670839 h 1651987"/>
              <a:gd name="connsiteX1115" fmla="*/ 1854290 w 1970753"/>
              <a:gd name="connsiteY1115" fmla="*/ 673121 h 1651987"/>
              <a:gd name="connsiteX1116" fmla="*/ 1852006 w 1970753"/>
              <a:gd name="connsiteY1116" fmla="*/ 673121 h 1651987"/>
              <a:gd name="connsiteX1117" fmla="*/ 1852006 w 1970753"/>
              <a:gd name="connsiteY1117" fmla="*/ 675403 h 1651987"/>
              <a:gd name="connsiteX1118" fmla="*/ 1849723 w 1970753"/>
              <a:gd name="connsiteY1118" fmla="*/ 677685 h 1651987"/>
              <a:gd name="connsiteX1119" fmla="*/ 1847439 w 1970753"/>
              <a:gd name="connsiteY1119" fmla="*/ 679967 h 1651987"/>
              <a:gd name="connsiteX1120" fmla="*/ 1845156 w 1970753"/>
              <a:gd name="connsiteY1120" fmla="*/ 682249 h 1651987"/>
              <a:gd name="connsiteX1121" fmla="*/ 1842872 w 1970753"/>
              <a:gd name="connsiteY1121" fmla="*/ 682249 h 1651987"/>
              <a:gd name="connsiteX1122" fmla="*/ 1842872 w 1970753"/>
              <a:gd name="connsiteY1122" fmla="*/ 684531 h 1651987"/>
              <a:gd name="connsiteX1123" fmla="*/ 1840588 w 1970753"/>
              <a:gd name="connsiteY1123" fmla="*/ 684531 h 1651987"/>
              <a:gd name="connsiteX1124" fmla="*/ 1838305 w 1970753"/>
              <a:gd name="connsiteY1124" fmla="*/ 684531 h 1651987"/>
              <a:gd name="connsiteX1125" fmla="*/ 1838305 w 1970753"/>
              <a:gd name="connsiteY1125" fmla="*/ 686813 h 1651987"/>
              <a:gd name="connsiteX1126" fmla="*/ 1838305 w 1970753"/>
              <a:gd name="connsiteY1126" fmla="*/ 689095 h 1651987"/>
              <a:gd name="connsiteX1127" fmla="*/ 1838305 w 1970753"/>
              <a:gd name="connsiteY1127" fmla="*/ 691376 h 1651987"/>
              <a:gd name="connsiteX1128" fmla="*/ 1836021 w 1970753"/>
              <a:gd name="connsiteY1128" fmla="*/ 691376 h 1651987"/>
              <a:gd name="connsiteX1129" fmla="*/ 1836021 w 1970753"/>
              <a:gd name="connsiteY1129" fmla="*/ 693658 h 1651987"/>
              <a:gd name="connsiteX1130" fmla="*/ 1833737 w 1970753"/>
              <a:gd name="connsiteY1130" fmla="*/ 693658 h 1651987"/>
              <a:gd name="connsiteX1131" fmla="*/ 1833737 w 1970753"/>
              <a:gd name="connsiteY1131" fmla="*/ 695940 h 1651987"/>
              <a:gd name="connsiteX1132" fmla="*/ 1831454 w 1970753"/>
              <a:gd name="connsiteY1132" fmla="*/ 698222 h 1651987"/>
              <a:gd name="connsiteX1133" fmla="*/ 1831454 w 1970753"/>
              <a:gd name="connsiteY1133" fmla="*/ 700504 h 1651987"/>
              <a:gd name="connsiteX1134" fmla="*/ 1831454 w 1970753"/>
              <a:gd name="connsiteY1134" fmla="*/ 702786 h 1651987"/>
              <a:gd name="connsiteX1135" fmla="*/ 1829170 w 1970753"/>
              <a:gd name="connsiteY1135" fmla="*/ 705068 h 1651987"/>
              <a:gd name="connsiteX1136" fmla="*/ 1829170 w 1970753"/>
              <a:gd name="connsiteY1136" fmla="*/ 707340 h 1651987"/>
              <a:gd name="connsiteX1137" fmla="*/ 1829170 w 1970753"/>
              <a:gd name="connsiteY1137" fmla="*/ 709622 h 1651987"/>
              <a:gd name="connsiteX1138" fmla="*/ 1829170 w 1970753"/>
              <a:gd name="connsiteY1138" fmla="*/ 707340 h 1651987"/>
              <a:gd name="connsiteX1139" fmla="*/ 1826887 w 1970753"/>
              <a:gd name="connsiteY1139" fmla="*/ 707340 h 1651987"/>
              <a:gd name="connsiteX1140" fmla="*/ 1824603 w 1970753"/>
              <a:gd name="connsiteY1140" fmla="*/ 707340 h 1651987"/>
              <a:gd name="connsiteX1141" fmla="*/ 1822320 w 1970753"/>
              <a:gd name="connsiteY1141" fmla="*/ 707340 h 1651987"/>
              <a:gd name="connsiteX1142" fmla="*/ 1820036 w 1970753"/>
              <a:gd name="connsiteY1142" fmla="*/ 707340 h 1651987"/>
              <a:gd name="connsiteX1143" fmla="*/ 1817752 w 1970753"/>
              <a:gd name="connsiteY1143" fmla="*/ 707340 h 1651987"/>
              <a:gd name="connsiteX1144" fmla="*/ 1815469 w 1970753"/>
              <a:gd name="connsiteY1144" fmla="*/ 707340 h 1651987"/>
              <a:gd name="connsiteX1145" fmla="*/ 1813185 w 1970753"/>
              <a:gd name="connsiteY1145" fmla="*/ 707340 h 1651987"/>
              <a:gd name="connsiteX1146" fmla="*/ 1810902 w 1970753"/>
              <a:gd name="connsiteY1146" fmla="*/ 709622 h 1651987"/>
              <a:gd name="connsiteX1147" fmla="*/ 1810902 w 1970753"/>
              <a:gd name="connsiteY1147" fmla="*/ 711904 h 1651987"/>
              <a:gd name="connsiteX1148" fmla="*/ 1808618 w 1970753"/>
              <a:gd name="connsiteY1148" fmla="*/ 711904 h 1651987"/>
              <a:gd name="connsiteX1149" fmla="*/ 1808618 w 1970753"/>
              <a:gd name="connsiteY1149" fmla="*/ 714186 h 1651987"/>
              <a:gd name="connsiteX1150" fmla="*/ 1806334 w 1970753"/>
              <a:gd name="connsiteY1150" fmla="*/ 714186 h 1651987"/>
              <a:gd name="connsiteX1151" fmla="*/ 1801767 w 1970753"/>
              <a:gd name="connsiteY1151" fmla="*/ 716468 h 1651987"/>
              <a:gd name="connsiteX1152" fmla="*/ 1797200 w 1970753"/>
              <a:gd name="connsiteY1152" fmla="*/ 718750 h 1651987"/>
              <a:gd name="connsiteX1153" fmla="*/ 1794916 w 1970753"/>
              <a:gd name="connsiteY1153" fmla="*/ 721032 h 1651987"/>
              <a:gd name="connsiteX1154" fmla="*/ 1794916 w 1970753"/>
              <a:gd name="connsiteY1154" fmla="*/ 725595 h 1651987"/>
              <a:gd name="connsiteX1155" fmla="*/ 1794916 w 1970753"/>
              <a:gd name="connsiteY1155" fmla="*/ 727877 h 1651987"/>
              <a:gd name="connsiteX1156" fmla="*/ 1792633 w 1970753"/>
              <a:gd name="connsiteY1156" fmla="*/ 727877 h 1651987"/>
              <a:gd name="connsiteX1157" fmla="*/ 1792633 w 1970753"/>
              <a:gd name="connsiteY1157" fmla="*/ 730159 h 1651987"/>
              <a:gd name="connsiteX1158" fmla="*/ 1790349 w 1970753"/>
              <a:gd name="connsiteY1158" fmla="*/ 730159 h 1651987"/>
              <a:gd name="connsiteX1159" fmla="*/ 1788066 w 1970753"/>
              <a:gd name="connsiteY1159" fmla="*/ 730159 h 1651987"/>
              <a:gd name="connsiteX1160" fmla="*/ 1785782 w 1970753"/>
              <a:gd name="connsiteY1160" fmla="*/ 732441 h 1651987"/>
              <a:gd name="connsiteX1161" fmla="*/ 1783498 w 1970753"/>
              <a:gd name="connsiteY1161" fmla="*/ 732441 h 1651987"/>
              <a:gd name="connsiteX1162" fmla="*/ 1781215 w 1970753"/>
              <a:gd name="connsiteY1162" fmla="*/ 732441 h 1651987"/>
              <a:gd name="connsiteX1163" fmla="*/ 1778931 w 1970753"/>
              <a:gd name="connsiteY1163" fmla="*/ 732441 h 1651987"/>
              <a:gd name="connsiteX1164" fmla="*/ 1776648 w 1970753"/>
              <a:gd name="connsiteY1164" fmla="*/ 730159 h 1651987"/>
              <a:gd name="connsiteX1165" fmla="*/ 1774364 w 1970753"/>
              <a:gd name="connsiteY1165" fmla="*/ 730159 h 1651987"/>
              <a:gd name="connsiteX1166" fmla="*/ 1772081 w 1970753"/>
              <a:gd name="connsiteY1166" fmla="*/ 730159 h 1651987"/>
              <a:gd name="connsiteX1167" fmla="*/ 1769797 w 1970753"/>
              <a:gd name="connsiteY1167" fmla="*/ 730159 h 1651987"/>
              <a:gd name="connsiteX1168" fmla="*/ 1769797 w 1970753"/>
              <a:gd name="connsiteY1168" fmla="*/ 727877 h 1651987"/>
              <a:gd name="connsiteX1169" fmla="*/ 1767513 w 1970753"/>
              <a:gd name="connsiteY1169" fmla="*/ 727877 h 1651987"/>
              <a:gd name="connsiteX1170" fmla="*/ 1765230 w 1970753"/>
              <a:gd name="connsiteY1170" fmla="*/ 732441 h 1651987"/>
              <a:gd name="connsiteX1171" fmla="*/ 1765230 w 1970753"/>
              <a:gd name="connsiteY1171" fmla="*/ 734723 h 1651987"/>
              <a:gd name="connsiteX1172" fmla="*/ 1762946 w 1970753"/>
              <a:gd name="connsiteY1172" fmla="*/ 737005 h 1651987"/>
              <a:gd name="connsiteX1173" fmla="*/ 1760662 w 1970753"/>
              <a:gd name="connsiteY1173" fmla="*/ 739287 h 1651987"/>
              <a:gd name="connsiteX1174" fmla="*/ 1758379 w 1970753"/>
              <a:gd name="connsiteY1174" fmla="*/ 741569 h 1651987"/>
              <a:gd name="connsiteX1175" fmla="*/ 1756095 w 1970753"/>
              <a:gd name="connsiteY1175" fmla="*/ 743850 h 1651987"/>
              <a:gd name="connsiteX1176" fmla="*/ 1751528 w 1970753"/>
              <a:gd name="connsiteY1176" fmla="*/ 748414 h 1651987"/>
              <a:gd name="connsiteX1177" fmla="*/ 1751528 w 1970753"/>
              <a:gd name="connsiteY1177" fmla="*/ 750696 h 1651987"/>
              <a:gd name="connsiteX1178" fmla="*/ 1749244 w 1970753"/>
              <a:gd name="connsiteY1178" fmla="*/ 750696 h 1651987"/>
              <a:gd name="connsiteX1179" fmla="*/ 1746961 w 1970753"/>
              <a:gd name="connsiteY1179" fmla="*/ 755260 h 1651987"/>
              <a:gd name="connsiteX1180" fmla="*/ 1749244 w 1970753"/>
              <a:gd name="connsiteY1180" fmla="*/ 757542 h 1651987"/>
              <a:gd name="connsiteX1181" fmla="*/ 1749244 w 1970753"/>
              <a:gd name="connsiteY1181" fmla="*/ 759824 h 1651987"/>
              <a:gd name="connsiteX1182" fmla="*/ 1751528 w 1970753"/>
              <a:gd name="connsiteY1182" fmla="*/ 759824 h 1651987"/>
              <a:gd name="connsiteX1183" fmla="*/ 1751528 w 1970753"/>
              <a:gd name="connsiteY1183" fmla="*/ 762106 h 1651987"/>
              <a:gd name="connsiteX1184" fmla="*/ 1753812 w 1970753"/>
              <a:gd name="connsiteY1184" fmla="*/ 762106 h 1651987"/>
              <a:gd name="connsiteX1185" fmla="*/ 1753812 w 1970753"/>
              <a:gd name="connsiteY1185" fmla="*/ 764388 h 1651987"/>
              <a:gd name="connsiteX1186" fmla="*/ 1756095 w 1970753"/>
              <a:gd name="connsiteY1186" fmla="*/ 764388 h 1651987"/>
              <a:gd name="connsiteX1187" fmla="*/ 1756095 w 1970753"/>
              <a:gd name="connsiteY1187" fmla="*/ 766670 h 1651987"/>
              <a:gd name="connsiteX1188" fmla="*/ 1753812 w 1970753"/>
              <a:gd name="connsiteY1188" fmla="*/ 768951 h 1651987"/>
              <a:gd name="connsiteX1189" fmla="*/ 1751528 w 1970753"/>
              <a:gd name="connsiteY1189" fmla="*/ 771233 h 1651987"/>
              <a:gd name="connsiteX1190" fmla="*/ 1749244 w 1970753"/>
              <a:gd name="connsiteY1190" fmla="*/ 773515 h 1651987"/>
              <a:gd name="connsiteX1191" fmla="*/ 1749244 w 1970753"/>
              <a:gd name="connsiteY1191" fmla="*/ 775797 h 1651987"/>
              <a:gd name="connsiteX1192" fmla="*/ 1746961 w 1970753"/>
              <a:gd name="connsiteY1192" fmla="*/ 775797 h 1651987"/>
              <a:gd name="connsiteX1193" fmla="*/ 1744677 w 1970753"/>
              <a:gd name="connsiteY1193" fmla="*/ 775797 h 1651987"/>
              <a:gd name="connsiteX1194" fmla="*/ 1742394 w 1970753"/>
              <a:gd name="connsiteY1194" fmla="*/ 775797 h 1651987"/>
              <a:gd name="connsiteX1195" fmla="*/ 1740110 w 1970753"/>
              <a:gd name="connsiteY1195" fmla="*/ 771233 h 1651987"/>
              <a:gd name="connsiteX1196" fmla="*/ 1737827 w 1970753"/>
              <a:gd name="connsiteY1196" fmla="*/ 771233 h 1651987"/>
              <a:gd name="connsiteX1197" fmla="*/ 1735543 w 1970753"/>
              <a:gd name="connsiteY1197" fmla="*/ 775797 h 1651987"/>
              <a:gd name="connsiteX1198" fmla="*/ 1733259 w 1970753"/>
              <a:gd name="connsiteY1198" fmla="*/ 778079 h 1651987"/>
              <a:gd name="connsiteX1199" fmla="*/ 1730976 w 1970753"/>
              <a:gd name="connsiteY1199" fmla="*/ 780361 h 1651987"/>
              <a:gd name="connsiteX1200" fmla="*/ 1726408 w 1970753"/>
              <a:gd name="connsiteY1200" fmla="*/ 784925 h 1651987"/>
              <a:gd name="connsiteX1201" fmla="*/ 1719558 w 1970753"/>
              <a:gd name="connsiteY1201" fmla="*/ 780361 h 1651987"/>
              <a:gd name="connsiteX1202" fmla="*/ 1717274 w 1970753"/>
              <a:gd name="connsiteY1202" fmla="*/ 780361 h 1651987"/>
              <a:gd name="connsiteX1203" fmla="*/ 1717274 w 1970753"/>
              <a:gd name="connsiteY1203" fmla="*/ 778079 h 1651987"/>
              <a:gd name="connsiteX1204" fmla="*/ 1714991 w 1970753"/>
              <a:gd name="connsiteY1204" fmla="*/ 778079 h 1651987"/>
              <a:gd name="connsiteX1205" fmla="*/ 1712707 w 1970753"/>
              <a:gd name="connsiteY1205" fmla="*/ 778079 h 1651987"/>
              <a:gd name="connsiteX1206" fmla="*/ 1712707 w 1970753"/>
              <a:gd name="connsiteY1206" fmla="*/ 775797 h 1651987"/>
              <a:gd name="connsiteX1207" fmla="*/ 1710423 w 1970753"/>
              <a:gd name="connsiteY1207" fmla="*/ 775797 h 1651987"/>
              <a:gd name="connsiteX1208" fmla="*/ 1705856 w 1970753"/>
              <a:gd name="connsiteY1208" fmla="*/ 778079 h 1651987"/>
              <a:gd name="connsiteX1209" fmla="*/ 1703573 w 1970753"/>
              <a:gd name="connsiteY1209" fmla="*/ 778079 h 1651987"/>
              <a:gd name="connsiteX1210" fmla="*/ 1701289 w 1970753"/>
              <a:gd name="connsiteY1210" fmla="*/ 778079 h 1651987"/>
              <a:gd name="connsiteX1211" fmla="*/ 1694438 w 1970753"/>
              <a:gd name="connsiteY1211" fmla="*/ 780361 h 1651987"/>
              <a:gd name="connsiteX1212" fmla="*/ 1692154 w 1970753"/>
              <a:gd name="connsiteY1212" fmla="*/ 780361 h 1651987"/>
              <a:gd name="connsiteX1213" fmla="*/ 1689871 w 1970753"/>
              <a:gd name="connsiteY1213" fmla="*/ 780361 h 1651987"/>
              <a:gd name="connsiteX1214" fmla="*/ 1687587 w 1970753"/>
              <a:gd name="connsiteY1214" fmla="*/ 782643 h 1651987"/>
              <a:gd name="connsiteX1215" fmla="*/ 1683020 w 1970753"/>
              <a:gd name="connsiteY1215" fmla="*/ 782643 h 1651987"/>
              <a:gd name="connsiteX1216" fmla="*/ 1680737 w 1970753"/>
              <a:gd name="connsiteY1216" fmla="*/ 784925 h 1651987"/>
              <a:gd name="connsiteX1217" fmla="*/ 1676169 w 1970753"/>
              <a:gd name="connsiteY1217" fmla="*/ 784925 h 1651987"/>
              <a:gd name="connsiteX1218" fmla="*/ 1669319 w 1970753"/>
              <a:gd name="connsiteY1218" fmla="*/ 787207 h 1651987"/>
              <a:gd name="connsiteX1219" fmla="*/ 1667035 w 1970753"/>
              <a:gd name="connsiteY1219" fmla="*/ 787207 h 1651987"/>
              <a:gd name="connsiteX1220" fmla="*/ 1662468 w 1970753"/>
              <a:gd name="connsiteY1220" fmla="*/ 796334 h 1651987"/>
              <a:gd name="connsiteX1221" fmla="*/ 1664751 w 1970753"/>
              <a:gd name="connsiteY1221" fmla="*/ 798616 h 1651987"/>
              <a:gd name="connsiteX1222" fmla="*/ 1660184 w 1970753"/>
              <a:gd name="connsiteY1222" fmla="*/ 800898 h 1651987"/>
              <a:gd name="connsiteX1223" fmla="*/ 1657901 w 1970753"/>
              <a:gd name="connsiteY1223" fmla="*/ 803180 h 1651987"/>
              <a:gd name="connsiteX1224" fmla="*/ 1657901 w 1970753"/>
              <a:gd name="connsiteY1224" fmla="*/ 805462 h 1651987"/>
              <a:gd name="connsiteX1225" fmla="*/ 1655617 w 1970753"/>
              <a:gd name="connsiteY1225" fmla="*/ 807744 h 1651987"/>
              <a:gd name="connsiteX1226" fmla="*/ 1655617 w 1970753"/>
              <a:gd name="connsiteY1226" fmla="*/ 810026 h 1651987"/>
              <a:gd name="connsiteX1227" fmla="*/ 1655617 w 1970753"/>
              <a:gd name="connsiteY1227" fmla="*/ 812307 h 1651987"/>
              <a:gd name="connsiteX1228" fmla="*/ 1655617 w 1970753"/>
              <a:gd name="connsiteY1228" fmla="*/ 814589 h 1651987"/>
              <a:gd name="connsiteX1229" fmla="*/ 1655617 w 1970753"/>
              <a:gd name="connsiteY1229" fmla="*/ 816871 h 1651987"/>
              <a:gd name="connsiteX1230" fmla="*/ 1655617 w 1970753"/>
              <a:gd name="connsiteY1230" fmla="*/ 819153 h 1651987"/>
              <a:gd name="connsiteX1231" fmla="*/ 1653333 w 1970753"/>
              <a:gd name="connsiteY1231" fmla="*/ 819153 h 1651987"/>
              <a:gd name="connsiteX1232" fmla="*/ 1653333 w 1970753"/>
              <a:gd name="connsiteY1232" fmla="*/ 821435 h 1651987"/>
              <a:gd name="connsiteX1233" fmla="*/ 1651050 w 1970753"/>
              <a:gd name="connsiteY1233" fmla="*/ 821435 h 1651987"/>
              <a:gd name="connsiteX1234" fmla="*/ 1648766 w 1970753"/>
              <a:gd name="connsiteY1234" fmla="*/ 823717 h 1651987"/>
              <a:gd name="connsiteX1235" fmla="*/ 1646483 w 1970753"/>
              <a:gd name="connsiteY1235" fmla="*/ 823717 h 1651987"/>
              <a:gd name="connsiteX1236" fmla="*/ 1644199 w 1970753"/>
              <a:gd name="connsiteY1236" fmla="*/ 825999 h 1651987"/>
              <a:gd name="connsiteX1237" fmla="*/ 1644199 w 1970753"/>
              <a:gd name="connsiteY1237" fmla="*/ 828281 h 1651987"/>
              <a:gd name="connsiteX1238" fmla="*/ 1644199 w 1970753"/>
              <a:gd name="connsiteY1238" fmla="*/ 830563 h 1651987"/>
              <a:gd name="connsiteX1239" fmla="*/ 1641915 w 1970753"/>
              <a:gd name="connsiteY1239" fmla="*/ 830563 h 1651987"/>
              <a:gd name="connsiteX1240" fmla="*/ 1641915 w 1970753"/>
              <a:gd name="connsiteY1240" fmla="*/ 832844 h 1651987"/>
              <a:gd name="connsiteX1241" fmla="*/ 1639632 w 1970753"/>
              <a:gd name="connsiteY1241" fmla="*/ 832844 h 1651987"/>
              <a:gd name="connsiteX1242" fmla="*/ 1639632 w 1970753"/>
              <a:gd name="connsiteY1242" fmla="*/ 835126 h 1651987"/>
              <a:gd name="connsiteX1243" fmla="*/ 1637348 w 1970753"/>
              <a:gd name="connsiteY1243" fmla="*/ 835126 h 1651987"/>
              <a:gd name="connsiteX1244" fmla="*/ 1639632 w 1970753"/>
              <a:gd name="connsiteY1244" fmla="*/ 837408 h 1651987"/>
              <a:gd name="connsiteX1245" fmla="*/ 1639632 w 1970753"/>
              <a:gd name="connsiteY1245" fmla="*/ 839690 h 1651987"/>
              <a:gd name="connsiteX1246" fmla="*/ 1639632 w 1970753"/>
              <a:gd name="connsiteY1246" fmla="*/ 841972 h 1651987"/>
              <a:gd name="connsiteX1247" fmla="*/ 1637348 w 1970753"/>
              <a:gd name="connsiteY1247" fmla="*/ 846536 h 1651987"/>
              <a:gd name="connsiteX1248" fmla="*/ 1637348 w 1970753"/>
              <a:gd name="connsiteY1248" fmla="*/ 848818 h 1651987"/>
              <a:gd name="connsiteX1249" fmla="*/ 1637348 w 1970753"/>
              <a:gd name="connsiteY1249" fmla="*/ 853382 h 1651987"/>
              <a:gd name="connsiteX1250" fmla="*/ 1637348 w 1970753"/>
              <a:gd name="connsiteY1250" fmla="*/ 855663 h 1651987"/>
              <a:gd name="connsiteX1251" fmla="*/ 1637348 w 1970753"/>
              <a:gd name="connsiteY1251" fmla="*/ 857945 h 1651987"/>
              <a:gd name="connsiteX1252" fmla="*/ 1635064 w 1970753"/>
              <a:gd name="connsiteY1252" fmla="*/ 857945 h 1651987"/>
              <a:gd name="connsiteX1253" fmla="*/ 1632781 w 1970753"/>
              <a:gd name="connsiteY1253" fmla="*/ 857945 h 1651987"/>
              <a:gd name="connsiteX1254" fmla="*/ 1632781 w 1970753"/>
              <a:gd name="connsiteY1254" fmla="*/ 860227 h 1651987"/>
              <a:gd name="connsiteX1255" fmla="*/ 1632781 w 1970753"/>
              <a:gd name="connsiteY1255" fmla="*/ 862509 h 1651987"/>
              <a:gd name="connsiteX1256" fmla="*/ 1630497 w 1970753"/>
              <a:gd name="connsiteY1256" fmla="*/ 862509 h 1651987"/>
              <a:gd name="connsiteX1257" fmla="*/ 1630497 w 1970753"/>
              <a:gd name="connsiteY1257" fmla="*/ 864782 h 1651987"/>
              <a:gd name="connsiteX1258" fmla="*/ 1630497 w 1970753"/>
              <a:gd name="connsiteY1258" fmla="*/ 862509 h 1651987"/>
              <a:gd name="connsiteX1259" fmla="*/ 1628214 w 1970753"/>
              <a:gd name="connsiteY1259" fmla="*/ 862509 h 1651987"/>
              <a:gd name="connsiteX1260" fmla="*/ 1625930 w 1970753"/>
              <a:gd name="connsiteY1260" fmla="*/ 862509 h 1651987"/>
              <a:gd name="connsiteX1261" fmla="*/ 1623647 w 1970753"/>
              <a:gd name="connsiteY1261" fmla="*/ 860227 h 1651987"/>
              <a:gd name="connsiteX1262" fmla="*/ 1616796 w 1970753"/>
              <a:gd name="connsiteY1262" fmla="*/ 862509 h 1651987"/>
              <a:gd name="connsiteX1263" fmla="*/ 1614512 w 1970753"/>
              <a:gd name="connsiteY1263" fmla="*/ 862509 h 1651987"/>
              <a:gd name="connsiteX1264" fmla="*/ 1612229 w 1970753"/>
              <a:gd name="connsiteY1264" fmla="*/ 860227 h 1651987"/>
              <a:gd name="connsiteX1265" fmla="*/ 1609945 w 1970753"/>
              <a:gd name="connsiteY1265" fmla="*/ 857945 h 1651987"/>
              <a:gd name="connsiteX1266" fmla="*/ 1609945 w 1970753"/>
              <a:gd name="connsiteY1266" fmla="*/ 853382 h 1651987"/>
              <a:gd name="connsiteX1267" fmla="*/ 1609945 w 1970753"/>
              <a:gd name="connsiteY1267" fmla="*/ 846536 h 1651987"/>
              <a:gd name="connsiteX1268" fmla="*/ 1607662 w 1970753"/>
              <a:gd name="connsiteY1268" fmla="*/ 844254 h 1651987"/>
              <a:gd name="connsiteX1269" fmla="*/ 1607662 w 1970753"/>
              <a:gd name="connsiteY1269" fmla="*/ 841972 h 1651987"/>
              <a:gd name="connsiteX1270" fmla="*/ 1607662 w 1970753"/>
              <a:gd name="connsiteY1270" fmla="*/ 839690 h 1651987"/>
              <a:gd name="connsiteX1271" fmla="*/ 1605378 w 1970753"/>
              <a:gd name="connsiteY1271" fmla="*/ 837408 h 1651987"/>
              <a:gd name="connsiteX1272" fmla="*/ 1603094 w 1970753"/>
              <a:gd name="connsiteY1272" fmla="*/ 837408 h 1651987"/>
              <a:gd name="connsiteX1273" fmla="*/ 1600811 w 1970753"/>
              <a:gd name="connsiteY1273" fmla="*/ 835126 h 1651987"/>
              <a:gd name="connsiteX1274" fmla="*/ 1598527 w 1970753"/>
              <a:gd name="connsiteY1274" fmla="*/ 835126 h 1651987"/>
              <a:gd name="connsiteX1275" fmla="*/ 1591676 w 1970753"/>
              <a:gd name="connsiteY1275" fmla="*/ 832844 h 1651987"/>
              <a:gd name="connsiteX1276" fmla="*/ 1589393 w 1970753"/>
              <a:gd name="connsiteY1276" fmla="*/ 832844 h 1651987"/>
              <a:gd name="connsiteX1277" fmla="*/ 1587109 w 1970753"/>
              <a:gd name="connsiteY1277" fmla="*/ 832844 h 1651987"/>
              <a:gd name="connsiteX1278" fmla="*/ 1582542 w 1970753"/>
              <a:gd name="connsiteY1278" fmla="*/ 832844 h 1651987"/>
              <a:gd name="connsiteX1279" fmla="*/ 1580258 w 1970753"/>
              <a:gd name="connsiteY1279" fmla="*/ 832844 h 1651987"/>
              <a:gd name="connsiteX1280" fmla="*/ 1577975 w 1970753"/>
              <a:gd name="connsiteY1280" fmla="*/ 830563 h 1651987"/>
              <a:gd name="connsiteX1281" fmla="*/ 1575691 w 1970753"/>
              <a:gd name="connsiteY1281" fmla="*/ 828281 h 1651987"/>
              <a:gd name="connsiteX1282" fmla="*/ 1573408 w 1970753"/>
              <a:gd name="connsiteY1282" fmla="*/ 823717 h 1651987"/>
              <a:gd name="connsiteX1283" fmla="*/ 1571124 w 1970753"/>
              <a:gd name="connsiteY1283" fmla="*/ 819153 h 1651987"/>
              <a:gd name="connsiteX1284" fmla="*/ 1571124 w 1970753"/>
              <a:gd name="connsiteY1284" fmla="*/ 812307 h 1651987"/>
              <a:gd name="connsiteX1285" fmla="*/ 1571124 w 1970753"/>
              <a:gd name="connsiteY1285" fmla="*/ 810026 h 1651987"/>
              <a:gd name="connsiteX1286" fmla="*/ 1571124 w 1970753"/>
              <a:gd name="connsiteY1286" fmla="*/ 805462 h 1651987"/>
              <a:gd name="connsiteX1287" fmla="*/ 1568840 w 1970753"/>
              <a:gd name="connsiteY1287" fmla="*/ 803180 h 1651987"/>
              <a:gd name="connsiteX1288" fmla="*/ 1568840 w 1970753"/>
              <a:gd name="connsiteY1288" fmla="*/ 800898 h 1651987"/>
              <a:gd name="connsiteX1289" fmla="*/ 1568840 w 1970753"/>
              <a:gd name="connsiteY1289" fmla="*/ 796334 h 1651987"/>
              <a:gd name="connsiteX1290" fmla="*/ 1564273 w 1970753"/>
              <a:gd name="connsiteY1290" fmla="*/ 791770 h 1651987"/>
              <a:gd name="connsiteX1291" fmla="*/ 1561989 w 1970753"/>
              <a:gd name="connsiteY1291" fmla="*/ 789488 h 1651987"/>
              <a:gd name="connsiteX1292" fmla="*/ 1559706 w 1970753"/>
              <a:gd name="connsiteY1292" fmla="*/ 787207 h 1651987"/>
              <a:gd name="connsiteX1293" fmla="*/ 1557422 w 1970753"/>
              <a:gd name="connsiteY1293" fmla="*/ 784925 h 1651987"/>
              <a:gd name="connsiteX1294" fmla="*/ 1550572 w 1970753"/>
              <a:gd name="connsiteY1294" fmla="*/ 784925 h 1651987"/>
              <a:gd name="connsiteX1295" fmla="*/ 1548288 w 1970753"/>
              <a:gd name="connsiteY1295" fmla="*/ 784925 h 1651987"/>
              <a:gd name="connsiteX1296" fmla="*/ 1546004 w 1970753"/>
              <a:gd name="connsiteY1296" fmla="*/ 787207 h 1651987"/>
              <a:gd name="connsiteX1297" fmla="*/ 1543721 w 1970753"/>
              <a:gd name="connsiteY1297" fmla="*/ 787207 h 1651987"/>
              <a:gd name="connsiteX1298" fmla="*/ 1541437 w 1970753"/>
              <a:gd name="connsiteY1298" fmla="*/ 787207 h 1651987"/>
              <a:gd name="connsiteX1299" fmla="*/ 1541437 w 1970753"/>
              <a:gd name="connsiteY1299" fmla="*/ 789488 h 1651987"/>
              <a:gd name="connsiteX1300" fmla="*/ 1539154 w 1970753"/>
              <a:gd name="connsiteY1300" fmla="*/ 791770 h 1651987"/>
              <a:gd name="connsiteX1301" fmla="*/ 1536870 w 1970753"/>
              <a:gd name="connsiteY1301" fmla="*/ 794052 h 1651987"/>
              <a:gd name="connsiteX1302" fmla="*/ 1534586 w 1970753"/>
              <a:gd name="connsiteY1302" fmla="*/ 794052 h 1651987"/>
              <a:gd name="connsiteX1303" fmla="*/ 1532303 w 1970753"/>
              <a:gd name="connsiteY1303" fmla="*/ 794052 h 1651987"/>
              <a:gd name="connsiteX1304" fmla="*/ 1530019 w 1970753"/>
              <a:gd name="connsiteY1304" fmla="*/ 794052 h 1651987"/>
              <a:gd name="connsiteX1305" fmla="*/ 1527735 w 1970753"/>
              <a:gd name="connsiteY1305" fmla="*/ 796334 h 1651987"/>
              <a:gd name="connsiteX1306" fmla="*/ 1525452 w 1970753"/>
              <a:gd name="connsiteY1306" fmla="*/ 796334 h 1651987"/>
              <a:gd name="connsiteX1307" fmla="*/ 1523168 w 1970753"/>
              <a:gd name="connsiteY1307" fmla="*/ 796334 h 1651987"/>
              <a:gd name="connsiteX1308" fmla="*/ 1520885 w 1970753"/>
              <a:gd name="connsiteY1308" fmla="*/ 796334 h 1651987"/>
              <a:gd name="connsiteX1309" fmla="*/ 1516318 w 1970753"/>
              <a:gd name="connsiteY1309" fmla="*/ 796334 h 1651987"/>
              <a:gd name="connsiteX1310" fmla="*/ 1514034 w 1970753"/>
              <a:gd name="connsiteY1310" fmla="*/ 796334 h 1651987"/>
              <a:gd name="connsiteX1311" fmla="*/ 1511750 w 1970753"/>
              <a:gd name="connsiteY1311" fmla="*/ 796334 h 1651987"/>
              <a:gd name="connsiteX1312" fmla="*/ 1509467 w 1970753"/>
              <a:gd name="connsiteY1312" fmla="*/ 796334 h 1651987"/>
              <a:gd name="connsiteX1313" fmla="*/ 1507183 w 1970753"/>
              <a:gd name="connsiteY1313" fmla="*/ 794052 h 1651987"/>
              <a:gd name="connsiteX1314" fmla="*/ 1504900 w 1970753"/>
              <a:gd name="connsiteY1314" fmla="*/ 794052 h 1651987"/>
              <a:gd name="connsiteX1315" fmla="*/ 1504900 w 1970753"/>
              <a:gd name="connsiteY1315" fmla="*/ 796334 h 1651987"/>
              <a:gd name="connsiteX1316" fmla="*/ 1502616 w 1970753"/>
              <a:gd name="connsiteY1316" fmla="*/ 796334 h 1651987"/>
              <a:gd name="connsiteX1317" fmla="*/ 1500332 w 1970753"/>
              <a:gd name="connsiteY1317" fmla="*/ 798616 h 1651987"/>
              <a:gd name="connsiteX1318" fmla="*/ 1498049 w 1970753"/>
              <a:gd name="connsiteY1318" fmla="*/ 798616 h 1651987"/>
              <a:gd name="connsiteX1319" fmla="*/ 1498049 w 1970753"/>
              <a:gd name="connsiteY1319" fmla="*/ 796334 h 1651987"/>
              <a:gd name="connsiteX1320" fmla="*/ 1493482 w 1970753"/>
              <a:gd name="connsiteY1320" fmla="*/ 796334 h 1651987"/>
              <a:gd name="connsiteX1321" fmla="*/ 1491198 w 1970753"/>
              <a:gd name="connsiteY1321" fmla="*/ 796334 h 1651987"/>
              <a:gd name="connsiteX1322" fmla="*/ 1488914 w 1970753"/>
              <a:gd name="connsiteY1322" fmla="*/ 796334 h 1651987"/>
              <a:gd name="connsiteX1323" fmla="*/ 1486631 w 1970753"/>
              <a:gd name="connsiteY1323" fmla="*/ 796334 h 1651987"/>
              <a:gd name="connsiteX1324" fmla="*/ 1484347 w 1970753"/>
              <a:gd name="connsiteY1324" fmla="*/ 796334 h 1651987"/>
              <a:gd name="connsiteX1325" fmla="*/ 1479780 w 1970753"/>
              <a:gd name="connsiteY1325" fmla="*/ 798616 h 1651987"/>
              <a:gd name="connsiteX1326" fmla="*/ 1470646 w 1970753"/>
              <a:gd name="connsiteY1326" fmla="*/ 800898 h 1651987"/>
              <a:gd name="connsiteX1327" fmla="*/ 1468362 w 1970753"/>
              <a:gd name="connsiteY1327" fmla="*/ 803180 h 1651987"/>
              <a:gd name="connsiteX1328" fmla="*/ 1466079 w 1970753"/>
              <a:gd name="connsiteY1328" fmla="*/ 803180 h 1651987"/>
              <a:gd name="connsiteX1329" fmla="*/ 1463795 w 1970753"/>
              <a:gd name="connsiteY1329" fmla="*/ 803180 h 1651987"/>
              <a:gd name="connsiteX1330" fmla="*/ 1461511 w 1970753"/>
              <a:gd name="connsiteY1330" fmla="*/ 805462 h 1651987"/>
              <a:gd name="connsiteX1331" fmla="*/ 1459228 w 1970753"/>
              <a:gd name="connsiteY1331" fmla="*/ 810026 h 1651987"/>
              <a:gd name="connsiteX1332" fmla="*/ 1456944 w 1970753"/>
              <a:gd name="connsiteY1332" fmla="*/ 812307 h 1651987"/>
              <a:gd name="connsiteX1333" fmla="*/ 1454660 w 1970753"/>
              <a:gd name="connsiteY1333" fmla="*/ 814589 h 1651987"/>
              <a:gd name="connsiteX1334" fmla="*/ 1452377 w 1970753"/>
              <a:gd name="connsiteY1334" fmla="*/ 816871 h 1651987"/>
              <a:gd name="connsiteX1335" fmla="*/ 1450093 w 1970753"/>
              <a:gd name="connsiteY1335" fmla="*/ 819153 h 1651987"/>
              <a:gd name="connsiteX1336" fmla="*/ 1447810 w 1970753"/>
              <a:gd name="connsiteY1336" fmla="*/ 821435 h 1651987"/>
              <a:gd name="connsiteX1337" fmla="*/ 1447810 w 1970753"/>
              <a:gd name="connsiteY1337" fmla="*/ 823717 h 1651987"/>
              <a:gd name="connsiteX1338" fmla="*/ 1447810 w 1970753"/>
              <a:gd name="connsiteY1338" fmla="*/ 825999 h 1651987"/>
              <a:gd name="connsiteX1339" fmla="*/ 1447810 w 1970753"/>
              <a:gd name="connsiteY1339" fmla="*/ 828281 h 1651987"/>
              <a:gd name="connsiteX1340" fmla="*/ 1447810 w 1970753"/>
              <a:gd name="connsiteY1340" fmla="*/ 830563 h 1651987"/>
              <a:gd name="connsiteX1341" fmla="*/ 1450093 w 1970753"/>
              <a:gd name="connsiteY1341" fmla="*/ 832844 h 1651987"/>
              <a:gd name="connsiteX1342" fmla="*/ 1447810 w 1970753"/>
              <a:gd name="connsiteY1342" fmla="*/ 832844 h 1651987"/>
              <a:gd name="connsiteX1343" fmla="*/ 1445526 w 1970753"/>
              <a:gd name="connsiteY1343" fmla="*/ 835126 h 1651987"/>
              <a:gd name="connsiteX1344" fmla="*/ 1443242 w 1970753"/>
              <a:gd name="connsiteY1344" fmla="*/ 835126 h 1651987"/>
              <a:gd name="connsiteX1345" fmla="*/ 1440959 w 1970753"/>
              <a:gd name="connsiteY1345" fmla="*/ 832844 h 1651987"/>
              <a:gd name="connsiteX1346" fmla="*/ 1438675 w 1970753"/>
              <a:gd name="connsiteY1346" fmla="*/ 832844 h 1651987"/>
              <a:gd name="connsiteX1347" fmla="*/ 1436392 w 1970753"/>
              <a:gd name="connsiteY1347" fmla="*/ 832844 h 1651987"/>
              <a:gd name="connsiteX1348" fmla="*/ 1434108 w 1970753"/>
              <a:gd name="connsiteY1348" fmla="*/ 835126 h 1651987"/>
              <a:gd name="connsiteX1349" fmla="*/ 1429541 w 1970753"/>
              <a:gd name="connsiteY1349" fmla="*/ 835126 h 1651987"/>
              <a:gd name="connsiteX1350" fmla="*/ 1427257 w 1970753"/>
              <a:gd name="connsiteY1350" fmla="*/ 835126 h 1651987"/>
              <a:gd name="connsiteX1351" fmla="*/ 1424974 w 1970753"/>
              <a:gd name="connsiteY1351" fmla="*/ 835126 h 1651987"/>
              <a:gd name="connsiteX1352" fmla="*/ 1422690 w 1970753"/>
              <a:gd name="connsiteY1352" fmla="*/ 837408 h 1651987"/>
              <a:gd name="connsiteX1353" fmla="*/ 1420406 w 1970753"/>
              <a:gd name="connsiteY1353" fmla="*/ 837408 h 1651987"/>
              <a:gd name="connsiteX1354" fmla="*/ 1415839 w 1970753"/>
              <a:gd name="connsiteY1354" fmla="*/ 837408 h 1651987"/>
              <a:gd name="connsiteX1355" fmla="*/ 1408989 w 1970753"/>
              <a:gd name="connsiteY1355" fmla="*/ 835126 h 1651987"/>
              <a:gd name="connsiteX1356" fmla="*/ 1406705 w 1970753"/>
              <a:gd name="connsiteY1356" fmla="*/ 832844 h 1651987"/>
              <a:gd name="connsiteX1357" fmla="*/ 1404421 w 1970753"/>
              <a:gd name="connsiteY1357" fmla="*/ 832844 h 1651987"/>
              <a:gd name="connsiteX1358" fmla="*/ 1399854 w 1970753"/>
              <a:gd name="connsiteY1358" fmla="*/ 832844 h 1651987"/>
              <a:gd name="connsiteX1359" fmla="*/ 1397571 w 1970753"/>
              <a:gd name="connsiteY1359" fmla="*/ 835126 h 1651987"/>
              <a:gd name="connsiteX1360" fmla="*/ 1395287 w 1970753"/>
              <a:gd name="connsiteY1360" fmla="*/ 835126 h 1651987"/>
              <a:gd name="connsiteX1361" fmla="*/ 1393003 w 1970753"/>
              <a:gd name="connsiteY1361" fmla="*/ 837408 h 1651987"/>
              <a:gd name="connsiteX1362" fmla="*/ 1390720 w 1970753"/>
              <a:gd name="connsiteY1362" fmla="*/ 837408 h 1651987"/>
              <a:gd name="connsiteX1363" fmla="*/ 1388436 w 1970753"/>
              <a:gd name="connsiteY1363" fmla="*/ 837408 h 1651987"/>
              <a:gd name="connsiteX1364" fmla="*/ 1386152 w 1970753"/>
              <a:gd name="connsiteY1364" fmla="*/ 837408 h 1651987"/>
              <a:gd name="connsiteX1365" fmla="*/ 1386152 w 1970753"/>
              <a:gd name="connsiteY1365" fmla="*/ 835126 h 1651987"/>
              <a:gd name="connsiteX1366" fmla="*/ 1383869 w 1970753"/>
              <a:gd name="connsiteY1366" fmla="*/ 832844 h 1651987"/>
              <a:gd name="connsiteX1367" fmla="*/ 1383869 w 1970753"/>
              <a:gd name="connsiteY1367" fmla="*/ 830563 h 1651987"/>
              <a:gd name="connsiteX1368" fmla="*/ 1381585 w 1970753"/>
              <a:gd name="connsiteY1368" fmla="*/ 830563 h 1651987"/>
              <a:gd name="connsiteX1369" fmla="*/ 1381585 w 1970753"/>
              <a:gd name="connsiteY1369" fmla="*/ 832844 h 1651987"/>
              <a:gd name="connsiteX1370" fmla="*/ 1379302 w 1970753"/>
              <a:gd name="connsiteY1370" fmla="*/ 835126 h 1651987"/>
              <a:gd name="connsiteX1371" fmla="*/ 1377018 w 1970753"/>
              <a:gd name="connsiteY1371" fmla="*/ 835126 h 1651987"/>
              <a:gd name="connsiteX1372" fmla="*/ 1374735 w 1970753"/>
              <a:gd name="connsiteY1372" fmla="*/ 837408 h 1651987"/>
              <a:gd name="connsiteX1373" fmla="*/ 1372451 w 1970753"/>
              <a:gd name="connsiteY1373" fmla="*/ 839690 h 1651987"/>
              <a:gd name="connsiteX1374" fmla="*/ 1372451 w 1970753"/>
              <a:gd name="connsiteY1374" fmla="*/ 841972 h 1651987"/>
              <a:gd name="connsiteX1375" fmla="*/ 1370167 w 1970753"/>
              <a:gd name="connsiteY1375" fmla="*/ 841972 h 1651987"/>
              <a:gd name="connsiteX1376" fmla="*/ 1367884 w 1970753"/>
              <a:gd name="connsiteY1376" fmla="*/ 844254 h 1651987"/>
              <a:gd name="connsiteX1377" fmla="*/ 1365600 w 1970753"/>
              <a:gd name="connsiteY1377" fmla="*/ 846536 h 1651987"/>
              <a:gd name="connsiteX1378" fmla="*/ 1363317 w 1970753"/>
              <a:gd name="connsiteY1378" fmla="*/ 848818 h 1651987"/>
              <a:gd name="connsiteX1379" fmla="*/ 1363317 w 1970753"/>
              <a:gd name="connsiteY1379" fmla="*/ 851100 h 1651987"/>
              <a:gd name="connsiteX1380" fmla="*/ 1361033 w 1970753"/>
              <a:gd name="connsiteY1380" fmla="*/ 851100 h 1651987"/>
              <a:gd name="connsiteX1381" fmla="*/ 1358750 w 1970753"/>
              <a:gd name="connsiteY1381" fmla="*/ 851100 h 1651987"/>
              <a:gd name="connsiteX1382" fmla="*/ 1356466 w 1970753"/>
              <a:gd name="connsiteY1382" fmla="*/ 853382 h 1651987"/>
              <a:gd name="connsiteX1383" fmla="*/ 1356466 w 1970753"/>
              <a:gd name="connsiteY1383" fmla="*/ 855663 h 1651987"/>
              <a:gd name="connsiteX1384" fmla="*/ 1356466 w 1970753"/>
              <a:gd name="connsiteY1384" fmla="*/ 857945 h 1651987"/>
              <a:gd name="connsiteX1385" fmla="*/ 1354182 w 1970753"/>
              <a:gd name="connsiteY1385" fmla="*/ 860227 h 1651987"/>
              <a:gd name="connsiteX1386" fmla="*/ 1351899 w 1970753"/>
              <a:gd name="connsiteY1386" fmla="*/ 860227 h 1651987"/>
              <a:gd name="connsiteX1387" fmla="*/ 1351899 w 1970753"/>
              <a:gd name="connsiteY1387" fmla="*/ 862509 h 1651987"/>
              <a:gd name="connsiteX1388" fmla="*/ 1349615 w 1970753"/>
              <a:gd name="connsiteY1388" fmla="*/ 864782 h 1651987"/>
              <a:gd name="connsiteX1389" fmla="*/ 1349615 w 1970753"/>
              <a:gd name="connsiteY1389" fmla="*/ 867063 h 1651987"/>
              <a:gd name="connsiteX1390" fmla="*/ 1349615 w 1970753"/>
              <a:gd name="connsiteY1390" fmla="*/ 869345 h 1651987"/>
              <a:gd name="connsiteX1391" fmla="*/ 1347331 w 1970753"/>
              <a:gd name="connsiteY1391" fmla="*/ 869345 h 1651987"/>
              <a:gd name="connsiteX1392" fmla="*/ 1345048 w 1970753"/>
              <a:gd name="connsiteY1392" fmla="*/ 871627 h 1651987"/>
              <a:gd name="connsiteX1393" fmla="*/ 1345048 w 1970753"/>
              <a:gd name="connsiteY1393" fmla="*/ 873909 h 1651987"/>
              <a:gd name="connsiteX1394" fmla="*/ 1345048 w 1970753"/>
              <a:gd name="connsiteY1394" fmla="*/ 876191 h 1651987"/>
              <a:gd name="connsiteX1395" fmla="*/ 1342764 w 1970753"/>
              <a:gd name="connsiteY1395" fmla="*/ 878473 h 1651987"/>
              <a:gd name="connsiteX1396" fmla="*/ 1342764 w 1970753"/>
              <a:gd name="connsiteY1396" fmla="*/ 880755 h 1651987"/>
              <a:gd name="connsiteX1397" fmla="*/ 1335913 w 1970753"/>
              <a:gd name="connsiteY1397" fmla="*/ 880755 h 1651987"/>
              <a:gd name="connsiteX1398" fmla="*/ 1333630 w 1970753"/>
              <a:gd name="connsiteY1398" fmla="*/ 883037 h 1651987"/>
              <a:gd name="connsiteX1399" fmla="*/ 1335913 w 1970753"/>
              <a:gd name="connsiteY1399" fmla="*/ 883037 h 1651987"/>
              <a:gd name="connsiteX1400" fmla="*/ 1335913 w 1970753"/>
              <a:gd name="connsiteY1400" fmla="*/ 885318 h 1651987"/>
              <a:gd name="connsiteX1401" fmla="*/ 1335913 w 1970753"/>
              <a:gd name="connsiteY1401" fmla="*/ 887601 h 1651987"/>
              <a:gd name="connsiteX1402" fmla="*/ 1335913 w 1970753"/>
              <a:gd name="connsiteY1402" fmla="*/ 889882 h 1651987"/>
              <a:gd name="connsiteX1403" fmla="*/ 1335913 w 1970753"/>
              <a:gd name="connsiteY1403" fmla="*/ 892164 h 1651987"/>
              <a:gd name="connsiteX1404" fmla="*/ 1333630 w 1970753"/>
              <a:gd name="connsiteY1404" fmla="*/ 892164 h 1651987"/>
              <a:gd name="connsiteX1405" fmla="*/ 1333630 w 1970753"/>
              <a:gd name="connsiteY1405" fmla="*/ 894446 h 1651987"/>
              <a:gd name="connsiteX1406" fmla="*/ 1331346 w 1970753"/>
              <a:gd name="connsiteY1406" fmla="*/ 894446 h 1651987"/>
              <a:gd name="connsiteX1407" fmla="*/ 1324496 w 1970753"/>
              <a:gd name="connsiteY1407" fmla="*/ 899010 h 1651987"/>
              <a:gd name="connsiteX1408" fmla="*/ 1326779 w 1970753"/>
              <a:gd name="connsiteY1408" fmla="*/ 901292 h 1651987"/>
              <a:gd name="connsiteX1409" fmla="*/ 1326779 w 1970753"/>
              <a:gd name="connsiteY1409" fmla="*/ 903574 h 1651987"/>
              <a:gd name="connsiteX1410" fmla="*/ 1326779 w 1970753"/>
              <a:gd name="connsiteY1410" fmla="*/ 905856 h 1651987"/>
              <a:gd name="connsiteX1411" fmla="*/ 1326779 w 1970753"/>
              <a:gd name="connsiteY1411" fmla="*/ 908138 h 1651987"/>
              <a:gd name="connsiteX1412" fmla="*/ 1324496 w 1970753"/>
              <a:gd name="connsiteY1412" fmla="*/ 908138 h 1651987"/>
              <a:gd name="connsiteX1413" fmla="*/ 1322212 w 1970753"/>
              <a:gd name="connsiteY1413" fmla="*/ 908138 h 1651987"/>
              <a:gd name="connsiteX1414" fmla="*/ 1319928 w 1970753"/>
              <a:gd name="connsiteY1414" fmla="*/ 905856 h 1651987"/>
              <a:gd name="connsiteX1415" fmla="*/ 1315361 w 1970753"/>
              <a:gd name="connsiteY1415" fmla="*/ 905856 h 1651987"/>
              <a:gd name="connsiteX1416" fmla="*/ 1313077 w 1970753"/>
              <a:gd name="connsiteY1416" fmla="*/ 905856 h 1651987"/>
              <a:gd name="connsiteX1417" fmla="*/ 1310794 w 1970753"/>
              <a:gd name="connsiteY1417" fmla="*/ 905856 h 1651987"/>
              <a:gd name="connsiteX1418" fmla="*/ 1308510 w 1970753"/>
              <a:gd name="connsiteY1418" fmla="*/ 905856 h 1651987"/>
              <a:gd name="connsiteX1419" fmla="*/ 1308510 w 1970753"/>
              <a:gd name="connsiteY1419" fmla="*/ 908138 h 1651987"/>
              <a:gd name="connsiteX1420" fmla="*/ 1306227 w 1970753"/>
              <a:gd name="connsiteY1420" fmla="*/ 908138 h 1651987"/>
              <a:gd name="connsiteX1421" fmla="*/ 1306227 w 1970753"/>
              <a:gd name="connsiteY1421" fmla="*/ 905856 h 1651987"/>
              <a:gd name="connsiteX1422" fmla="*/ 1303943 w 1970753"/>
              <a:gd name="connsiteY1422" fmla="*/ 903574 h 1651987"/>
              <a:gd name="connsiteX1423" fmla="*/ 1301660 w 1970753"/>
              <a:gd name="connsiteY1423" fmla="*/ 899010 h 1651987"/>
              <a:gd name="connsiteX1424" fmla="*/ 1297092 w 1970753"/>
              <a:gd name="connsiteY1424" fmla="*/ 896728 h 1651987"/>
              <a:gd name="connsiteX1425" fmla="*/ 1294809 w 1970753"/>
              <a:gd name="connsiteY1425" fmla="*/ 896728 h 1651987"/>
              <a:gd name="connsiteX1426" fmla="*/ 1292525 w 1970753"/>
              <a:gd name="connsiteY1426" fmla="*/ 896728 h 1651987"/>
              <a:gd name="connsiteX1427" fmla="*/ 1290242 w 1970753"/>
              <a:gd name="connsiteY1427" fmla="*/ 899010 h 1651987"/>
              <a:gd name="connsiteX1428" fmla="*/ 1285674 w 1970753"/>
              <a:gd name="connsiteY1428" fmla="*/ 903574 h 1651987"/>
              <a:gd name="connsiteX1429" fmla="*/ 1283391 w 1970753"/>
              <a:gd name="connsiteY1429" fmla="*/ 903574 h 1651987"/>
              <a:gd name="connsiteX1430" fmla="*/ 1283391 w 1970753"/>
              <a:gd name="connsiteY1430" fmla="*/ 908138 h 1651987"/>
              <a:gd name="connsiteX1431" fmla="*/ 1281107 w 1970753"/>
              <a:gd name="connsiteY1431" fmla="*/ 908138 h 1651987"/>
              <a:gd name="connsiteX1432" fmla="*/ 1278823 w 1970753"/>
              <a:gd name="connsiteY1432" fmla="*/ 908138 h 1651987"/>
              <a:gd name="connsiteX1433" fmla="*/ 1276540 w 1970753"/>
              <a:gd name="connsiteY1433" fmla="*/ 908138 h 1651987"/>
              <a:gd name="connsiteX1434" fmla="*/ 1276540 w 1970753"/>
              <a:gd name="connsiteY1434" fmla="*/ 910419 h 1651987"/>
              <a:gd name="connsiteX1435" fmla="*/ 1276540 w 1970753"/>
              <a:gd name="connsiteY1435" fmla="*/ 912701 h 1651987"/>
              <a:gd name="connsiteX1436" fmla="*/ 1278823 w 1970753"/>
              <a:gd name="connsiteY1436" fmla="*/ 914983 h 1651987"/>
              <a:gd name="connsiteX1437" fmla="*/ 1278823 w 1970753"/>
              <a:gd name="connsiteY1437" fmla="*/ 917265 h 1651987"/>
              <a:gd name="connsiteX1438" fmla="*/ 1278823 w 1970753"/>
              <a:gd name="connsiteY1438" fmla="*/ 919547 h 1651987"/>
              <a:gd name="connsiteX1439" fmla="*/ 1276540 w 1970753"/>
              <a:gd name="connsiteY1439" fmla="*/ 919547 h 1651987"/>
              <a:gd name="connsiteX1440" fmla="*/ 1276540 w 1970753"/>
              <a:gd name="connsiteY1440" fmla="*/ 921829 h 1651987"/>
              <a:gd name="connsiteX1441" fmla="*/ 1274256 w 1970753"/>
              <a:gd name="connsiteY1441" fmla="*/ 921829 h 1651987"/>
              <a:gd name="connsiteX1442" fmla="*/ 1271973 w 1970753"/>
              <a:gd name="connsiteY1442" fmla="*/ 921829 h 1651987"/>
              <a:gd name="connsiteX1443" fmla="*/ 1269689 w 1970753"/>
              <a:gd name="connsiteY1443" fmla="*/ 921829 h 1651987"/>
              <a:gd name="connsiteX1444" fmla="*/ 1267406 w 1970753"/>
              <a:gd name="connsiteY1444" fmla="*/ 921829 h 1651987"/>
              <a:gd name="connsiteX1445" fmla="*/ 1265122 w 1970753"/>
              <a:gd name="connsiteY1445" fmla="*/ 921829 h 1651987"/>
              <a:gd name="connsiteX1446" fmla="*/ 1265122 w 1970753"/>
              <a:gd name="connsiteY1446" fmla="*/ 919547 h 1651987"/>
              <a:gd name="connsiteX1447" fmla="*/ 1262838 w 1970753"/>
              <a:gd name="connsiteY1447" fmla="*/ 917265 h 1651987"/>
              <a:gd name="connsiteX1448" fmla="*/ 1260555 w 1970753"/>
              <a:gd name="connsiteY1448" fmla="*/ 917265 h 1651987"/>
              <a:gd name="connsiteX1449" fmla="*/ 1258271 w 1970753"/>
              <a:gd name="connsiteY1449" fmla="*/ 917265 h 1651987"/>
              <a:gd name="connsiteX1450" fmla="*/ 1255988 w 1970753"/>
              <a:gd name="connsiteY1450" fmla="*/ 917265 h 1651987"/>
              <a:gd name="connsiteX1451" fmla="*/ 1253704 w 1970753"/>
              <a:gd name="connsiteY1451" fmla="*/ 914983 h 1651987"/>
              <a:gd name="connsiteX1452" fmla="*/ 1251421 w 1970753"/>
              <a:gd name="connsiteY1452" fmla="*/ 917265 h 1651987"/>
              <a:gd name="connsiteX1453" fmla="*/ 1251421 w 1970753"/>
              <a:gd name="connsiteY1453" fmla="*/ 919547 h 1651987"/>
              <a:gd name="connsiteX1454" fmla="*/ 1251421 w 1970753"/>
              <a:gd name="connsiteY1454" fmla="*/ 921829 h 1651987"/>
              <a:gd name="connsiteX1455" fmla="*/ 1249137 w 1970753"/>
              <a:gd name="connsiteY1455" fmla="*/ 921829 h 1651987"/>
              <a:gd name="connsiteX1456" fmla="*/ 1244570 w 1970753"/>
              <a:gd name="connsiteY1456" fmla="*/ 921829 h 1651987"/>
              <a:gd name="connsiteX1457" fmla="*/ 1240002 w 1970753"/>
              <a:gd name="connsiteY1457" fmla="*/ 919547 h 1651987"/>
              <a:gd name="connsiteX1458" fmla="*/ 1237719 w 1970753"/>
              <a:gd name="connsiteY1458" fmla="*/ 919547 h 1651987"/>
              <a:gd name="connsiteX1459" fmla="*/ 1237719 w 1970753"/>
              <a:gd name="connsiteY1459" fmla="*/ 917265 h 1651987"/>
              <a:gd name="connsiteX1460" fmla="*/ 1233152 w 1970753"/>
              <a:gd name="connsiteY1460" fmla="*/ 917265 h 1651987"/>
              <a:gd name="connsiteX1461" fmla="*/ 1228584 w 1970753"/>
              <a:gd name="connsiteY1461" fmla="*/ 914983 h 1651987"/>
              <a:gd name="connsiteX1462" fmla="*/ 1228584 w 1970753"/>
              <a:gd name="connsiteY1462" fmla="*/ 912701 h 1651987"/>
              <a:gd name="connsiteX1463" fmla="*/ 1226301 w 1970753"/>
              <a:gd name="connsiteY1463" fmla="*/ 912701 h 1651987"/>
              <a:gd name="connsiteX1464" fmla="*/ 1226301 w 1970753"/>
              <a:gd name="connsiteY1464" fmla="*/ 914983 h 1651987"/>
              <a:gd name="connsiteX1465" fmla="*/ 1224017 w 1970753"/>
              <a:gd name="connsiteY1465" fmla="*/ 917265 h 1651987"/>
              <a:gd name="connsiteX1466" fmla="*/ 1228584 w 1970753"/>
              <a:gd name="connsiteY1466" fmla="*/ 917265 h 1651987"/>
              <a:gd name="connsiteX1467" fmla="*/ 1230868 w 1970753"/>
              <a:gd name="connsiteY1467" fmla="*/ 919547 h 1651987"/>
              <a:gd name="connsiteX1468" fmla="*/ 1230868 w 1970753"/>
              <a:gd name="connsiteY1468" fmla="*/ 921829 h 1651987"/>
              <a:gd name="connsiteX1469" fmla="*/ 1230868 w 1970753"/>
              <a:gd name="connsiteY1469" fmla="*/ 924111 h 1651987"/>
              <a:gd name="connsiteX1470" fmla="*/ 1228584 w 1970753"/>
              <a:gd name="connsiteY1470" fmla="*/ 928675 h 1651987"/>
              <a:gd name="connsiteX1471" fmla="*/ 1228584 w 1970753"/>
              <a:gd name="connsiteY1471" fmla="*/ 930957 h 1651987"/>
              <a:gd name="connsiteX1472" fmla="*/ 1226301 w 1970753"/>
              <a:gd name="connsiteY1472" fmla="*/ 933238 h 1651987"/>
              <a:gd name="connsiteX1473" fmla="*/ 1224017 w 1970753"/>
              <a:gd name="connsiteY1473" fmla="*/ 933238 h 1651987"/>
              <a:gd name="connsiteX1474" fmla="*/ 1221734 w 1970753"/>
              <a:gd name="connsiteY1474" fmla="*/ 930957 h 1651987"/>
              <a:gd name="connsiteX1475" fmla="*/ 1221734 w 1970753"/>
              <a:gd name="connsiteY1475" fmla="*/ 933238 h 1651987"/>
              <a:gd name="connsiteX1476" fmla="*/ 1219450 w 1970753"/>
              <a:gd name="connsiteY1476" fmla="*/ 933238 h 1651987"/>
              <a:gd name="connsiteX1477" fmla="*/ 1217167 w 1970753"/>
              <a:gd name="connsiteY1477" fmla="*/ 933238 h 1651987"/>
              <a:gd name="connsiteX1478" fmla="*/ 1217167 w 1970753"/>
              <a:gd name="connsiteY1478" fmla="*/ 935520 h 1651987"/>
              <a:gd name="connsiteX1479" fmla="*/ 1214883 w 1970753"/>
              <a:gd name="connsiteY1479" fmla="*/ 937802 h 1651987"/>
              <a:gd name="connsiteX1480" fmla="*/ 1214883 w 1970753"/>
              <a:gd name="connsiteY1480" fmla="*/ 940084 h 1651987"/>
              <a:gd name="connsiteX1481" fmla="*/ 1214883 w 1970753"/>
              <a:gd name="connsiteY1481" fmla="*/ 942366 h 1651987"/>
              <a:gd name="connsiteX1482" fmla="*/ 1214883 w 1970753"/>
              <a:gd name="connsiteY1482" fmla="*/ 946930 h 1651987"/>
              <a:gd name="connsiteX1483" fmla="*/ 1214883 w 1970753"/>
              <a:gd name="connsiteY1483" fmla="*/ 949212 h 1651987"/>
              <a:gd name="connsiteX1484" fmla="*/ 1212599 w 1970753"/>
              <a:gd name="connsiteY1484" fmla="*/ 949212 h 1651987"/>
              <a:gd name="connsiteX1485" fmla="*/ 1210316 w 1970753"/>
              <a:gd name="connsiteY1485" fmla="*/ 951494 h 1651987"/>
              <a:gd name="connsiteX1486" fmla="*/ 1212599 w 1970753"/>
              <a:gd name="connsiteY1486" fmla="*/ 953775 h 1651987"/>
              <a:gd name="connsiteX1487" fmla="*/ 1214883 w 1970753"/>
              <a:gd name="connsiteY1487" fmla="*/ 956057 h 1651987"/>
              <a:gd name="connsiteX1488" fmla="*/ 1212599 w 1970753"/>
              <a:gd name="connsiteY1488" fmla="*/ 958339 h 1651987"/>
              <a:gd name="connsiteX1489" fmla="*/ 1210316 w 1970753"/>
              <a:gd name="connsiteY1489" fmla="*/ 958339 h 1651987"/>
              <a:gd name="connsiteX1490" fmla="*/ 1208032 w 1970753"/>
              <a:gd name="connsiteY1490" fmla="*/ 958339 h 1651987"/>
              <a:gd name="connsiteX1491" fmla="*/ 1205748 w 1970753"/>
              <a:gd name="connsiteY1491" fmla="*/ 958339 h 1651987"/>
              <a:gd name="connsiteX1492" fmla="*/ 1203465 w 1970753"/>
              <a:gd name="connsiteY1492" fmla="*/ 958339 h 1651987"/>
              <a:gd name="connsiteX1493" fmla="*/ 1201181 w 1970753"/>
              <a:gd name="connsiteY1493" fmla="*/ 958339 h 1651987"/>
              <a:gd name="connsiteX1494" fmla="*/ 1201181 w 1970753"/>
              <a:gd name="connsiteY1494" fmla="*/ 960621 h 1651987"/>
              <a:gd name="connsiteX1495" fmla="*/ 1203465 w 1970753"/>
              <a:gd name="connsiteY1495" fmla="*/ 962903 h 1651987"/>
              <a:gd name="connsiteX1496" fmla="*/ 1203465 w 1970753"/>
              <a:gd name="connsiteY1496" fmla="*/ 965185 h 1651987"/>
              <a:gd name="connsiteX1497" fmla="*/ 1201181 w 1970753"/>
              <a:gd name="connsiteY1497" fmla="*/ 965185 h 1651987"/>
              <a:gd name="connsiteX1498" fmla="*/ 1198898 w 1970753"/>
              <a:gd name="connsiteY1498" fmla="*/ 967467 h 1651987"/>
              <a:gd name="connsiteX1499" fmla="*/ 1198898 w 1970753"/>
              <a:gd name="connsiteY1499" fmla="*/ 969749 h 1651987"/>
              <a:gd name="connsiteX1500" fmla="*/ 1198898 w 1970753"/>
              <a:gd name="connsiteY1500" fmla="*/ 972031 h 1651987"/>
              <a:gd name="connsiteX1501" fmla="*/ 1196614 w 1970753"/>
              <a:gd name="connsiteY1501" fmla="*/ 974313 h 1651987"/>
              <a:gd name="connsiteX1502" fmla="*/ 1194331 w 1970753"/>
              <a:gd name="connsiteY1502" fmla="*/ 974313 h 1651987"/>
              <a:gd name="connsiteX1503" fmla="*/ 1189763 w 1970753"/>
              <a:gd name="connsiteY1503" fmla="*/ 974313 h 1651987"/>
              <a:gd name="connsiteX1504" fmla="*/ 1187480 w 1970753"/>
              <a:gd name="connsiteY1504" fmla="*/ 974313 h 1651987"/>
              <a:gd name="connsiteX1505" fmla="*/ 1185196 w 1970753"/>
              <a:gd name="connsiteY1505" fmla="*/ 974313 h 1651987"/>
              <a:gd name="connsiteX1506" fmla="*/ 1185196 w 1970753"/>
              <a:gd name="connsiteY1506" fmla="*/ 976594 h 1651987"/>
              <a:gd name="connsiteX1507" fmla="*/ 1187480 w 1970753"/>
              <a:gd name="connsiteY1507" fmla="*/ 976594 h 1651987"/>
              <a:gd name="connsiteX1508" fmla="*/ 1187480 w 1970753"/>
              <a:gd name="connsiteY1508" fmla="*/ 978876 h 1651987"/>
              <a:gd name="connsiteX1509" fmla="*/ 1194331 w 1970753"/>
              <a:gd name="connsiteY1509" fmla="*/ 978876 h 1651987"/>
              <a:gd name="connsiteX1510" fmla="*/ 1196614 w 1970753"/>
              <a:gd name="connsiteY1510" fmla="*/ 983440 h 1651987"/>
              <a:gd name="connsiteX1511" fmla="*/ 1198898 w 1970753"/>
              <a:gd name="connsiteY1511" fmla="*/ 988004 h 1651987"/>
              <a:gd name="connsiteX1512" fmla="*/ 1196614 w 1970753"/>
              <a:gd name="connsiteY1512" fmla="*/ 988004 h 1651987"/>
              <a:gd name="connsiteX1513" fmla="*/ 1196614 w 1970753"/>
              <a:gd name="connsiteY1513" fmla="*/ 990286 h 1651987"/>
              <a:gd name="connsiteX1514" fmla="*/ 1194331 w 1970753"/>
              <a:gd name="connsiteY1514" fmla="*/ 990286 h 1651987"/>
              <a:gd name="connsiteX1515" fmla="*/ 1194331 w 1970753"/>
              <a:gd name="connsiteY1515" fmla="*/ 988004 h 1651987"/>
              <a:gd name="connsiteX1516" fmla="*/ 1192047 w 1970753"/>
              <a:gd name="connsiteY1516" fmla="*/ 988004 h 1651987"/>
              <a:gd name="connsiteX1517" fmla="*/ 1187480 w 1970753"/>
              <a:gd name="connsiteY1517" fmla="*/ 988004 h 1651987"/>
              <a:gd name="connsiteX1518" fmla="*/ 1185196 w 1970753"/>
              <a:gd name="connsiteY1518" fmla="*/ 988004 h 1651987"/>
              <a:gd name="connsiteX1519" fmla="*/ 1185196 w 1970753"/>
              <a:gd name="connsiteY1519" fmla="*/ 990286 h 1651987"/>
              <a:gd name="connsiteX1520" fmla="*/ 1187480 w 1970753"/>
              <a:gd name="connsiteY1520" fmla="*/ 990286 h 1651987"/>
              <a:gd name="connsiteX1521" fmla="*/ 1189763 w 1970753"/>
              <a:gd name="connsiteY1521" fmla="*/ 990286 h 1651987"/>
              <a:gd name="connsiteX1522" fmla="*/ 1189763 w 1970753"/>
              <a:gd name="connsiteY1522" fmla="*/ 992568 h 1651987"/>
              <a:gd name="connsiteX1523" fmla="*/ 1189763 w 1970753"/>
              <a:gd name="connsiteY1523" fmla="*/ 997131 h 1651987"/>
              <a:gd name="connsiteX1524" fmla="*/ 1189763 w 1970753"/>
              <a:gd name="connsiteY1524" fmla="*/ 999413 h 1651987"/>
              <a:gd name="connsiteX1525" fmla="*/ 1189763 w 1970753"/>
              <a:gd name="connsiteY1525" fmla="*/ 1001695 h 1651987"/>
              <a:gd name="connsiteX1526" fmla="*/ 1187480 w 1970753"/>
              <a:gd name="connsiteY1526" fmla="*/ 1001695 h 1651987"/>
              <a:gd name="connsiteX1527" fmla="*/ 1185196 w 1970753"/>
              <a:gd name="connsiteY1527" fmla="*/ 1001695 h 1651987"/>
              <a:gd name="connsiteX1528" fmla="*/ 1182913 w 1970753"/>
              <a:gd name="connsiteY1528" fmla="*/ 1003977 h 1651987"/>
              <a:gd name="connsiteX1529" fmla="*/ 1182913 w 1970753"/>
              <a:gd name="connsiteY1529" fmla="*/ 1006259 h 1651987"/>
              <a:gd name="connsiteX1530" fmla="*/ 1180629 w 1970753"/>
              <a:gd name="connsiteY1530" fmla="*/ 1008541 h 1651987"/>
              <a:gd name="connsiteX1531" fmla="*/ 1178345 w 1970753"/>
              <a:gd name="connsiteY1531" fmla="*/ 1008541 h 1651987"/>
              <a:gd name="connsiteX1532" fmla="*/ 1176062 w 1970753"/>
              <a:gd name="connsiteY1532" fmla="*/ 1008541 h 1651987"/>
              <a:gd name="connsiteX1533" fmla="*/ 1173778 w 1970753"/>
              <a:gd name="connsiteY1533" fmla="*/ 1008541 h 1651987"/>
              <a:gd name="connsiteX1534" fmla="*/ 1173778 w 1970753"/>
              <a:gd name="connsiteY1534" fmla="*/ 1010823 h 1651987"/>
              <a:gd name="connsiteX1535" fmla="*/ 1176062 w 1970753"/>
              <a:gd name="connsiteY1535" fmla="*/ 1013105 h 1651987"/>
              <a:gd name="connsiteX1536" fmla="*/ 1176062 w 1970753"/>
              <a:gd name="connsiteY1536" fmla="*/ 1015387 h 1651987"/>
              <a:gd name="connsiteX1537" fmla="*/ 1176062 w 1970753"/>
              <a:gd name="connsiteY1537" fmla="*/ 1019950 h 1651987"/>
              <a:gd name="connsiteX1538" fmla="*/ 1176062 w 1970753"/>
              <a:gd name="connsiteY1538" fmla="*/ 1022223 h 1651987"/>
              <a:gd name="connsiteX1539" fmla="*/ 1173778 w 1970753"/>
              <a:gd name="connsiteY1539" fmla="*/ 1022223 h 1651987"/>
              <a:gd name="connsiteX1540" fmla="*/ 1171494 w 1970753"/>
              <a:gd name="connsiteY1540" fmla="*/ 1022223 h 1651987"/>
              <a:gd name="connsiteX1541" fmla="*/ 1169211 w 1970753"/>
              <a:gd name="connsiteY1541" fmla="*/ 1024505 h 1651987"/>
              <a:gd name="connsiteX1542" fmla="*/ 1166927 w 1970753"/>
              <a:gd name="connsiteY1542" fmla="*/ 1024505 h 1651987"/>
              <a:gd name="connsiteX1543" fmla="*/ 1164644 w 1970753"/>
              <a:gd name="connsiteY1543" fmla="*/ 1024505 h 1651987"/>
              <a:gd name="connsiteX1544" fmla="*/ 1160077 w 1970753"/>
              <a:gd name="connsiteY1544" fmla="*/ 1029069 h 1651987"/>
              <a:gd name="connsiteX1545" fmla="*/ 1155509 w 1970753"/>
              <a:gd name="connsiteY1545" fmla="*/ 1033632 h 1651987"/>
              <a:gd name="connsiteX1546" fmla="*/ 1153226 w 1970753"/>
              <a:gd name="connsiteY1546" fmla="*/ 1033632 h 1651987"/>
              <a:gd name="connsiteX1547" fmla="*/ 1153226 w 1970753"/>
              <a:gd name="connsiteY1547" fmla="*/ 1035914 h 1651987"/>
              <a:gd name="connsiteX1548" fmla="*/ 1150942 w 1970753"/>
              <a:gd name="connsiteY1548" fmla="*/ 1035914 h 1651987"/>
              <a:gd name="connsiteX1549" fmla="*/ 1148659 w 1970753"/>
              <a:gd name="connsiteY1549" fmla="*/ 1040478 h 1651987"/>
              <a:gd name="connsiteX1550" fmla="*/ 1146375 w 1970753"/>
              <a:gd name="connsiteY1550" fmla="*/ 1042760 h 1651987"/>
              <a:gd name="connsiteX1551" fmla="*/ 1144092 w 1970753"/>
              <a:gd name="connsiteY1551" fmla="*/ 1045042 h 1651987"/>
              <a:gd name="connsiteX1552" fmla="*/ 1141808 w 1970753"/>
              <a:gd name="connsiteY1552" fmla="*/ 1045042 h 1651987"/>
              <a:gd name="connsiteX1553" fmla="*/ 1141808 w 1970753"/>
              <a:gd name="connsiteY1553" fmla="*/ 1047324 h 1651987"/>
              <a:gd name="connsiteX1554" fmla="*/ 1144092 w 1970753"/>
              <a:gd name="connsiteY1554" fmla="*/ 1051887 h 1651987"/>
              <a:gd name="connsiteX1555" fmla="*/ 1148659 w 1970753"/>
              <a:gd name="connsiteY1555" fmla="*/ 1054169 h 1651987"/>
              <a:gd name="connsiteX1556" fmla="*/ 1150942 w 1970753"/>
              <a:gd name="connsiteY1556" fmla="*/ 1056451 h 1651987"/>
              <a:gd name="connsiteX1557" fmla="*/ 1148659 w 1970753"/>
              <a:gd name="connsiteY1557" fmla="*/ 1058733 h 1651987"/>
              <a:gd name="connsiteX1558" fmla="*/ 1148659 w 1970753"/>
              <a:gd name="connsiteY1558" fmla="*/ 1061015 h 1651987"/>
              <a:gd name="connsiteX1559" fmla="*/ 1146375 w 1970753"/>
              <a:gd name="connsiteY1559" fmla="*/ 1061015 h 1651987"/>
              <a:gd name="connsiteX1560" fmla="*/ 1144092 w 1970753"/>
              <a:gd name="connsiteY1560" fmla="*/ 1063297 h 1651987"/>
              <a:gd name="connsiteX1561" fmla="*/ 1144092 w 1970753"/>
              <a:gd name="connsiteY1561" fmla="*/ 1065579 h 1651987"/>
              <a:gd name="connsiteX1562" fmla="*/ 1141808 w 1970753"/>
              <a:gd name="connsiteY1562" fmla="*/ 1067861 h 1651987"/>
              <a:gd name="connsiteX1563" fmla="*/ 1139524 w 1970753"/>
              <a:gd name="connsiteY1563" fmla="*/ 1067861 h 1651987"/>
              <a:gd name="connsiteX1564" fmla="*/ 1134957 w 1970753"/>
              <a:gd name="connsiteY1564" fmla="*/ 1070143 h 1651987"/>
              <a:gd name="connsiteX1565" fmla="*/ 1132673 w 1970753"/>
              <a:gd name="connsiteY1565" fmla="*/ 1070143 h 1651987"/>
              <a:gd name="connsiteX1566" fmla="*/ 1132673 w 1970753"/>
              <a:gd name="connsiteY1566" fmla="*/ 1072425 h 1651987"/>
              <a:gd name="connsiteX1567" fmla="*/ 1132673 w 1970753"/>
              <a:gd name="connsiteY1567" fmla="*/ 1074706 h 1651987"/>
              <a:gd name="connsiteX1568" fmla="*/ 1130390 w 1970753"/>
              <a:gd name="connsiteY1568" fmla="*/ 1074706 h 1651987"/>
              <a:gd name="connsiteX1569" fmla="*/ 1125823 w 1970753"/>
              <a:gd name="connsiteY1569" fmla="*/ 1074706 h 1651987"/>
              <a:gd name="connsiteX1570" fmla="*/ 1121255 w 1970753"/>
              <a:gd name="connsiteY1570" fmla="*/ 1074706 h 1651987"/>
              <a:gd name="connsiteX1571" fmla="*/ 1118972 w 1970753"/>
              <a:gd name="connsiteY1571" fmla="*/ 1074706 h 1651987"/>
              <a:gd name="connsiteX1572" fmla="*/ 1116688 w 1970753"/>
              <a:gd name="connsiteY1572" fmla="*/ 1076988 h 1651987"/>
              <a:gd name="connsiteX1573" fmla="*/ 1118972 w 1970753"/>
              <a:gd name="connsiteY1573" fmla="*/ 1076988 h 1651987"/>
              <a:gd name="connsiteX1574" fmla="*/ 1118972 w 1970753"/>
              <a:gd name="connsiteY1574" fmla="*/ 1079270 h 1651987"/>
              <a:gd name="connsiteX1575" fmla="*/ 1121255 w 1970753"/>
              <a:gd name="connsiteY1575" fmla="*/ 1081552 h 1651987"/>
              <a:gd name="connsiteX1576" fmla="*/ 1123539 w 1970753"/>
              <a:gd name="connsiteY1576" fmla="*/ 1081552 h 1651987"/>
              <a:gd name="connsiteX1577" fmla="*/ 1123539 w 1970753"/>
              <a:gd name="connsiteY1577" fmla="*/ 1083834 h 1651987"/>
              <a:gd name="connsiteX1578" fmla="*/ 1123539 w 1970753"/>
              <a:gd name="connsiteY1578" fmla="*/ 1086116 h 1651987"/>
              <a:gd name="connsiteX1579" fmla="*/ 1121255 w 1970753"/>
              <a:gd name="connsiteY1579" fmla="*/ 1086116 h 1651987"/>
              <a:gd name="connsiteX1580" fmla="*/ 1116688 w 1970753"/>
              <a:gd name="connsiteY1580" fmla="*/ 1088398 h 1651987"/>
              <a:gd name="connsiteX1581" fmla="*/ 1114405 w 1970753"/>
              <a:gd name="connsiteY1581" fmla="*/ 1090680 h 1651987"/>
              <a:gd name="connsiteX1582" fmla="*/ 1112121 w 1970753"/>
              <a:gd name="connsiteY1582" fmla="*/ 1095243 h 1651987"/>
              <a:gd name="connsiteX1583" fmla="*/ 1112121 w 1970753"/>
              <a:gd name="connsiteY1583" fmla="*/ 1104371 h 1651987"/>
              <a:gd name="connsiteX1584" fmla="*/ 1112121 w 1970753"/>
              <a:gd name="connsiteY1584" fmla="*/ 1106653 h 1651987"/>
              <a:gd name="connsiteX1585" fmla="*/ 1109838 w 1970753"/>
              <a:gd name="connsiteY1585" fmla="*/ 1106653 h 1651987"/>
              <a:gd name="connsiteX1586" fmla="*/ 1107554 w 1970753"/>
              <a:gd name="connsiteY1586" fmla="*/ 1106653 h 1651987"/>
              <a:gd name="connsiteX1587" fmla="*/ 1105270 w 1970753"/>
              <a:gd name="connsiteY1587" fmla="*/ 1106653 h 1651987"/>
              <a:gd name="connsiteX1588" fmla="*/ 1102987 w 1970753"/>
              <a:gd name="connsiteY1588" fmla="*/ 1104371 h 1651987"/>
              <a:gd name="connsiteX1589" fmla="*/ 1100703 w 1970753"/>
              <a:gd name="connsiteY1589" fmla="*/ 1106653 h 1651987"/>
              <a:gd name="connsiteX1590" fmla="*/ 1105270 w 1970753"/>
              <a:gd name="connsiteY1590" fmla="*/ 1115781 h 1651987"/>
              <a:gd name="connsiteX1591" fmla="*/ 1107554 w 1970753"/>
              <a:gd name="connsiteY1591" fmla="*/ 1115781 h 1651987"/>
              <a:gd name="connsiteX1592" fmla="*/ 1107554 w 1970753"/>
              <a:gd name="connsiteY1592" fmla="*/ 1120344 h 1651987"/>
              <a:gd name="connsiteX1593" fmla="*/ 1107554 w 1970753"/>
              <a:gd name="connsiteY1593" fmla="*/ 1122626 h 1651987"/>
              <a:gd name="connsiteX1594" fmla="*/ 1105270 w 1970753"/>
              <a:gd name="connsiteY1594" fmla="*/ 1122626 h 1651987"/>
              <a:gd name="connsiteX1595" fmla="*/ 1102987 w 1970753"/>
              <a:gd name="connsiteY1595" fmla="*/ 1122626 h 1651987"/>
              <a:gd name="connsiteX1596" fmla="*/ 1100703 w 1970753"/>
              <a:gd name="connsiteY1596" fmla="*/ 1124908 h 1651987"/>
              <a:gd name="connsiteX1597" fmla="*/ 1098419 w 1970753"/>
              <a:gd name="connsiteY1597" fmla="*/ 1124908 h 1651987"/>
              <a:gd name="connsiteX1598" fmla="*/ 1093843 w 1970753"/>
              <a:gd name="connsiteY1598" fmla="*/ 1134036 h 1651987"/>
              <a:gd name="connsiteX1599" fmla="*/ 1091569 w 1970753"/>
              <a:gd name="connsiteY1599" fmla="*/ 1136318 h 1651987"/>
              <a:gd name="connsiteX1600" fmla="*/ 1089285 w 1970753"/>
              <a:gd name="connsiteY1600" fmla="*/ 1140882 h 1651987"/>
              <a:gd name="connsiteX1601" fmla="*/ 1087002 w 1970753"/>
              <a:gd name="connsiteY1601" fmla="*/ 1140882 h 1651987"/>
              <a:gd name="connsiteX1602" fmla="*/ 1084718 w 1970753"/>
              <a:gd name="connsiteY1602" fmla="*/ 1143163 h 1651987"/>
              <a:gd name="connsiteX1603" fmla="*/ 1084718 w 1970753"/>
              <a:gd name="connsiteY1603" fmla="*/ 1145445 h 1651987"/>
              <a:gd name="connsiteX1604" fmla="*/ 1084718 w 1970753"/>
              <a:gd name="connsiteY1604" fmla="*/ 1147727 h 1651987"/>
              <a:gd name="connsiteX1605" fmla="*/ 1084718 w 1970753"/>
              <a:gd name="connsiteY1605" fmla="*/ 1150009 h 1651987"/>
              <a:gd name="connsiteX1606" fmla="*/ 1084718 w 1970753"/>
              <a:gd name="connsiteY1606" fmla="*/ 1152291 h 1651987"/>
              <a:gd name="connsiteX1607" fmla="*/ 1082434 w 1970753"/>
              <a:gd name="connsiteY1607" fmla="*/ 1152291 h 1651987"/>
              <a:gd name="connsiteX1608" fmla="*/ 1080141 w 1970753"/>
              <a:gd name="connsiteY1608" fmla="*/ 1154573 h 1651987"/>
              <a:gd name="connsiteX1609" fmla="*/ 1077867 w 1970753"/>
              <a:gd name="connsiteY1609" fmla="*/ 1154573 h 1651987"/>
              <a:gd name="connsiteX1610" fmla="*/ 1077867 w 1970753"/>
              <a:gd name="connsiteY1610" fmla="*/ 1152291 h 1651987"/>
              <a:gd name="connsiteX1611" fmla="*/ 1075584 w 1970753"/>
              <a:gd name="connsiteY1611" fmla="*/ 1152291 h 1651987"/>
              <a:gd name="connsiteX1612" fmla="*/ 1073300 w 1970753"/>
              <a:gd name="connsiteY1612" fmla="*/ 1152291 h 1651987"/>
              <a:gd name="connsiteX1613" fmla="*/ 1071016 w 1970753"/>
              <a:gd name="connsiteY1613" fmla="*/ 1154573 h 1651987"/>
              <a:gd name="connsiteX1614" fmla="*/ 1068733 w 1970753"/>
              <a:gd name="connsiteY1614" fmla="*/ 1154573 h 1651987"/>
              <a:gd name="connsiteX1615" fmla="*/ 1066449 w 1970753"/>
              <a:gd name="connsiteY1615" fmla="*/ 1156855 h 1651987"/>
              <a:gd name="connsiteX1616" fmla="*/ 1064165 w 1970753"/>
              <a:gd name="connsiteY1616" fmla="*/ 1159137 h 1651987"/>
              <a:gd name="connsiteX1617" fmla="*/ 1064165 w 1970753"/>
              <a:gd name="connsiteY1617" fmla="*/ 1163700 h 1651987"/>
              <a:gd name="connsiteX1618" fmla="*/ 1064165 w 1970753"/>
              <a:gd name="connsiteY1618" fmla="*/ 1168264 h 1651987"/>
              <a:gd name="connsiteX1619" fmla="*/ 1064165 w 1970753"/>
              <a:gd name="connsiteY1619" fmla="*/ 1170546 h 1651987"/>
              <a:gd name="connsiteX1620" fmla="*/ 1064165 w 1970753"/>
              <a:gd name="connsiteY1620" fmla="*/ 1172828 h 1651987"/>
              <a:gd name="connsiteX1621" fmla="*/ 1061882 w 1970753"/>
              <a:gd name="connsiteY1621" fmla="*/ 1172828 h 1651987"/>
              <a:gd name="connsiteX1622" fmla="*/ 1059598 w 1970753"/>
              <a:gd name="connsiteY1622" fmla="*/ 1172828 h 1651987"/>
              <a:gd name="connsiteX1623" fmla="*/ 1059598 w 1970753"/>
              <a:gd name="connsiteY1623" fmla="*/ 1170546 h 1651987"/>
              <a:gd name="connsiteX1624" fmla="*/ 1057305 w 1970753"/>
              <a:gd name="connsiteY1624" fmla="*/ 1170546 h 1651987"/>
              <a:gd name="connsiteX1625" fmla="*/ 1052738 w 1970753"/>
              <a:gd name="connsiteY1625" fmla="*/ 1170546 h 1651987"/>
              <a:gd name="connsiteX1626" fmla="*/ 1050455 w 1970753"/>
              <a:gd name="connsiteY1626" fmla="*/ 1172828 h 1651987"/>
              <a:gd name="connsiteX1627" fmla="*/ 1048180 w 1970753"/>
              <a:gd name="connsiteY1627" fmla="*/ 1172828 h 1651987"/>
              <a:gd name="connsiteX1628" fmla="*/ 1048180 w 1970753"/>
              <a:gd name="connsiteY1628" fmla="*/ 1175110 h 1651987"/>
              <a:gd name="connsiteX1629" fmla="*/ 1045887 w 1970753"/>
              <a:gd name="connsiteY1629" fmla="*/ 1177382 h 1651987"/>
              <a:gd name="connsiteX1630" fmla="*/ 1043613 w 1970753"/>
              <a:gd name="connsiteY1630" fmla="*/ 1179664 h 1651987"/>
              <a:gd name="connsiteX1631" fmla="*/ 1041320 w 1970753"/>
              <a:gd name="connsiteY1631" fmla="*/ 1181946 h 1651987"/>
              <a:gd name="connsiteX1632" fmla="*/ 1041320 w 1970753"/>
              <a:gd name="connsiteY1632" fmla="*/ 1179664 h 1651987"/>
              <a:gd name="connsiteX1633" fmla="*/ 1039036 w 1970753"/>
              <a:gd name="connsiteY1633" fmla="*/ 1179664 h 1651987"/>
              <a:gd name="connsiteX1634" fmla="*/ 1036753 w 1970753"/>
              <a:gd name="connsiteY1634" fmla="*/ 1177382 h 1651987"/>
              <a:gd name="connsiteX1635" fmla="*/ 1034469 w 1970753"/>
              <a:gd name="connsiteY1635" fmla="*/ 1177382 h 1651987"/>
              <a:gd name="connsiteX1636" fmla="*/ 1034469 w 1970753"/>
              <a:gd name="connsiteY1636" fmla="*/ 1179664 h 1651987"/>
              <a:gd name="connsiteX1637" fmla="*/ 1032186 w 1970753"/>
              <a:gd name="connsiteY1637" fmla="*/ 1179664 h 1651987"/>
              <a:gd name="connsiteX1638" fmla="*/ 1029902 w 1970753"/>
              <a:gd name="connsiteY1638" fmla="*/ 1181946 h 1651987"/>
              <a:gd name="connsiteX1639" fmla="*/ 1029902 w 1970753"/>
              <a:gd name="connsiteY1639" fmla="*/ 1184228 h 1651987"/>
              <a:gd name="connsiteX1640" fmla="*/ 1027618 w 1970753"/>
              <a:gd name="connsiteY1640" fmla="*/ 1184228 h 1651987"/>
              <a:gd name="connsiteX1641" fmla="*/ 1025335 w 1970753"/>
              <a:gd name="connsiteY1641" fmla="*/ 1186510 h 1651987"/>
              <a:gd name="connsiteX1642" fmla="*/ 1020768 w 1970753"/>
              <a:gd name="connsiteY1642" fmla="*/ 1184228 h 1651987"/>
              <a:gd name="connsiteX1643" fmla="*/ 1016201 w 1970753"/>
              <a:gd name="connsiteY1643" fmla="*/ 1184228 h 1651987"/>
              <a:gd name="connsiteX1644" fmla="*/ 1013917 w 1970753"/>
              <a:gd name="connsiteY1644" fmla="*/ 1184228 h 1651987"/>
              <a:gd name="connsiteX1645" fmla="*/ 1011633 w 1970753"/>
              <a:gd name="connsiteY1645" fmla="*/ 1184228 h 1651987"/>
              <a:gd name="connsiteX1646" fmla="*/ 1009350 w 1970753"/>
              <a:gd name="connsiteY1646" fmla="*/ 1184228 h 1651987"/>
              <a:gd name="connsiteX1647" fmla="*/ 1009350 w 1970753"/>
              <a:gd name="connsiteY1647" fmla="*/ 1186510 h 1651987"/>
              <a:gd name="connsiteX1648" fmla="*/ 1007066 w 1970753"/>
              <a:gd name="connsiteY1648" fmla="*/ 1186510 h 1651987"/>
              <a:gd name="connsiteX1649" fmla="*/ 1007066 w 1970753"/>
              <a:gd name="connsiteY1649" fmla="*/ 1188792 h 1651987"/>
              <a:gd name="connsiteX1650" fmla="*/ 1004782 w 1970753"/>
              <a:gd name="connsiteY1650" fmla="*/ 1188792 h 1651987"/>
              <a:gd name="connsiteX1651" fmla="*/ 1000215 w 1970753"/>
              <a:gd name="connsiteY1651" fmla="*/ 1188792 h 1651987"/>
              <a:gd name="connsiteX1652" fmla="*/ 997932 w 1970753"/>
              <a:gd name="connsiteY1652" fmla="*/ 1188792 h 1651987"/>
              <a:gd name="connsiteX1653" fmla="*/ 997932 w 1970753"/>
              <a:gd name="connsiteY1653" fmla="*/ 1191074 h 1651987"/>
              <a:gd name="connsiteX1654" fmla="*/ 997932 w 1970753"/>
              <a:gd name="connsiteY1654" fmla="*/ 1193355 h 1651987"/>
              <a:gd name="connsiteX1655" fmla="*/ 995648 w 1970753"/>
              <a:gd name="connsiteY1655" fmla="*/ 1193355 h 1651987"/>
              <a:gd name="connsiteX1656" fmla="*/ 995648 w 1970753"/>
              <a:gd name="connsiteY1656" fmla="*/ 1195637 h 1651987"/>
              <a:gd name="connsiteX1657" fmla="*/ 993365 w 1970753"/>
              <a:gd name="connsiteY1657" fmla="*/ 1200201 h 1651987"/>
              <a:gd name="connsiteX1658" fmla="*/ 988797 w 1970753"/>
              <a:gd name="connsiteY1658" fmla="*/ 1202483 h 1651987"/>
              <a:gd name="connsiteX1659" fmla="*/ 986514 w 1970753"/>
              <a:gd name="connsiteY1659" fmla="*/ 1204765 h 1651987"/>
              <a:gd name="connsiteX1660" fmla="*/ 984230 w 1970753"/>
              <a:gd name="connsiteY1660" fmla="*/ 1204765 h 1651987"/>
              <a:gd name="connsiteX1661" fmla="*/ 984230 w 1970753"/>
              <a:gd name="connsiteY1661" fmla="*/ 1202483 h 1651987"/>
              <a:gd name="connsiteX1662" fmla="*/ 981947 w 1970753"/>
              <a:gd name="connsiteY1662" fmla="*/ 1200201 h 1651987"/>
              <a:gd name="connsiteX1663" fmla="*/ 979663 w 1970753"/>
              <a:gd name="connsiteY1663" fmla="*/ 1200201 h 1651987"/>
              <a:gd name="connsiteX1664" fmla="*/ 977379 w 1970753"/>
              <a:gd name="connsiteY1664" fmla="*/ 1202483 h 1651987"/>
              <a:gd name="connsiteX1665" fmla="*/ 977379 w 1970753"/>
              <a:gd name="connsiteY1665" fmla="*/ 1207047 h 1651987"/>
              <a:gd name="connsiteX1666" fmla="*/ 977379 w 1970753"/>
              <a:gd name="connsiteY1666" fmla="*/ 1209329 h 1651987"/>
              <a:gd name="connsiteX1667" fmla="*/ 977379 w 1970753"/>
              <a:gd name="connsiteY1667" fmla="*/ 1211611 h 1651987"/>
              <a:gd name="connsiteX1668" fmla="*/ 977379 w 1970753"/>
              <a:gd name="connsiteY1668" fmla="*/ 1213893 h 1651987"/>
              <a:gd name="connsiteX1669" fmla="*/ 975096 w 1970753"/>
              <a:gd name="connsiteY1669" fmla="*/ 1213893 h 1651987"/>
              <a:gd name="connsiteX1670" fmla="*/ 972812 w 1970753"/>
              <a:gd name="connsiteY1670" fmla="*/ 1213893 h 1651987"/>
              <a:gd name="connsiteX1671" fmla="*/ 970528 w 1970753"/>
              <a:gd name="connsiteY1671" fmla="*/ 1211611 h 1651987"/>
              <a:gd name="connsiteX1672" fmla="*/ 970528 w 1970753"/>
              <a:gd name="connsiteY1672" fmla="*/ 1209329 h 1651987"/>
              <a:gd name="connsiteX1673" fmla="*/ 965961 w 1970753"/>
              <a:gd name="connsiteY1673" fmla="*/ 1207047 h 1651987"/>
              <a:gd name="connsiteX1674" fmla="*/ 963678 w 1970753"/>
              <a:gd name="connsiteY1674" fmla="*/ 1207047 h 1651987"/>
              <a:gd name="connsiteX1675" fmla="*/ 961394 w 1970753"/>
              <a:gd name="connsiteY1675" fmla="*/ 1209329 h 1651987"/>
              <a:gd name="connsiteX1676" fmla="*/ 963678 w 1970753"/>
              <a:gd name="connsiteY1676" fmla="*/ 1211611 h 1651987"/>
              <a:gd name="connsiteX1677" fmla="*/ 965961 w 1970753"/>
              <a:gd name="connsiteY1677" fmla="*/ 1216174 h 1651987"/>
              <a:gd name="connsiteX1678" fmla="*/ 965961 w 1970753"/>
              <a:gd name="connsiteY1678" fmla="*/ 1218456 h 1651987"/>
              <a:gd name="connsiteX1679" fmla="*/ 961394 w 1970753"/>
              <a:gd name="connsiteY1679" fmla="*/ 1220738 h 1651987"/>
              <a:gd name="connsiteX1680" fmla="*/ 970528 w 1970753"/>
              <a:gd name="connsiteY1680" fmla="*/ 1234430 h 1651987"/>
              <a:gd name="connsiteX1681" fmla="*/ 970528 w 1970753"/>
              <a:gd name="connsiteY1681" fmla="*/ 1236711 h 1651987"/>
              <a:gd name="connsiteX1682" fmla="*/ 972812 w 1970753"/>
              <a:gd name="connsiteY1682" fmla="*/ 1238994 h 1651987"/>
              <a:gd name="connsiteX1683" fmla="*/ 975096 w 1970753"/>
              <a:gd name="connsiteY1683" fmla="*/ 1241275 h 1651987"/>
              <a:gd name="connsiteX1684" fmla="*/ 979663 w 1970753"/>
              <a:gd name="connsiteY1684" fmla="*/ 1243557 h 1651987"/>
              <a:gd name="connsiteX1685" fmla="*/ 981947 w 1970753"/>
              <a:gd name="connsiteY1685" fmla="*/ 1245839 h 1651987"/>
              <a:gd name="connsiteX1686" fmla="*/ 986514 w 1970753"/>
              <a:gd name="connsiteY1686" fmla="*/ 1250403 h 1651987"/>
              <a:gd name="connsiteX1687" fmla="*/ 986514 w 1970753"/>
              <a:gd name="connsiteY1687" fmla="*/ 1252685 h 1651987"/>
              <a:gd name="connsiteX1688" fmla="*/ 986514 w 1970753"/>
              <a:gd name="connsiteY1688" fmla="*/ 1254967 h 1651987"/>
              <a:gd name="connsiteX1689" fmla="*/ 988797 w 1970753"/>
              <a:gd name="connsiteY1689" fmla="*/ 1257249 h 1651987"/>
              <a:gd name="connsiteX1690" fmla="*/ 993365 w 1970753"/>
              <a:gd name="connsiteY1690" fmla="*/ 1259530 h 1651987"/>
              <a:gd name="connsiteX1691" fmla="*/ 993365 w 1970753"/>
              <a:gd name="connsiteY1691" fmla="*/ 1264094 h 1651987"/>
              <a:gd name="connsiteX1692" fmla="*/ 995648 w 1970753"/>
              <a:gd name="connsiteY1692" fmla="*/ 1266376 h 1651987"/>
              <a:gd name="connsiteX1693" fmla="*/ 1002499 w 1970753"/>
              <a:gd name="connsiteY1693" fmla="*/ 1282350 h 1651987"/>
              <a:gd name="connsiteX1694" fmla="*/ 1004782 w 1970753"/>
              <a:gd name="connsiteY1694" fmla="*/ 1289195 h 1651987"/>
              <a:gd name="connsiteX1695" fmla="*/ 1007066 w 1970753"/>
              <a:gd name="connsiteY1695" fmla="*/ 1293759 h 1651987"/>
              <a:gd name="connsiteX1696" fmla="*/ 1009350 w 1970753"/>
              <a:gd name="connsiteY1696" fmla="*/ 1300605 h 1651987"/>
              <a:gd name="connsiteX1697" fmla="*/ 1013917 w 1970753"/>
              <a:gd name="connsiteY1697" fmla="*/ 1309732 h 1651987"/>
              <a:gd name="connsiteX1698" fmla="*/ 1018484 w 1970753"/>
              <a:gd name="connsiteY1698" fmla="*/ 1321142 h 1651987"/>
              <a:gd name="connsiteX1699" fmla="*/ 1020768 w 1970753"/>
              <a:gd name="connsiteY1699" fmla="*/ 1325706 h 1651987"/>
              <a:gd name="connsiteX1700" fmla="*/ 1025335 w 1970753"/>
              <a:gd name="connsiteY1700" fmla="*/ 1341669 h 1651987"/>
              <a:gd name="connsiteX1701" fmla="*/ 1027618 w 1970753"/>
              <a:gd name="connsiteY1701" fmla="*/ 1343951 h 1651987"/>
              <a:gd name="connsiteX1702" fmla="*/ 1027618 w 1970753"/>
              <a:gd name="connsiteY1702" fmla="*/ 1346233 h 1651987"/>
              <a:gd name="connsiteX1703" fmla="*/ 1032186 w 1970753"/>
              <a:gd name="connsiteY1703" fmla="*/ 1355361 h 1651987"/>
              <a:gd name="connsiteX1704" fmla="*/ 1029902 w 1970753"/>
              <a:gd name="connsiteY1704" fmla="*/ 1355361 h 1651987"/>
              <a:gd name="connsiteX1705" fmla="*/ 1032186 w 1970753"/>
              <a:gd name="connsiteY1705" fmla="*/ 1357642 h 1651987"/>
              <a:gd name="connsiteX1706" fmla="*/ 1036753 w 1970753"/>
              <a:gd name="connsiteY1706" fmla="*/ 1366770 h 1651987"/>
              <a:gd name="connsiteX1707" fmla="*/ 1036753 w 1970753"/>
              <a:gd name="connsiteY1707" fmla="*/ 1369052 h 1651987"/>
              <a:gd name="connsiteX1708" fmla="*/ 1039036 w 1970753"/>
              <a:gd name="connsiteY1708" fmla="*/ 1371334 h 1651987"/>
              <a:gd name="connsiteX1709" fmla="*/ 1041320 w 1970753"/>
              <a:gd name="connsiteY1709" fmla="*/ 1371334 h 1651987"/>
              <a:gd name="connsiteX1710" fmla="*/ 1048180 w 1970753"/>
              <a:gd name="connsiteY1710" fmla="*/ 1378179 h 1651987"/>
              <a:gd name="connsiteX1711" fmla="*/ 1050455 w 1970753"/>
              <a:gd name="connsiteY1711" fmla="*/ 1380462 h 1651987"/>
              <a:gd name="connsiteX1712" fmla="*/ 1055031 w 1970753"/>
              <a:gd name="connsiteY1712" fmla="*/ 1385025 h 1651987"/>
              <a:gd name="connsiteX1713" fmla="*/ 1057305 w 1970753"/>
              <a:gd name="connsiteY1713" fmla="*/ 1387307 h 1651987"/>
              <a:gd name="connsiteX1714" fmla="*/ 1059598 w 1970753"/>
              <a:gd name="connsiteY1714" fmla="*/ 1389589 h 1651987"/>
              <a:gd name="connsiteX1715" fmla="*/ 1064165 w 1970753"/>
              <a:gd name="connsiteY1715" fmla="*/ 1394153 h 1651987"/>
              <a:gd name="connsiteX1716" fmla="*/ 1064165 w 1970753"/>
              <a:gd name="connsiteY1716" fmla="*/ 1403280 h 1651987"/>
              <a:gd name="connsiteX1717" fmla="*/ 1066449 w 1970753"/>
              <a:gd name="connsiteY1717" fmla="*/ 1407844 h 1651987"/>
              <a:gd name="connsiteX1718" fmla="*/ 1066449 w 1970753"/>
              <a:gd name="connsiteY1718" fmla="*/ 1412408 h 1651987"/>
              <a:gd name="connsiteX1719" fmla="*/ 1068733 w 1970753"/>
              <a:gd name="connsiteY1719" fmla="*/ 1421535 h 1651987"/>
              <a:gd name="connsiteX1720" fmla="*/ 1071016 w 1970753"/>
              <a:gd name="connsiteY1720" fmla="*/ 1426099 h 1651987"/>
              <a:gd name="connsiteX1721" fmla="*/ 1071016 w 1970753"/>
              <a:gd name="connsiteY1721" fmla="*/ 1428381 h 1651987"/>
              <a:gd name="connsiteX1722" fmla="*/ 1082434 w 1970753"/>
              <a:gd name="connsiteY1722" fmla="*/ 1426099 h 1651987"/>
              <a:gd name="connsiteX1723" fmla="*/ 1093843 w 1970753"/>
              <a:gd name="connsiteY1723" fmla="*/ 1426099 h 1651987"/>
              <a:gd name="connsiteX1724" fmla="*/ 1096136 w 1970753"/>
              <a:gd name="connsiteY1724" fmla="*/ 1423818 h 1651987"/>
              <a:gd name="connsiteX1725" fmla="*/ 1098419 w 1970753"/>
              <a:gd name="connsiteY1725" fmla="*/ 1426099 h 1651987"/>
              <a:gd name="connsiteX1726" fmla="*/ 1100703 w 1970753"/>
              <a:gd name="connsiteY1726" fmla="*/ 1428381 h 1651987"/>
              <a:gd name="connsiteX1727" fmla="*/ 1100703 w 1970753"/>
              <a:gd name="connsiteY1727" fmla="*/ 1430663 h 1651987"/>
              <a:gd name="connsiteX1728" fmla="*/ 1098419 w 1970753"/>
              <a:gd name="connsiteY1728" fmla="*/ 1432945 h 1651987"/>
              <a:gd name="connsiteX1729" fmla="*/ 1098419 w 1970753"/>
              <a:gd name="connsiteY1729" fmla="*/ 1437509 h 1651987"/>
              <a:gd name="connsiteX1730" fmla="*/ 1096136 w 1970753"/>
              <a:gd name="connsiteY1730" fmla="*/ 1437509 h 1651987"/>
              <a:gd name="connsiteX1731" fmla="*/ 1096136 w 1970753"/>
              <a:gd name="connsiteY1731" fmla="*/ 1439791 h 1651987"/>
              <a:gd name="connsiteX1732" fmla="*/ 1093843 w 1970753"/>
              <a:gd name="connsiteY1732" fmla="*/ 1437509 h 1651987"/>
              <a:gd name="connsiteX1733" fmla="*/ 1093843 w 1970753"/>
              <a:gd name="connsiteY1733" fmla="*/ 1439791 h 1651987"/>
              <a:gd name="connsiteX1734" fmla="*/ 1091569 w 1970753"/>
              <a:gd name="connsiteY1734" fmla="*/ 1439791 h 1651987"/>
              <a:gd name="connsiteX1735" fmla="*/ 1093843 w 1970753"/>
              <a:gd name="connsiteY1735" fmla="*/ 1442073 h 1651987"/>
              <a:gd name="connsiteX1736" fmla="*/ 1093843 w 1970753"/>
              <a:gd name="connsiteY1736" fmla="*/ 1444355 h 1651987"/>
              <a:gd name="connsiteX1737" fmla="*/ 1091569 w 1970753"/>
              <a:gd name="connsiteY1737" fmla="*/ 1446636 h 1651987"/>
              <a:gd name="connsiteX1738" fmla="*/ 1089285 w 1970753"/>
              <a:gd name="connsiteY1738" fmla="*/ 1446636 h 1651987"/>
              <a:gd name="connsiteX1739" fmla="*/ 1087002 w 1970753"/>
              <a:gd name="connsiteY1739" fmla="*/ 1446636 h 1651987"/>
              <a:gd name="connsiteX1740" fmla="*/ 1087002 w 1970753"/>
              <a:gd name="connsiteY1740" fmla="*/ 1448918 h 1651987"/>
              <a:gd name="connsiteX1741" fmla="*/ 1084718 w 1970753"/>
              <a:gd name="connsiteY1741" fmla="*/ 1458046 h 1651987"/>
              <a:gd name="connsiteX1742" fmla="*/ 1084718 w 1970753"/>
              <a:gd name="connsiteY1742" fmla="*/ 1464891 h 1651987"/>
              <a:gd name="connsiteX1743" fmla="*/ 1084718 w 1970753"/>
              <a:gd name="connsiteY1743" fmla="*/ 1474019 h 1651987"/>
              <a:gd name="connsiteX1744" fmla="*/ 1084718 w 1970753"/>
              <a:gd name="connsiteY1744" fmla="*/ 1476301 h 1651987"/>
              <a:gd name="connsiteX1745" fmla="*/ 1091569 w 1970753"/>
              <a:gd name="connsiteY1745" fmla="*/ 1480865 h 1651987"/>
              <a:gd name="connsiteX1746" fmla="*/ 1093843 w 1970753"/>
              <a:gd name="connsiteY1746" fmla="*/ 1483147 h 1651987"/>
              <a:gd name="connsiteX1747" fmla="*/ 1093843 w 1970753"/>
              <a:gd name="connsiteY1747" fmla="*/ 1485429 h 1651987"/>
              <a:gd name="connsiteX1748" fmla="*/ 1091569 w 1970753"/>
              <a:gd name="connsiteY1748" fmla="*/ 1487701 h 1651987"/>
              <a:gd name="connsiteX1749" fmla="*/ 1096136 w 1970753"/>
              <a:gd name="connsiteY1749" fmla="*/ 1492265 h 1651987"/>
              <a:gd name="connsiteX1750" fmla="*/ 1093843 w 1970753"/>
              <a:gd name="connsiteY1750" fmla="*/ 1496829 h 1651987"/>
              <a:gd name="connsiteX1751" fmla="*/ 1091569 w 1970753"/>
              <a:gd name="connsiteY1751" fmla="*/ 1496829 h 1651987"/>
              <a:gd name="connsiteX1752" fmla="*/ 1091569 w 1970753"/>
              <a:gd name="connsiteY1752" fmla="*/ 1499111 h 1651987"/>
              <a:gd name="connsiteX1753" fmla="*/ 1091569 w 1970753"/>
              <a:gd name="connsiteY1753" fmla="*/ 1501393 h 1651987"/>
              <a:gd name="connsiteX1754" fmla="*/ 1087002 w 1970753"/>
              <a:gd name="connsiteY1754" fmla="*/ 1501393 h 1651987"/>
              <a:gd name="connsiteX1755" fmla="*/ 1084718 w 1970753"/>
              <a:gd name="connsiteY1755" fmla="*/ 1501393 h 1651987"/>
              <a:gd name="connsiteX1756" fmla="*/ 1082434 w 1970753"/>
              <a:gd name="connsiteY1756" fmla="*/ 1499111 h 1651987"/>
              <a:gd name="connsiteX1757" fmla="*/ 1080141 w 1970753"/>
              <a:gd name="connsiteY1757" fmla="*/ 1499111 h 1651987"/>
              <a:gd name="connsiteX1758" fmla="*/ 1080141 w 1970753"/>
              <a:gd name="connsiteY1758" fmla="*/ 1501393 h 1651987"/>
              <a:gd name="connsiteX1759" fmla="*/ 1077867 w 1970753"/>
              <a:gd name="connsiteY1759" fmla="*/ 1501393 h 1651987"/>
              <a:gd name="connsiteX1760" fmla="*/ 1075584 w 1970753"/>
              <a:gd name="connsiteY1760" fmla="*/ 1501393 h 1651987"/>
              <a:gd name="connsiteX1761" fmla="*/ 1075584 w 1970753"/>
              <a:gd name="connsiteY1761" fmla="*/ 1503674 h 1651987"/>
              <a:gd name="connsiteX1762" fmla="*/ 1077867 w 1970753"/>
              <a:gd name="connsiteY1762" fmla="*/ 1503674 h 1651987"/>
              <a:gd name="connsiteX1763" fmla="*/ 1080141 w 1970753"/>
              <a:gd name="connsiteY1763" fmla="*/ 1503674 h 1651987"/>
              <a:gd name="connsiteX1764" fmla="*/ 1080141 w 1970753"/>
              <a:gd name="connsiteY1764" fmla="*/ 1505956 h 1651987"/>
              <a:gd name="connsiteX1765" fmla="*/ 1082434 w 1970753"/>
              <a:gd name="connsiteY1765" fmla="*/ 1505956 h 1651987"/>
              <a:gd name="connsiteX1766" fmla="*/ 1082434 w 1970753"/>
              <a:gd name="connsiteY1766" fmla="*/ 1508238 h 1651987"/>
              <a:gd name="connsiteX1767" fmla="*/ 1082434 w 1970753"/>
              <a:gd name="connsiteY1767" fmla="*/ 1510520 h 1651987"/>
              <a:gd name="connsiteX1768" fmla="*/ 1080141 w 1970753"/>
              <a:gd name="connsiteY1768" fmla="*/ 1512802 h 1651987"/>
              <a:gd name="connsiteX1769" fmla="*/ 1082434 w 1970753"/>
              <a:gd name="connsiteY1769" fmla="*/ 1515084 h 1651987"/>
              <a:gd name="connsiteX1770" fmla="*/ 1082434 w 1970753"/>
              <a:gd name="connsiteY1770" fmla="*/ 1517366 h 1651987"/>
              <a:gd name="connsiteX1771" fmla="*/ 1082434 w 1970753"/>
              <a:gd name="connsiteY1771" fmla="*/ 1519648 h 1651987"/>
              <a:gd name="connsiteX1772" fmla="*/ 1084718 w 1970753"/>
              <a:gd name="connsiteY1772" fmla="*/ 1519648 h 1651987"/>
              <a:gd name="connsiteX1773" fmla="*/ 1087002 w 1970753"/>
              <a:gd name="connsiteY1773" fmla="*/ 1519648 h 1651987"/>
              <a:gd name="connsiteX1774" fmla="*/ 1087002 w 1970753"/>
              <a:gd name="connsiteY1774" fmla="*/ 1517366 h 1651987"/>
              <a:gd name="connsiteX1775" fmla="*/ 1087002 w 1970753"/>
              <a:gd name="connsiteY1775" fmla="*/ 1515084 h 1651987"/>
              <a:gd name="connsiteX1776" fmla="*/ 1089285 w 1970753"/>
              <a:gd name="connsiteY1776" fmla="*/ 1512802 h 1651987"/>
              <a:gd name="connsiteX1777" fmla="*/ 1091569 w 1970753"/>
              <a:gd name="connsiteY1777" fmla="*/ 1512802 h 1651987"/>
              <a:gd name="connsiteX1778" fmla="*/ 1091569 w 1970753"/>
              <a:gd name="connsiteY1778" fmla="*/ 1515084 h 1651987"/>
              <a:gd name="connsiteX1779" fmla="*/ 1093843 w 1970753"/>
              <a:gd name="connsiteY1779" fmla="*/ 1515084 h 1651987"/>
              <a:gd name="connsiteX1780" fmla="*/ 1093843 w 1970753"/>
              <a:gd name="connsiteY1780" fmla="*/ 1517366 h 1651987"/>
              <a:gd name="connsiteX1781" fmla="*/ 1091569 w 1970753"/>
              <a:gd name="connsiteY1781" fmla="*/ 1519648 h 1651987"/>
              <a:gd name="connsiteX1782" fmla="*/ 1093843 w 1970753"/>
              <a:gd name="connsiteY1782" fmla="*/ 1519648 h 1651987"/>
              <a:gd name="connsiteX1783" fmla="*/ 1093843 w 1970753"/>
              <a:gd name="connsiteY1783" fmla="*/ 1521930 h 1651987"/>
              <a:gd name="connsiteX1784" fmla="*/ 1096136 w 1970753"/>
              <a:gd name="connsiteY1784" fmla="*/ 1521930 h 1651987"/>
              <a:gd name="connsiteX1785" fmla="*/ 1096136 w 1970753"/>
              <a:gd name="connsiteY1785" fmla="*/ 1524211 h 1651987"/>
              <a:gd name="connsiteX1786" fmla="*/ 1093843 w 1970753"/>
              <a:gd name="connsiteY1786" fmla="*/ 1524211 h 1651987"/>
              <a:gd name="connsiteX1787" fmla="*/ 1096136 w 1970753"/>
              <a:gd name="connsiteY1787" fmla="*/ 1526493 h 1651987"/>
              <a:gd name="connsiteX1788" fmla="*/ 1096136 w 1970753"/>
              <a:gd name="connsiteY1788" fmla="*/ 1528775 h 1651987"/>
              <a:gd name="connsiteX1789" fmla="*/ 1093843 w 1970753"/>
              <a:gd name="connsiteY1789" fmla="*/ 1528775 h 1651987"/>
              <a:gd name="connsiteX1790" fmla="*/ 1091569 w 1970753"/>
              <a:gd name="connsiteY1790" fmla="*/ 1528775 h 1651987"/>
              <a:gd name="connsiteX1791" fmla="*/ 1089285 w 1970753"/>
              <a:gd name="connsiteY1791" fmla="*/ 1531057 h 1651987"/>
              <a:gd name="connsiteX1792" fmla="*/ 1087002 w 1970753"/>
              <a:gd name="connsiteY1792" fmla="*/ 1531057 h 1651987"/>
              <a:gd name="connsiteX1793" fmla="*/ 1087002 w 1970753"/>
              <a:gd name="connsiteY1793" fmla="*/ 1533339 h 1651987"/>
              <a:gd name="connsiteX1794" fmla="*/ 1084718 w 1970753"/>
              <a:gd name="connsiteY1794" fmla="*/ 1533339 h 1651987"/>
              <a:gd name="connsiteX1795" fmla="*/ 1082434 w 1970753"/>
              <a:gd name="connsiteY1795" fmla="*/ 1533339 h 1651987"/>
              <a:gd name="connsiteX1796" fmla="*/ 1082434 w 1970753"/>
              <a:gd name="connsiteY1796" fmla="*/ 1531057 h 1651987"/>
              <a:gd name="connsiteX1797" fmla="*/ 1080141 w 1970753"/>
              <a:gd name="connsiteY1797" fmla="*/ 1531057 h 1651987"/>
              <a:gd name="connsiteX1798" fmla="*/ 1077867 w 1970753"/>
              <a:gd name="connsiteY1798" fmla="*/ 1531057 h 1651987"/>
              <a:gd name="connsiteX1799" fmla="*/ 1075584 w 1970753"/>
              <a:gd name="connsiteY1799" fmla="*/ 1531057 h 1651987"/>
              <a:gd name="connsiteX1800" fmla="*/ 1075584 w 1970753"/>
              <a:gd name="connsiteY1800" fmla="*/ 1528775 h 1651987"/>
              <a:gd name="connsiteX1801" fmla="*/ 1073300 w 1970753"/>
              <a:gd name="connsiteY1801" fmla="*/ 1528775 h 1651987"/>
              <a:gd name="connsiteX1802" fmla="*/ 1073300 w 1970753"/>
              <a:gd name="connsiteY1802" fmla="*/ 1531057 h 1651987"/>
              <a:gd name="connsiteX1803" fmla="*/ 1073300 w 1970753"/>
              <a:gd name="connsiteY1803" fmla="*/ 1533339 h 1651987"/>
              <a:gd name="connsiteX1804" fmla="*/ 1071016 w 1970753"/>
              <a:gd name="connsiteY1804" fmla="*/ 1533339 h 1651987"/>
              <a:gd name="connsiteX1805" fmla="*/ 1071016 w 1970753"/>
              <a:gd name="connsiteY1805" fmla="*/ 1535621 h 1651987"/>
              <a:gd name="connsiteX1806" fmla="*/ 1071016 w 1970753"/>
              <a:gd name="connsiteY1806" fmla="*/ 1537903 h 1651987"/>
              <a:gd name="connsiteX1807" fmla="*/ 1068733 w 1970753"/>
              <a:gd name="connsiteY1807" fmla="*/ 1537903 h 1651987"/>
              <a:gd name="connsiteX1808" fmla="*/ 1066449 w 1970753"/>
              <a:gd name="connsiteY1808" fmla="*/ 1537903 h 1651987"/>
              <a:gd name="connsiteX1809" fmla="*/ 1066449 w 1970753"/>
              <a:gd name="connsiteY1809" fmla="*/ 1540185 h 1651987"/>
              <a:gd name="connsiteX1810" fmla="*/ 1068733 w 1970753"/>
              <a:gd name="connsiteY1810" fmla="*/ 1540185 h 1651987"/>
              <a:gd name="connsiteX1811" fmla="*/ 1068733 w 1970753"/>
              <a:gd name="connsiteY1811" fmla="*/ 1542467 h 1651987"/>
              <a:gd name="connsiteX1812" fmla="*/ 1071016 w 1970753"/>
              <a:gd name="connsiteY1812" fmla="*/ 1542467 h 1651987"/>
              <a:gd name="connsiteX1813" fmla="*/ 1073300 w 1970753"/>
              <a:gd name="connsiteY1813" fmla="*/ 1542467 h 1651987"/>
              <a:gd name="connsiteX1814" fmla="*/ 1075584 w 1970753"/>
              <a:gd name="connsiteY1814" fmla="*/ 1542467 h 1651987"/>
              <a:gd name="connsiteX1815" fmla="*/ 1077867 w 1970753"/>
              <a:gd name="connsiteY1815" fmla="*/ 1542467 h 1651987"/>
              <a:gd name="connsiteX1816" fmla="*/ 1080141 w 1970753"/>
              <a:gd name="connsiteY1816" fmla="*/ 1540185 h 1651987"/>
              <a:gd name="connsiteX1817" fmla="*/ 1080141 w 1970753"/>
              <a:gd name="connsiteY1817" fmla="*/ 1542467 h 1651987"/>
              <a:gd name="connsiteX1818" fmla="*/ 1082434 w 1970753"/>
              <a:gd name="connsiteY1818" fmla="*/ 1542467 h 1651987"/>
              <a:gd name="connsiteX1819" fmla="*/ 1082434 w 1970753"/>
              <a:gd name="connsiteY1819" fmla="*/ 1544748 h 1651987"/>
              <a:gd name="connsiteX1820" fmla="*/ 1082434 w 1970753"/>
              <a:gd name="connsiteY1820" fmla="*/ 1547030 h 1651987"/>
              <a:gd name="connsiteX1821" fmla="*/ 1080141 w 1970753"/>
              <a:gd name="connsiteY1821" fmla="*/ 1547030 h 1651987"/>
              <a:gd name="connsiteX1822" fmla="*/ 1077867 w 1970753"/>
              <a:gd name="connsiteY1822" fmla="*/ 1547030 h 1651987"/>
              <a:gd name="connsiteX1823" fmla="*/ 1077867 w 1970753"/>
              <a:gd name="connsiteY1823" fmla="*/ 1549312 h 1651987"/>
              <a:gd name="connsiteX1824" fmla="*/ 1075584 w 1970753"/>
              <a:gd name="connsiteY1824" fmla="*/ 1549312 h 1651987"/>
              <a:gd name="connsiteX1825" fmla="*/ 1075584 w 1970753"/>
              <a:gd name="connsiteY1825" fmla="*/ 1551594 h 1651987"/>
              <a:gd name="connsiteX1826" fmla="*/ 1073300 w 1970753"/>
              <a:gd name="connsiteY1826" fmla="*/ 1551594 h 1651987"/>
              <a:gd name="connsiteX1827" fmla="*/ 1071016 w 1970753"/>
              <a:gd name="connsiteY1827" fmla="*/ 1551594 h 1651987"/>
              <a:gd name="connsiteX1828" fmla="*/ 1068733 w 1970753"/>
              <a:gd name="connsiteY1828" fmla="*/ 1549312 h 1651987"/>
              <a:gd name="connsiteX1829" fmla="*/ 1066449 w 1970753"/>
              <a:gd name="connsiteY1829" fmla="*/ 1549312 h 1651987"/>
              <a:gd name="connsiteX1830" fmla="*/ 1064165 w 1970753"/>
              <a:gd name="connsiteY1830" fmla="*/ 1549312 h 1651987"/>
              <a:gd name="connsiteX1831" fmla="*/ 1064165 w 1970753"/>
              <a:gd name="connsiteY1831" fmla="*/ 1547030 h 1651987"/>
              <a:gd name="connsiteX1832" fmla="*/ 1061882 w 1970753"/>
              <a:gd name="connsiteY1832" fmla="*/ 1547030 h 1651987"/>
              <a:gd name="connsiteX1833" fmla="*/ 1059598 w 1970753"/>
              <a:gd name="connsiteY1833" fmla="*/ 1547030 h 1651987"/>
              <a:gd name="connsiteX1834" fmla="*/ 1059598 w 1970753"/>
              <a:gd name="connsiteY1834" fmla="*/ 1549312 h 1651987"/>
              <a:gd name="connsiteX1835" fmla="*/ 1057305 w 1970753"/>
              <a:gd name="connsiteY1835" fmla="*/ 1549312 h 1651987"/>
              <a:gd name="connsiteX1836" fmla="*/ 1057305 w 1970753"/>
              <a:gd name="connsiteY1836" fmla="*/ 1551594 h 1651987"/>
              <a:gd name="connsiteX1837" fmla="*/ 1057305 w 1970753"/>
              <a:gd name="connsiteY1837" fmla="*/ 1553876 h 1651987"/>
              <a:gd name="connsiteX1838" fmla="*/ 1055031 w 1970753"/>
              <a:gd name="connsiteY1838" fmla="*/ 1553876 h 1651987"/>
              <a:gd name="connsiteX1839" fmla="*/ 1057305 w 1970753"/>
              <a:gd name="connsiteY1839" fmla="*/ 1553876 h 1651987"/>
              <a:gd name="connsiteX1840" fmla="*/ 1055031 w 1970753"/>
              <a:gd name="connsiteY1840" fmla="*/ 1553876 h 1651987"/>
              <a:gd name="connsiteX1841" fmla="*/ 1057305 w 1970753"/>
              <a:gd name="connsiteY1841" fmla="*/ 1553876 h 1651987"/>
              <a:gd name="connsiteX1842" fmla="*/ 1057305 w 1970753"/>
              <a:gd name="connsiteY1842" fmla="*/ 1556158 h 1651987"/>
              <a:gd name="connsiteX1843" fmla="*/ 1059598 w 1970753"/>
              <a:gd name="connsiteY1843" fmla="*/ 1556158 h 1651987"/>
              <a:gd name="connsiteX1844" fmla="*/ 1059598 w 1970753"/>
              <a:gd name="connsiteY1844" fmla="*/ 1558440 h 1651987"/>
              <a:gd name="connsiteX1845" fmla="*/ 1061882 w 1970753"/>
              <a:gd name="connsiteY1845" fmla="*/ 1558440 h 1651987"/>
              <a:gd name="connsiteX1846" fmla="*/ 1064165 w 1970753"/>
              <a:gd name="connsiteY1846" fmla="*/ 1558440 h 1651987"/>
              <a:gd name="connsiteX1847" fmla="*/ 1064165 w 1970753"/>
              <a:gd name="connsiteY1847" fmla="*/ 1560722 h 1651987"/>
              <a:gd name="connsiteX1848" fmla="*/ 1066449 w 1970753"/>
              <a:gd name="connsiteY1848" fmla="*/ 1560722 h 1651987"/>
              <a:gd name="connsiteX1849" fmla="*/ 1066449 w 1970753"/>
              <a:gd name="connsiteY1849" fmla="*/ 1563004 h 1651987"/>
              <a:gd name="connsiteX1850" fmla="*/ 1068733 w 1970753"/>
              <a:gd name="connsiteY1850" fmla="*/ 1563004 h 1651987"/>
              <a:gd name="connsiteX1851" fmla="*/ 1068733 w 1970753"/>
              <a:gd name="connsiteY1851" fmla="*/ 1565286 h 1651987"/>
              <a:gd name="connsiteX1852" fmla="*/ 1066449 w 1970753"/>
              <a:gd name="connsiteY1852" fmla="*/ 1565286 h 1651987"/>
              <a:gd name="connsiteX1853" fmla="*/ 1066449 w 1970753"/>
              <a:gd name="connsiteY1853" fmla="*/ 1567567 h 1651987"/>
              <a:gd name="connsiteX1854" fmla="*/ 1064165 w 1970753"/>
              <a:gd name="connsiteY1854" fmla="*/ 1567567 h 1651987"/>
              <a:gd name="connsiteX1855" fmla="*/ 1061882 w 1970753"/>
              <a:gd name="connsiteY1855" fmla="*/ 1567567 h 1651987"/>
              <a:gd name="connsiteX1856" fmla="*/ 1059598 w 1970753"/>
              <a:gd name="connsiteY1856" fmla="*/ 1567567 h 1651987"/>
              <a:gd name="connsiteX1857" fmla="*/ 1059598 w 1970753"/>
              <a:gd name="connsiteY1857" fmla="*/ 1569849 h 1651987"/>
              <a:gd name="connsiteX1858" fmla="*/ 1057305 w 1970753"/>
              <a:gd name="connsiteY1858" fmla="*/ 1569849 h 1651987"/>
              <a:gd name="connsiteX1859" fmla="*/ 1057305 w 1970753"/>
              <a:gd name="connsiteY1859" fmla="*/ 1572131 h 1651987"/>
              <a:gd name="connsiteX1860" fmla="*/ 1059598 w 1970753"/>
              <a:gd name="connsiteY1860" fmla="*/ 1572131 h 1651987"/>
              <a:gd name="connsiteX1861" fmla="*/ 1059598 w 1970753"/>
              <a:gd name="connsiteY1861" fmla="*/ 1574413 h 1651987"/>
              <a:gd name="connsiteX1862" fmla="*/ 1057305 w 1970753"/>
              <a:gd name="connsiteY1862" fmla="*/ 1576695 h 1651987"/>
              <a:gd name="connsiteX1863" fmla="*/ 1055031 w 1970753"/>
              <a:gd name="connsiteY1863" fmla="*/ 1576695 h 1651987"/>
              <a:gd name="connsiteX1864" fmla="*/ 1055031 w 1970753"/>
              <a:gd name="connsiteY1864" fmla="*/ 1574413 h 1651987"/>
              <a:gd name="connsiteX1865" fmla="*/ 1052738 w 1970753"/>
              <a:gd name="connsiteY1865" fmla="*/ 1574413 h 1651987"/>
              <a:gd name="connsiteX1866" fmla="*/ 1052738 w 1970753"/>
              <a:gd name="connsiteY1866" fmla="*/ 1572131 h 1651987"/>
              <a:gd name="connsiteX1867" fmla="*/ 1050455 w 1970753"/>
              <a:gd name="connsiteY1867" fmla="*/ 1572131 h 1651987"/>
              <a:gd name="connsiteX1868" fmla="*/ 1048180 w 1970753"/>
              <a:gd name="connsiteY1868" fmla="*/ 1572131 h 1651987"/>
              <a:gd name="connsiteX1869" fmla="*/ 1048180 w 1970753"/>
              <a:gd name="connsiteY1869" fmla="*/ 1574413 h 1651987"/>
              <a:gd name="connsiteX1870" fmla="*/ 1045887 w 1970753"/>
              <a:gd name="connsiteY1870" fmla="*/ 1574413 h 1651987"/>
              <a:gd name="connsiteX1871" fmla="*/ 1045887 w 1970753"/>
              <a:gd name="connsiteY1871" fmla="*/ 1572131 h 1651987"/>
              <a:gd name="connsiteX1872" fmla="*/ 1043613 w 1970753"/>
              <a:gd name="connsiteY1872" fmla="*/ 1572131 h 1651987"/>
              <a:gd name="connsiteX1873" fmla="*/ 1041320 w 1970753"/>
              <a:gd name="connsiteY1873" fmla="*/ 1572131 h 1651987"/>
              <a:gd name="connsiteX1874" fmla="*/ 1041320 w 1970753"/>
              <a:gd name="connsiteY1874" fmla="*/ 1569849 h 1651987"/>
              <a:gd name="connsiteX1875" fmla="*/ 1039036 w 1970753"/>
              <a:gd name="connsiteY1875" fmla="*/ 1569849 h 1651987"/>
              <a:gd name="connsiteX1876" fmla="*/ 1039036 w 1970753"/>
              <a:gd name="connsiteY1876" fmla="*/ 1567567 h 1651987"/>
              <a:gd name="connsiteX1877" fmla="*/ 1039036 w 1970753"/>
              <a:gd name="connsiteY1877" fmla="*/ 1565286 h 1651987"/>
              <a:gd name="connsiteX1878" fmla="*/ 1039036 w 1970753"/>
              <a:gd name="connsiteY1878" fmla="*/ 1563004 h 1651987"/>
              <a:gd name="connsiteX1879" fmla="*/ 1036753 w 1970753"/>
              <a:gd name="connsiteY1879" fmla="*/ 1563004 h 1651987"/>
              <a:gd name="connsiteX1880" fmla="*/ 1034469 w 1970753"/>
              <a:gd name="connsiteY1880" fmla="*/ 1565286 h 1651987"/>
              <a:gd name="connsiteX1881" fmla="*/ 1034469 w 1970753"/>
              <a:gd name="connsiteY1881" fmla="*/ 1567567 h 1651987"/>
              <a:gd name="connsiteX1882" fmla="*/ 1034469 w 1970753"/>
              <a:gd name="connsiteY1882" fmla="*/ 1569849 h 1651987"/>
              <a:gd name="connsiteX1883" fmla="*/ 1032186 w 1970753"/>
              <a:gd name="connsiteY1883" fmla="*/ 1572131 h 1651987"/>
              <a:gd name="connsiteX1884" fmla="*/ 1034469 w 1970753"/>
              <a:gd name="connsiteY1884" fmla="*/ 1574413 h 1651987"/>
              <a:gd name="connsiteX1885" fmla="*/ 1032186 w 1970753"/>
              <a:gd name="connsiteY1885" fmla="*/ 1576695 h 1651987"/>
              <a:gd name="connsiteX1886" fmla="*/ 1029902 w 1970753"/>
              <a:gd name="connsiteY1886" fmla="*/ 1576695 h 1651987"/>
              <a:gd name="connsiteX1887" fmla="*/ 1029902 w 1970753"/>
              <a:gd name="connsiteY1887" fmla="*/ 1574413 h 1651987"/>
              <a:gd name="connsiteX1888" fmla="*/ 1029902 w 1970753"/>
              <a:gd name="connsiteY1888" fmla="*/ 1572131 h 1651987"/>
              <a:gd name="connsiteX1889" fmla="*/ 1029902 w 1970753"/>
              <a:gd name="connsiteY1889" fmla="*/ 1569849 h 1651987"/>
              <a:gd name="connsiteX1890" fmla="*/ 1029902 w 1970753"/>
              <a:gd name="connsiteY1890" fmla="*/ 1567567 h 1651987"/>
              <a:gd name="connsiteX1891" fmla="*/ 1027618 w 1970753"/>
              <a:gd name="connsiteY1891" fmla="*/ 1567567 h 1651987"/>
              <a:gd name="connsiteX1892" fmla="*/ 1027618 w 1970753"/>
              <a:gd name="connsiteY1892" fmla="*/ 1565286 h 1651987"/>
              <a:gd name="connsiteX1893" fmla="*/ 1027618 w 1970753"/>
              <a:gd name="connsiteY1893" fmla="*/ 1567567 h 1651987"/>
              <a:gd name="connsiteX1894" fmla="*/ 1025335 w 1970753"/>
              <a:gd name="connsiteY1894" fmla="*/ 1567567 h 1651987"/>
              <a:gd name="connsiteX1895" fmla="*/ 1025335 w 1970753"/>
              <a:gd name="connsiteY1895" fmla="*/ 1569849 h 1651987"/>
              <a:gd name="connsiteX1896" fmla="*/ 1025335 w 1970753"/>
              <a:gd name="connsiteY1896" fmla="*/ 1572131 h 1651987"/>
              <a:gd name="connsiteX1897" fmla="*/ 1025335 w 1970753"/>
              <a:gd name="connsiteY1897" fmla="*/ 1574413 h 1651987"/>
              <a:gd name="connsiteX1898" fmla="*/ 1023051 w 1970753"/>
              <a:gd name="connsiteY1898" fmla="*/ 1574413 h 1651987"/>
              <a:gd name="connsiteX1899" fmla="*/ 1023051 w 1970753"/>
              <a:gd name="connsiteY1899" fmla="*/ 1576695 h 1651987"/>
              <a:gd name="connsiteX1900" fmla="*/ 1020768 w 1970753"/>
              <a:gd name="connsiteY1900" fmla="*/ 1578977 h 1651987"/>
              <a:gd name="connsiteX1901" fmla="*/ 1018484 w 1970753"/>
              <a:gd name="connsiteY1901" fmla="*/ 1581259 h 1651987"/>
              <a:gd name="connsiteX1902" fmla="*/ 1016201 w 1970753"/>
              <a:gd name="connsiteY1902" fmla="*/ 1581259 h 1651987"/>
              <a:gd name="connsiteX1903" fmla="*/ 1016201 w 1970753"/>
              <a:gd name="connsiteY1903" fmla="*/ 1578977 h 1651987"/>
              <a:gd name="connsiteX1904" fmla="*/ 1013917 w 1970753"/>
              <a:gd name="connsiteY1904" fmla="*/ 1578977 h 1651987"/>
              <a:gd name="connsiteX1905" fmla="*/ 1013917 w 1970753"/>
              <a:gd name="connsiteY1905" fmla="*/ 1576695 h 1651987"/>
              <a:gd name="connsiteX1906" fmla="*/ 1011633 w 1970753"/>
              <a:gd name="connsiteY1906" fmla="*/ 1576695 h 1651987"/>
              <a:gd name="connsiteX1907" fmla="*/ 1009350 w 1970753"/>
              <a:gd name="connsiteY1907" fmla="*/ 1576695 h 1651987"/>
              <a:gd name="connsiteX1908" fmla="*/ 1007066 w 1970753"/>
              <a:gd name="connsiteY1908" fmla="*/ 1576695 h 1651987"/>
              <a:gd name="connsiteX1909" fmla="*/ 1004782 w 1970753"/>
              <a:gd name="connsiteY1909" fmla="*/ 1576695 h 1651987"/>
              <a:gd name="connsiteX1910" fmla="*/ 1002499 w 1970753"/>
              <a:gd name="connsiteY1910" fmla="*/ 1576695 h 1651987"/>
              <a:gd name="connsiteX1911" fmla="*/ 1000215 w 1970753"/>
              <a:gd name="connsiteY1911" fmla="*/ 1574413 h 1651987"/>
              <a:gd name="connsiteX1912" fmla="*/ 997932 w 1970753"/>
              <a:gd name="connsiteY1912" fmla="*/ 1574413 h 1651987"/>
              <a:gd name="connsiteX1913" fmla="*/ 997932 w 1970753"/>
              <a:gd name="connsiteY1913" fmla="*/ 1576695 h 1651987"/>
              <a:gd name="connsiteX1914" fmla="*/ 997932 w 1970753"/>
              <a:gd name="connsiteY1914" fmla="*/ 1578977 h 1651987"/>
              <a:gd name="connsiteX1915" fmla="*/ 997932 w 1970753"/>
              <a:gd name="connsiteY1915" fmla="*/ 1581259 h 1651987"/>
              <a:gd name="connsiteX1916" fmla="*/ 1000215 w 1970753"/>
              <a:gd name="connsiteY1916" fmla="*/ 1581259 h 1651987"/>
              <a:gd name="connsiteX1917" fmla="*/ 1000215 w 1970753"/>
              <a:gd name="connsiteY1917" fmla="*/ 1583541 h 1651987"/>
              <a:gd name="connsiteX1918" fmla="*/ 1000215 w 1970753"/>
              <a:gd name="connsiteY1918" fmla="*/ 1585823 h 1651987"/>
              <a:gd name="connsiteX1919" fmla="*/ 997932 w 1970753"/>
              <a:gd name="connsiteY1919" fmla="*/ 1588104 h 1651987"/>
              <a:gd name="connsiteX1920" fmla="*/ 995648 w 1970753"/>
              <a:gd name="connsiteY1920" fmla="*/ 1588104 h 1651987"/>
              <a:gd name="connsiteX1921" fmla="*/ 993365 w 1970753"/>
              <a:gd name="connsiteY1921" fmla="*/ 1588104 h 1651987"/>
              <a:gd name="connsiteX1922" fmla="*/ 993365 w 1970753"/>
              <a:gd name="connsiteY1922" fmla="*/ 1590386 h 1651987"/>
              <a:gd name="connsiteX1923" fmla="*/ 993365 w 1970753"/>
              <a:gd name="connsiteY1923" fmla="*/ 1592668 h 1651987"/>
              <a:gd name="connsiteX1924" fmla="*/ 991081 w 1970753"/>
              <a:gd name="connsiteY1924" fmla="*/ 1592668 h 1651987"/>
              <a:gd name="connsiteX1925" fmla="*/ 991081 w 1970753"/>
              <a:gd name="connsiteY1925" fmla="*/ 1594950 h 1651987"/>
              <a:gd name="connsiteX1926" fmla="*/ 988797 w 1970753"/>
              <a:gd name="connsiteY1926" fmla="*/ 1594950 h 1651987"/>
              <a:gd name="connsiteX1927" fmla="*/ 986514 w 1970753"/>
              <a:gd name="connsiteY1927" fmla="*/ 1594950 h 1651987"/>
              <a:gd name="connsiteX1928" fmla="*/ 986514 w 1970753"/>
              <a:gd name="connsiteY1928" fmla="*/ 1592668 h 1651987"/>
              <a:gd name="connsiteX1929" fmla="*/ 984230 w 1970753"/>
              <a:gd name="connsiteY1929" fmla="*/ 1592668 h 1651987"/>
              <a:gd name="connsiteX1930" fmla="*/ 984230 w 1970753"/>
              <a:gd name="connsiteY1930" fmla="*/ 1590386 h 1651987"/>
              <a:gd name="connsiteX1931" fmla="*/ 981947 w 1970753"/>
              <a:gd name="connsiteY1931" fmla="*/ 1588104 h 1651987"/>
              <a:gd name="connsiteX1932" fmla="*/ 981947 w 1970753"/>
              <a:gd name="connsiteY1932" fmla="*/ 1585823 h 1651987"/>
              <a:gd name="connsiteX1933" fmla="*/ 984230 w 1970753"/>
              <a:gd name="connsiteY1933" fmla="*/ 1585823 h 1651987"/>
              <a:gd name="connsiteX1934" fmla="*/ 984230 w 1970753"/>
              <a:gd name="connsiteY1934" fmla="*/ 1583541 h 1651987"/>
              <a:gd name="connsiteX1935" fmla="*/ 981947 w 1970753"/>
              <a:gd name="connsiteY1935" fmla="*/ 1583541 h 1651987"/>
              <a:gd name="connsiteX1936" fmla="*/ 979663 w 1970753"/>
              <a:gd name="connsiteY1936" fmla="*/ 1583541 h 1651987"/>
              <a:gd name="connsiteX1937" fmla="*/ 977379 w 1970753"/>
              <a:gd name="connsiteY1937" fmla="*/ 1583541 h 1651987"/>
              <a:gd name="connsiteX1938" fmla="*/ 975096 w 1970753"/>
              <a:gd name="connsiteY1938" fmla="*/ 1583541 h 1651987"/>
              <a:gd name="connsiteX1939" fmla="*/ 972812 w 1970753"/>
              <a:gd name="connsiteY1939" fmla="*/ 1583541 h 1651987"/>
              <a:gd name="connsiteX1940" fmla="*/ 972812 w 1970753"/>
              <a:gd name="connsiteY1940" fmla="*/ 1585823 h 1651987"/>
              <a:gd name="connsiteX1941" fmla="*/ 970528 w 1970753"/>
              <a:gd name="connsiteY1941" fmla="*/ 1585823 h 1651987"/>
              <a:gd name="connsiteX1942" fmla="*/ 968245 w 1970753"/>
              <a:gd name="connsiteY1942" fmla="*/ 1585823 h 1651987"/>
              <a:gd name="connsiteX1943" fmla="*/ 965961 w 1970753"/>
              <a:gd name="connsiteY1943" fmla="*/ 1585823 h 1651987"/>
              <a:gd name="connsiteX1944" fmla="*/ 963678 w 1970753"/>
              <a:gd name="connsiteY1944" fmla="*/ 1585823 h 1651987"/>
              <a:gd name="connsiteX1945" fmla="*/ 961394 w 1970753"/>
              <a:gd name="connsiteY1945" fmla="*/ 1585823 h 1651987"/>
              <a:gd name="connsiteX1946" fmla="*/ 959111 w 1970753"/>
              <a:gd name="connsiteY1946" fmla="*/ 1585823 h 1651987"/>
              <a:gd name="connsiteX1947" fmla="*/ 956827 w 1970753"/>
              <a:gd name="connsiteY1947" fmla="*/ 1585823 h 1651987"/>
              <a:gd name="connsiteX1948" fmla="*/ 954543 w 1970753"/>
              <a:gd name="connsiteY1948" fmla="*/ 1585823 h 1651987"/>
              <a:gd name="connsiteX1949" fmla="*/ 952260 w 1970753"/>
              <a:gd name="connsiteY1949" fmla="*/ 1588104 h 1651987"/>
              <a:gd name="connsiteX1950" fmla="*/ 952260 w 1970753"/>
              <a:gd name="connsiteY1950" fmla="*/ 1590386 h 1651987"/>
              <a:gd name="connsiteX1951" fmla="*/ 949976 w 1970753"/>
              <a:gd name="connsiteY1951" fmla="*/ 1590386 h 1651987"/>
              <a:gd name="connsiteX1952" fmla="*/ 949976 w 1970753"/>
              <a:gd name="connsiteY1952" fmla="*/ 1592668 h 1651987"/>
              <a:gd name="connsiteX1953" fmla="*/ 952260 w 1970753"/>
              <a:gd name="connsiteY1953" fmla="*/ 1592668 h 1651987"/>
              <a:gd name="connsiteX1954" fmla="*/ 952260 w 1970753"/>
              <a:gd name="connsiteY1954" fmla="*/ 1594950 h 1651987"/>
              <a:gd name="connsiteX1955" fmla="*/ 954543 w 1970753"/>
              <a:gd name="connsiteY1955" fmla="*/ 1594950 h 1651987"/>
              <a:gd name="connsiteX1956" fmla="*/ 956827 w 1970753"/>
              <a:gd name="connsiteY1956" fmla="*/ 1594950 h 1651987"/>
              <a:gd name="connsiteX1957" fmla="*/ 956827 w 1970753"/>
              <a:gd name="connsiteY1957" fmla="*/ 1597232 h 1651987"/>
              <a:gd name="connsiteX1958" fmla="*/ 959111 w 1970753"/>
              <a:gd name="connsiteY1958" fmla="*/ 1597232 h 1651987"/>
              <a:gd name="connsiteX1959" fmla="*/ 959111 w 1970753"/>
              <a:gd name="connsiteY1959" fmla="*/ 1599514 h 1651987"/>
              <a:gd name="connsiteX1960" fmla="*/ 959111 w 1970753"/>
              <a:gd name="connsiteY1960" fmla="*/ 1601796 h 1651987"/>
              <a:gd name="connsiteX1961" fmla="*/ 961394 w 1970753"/>
              <a:gd name="connsiteY1961" fmla="*/ 1601796 h 1651987"/>
              <a:gd name="connsiteX1962" fmla="*/ 961394 w 1970753"/>
              <a:gd name="connsiteY1962" fmla="*/ 1604078 h 1651987"/>
              <a:gd name="connsiteX1963" fmla="*/ 963678 w 1970753"/>
              <a:gd name="connsiteY1963" fmla="*/ 1604078 h 1651987"/>
              <a:gd name="connsiteX1964" fmla="*/ 965961 w 1970753"/>
              <a:gd name="connsiteY1964" fmla="*/ 1604078 h 1651987"/>
              <a:gd name="connsiteX1965" fmla="*/ 965961 w 1970753"/>
              <a:gd name="connsiteY1965" fmla="*/ 1606360 h 1651987"/>
              <a:gd name="connsiteX1966" fmla="*/ 965961 w 1970753"/>
              <a:gd name="connsiteY1966" fmla="*/ 1608642 h 1651987"/>
              <a:gd name="connsiteX1967" fmla="*/ 965961 w 1970753"/>
              <a:gd name="connsiteY1967" fmla="*/ 1610923 h 1651987"/>
              <a:gd name="connsiteX1968" fmla="*/ 963678 w 1970753"/>
              <a:gd name="connsiteY1968" fmla="*/ 1610923 h 1651987"/>
              <a:gd name="connsiteX1969" fmla="*/ 963678 w 1970753"/>
              <a:gd name="connsiteY1969" fmla="*/ 1613205 h 1651987"/>
              <a:gd name="connsiteX1970" fmla="*/ 961394 w 1970753"/>
              <a:gd name="connsiteY1970" fmla="*/ 1613205 h 1651987"/>
              <a:gd name="connsiteX1971" fmla="*/ 961394 w 1970753"/>
              <a:gd name="connsiteY1971" fmla="*/ 1615487 h 1651987"/>
              <a:gd name="connsiteX1972" fmla="*/ 959111 w 1970753"/>
              <a:gd name="connsiteY1972" fmla="*/ 1615487 h 1651987"/>
              <a:gd name="connsiteX1973" fmla="*/ 956827 w 1970753"/>
              <a:gd name="connsiteY1973" fmla="*/ 1615487 h 1651987"/>
              <a:gd name="connsiteX1974" fmla="*/ 954543 w 1970753"/>
              <a:gd name="connsiteY1974" fmla="*/ 1615487 h 1651987"/>
              <a:gd name="connsiteX1975" fmla="*/ 954543 w 1970753"/>
              <a:gd name="connsiteY1975" fmla="*/ 1613205 h 1651987"/>
              <a:gd name="connsiteX1976" fmla="*/ 954543 w 1970753"/>
              <a:gd name="connsiteY1976" fmla="*/ 1610923 h 1651987"/>
              <a:gd name="connsiteX1977" fmla="*/ 952260 w 1970753"/>
              <a:gd name="connsiteY1977" fmla="*/ 1610923 h 1651987"/>
              <a:gd name="connsiteX1978" fmla="*/ 949976 w 1970753"/>
              <a:gd name="connsiteY1978" fmla="*/ 1610923 h 1651987"/>
              <a:gd name="connsiteX1979" fmla="*/ 947693 w 1970753"/>
              <a:gd name="connsiteY1979" fmla="*/ 1610923 h 1651987"/>
              <a:gd name="connsiteX1980" fmla="*/ 945409 w 1970753"/>
              <a:gd name="connsiteY1980" fmla="*/ 1610923 h 1651987"/>
              <a:gd name="connsiteX1981" fmla="*/ 943126 w 1970753"/>
              <a:gd name="connsiteY1981" fmla="*/ 1610923 h 1651987"/>
              <a:gd name="connsiteX1982" fmla="*/ 943126 w 1970753"/>
              <a:gd name="connsiteY1982" fmla="*/ 1613205 h 1651987"/>
              <a:gd name="connsiteX1983" fmla="*/ 940842 w 1970753"/>
              <a:gd name="connsiteY1983" fmla="*/ 1613205 h 1651987"/>
              <a:gd name="connsiteX1984" fmla="*/ 938558 w 1970753"/>
              <a:gd name="connsiteY1984" fmla="*/ 1613205 h 1651987"/>
              <a:gd name="connsiteX1985" fmla="*/ 936275 w 1970753"/>
              <a:gd name="connsiteY1985" fmla="*/ 1613205 h 1651987"/>
              <a:gd name="connsiteX1986" fmla="*/ 936275 w 1970753"/>
              <a:gd name="connsiteY1986" fmla="*/ 1615487 h 1651987"/>
              <a:gd name="connsiteX1987" fmla="*/ 933991 w 1970753"/>
              <a:gd name="connsiteY1987" fmla="*/ 1615487 h 1651987"/>
              <a:gd name="connsiteX1988" fmla="*/ 931707 w 1970753"/>
              <a:gd name="connsiteY1988" fmla="*/ 1615487 h 1651987"/>
              <a:gd name="connsiteX1989" fmla="*/ 931707 w 1970753"/>
              <a:gd name="connsiteY1989" fmla="*/ 1617769 h 1651987"/>
              <a:gd name="connsiteX1990" fmla="*/ 931707 w 1970753"/>
              <a:gd name="connsiteY1990" fmla="*/ 1620051 h 1651987"/>
              <a:gd name="connsiteX1991" fmla="*/ 929424 w 1970753"/>
              <a:gd name="connsiteY1991" fmla="*/ 1620051 h 1651987"/>
              <a:gd name="connsiteX1992" fmla="*/ 927140 w 1970753"/>
              <a:gd name="connsiteY1992" fmla="*/ 1620051 h 1651987"/>
              <a:gd name="connsiteX1993" fmla="*/ 927140 w 1970753"/>
              <a:gd name="connsiteY1993" fmla="*/ 1622333 h 1651987"/>
              <a:gd name="connsiteX1994" fmla="*/ 927140 w 1970753"/>
              <a:gd name="connsiteY1994" fmla="*/ 1624615 h 1651987"/>
              <a:gd name="connsiteX1995" fmla="*/ 929424 w 1970753"/>
              <a:gd name="connsiteY1995" fmla="*/ 1624615 h 1651987"/>
              <a:gd name="connsiteX1996" fmla="*/ 929424 w 1970753"/>
              <a:gd name="connsiteY1996" fmla="*/ 1626897 h 1651987"/>
              <a:gd name="connsiteX1997" fmla="*/ 929424 w 1970753"/>
              <a:gd name="connsiteY1997" fmla="*/ 1629179 h 1651987"/>
              <a:gd name="connsiteX1998" fmla="*/ 931707 w 1970753"/>
              <a:gd name="connsiteY1998" fmla="*/ 1629179 h 1651987"/>
              <a:gd name="connsiteX1999" fmla="*/ 931707 w 1970753"/>
              <a:gd name="connsiteY1999" fmla="*/ 1631460 h 1651987"/>
              <a:gd name="connsiteX2000" fmla="*/ 931707 w 1970753"/>
              <a:gd name="connsiteY2000" fmla="*/ 1633742 h 1651987"/>
              <a:gd name="connsiteX2001" fmla="*/ 933991 w 1970753"/>
              <a:gd name="connsiteY2001" fmla="*/ 1633742 h 1651987"/>
              <a:gd name="connsiteX2002" fmla="*/ 933991 w 1970753"/>
              <a:gd name="connsiteY2002" fmla="*/ 1636024 h 1651987"/>
              <a:gd name="connsiteX2003" fmla="*/ 931707 w 1970753"/>
              <a:gd name="connsiteY2003" fmla="*/ 1636024 h 1651987"/>
              <a:gd name="connsiteX2004" fmla="*/ 931707 w 1970753"/>
              <a:gd name="connsiteY2004" fmla="*/ 1638306 h 1651987"/>
              <a:gd name="connsiteX2005" fmla="*/ 929424 w 1970753"/>
              <a:gd name="connsiteY2005" fmla="*/ 1638306 h 1651987"/>
              <a:gd name="connsiteX2006" fmla="*/ 927140 w 1970753"/>
              <a:gd name="connsiteY2006" fmla="*/ 1638306 h 1651987"/>
              <a:gd name="connsiteX2007" fmla="*/ 927140 w 1970753"/>
              <a:gd name="connsiteY2007" fmla="*/ 1640588 h 1651987"/>
              <a:gd name="connsiteX2008" fmla="*/ 924857 w 1970753"/>
              <a:gd name="connsiteY2008" fmla="*/ 1640588 h 1651987"/>
              <a:gd name="connsiteX2009" fmla="*/ 924857 w 1970753"/>
              <a:gd name="connsiteY2009" fmla="*/ 1638306 h 1651987"/>
              <a:gd name="connsiteX2010" fmla="*/ 922573 w 1970753"/>
              <a:gd name="connsiteY2010" fmla="*/ 1638306 h 1651987"/>
              <a:gd name="connsiteX2011" fmla="*/ 920289 w 1970753"/>
              <a:gd name="connsiteY2011" fmla="*/ 1640588 h 1651987"/>
              <a:gd name="connsiteX2012" fmla="*/ 918006 w 1970753"/>
              <a:gd name="connsiteY2012" fmla="*/ 1640588 h 1651987"/>
              <a:gd name="connsiteX2013" fmla="*/ 915722 w 1970753"/>
              <a:gd name="connsiteY2013" fmla="*/ 1640588 h 1651987"/>
              <a:gd name="connsiteX2014" fmla="*/ 913439 w 1970753"/>
              <a:gd name="connsiteY2014" fmla="*/ 1640588 h 1651987"/>
              <a:gd name="connsiteX2015" fmla="*/ 913439 w 1970753"/>
              <a:gd name="connsiteY2015" fmla="*/ 1638306 h 1651987"/>
              <a:gd name="connsiteX2016" fmla="*/ 911155 w 1970753"/>
              <a:gd name="connsiteY2016" fmla="*/ 1638306 h 1651987"/>
              <a:gd name="connsiteX2017" fmla="*/ 911155 w 1970753"/>
              <a:gd name="connsiteY2017" fmla="*/ 1636024 h 1651987"/>
              <a:gd name="connsiteX2018" fmla="*/ 908872 w 1970753"/>
              <a:gd name="connsiteY2018" fmla="*/ 1636024 h 1651987"/>
              <a:gd name="connsiteX2019" fmla="*/ 908872 w 1970753"/>
              <a:gd name="connsiteY2019" fmla="*/ 1638306 h 1651987"/>
              <a:gd name="connsiteX2020" fmla="*/ 906588 w 1970753"/>
              <a:gd name="connsiteY2020" fmla="*/ 1638306 h 1651987"/>
              <a:gd name="connsiteX2021" fmla="*/ 906588 w 1970753"/>
              <a:gd name="connsiteY2021" fmla="*/ 1640588 h 1651987"/>
              <a:gd name="connsiteX2022" fmla="*/ 908872 w 1970753"/>
              <a:gd name="connsiteY2022" fmla="*/ 1640588 h 1651987"/>
              <a:gd name="connsiteX2023" fmla="*/ 908872 w 1970753"/>
              <a:gd name="connsiteY2023" fmla="*/ 1642870 h 1651987"/>
              <a:gd name="connsiteX2024" fmla="*/ 908872 w 1970753"/>
              <a:gd name="connsiteY2024" fmla="*/ 1645142 h 1651987"/>
              <a:gd name="connsiteX2025" fmla="*/ 906588 w 1970753"/>
              <a:gd name="connsiteY2025" fmla="*/ 1645142 h 1651987"/>
              <a:gd name="connsiteX2026" fmla="*/ 906588 w 1970753"/>
              <a:gd name="connsiteY2026" fmla="*/ 1647424 h 1651987"/>
              <a:gd name="connsiteX2027" fmla="*/ 904304 w 1970753"/>
              <a:gd name="connsiteY2027" fmla="*/ 1647424 h 1651987"/>
              <a:gd name="connsiteX2028" fmla="*/ 902021 w 1970753"/>
              <a:gd name="connsiteY2028" fmla="*/ 1647424 h 1651987"/>
              <a:gd name="connsiteX2029" fmla="*/ 899737 w 1970753"/>
              <a:gd name="connsiteY2029" fmla="*/ 1647424 h 1651987"/>
              <a:gd name="connsiteX2030" fmla="*/ 897453 w 1970753"/>
              <a:gd name="connsiteY2030" fmla="*/ 1647424 h 1651987"/>
              <a:gd name="connsiteX2031" fmla="*/ 895170 w 1970753"/>
              <a:gd name="connsiteY2031" fmla="*/ 1647424 h 1651987"/>
              <a:gd name="connsiteX2032" fmla="*/ 895170 w 1970753"/>
              <a:gd name="connsiteY2032" fmla="*/ 1645142 h 1651987"/>
              <a:gd name="connsiteX2033" fmla="*/ 895170 w 1970753"/>
              <a:gd name="connsiteY2033" fmla="*/ 1642870 h 1651987"/>
              <a:gd name="connsiteX2034" fmla="*/ 895170 w 1970753"/>
              <a:gd name="connsiteY2034" fmla="*/ 1640588 h 1651987"/>
              <a:gd name="connsiteX2035" fmla="*/ 892886 w 1970753"/>
              <a:gd name="connsiteY2035" fmla="*/ 1640588 h 1651987"/>
              <a:gd name="connsiteX2036" fmla="*/ 892886 w 1970753"/>
              <a:gd name="connsiteY2036" fmla="*/ 1638306 h 1651987"/>
              <a:gd name="connsiteX2037" fmla="*/ 890603 w 1970753"/>
              <a:gd name="connsiteY2037" fmla="*/ 1638306 h 1651987"/>
              <a:gd name="connsiteX2038" fmla="*/ 890603 w 1970753"/>
              <a:gd name="connsiteY2038" fmla="*/ 1636024 h 1651987"/>
              <a:gd name="connsiteX2039" fmla="*/ 888319 w 1970753"/>
              <a:gd name="connsiteY2039" fmla="*/ 1633742 h 1651987"/>
              <a:gd name="connsiteX2040" fmla="*/ 888319 w 1970753"/>
              <a:gd name="connsiteY2040" fmla="*/ 1631460 h 1651987"/>
              <a:gd name="connsiteX2041" fmla="*/ 886036 w 1970753"/>
              <a:gd name="connsiteY2041" fmla="*/ 1631460 h 1651987"/>
              <a:gd name="connsiteX2042" fmla="*/ 886036 w 1970753"/>
              <a:gd name="connsiteY2042" fmla="*/ 1629179 h 1651987"/>
              <a:gd name="connsiteX2043" fmla="*/ 883752 w 1970753"/>
              <a:gd name="connsiteY2043" fmla="*/ 1629179 h 1651987"/>
              <a:gd name="connsiteX2044" fmla="*/ 881468 w 1970753"/>
              <a:gd name="connsiteY2044" fmla="*/ 1629179 h 1651987"/>
              <a:gd name="connsiteX2045" fmla="*/ 879185 w 1970753"/>
              <a:gd name="connsiteY2045" fmla="*/ 1629179 h 1651987"/>
              <a:gd name="connsiteX2046" fmla="*/ 876901 w 1970753"/>
              <a:gd name="connsiteY2046" fmla="*/ 1629179 h 1651987"/>
              <a:gd name="connsiteX2047" fmla="*/ 876901 w 1970753"/>
              <a:gd name="connsiteY2047" fmla="*/ 1631460 h 1651987"/>
              <a:gd name="connsiteX2048" fmla="*/ 874618 w 1970753"/>
              <a:gd name="connsiteY2048" fmla="*/ 1631460 h 1651987"/>
              <a:gd name="connsiteX2049" fmla="*/ 872334 w 1970753"/>
              <a:gd name="connsiteY2049" fmla="*/ 1631460 h 1651987"/>
              <a:gd name="connsiteX2050" fmla="*/ 872334 w 1970753"/>
              <a:gd name="connsiteY2050" fmla="*/ 1633742 h 1651987"/>
              <a:gd name="connsiteX2051" fmla="*/ 870050 w 1970753"/>
              <a:gd name="connsiteY2051" fmla="*/ 1633742 h 1651987"/>
              <a:gd name="connsiteX2052" fmla="*/ 870050 w 1970753"/>
              <a:gd name="connsiteY2052" fmla="*/ 1636024 h 1651987"/>
              <a:gd name="connsiteX2053" fmla="*/ 867767 w 1970753"/>
              <a:gd name="connsiteY2053" fmla="*/ 1636024 h 1651987"/>
              <a:gd name="connsiteX2054" fmla="*/ 865483 w 1970753"/>
              <a:gd name="connsiteY2054" fmla="*/ 1636024 h 1651987"/>
              <a:gd name="connsiteX2055" fmla="*/ 865483 w 1970753"/>
              <a:gd name="connsiteY2055" fmla="*/ 1638306 h 1651987"/>
              <a:gd name="connsiteX2056" fmla="*/ 863199 w 1970753"/>
              <a:gd name="connsiteY2056" fmla="*/ 1638306 h 1651987"/>
              <a:gd name="connsiteX2057" fmla="*/ 863199 w 1970753"/>
              <a:gd name="connsiteY2057" fmla="*/ 1640588 h 1651987"/>
              <a:gd name="connsiteX2058" fmla="*/ 860916 w 1970753"/>
              <a:gd name="connsiteY2058" fmla="*/ 1640588 h 1651987"/>
              <a:gd name="connsiteX2059" fmla="*/ 860916 w 1970753"/>
              <a:gd name="connsiteY2059" fmla="*/ 1638306 h 1651987"/>
              <a:gd name="connsiteX2060" fmla="*/ 858632 w 1970753"/>
              <a:gd name="connsiteY2060" fmla="*/ 1638306 h 1651987"/>
              <a:gd name="connsiteX2061" fmla="*/ 856349 w 1970753"/>
              <a:gd name="connsiteY2061" fmla="*/ 1638306 h 1651987"/>
              <a:gd name="connsiteX2062" fmla="*/ 856349 w 1970753"/>
              <a:gd name="connsiteY2062" fmla="*/ 1640588 h 1651987"/>
              <a:gd name="connsiteX2063" fmla="*/ 854065 w 1970753"/>
              <a:gd name="connsiteY2063" fmla="*/ 1640588 h 1651987"/>
              <a:gd name="connsiteX2064" fmla="*/ 851782 w 1970753"/>
              <a:gd name="connsiteY2064" fmla="*/ 1640588 h 1651987"/>
              <a:gd name="connsiteX2065" fmla="*/ 851782 w 1970753"/>
              <a:gd name="connsiteY2065" fmla="*/ 1642870 h 1651987"/>
              <a:gd name="connsiteX2066" fmla="*/ 851782 w 1970753"/>
              <a:gd name="connsiteY2066" fmla="*/ 1645142 h 1651987"/>
              <a:gd name="connsiteX2067" fmla="*/ 849498 w 1970753"/>
              <a:gd name="connsiteY2067" fmla="*/ 1645142 h 1651987"/>
              <a:gd name="connsiteX2068" fmla="*/ 849498 w 1970753"/>
              <a:gd name="connsiteY2068" fmla="*/ 1647424 h 1651987"/>
              <a:gd name="connsiteX2069" fmla="*/ 847214 w 1970753"/>
              <a:gd name="connsiteY2069" fmla="*/ 1647424 h 1651987"/>
              <a:gd name="connsiteX2070" fmla="*/ 844931 w 1970753"/>
              <a:gd name="connsiteY2070" fmla="*/ 1647424 h 1651987"/>
              <a:gd name="connsiteX2071" fmla="*/ 844931 w 1970753"/>
              <a:gd name="connsiteY2071" fmla="*/ 1649706 h 1651987"/>
              <a:gd name="connsiteX2072" fmla="*/ 842647 w 1970753"/>
              <a:gd name="connsiteY2072" fmla="*/ 1649706 h 1651987"/>
              <a:gd name="connsiteX2073" fmla="*/ 840364 w 1970753"/>
              <a:gd name="connsiteY2073" fmla="*/ 1649706 h 1651987"/>
              <a:gd name="connsiteX2074" fmla="*/ 840364 w 1970753"/>
              <a:gd name="connsiteY2074" fmla="*/ 1647424 h 1651987"/>
              <a:gd name="connsiteX2075" fmla="*/ 838080 w 1970753"/>
              <a:gd name="connsiteY2075" fmla="*/ 1647424 h 1651987"/>
              <a:gd name="connsiteX2076" fmla="*/ 838080 w 1970753"/>
              <a:gd name="connsiteY2076" fmla="*/ 1645142 h 1651987"/>
              <a:gd name="connsiteX2077" fmla="*/ 838080 w 1970753"/>
              <a:gd name="connsiteY2077" fmla="*/ 1642870 h 1651987"/>
              <a:gd name="connsiteX2078" fmla="*/ 838080 w 1970753"/>
              <a:gd name="connsiteY2078" fmla="*/ 1640588 h 1651987"/>
              <a:gd name="connsiteX2079" fmla="*/ 835797 w 1970753"/>
              <a:gd name="connsiteY2079" fmla="*/ 1640588 h 1651987"/>
              <a:gd name="connsiteX2080" fmla="*/ 833513 w 1970753"/>
              <a:gd name="connsiteY2080" fmla="*/ 1640588 h 1651987"/>
              <a:gd name="connsiteX2081" fmla="*/ 833513 w 1970753"/>
              <a:gd name="connsiteY2081" fmla="*/ 1642870 h 1651987"/>
              <a:gd name="connsiteX2082" fmla="*/ 833513 w 1970753"/>
              <a:gd name="connsiteY2082" fmla="*/ 1645142 h 1651987"/>
              <a:gd name="connsiteX2083" fmla="*/ 831229 w 1970753"/>
              <a:gd name="connsiteY2083" fmla="*/ 1645142 h 1651987"/>
              <a:gd name="connsiteX2084" fmla="*/ 831229 w 1970753"/>
              <a:gd name="connsiteY2084" fmla="*/ 1647424 h 1651987"/>
              <a:gd name="connsiteX2085" fmla="*/ 828946 w 1970753"/>
              <a:gd name="connsiteY2085" fmla="*/ 1649706 h 1651987"/>
              <a:gd name="connsiteX2086" fmla="*/ 826662 w 1970753"/>
              <a:gd name="connsiteY2086" fmla="*/ 1649706 h 1651987"/>
              <a:gd name="connsiteX2087" fmla="*/ 824378 w 1970753"/>
              <a:gd name="connsiteY2087" fmla="*/ 1649706 h 1651987"/>
              <a:gd name="connsiteX2088" fmla="*/ 824378 w 1970753"/>
              <a:gd name="connsiteY2088" fmla="*/ 1651988 h 1651987"/>
              <a:gd name="connsiteX2089" fmla="*/ 822095 w 1970753"/>
              <a:gd name="connsiteY2089" fmla="*/ 1651988 h 1651987"/>
              <a:gd name="connsiteX2090" fmla="*/ 819811 w 1970753"/>
              <a:gd name="connsiteY2090" fmla="*/ 1651988 h 1651987"/>
              <a:gd name="connsiteX2091" fmla="*/ 819811 w 1970753"/>
              <a:gd name="connsiteY2091" fmla="*/ 1649706 h 1651987"/>
              <a:gd name="connsiteX2092" fmla="*/ 817528 w 1970753"/>
              <a:gd name="connsiteY2092" fmla="*/ 1649706 h 1651987"/>
              <a:gd name="connsiteX2093" fmla="*/ 817528 w 1970753"/>
              <a:gd name="connsiteY2093" fmla="*/ 1647424 h 1651987"/>
              <a:gd name="connsiteX2094" fmla="*/ 819811 w 1970753"/>
              <a:gd name="connsiteY2094" fmla="*/ 1647424 h 1651987"/>
              <a:gd name="connsiteX2095" fmla="*/ 819811 w 1970753"/>
              <a:gd name="connsiteY2095" fmla="*/ 1645142 h 1651987"/>
              <a:gd name="connsiteX2096" fmla="*/ 822095 w 1970753"/>
              <a:gd name="connsiteY2096" fmla="*/ 1645142 h 1651987"/>
              <a:gd name="connsiteX2097" fmla="*/ 822095 w 1970753"/>
              <a:gd name="connsiteY2097" fmla="*/ 1642870 h 1651987"/>
              <a:gd name="connsiteX2098" fmla="*/ 822095 w 1970753"/>
              <a:gd name="connsiteY2098" fmla="*/ 1640588 h 1651987"/>
              <a:gd name="connsiteX2099" fmla="*/ 822095 w 1970753"/>
              <a:gd name="connsiteY2099" fmla="*/ 1638306 h 1651987"/>
              <a:gd name="connsiteX2100" fmla="*/ 819811 w 1970753"/>
              <a:gd name="connsiteY2100" fmla="*/ 1638306 h 1651987"/>
              <a:gd name="connsiteX2101" fmla="*/ 817528 w 1970753"/>
              <a:gd name="connsiteY2101" fmla="*/ 1638306 h 1651987"/>
              <a:gd name="connsiteX2102" fmla="*/ 815244 w 1970753"/>
              <a:gd name="connsiteY2102" fmla="*/ 1638306 h 1651987"/>
              <a:gd name="connsiteX2103" fmla="*/ 812960 w 1970753"/>
              <a:gd name="connsiteY2103" fmla="*/ 1638306 h 1651987"/>
              <a:gd name="connsiteX2104" fmla="*/ 810677 w 1970753"/>
              <a:gd name="connsiteY2104" fmla="*/ 1638306 h 1651987"/>
              <a:gd name="connsiteX2105" fmla="*/ 808393 w 1970753"/>
              <a:gd name="connsiteY2105" fmla="*/ 1638306 h 1651987"/>
              <a:gd name="connsiteX2106" fmla="*/ 806110 w 1970753"/>
              <a:gd name="connsiteY2106" fmla="*/ 1638306 h 1651987"/>
              <a:gd name="connsiteX2107" fmla="*/ 803826 w 1970753"/>
              <a:gd name="connsiteY2107" fmla="*/ 1638306 h 1651987"/>
              <a:gd name="connsiteX2108" fmla="*/ 803826 w 1970753"/>
              <a:gd name="connsiteY2108" fmla="*/ 1640588 h 1651987"/>
              <a:gd name="connsiteX2109" fmla="*/ 801542 w 1970753"/>
              <a:gd name="connsiteY2109" fmla="*/ 1640588 h 1651987"/>
              <a:gd name="connsiteX2110" fmla="*/ 799259 w 1970753"/>
              <a:gd name="connsiteY2110" fmla="*/ 1640588 h 1651987"/>
              <a:gd name="connsiteX2111" fmla="*/ 796975 w 1970753"/>
              <a:gd name="connsiteY2111" fmla="*/ 1640588 h 1651987"/>
              <a:gd name="connsiteX2112" fmla="*/ 796975 w 1970753"/>
              <a:gd name="connsiteY2112" fmla="*/ 1638306 h 1651987"/>
              <a:gd name="connsiteX2113" fmla="*/ 794692 w 1970753"/>
              <a:gd name="connsiteY2113" fmla="*/ 1638306 h 1651987"/>
              <a:gd name="connsiteX2114" fmla="*/ 792408 w 1970753"/>
              <a:gd name="connsiteY2114" fmla="*/ 1638306 h 1651987"/>
              <a:gd name="connsiteX2115" fmla="*/ 790124 w 1970753"/>
              <a:gd name="connsiteY2115" fmla="*/ 1636024 h 1651987"/>
              <a:gd name="connsiteX2116" fmla="*/ 787841 w 1970753"/>
              <a:gd name="connsiteY2116" fmla="*/ 1636024 h 1651987"/>
              <a:gd name="connsiteX2117" fmla="*/ 787841 w 1970753"/>
              <a:gd name="connsiteY2117" fmla="*/ 1633742 h 1651987"/>
              <a:gd name="connsiteX2118" fmla="*/ 785557 w 1970753"/>
              <a:gd name="connsiteY2118" fmla="*/ 1633742 h 1651987"/>
              <a:gd name="connsiteX2119" fmla="*/ 785557 w 1970753"/>
              <a:gd name="connsiteY2119" fmla="*/ 1631460 h 1651987"/>
              <a:gd name="connsiteX2120" fmla="*/ 783274 w 1970753"/>
              <a:gd name="connsiteY2120" fmla="*/ 1631460 h 1651987"/>
              <a:gd name="connsiteX2121" fmla="*/ 783274 w 1970753"/>
              <a:gd name="connsiteY2121" fmla="*/ 1629179 h 1651987"/>
              <a:gd name="connsiteX2122" fmla="*/ 780990 w 1970753"/>
              <a:gd name="connsiteY2122" fmla="*/ 1629179 h 1651987"/>
              <a:gd name="connsiteX2123" fmla="*/ 778707 w 1970753"/>
              <a:gd name="connsiteY2123" fmla="*/ 1629179 h 1651987"/>
              <a:gd name="connsiteX2124" fmla="*/ 778707 w 1970753"/>
              <a:gd name="connsiteY2124" fmla="*/ 1626897 h 1651987"/>
              <a:gd name="connsiteX2125" fmla="*/ 776423 w 1970753"/>
              <a:gd name="connsiteY2125" fmla="*/ 1626897 h 1651987"/>
              <a:gd name="connsiteX2126" fmla="*/ 774139 w 1970753"/>
              <a:gd name="connsiteY2126" fmla="*/ 1626897 h 1651987"/>
              <a:gd name="connsiteX2127" fmla="*/ 774139 w 1970753"/>
              <a:gd name="connsiteY2127" fmla="*/ 1624615 h 1651987"/>
              <a:gd name="connsiteX2128" fmla="*/ 771856 w 1970753"/>
              <a:gd name="connsiteY2128" fmla="*/ 1624615 h 1651987"/>
              <a:gd name="connsiteX2129" fmla="*/ 769572 w 1970753"/>
              <a:gd name="connsiteY2129" fmla="*/ 1624615 h 1651987"/>
              <a:gd name="connsiteX2130" fmla="*/ 767288 w 1970753"/>
              <a:gd name="connsiteY2130" fmla="*/ 1624615 h 1651987"/>
              <a:gd name="connsiteX2131" fmla="*/ 767288 w 1970753"/>
              <a:gd name="connsiteY2131" fmla="*/ 1622333 h 1651987"/>
              <a:gd name="connsiteX2132" fmla="*/ 767288 w 1970753"/>
              <a:gd name="connsiteY2132" fmla="*/ 1620051 h 1651987"/>
              <a:gd name="connsiteX2133" fmla="*/ 769572 w 1970753"/>
              <a:gd name="connsiteY2133" fmla="*/ 1620051 h 1651987"/>
              <a:gd name="connsiteX2134" fmla="*/ 769572 w 1970753"/>
              <a:gd name="connsiteY2134" fmla="*/ 1617769 h 1651987"/>
              <a:gd name="connsiteX2135" fmla="*/ 769572 w 1970753"/>
              <a:gd name="connsiteY2135" fmla="*/ 1615487 h 1651987"/>
              <a:gd name="connsiteX2136" fmla="*/ 769572 w 1970753"/>
              <a:gd name="connsiteY2136" fmla="*/ 1613205 h 1651987"/>
              <a:gd name="connsiteX2137" fmla="*/ 769572 w 1970753"/>
              <a:gd name="connsiteY2137" fmla="*/ 1610923 h 1651987"/>
              <a:gd name="connsiteX2138" fmla="*/ 769572 w 1970753"/>
              <a:gd name="connsiteY2138" fmla="*/ 1608642 h 1651987"/>
              <a:gd name="connsiteX2139" fmla="*/ 767288 w 1970753"/>
              <a:gd name="connsiteY2139" fmla="*/ 1608642 h 1651987"/>
              <a:gd name="connsiteX2140" fmla="*/ 765005 w 1970753"/>
              <a:gd name="connsiteY2140" fmla="*/ 1608642 h 1651987"/>
              <a:gd name="connsiteX2141" fmla="*/ 765005 w 1970753"/>
              <a:gd name="connsiteY2141" fmla="*/ 1606360 h 1651987"/>
              <a:gd name="connsiteX2142" fmla="*/ 762721 w 1970753"/>
              <a:gd name="connsiteY2142" fmla="*/ 1606360 h 1651987"/>
              <a:gd name="connsiteX2143" fmla="*/ 762721 w 1970753"/>
              <a:gd name="connsiteY2143" fmla="*/ 1604078 h 1651987"/>
              <a:gd name="connsiteX2144" fmla="*/ 760438 w 1970753"/>
              <a:gd name="connsiteY2144" fmla="*/ 1604078 h 1651987"/>
              <a:gd name="connsiteX2145" fmla="*/ 758154 w 1970753"/>
              <a:gd name="connsiteY2145" fmla="*/ 1604078 h 1651987"/>
              <a:gd name="connsiteX2146" fmla="*/ 758154 w 1970753"/>
              <a:gd name="connsiteY2146" fmla="*/ 1601796 h 1651987"/>
              <a:gd name="connsiteX2147" fmla="*/ 755870 w 1970753"/>
              <a:gd name="connsiteY2147" fmla="*/ 1601796 h 1651987"/>
              <a:gd name="connsiteX2148" fmla="*/ 755870 w 1970753"/>
              <a:gd name="connsiteY2148" fmla="*/ 1599514 h 1651987"/>
              <a:gd name="connsiteX2149" fmla="*/ 753587 w 1970753"/>
              <a:gd name="connsiteY2149" fmla="*/ 1599514 h 1651987"/>
              <a:gd name="connsiteX2150" fmla="*/ 751303 w 1970753"/>
              <a:gd name="connsiteY2150" fmla="*/ 1599514 h 1651987"/>
              <a:gd name="connsiteX2151" fmla="*/ 749020 w 1970753"/>
              <a:gd name="connsiteY2151" fmla="*/ 1599514 h 1651987"/>
              <a:gd name="connsiteX2152" fmla="*/ 746736 w 1970753"/>
              <a:gd name="connsiteY2152" fmla="*/ 1599514 h 1651987"/>
              <a:gd name="connsiteX2153" fmla="*/ 744453 w 1970753"/>
              <a:gd name="connsiteY2153" fmla="*/ 1599514 h 1651987"/>
              <a:gd name="connsiteX2154" fmla="*/ 742169 w 1970753"/>
              <a:gd name="connsiteY2154" fmla="*/ 1599514 h 1651987"/>
              <a:gd name="connsiteX2155" fmla="*/ 739885 w 1970753"/>
              <a:gd name="connsiteY2155" fmla="*/ 1599514 h 1651987"/>
              <a:gd name="connsiteX2156" fmla="*/ 739885 w 1970753"/>
              <a:gd name="connsiteY2156" fmla="*/ 1601796 h 1651987"/>
              <a:gd name="connsiteX2157" fmla="*/ 737602 w 1970753"/>
              <a:gd name="connsiteY2157" fmla="*/ 1601796 h 1651987"/>
              <a:gd name="connsiteX2158" fmla="*/ 737602 w 1970753"/>
              <a:gd name="connsiteY2158" fmla="*/ 1604078 h 1651987"/>
              <a:gd name="connsiteX2159" fmla="*/ 735318 w 1970753"/>
              <a:gd name="connsiteY2159" fmla="*/ 1604078 h 1651987"/>
              <a:gd name="connsiteX2160" fmla="*/ 735318 w 1970753"/>
              <a:gd name="connsiteY2160" fmla="*/ 1606360 h 1651987"/>
              <a:gd name="connsiteX2161" fmla="*/ 733034 w 1970753"/>
              <a:gd name="connsiteY2161" fmla="*/ 1606360 h 1651987"/>
              <a:gd name="connsiteX2162" fmla="*/ 730751 w 1970753"/>
              <a:gd name="connsiteY2162" fmla="*/ 1606360 h 1651987"/>
              <a:gd name="connsiteX2163" fmla="*/ 728467 w 1970753"/>
              <a:gd name="connsiteY2163" fmla="*/ 1606360 h 1651987"/>
              <a:gd name="connsiteX2164" fmla="*/ 726184 w 1970753"/>
              <a:gd name="connsiteY2164" fmla="*/ 1606360 h 1651987"/>
              <a:gd name="connsiteX2165" fmla="*/ 726184 w 1970753"/>
              <a:gd name="connsiteY2165" fmla="*/ 1608642 h 1651987"/>
              <a:gd name="connsiteX2166" fmla="*/ 726184 w 1970753"/>
              <a:gd name="connsiteY2166" fmla="*/ 1610923 h 1651987"/>
              <a:gd name="connsiteX2167" fmla="*/ 723900 w 1970753"/>
              <a:gd name="connsiteY2167" fmla="*/ 1610923 h 1651987"/>
              <a:gd name="connsiteX2168" fmla="*/ 721617 w 1970753"/>
              <a:gd name="connsiteY2168" fmla="*/ 1610923 h 1651987"/>
              <a:gd name="connsiteX2169" fmla="*/ 719333 w 1970753"/>
              <a:gd name="connsiteY2169" fmla="*/ 1610923 h 1651987"/>
              <a:gd name="connsiteX2170" fmla="*/ 717049 w 1970753"/>
              <a:gd name="connsiteY2170" fmla="*/ 1610923 h 1651987"/>
              <a:gd name="connsiteX2171" fmla="*/ 717049 w 1970753"/>
              <a:gd name="connsiteY2171" fmla="*/ 1608642 h 1651987"/>
              <a:gd name="connsiteX2172" fmla="*/ 714766 w 1970753"/>
              <a:gd name="connsiteY2172" fmla="*/ 1608642 h 1651987"/>
              <a:gd name="connsiteX2173" fmla="*/ 712482 w 1970753"/>
              <a:gd name="connsiteY2173" fmla="*/ 1608642 h 1651987"/>
              <a:gd name="connsiteX2174" fmla="*/ 712482 w 1970753"/>
              <a:gd name="connsiteY2174" fmla="*/ 1606360 h 1651987"/>
              <a:gd name="connsiteX2175" fmla="*/ 710199 w 1970753"/>
              <a:gd name="connsiteY2175" fmla="*/ 1606360 h 1651987"/>
              <a:gd name="connsiteX2176" fmla="*/ 707915 w 1970753"/>
              <a:gd name="connsiteY2176" fmla="*/ 1606360 h 1651987"/>
              <a:gd name="connsiteX2177" fmla="*/ 705631 w 1970753"/>
              <a:gd name="connsiteY2177" fmla="*/ 1606360 h 1651987"/>
              <a:gd name="connsiteX2178" fmla="*/ 703348 w 1970753"/>
              <a:gd name="connsiteY2178" fmla="*/ 1608642 h 1651987"/>
              <a:gd name="connsiteX2179" fmla="*/ 701064 w 1970753"/>
              <a:gd name="connsiteY2179" fmla="*/ 1608642 h 1651987"/>
              <a:gd name="connsiteX2180" fmla="*/ 701064 w 1970753"/>
              <a:gd name="connsiteY2180" fmla="*/ 1610923 h 1651987"/>
              <a:gd name="connsiteX2181" fmla="*/ 698780 w 1970753"/>
              <a:gd name="connsiteY2181" fmla="*/ 1610923 h 1651987"/>
              <a:gd name="connsiteX2182" fmla="*/ 698780 w 1970753"/>
              <a:gd name="connsiteY2182" fmla="*/ 1608642 h 1651987"/>
              <a:gd name="connsiteX2183" fmla="*/ 696497 w 1970753"/>
              <a:gd name="connsiteY2183" fmla="*/ 1608642 h 1651987"/>
              <a:gd name="connsiteX2184" fmla="*/ 694213 w 1970753"/>
              <a:gd name="connsiteY2184" fmla="*/ 1608642 h 1651987"/>
              <a:gd name="connsiteX2185" fmla="*/ 694213 w 1970753"/>
              <a:gd name="connsiteY2185" fmla="*/ 1606360 h 1651987"/>
              <a:gd name="connsiteX2186" fmla="*/ 696497 w 1970753"/>
              <a:gd name="connsiteY2186" fmla="*/ 1606360 h 1651987"/>
              <a:gd name="connsiteX2187" fmla="*/ 696497 w 1970753"/>
              <a:gd name="connsiteY2187" fmla="*/ 1604078 h 1651987"/>
              <a:gd name="connsiteX2188" fmla="*/ 694213 w 1970753"/>
              <a:gd name="connsiteY2188" fmla="*/ 1604078 h 1651987"/>
              <a:gd name="connsiteX2189" fmla="*/ 694213 w 1970753"/>
              <a:gd name="connsiteY2189" fmla="*/ 1601796 h 1651987"/>
              <a:gd name="connsiteX2190" fmla="*/ 691930 w 1970753"/>
              <a:gd name="connsiteY2190" fmla="*/ 1601796 h 1651987"/>
              <a:gd name="connsiteX2191" fmla="*/ 691930 w 1970753"/>
              <a:gd name="connsiteY2191" fmla="*/ 1599514 h 1651987"/>
              <a:gd name="connsiteX2192" fmla="*/ 689646 w 1970753"/>
              <a:gd name="connsiteY2192" fmla="*/ 1599514 h 1651987"/>
              <a:gd name="connsiteX2193" fmla="*/ 689646 w 1970753"/>
              <a:gd name="connsiteY2193" fmla="*/ 1597232 h 1651987"/>
              <a:gd name="connsiteX2194" fmla="*/ 689646 w 1970753"/>
              <a:gd name="connsiteY2194" fmla="*/ 1594950 h 1651987"/>
              <a:gd name="connsiteX2195" fmla="*/ 689646 w 1970753"/>
              <a:gd name="connsiteY2195" fmla="*/ 1592668 h 1651987"/>
              <a:gd name="connsiteX2196" fmla="*/ 689646 w 1970753"/>
              <a:gd name="connsiteY2196" fmla="*/ 1590386 h 1651987"/>
              <a:gd name="connsiteX2197" fmla="*/ 689646 w 1970753"/>
              <a:gd name="connsiteY2197" fmla="*/ 1588104 h 1651987"/>
              <a:gd name="connsiteX2198" fmla="*/ 687363 w 1970753"/>
              <a:gd name="connsiteY2198" fmla="*/ 1588104 h 1651987"/>
              <a:gd name="connsiteX2199" fmla="*/ 685079 w 1970753"/>
              <a:gd name="connsiteY2199" fmla="*/ 1588104 h 1651987"/>
              <a:gd name="connsiteX2200" fmla="*/ 682795 w 1970753"/>
              <a:gd name="connsiteY2200" fmla="*/ 1588104 h 1651987"/>
              <a:gd name="connsiteX2201" fmla="*/ 680512 w 1970753"/>
              <a:gd name="connsiteY2201" fmla="*/ 1588104 h 1651987"/>
              <a:gd name="connsiteX2202" fmla="*/ 678228 w 1970753"/>
              <a:gd name="connsiteY2202" fmla="*/ 1588104 h 1651987"/>
              <a:gd name="connsiteX2203" fmla="*/ 678228 w 1970753"/>
              <a:gd name="connsiteY2203" fmla="*/ 1585823 h 1651987"/>
              <a:gd name="connsiteX2204" fmla="*/ 675945 w 1970753"/>
              <a:gd name="connsiteY2204" fmla="*/ 1585823 h 1651987"/>
              <a:gd name="connsiteX2205" fmla="*/ 673661 w 1970753"/>
              <a:gd name="connsiteY2205" fmla="*/ 1585823 h 1651987"/>
              <a:gd name="connsiteX2206" fmla="*/ 671378 w 1970753"/>
              <a:gd name="connsiteY2206" fmla="*/ 1585823 h 1651987"/>
              <a:gd name="connsiteX2207" fmla="*/ 669094 w 1970753"/>
              <a:gd name="connsiteY2207" fmla="*/ 1585823 h 1651987"/>
              <a:gd name="connsiteX2208" fmla="*/ 666810 w 1970753"/>
              <a:gd name="connsiteY2208" fmla="*/ 1585823 h 1651987"/>
              <a:gd name="connsiteX2209" fmla="*/ 664527 w 1970753"/>
              <a:gd name="connsiteY2209" fmla="*/ 1585823 h 1651987"/>
              <a:gd name="connsiteX2210" fmla="*/ 664527 w 1970753"/>
              <a:gd name="connsiteY2210" fmla="*/ 1583541 h 1651987"/>
              <a:gd name="connsiteX2211" fmla="*/ 664527 w 1970753"/>
              <a:gd name="connsiteY2211" fmla="*/ 1581259 h 1651987"/>
              <a:gd name="connsiteX2212" fmla="*/ 666810 w 1970753"/>
              <a:gd name="connsiteY2212" fmla="*/ 1581259 h 1651987"/>
              <a:gd name="connsiteX2213" fmla="*/ 666810 w 1970753"/>
              <a:gd name="connsiteY2213" fmla="*/ 1578977 h 1651987"/>
              <a:gd name="connsiteX2214" fmla="*/ 666810 w 1970753"/>
              <a:gd name="connsiteY2214" fmla="*/ 1576695 h 1651987"/>
              <a:gd name="connsiteX2215" fmla="*/ 664527 w 1970753"/>
              <a:gd name="connsiteY2215" fmla="*/ 1576695 h 1651987"/>
              <a:gd name="connsiteX2216" fmla="*/ 664527 w 1970753"/>
              <a:gd name="connsiteY2216" fmla="*/ 1574413 h 1651987"/>
              <a:gd name="connsiteX2217" fmla="*/ 664527 w 1970753"/>
              <a:gd name="connsiteY2217" fmla="*/ 1572131 h 1651987"/>
              <a:gd name="connsiteX2218" fmla="*/ 662243 w 1970753"/>
              <a:gd name="connsiteY2218" fmla="*/ 1572131 h 1651987"/>
              <a:gd name="connsiteX2219" fmla="*/ 662243 w 1970753"/>
              <a:gd name="connsiteY2219" fmla="*/ 1569849 h 1651987"/>
              <a:gd name="connsiteX2220" fmla="*/ 659959 w 1970753"/>
              <a:gd name="connsiteY2220" fmla="*/ 1569849 h 1651987"/>
              <a:gd name="connsiteX2221" fmla="*/ 659959 w 1970753"/>
              <a:gd name="connsiteY2221" fmla="*/ 1567567 h 1651987"/>
              <a:gd name="connsiteX2222" fmla="*/ 657676 w 1970753"/>
              <a:gd name="connsiteY2222" fmla="*/ 1567567 h 1651987"/>
              <a:gd name="connsiteX2223" fmla="*/ 655392 w 1970753"/>
              <a:gd name="connsiteY2223" fmla="*/ 1567567 h 1651987"/>
              <a:gd name="connsiteX2224" fmla="*/ 655392 w 1970753"/>
              <a:gd name="connsiteY2224" fmla="*/ 1565286 h 1651987"/>
              <a:gd name="connsiteX2225" fmla="*/ 653109 w 1970753"/>
              <a:gd name="connsiteY2225" fmla="*/ 1565286 h 1651987"/>
              <a:gd name="connsiteX2226" fmla="*/ 650825 w 1970753"/>
              <a:gd name="connsiteY2226" fmla="*/ 1565286 h 1651987"/>
              <a:gd name="connsiteX2227" fmla="*/ 648541 w 1970753"/>
              <a:gd name="connsiteY2227" fmla="*/ 1565286 h 1651987"/>
              <a:gd name="connsiteX2228" fmla="*/ 648541 w 1970753"/>
              <a:gd name="connsiteY2228" fmla="*/ 1567567 h 1651987"/>
              <a:gd name="connsiteX2229" fmla="*/ 646258 w 1970753"/>
              <a:gd name="connsiteY2229" fmla="*/ 1567567 h 1651987"/>
              <a:gd name="connsiteX2230" fmla="*/ 643974 w 1970753"/>
              <a:gd name="connsiteY2230" fmla="*/ 1567567 h 1651987"/>
              <a:gd name="connsiteX2231" fmla="*/ 643974 w 1970753"/>
              <a:gd name="connsiteY2231" fmla="*/ 1569849 h 1651987"/>
              <a:gd name="connsiteX2232" fmla="*/ 643974 w 1970753"/>
              <a:gd name="connsiteY2232" fmla="*/ 1572131 h 1651987"/>
              <a:gd name="connsiteX2233" fmla="*/ 641691 w 1970753"/>
              <a:gd name="connsiteY2233" fmla="*/ 1572131 h 1651987"/>
              <a:gd name="connsiteX2234" fmla="*/ 641691 w 1970753"/>
              <a:gd name="connsiteY2234" fmla="*/ 1574413 h 1651987"/>
              <a:gd name="connsiteX2235" fmla="*/ 643974 w 1970753"/>
              <a:gd name="connsiteY2235" fmla="*/ 1576695 h 1651987"/>
              <a:gd name="connsiteX2236" fmla="*/ 646258 w 1970753"/>
              <a:gd name="connsiteY2236" fmla="*/ 1576695 h 1651987"/>
              <a:gd name="connsiteX2237" fmla="*/ 648541 w 1970753"/>
              <a:gd name="connsiteY2237" fmla="*/ 1576695 h 1651987"/>
              <a:gd name="connsiteX2238" fmla="*/ 648541 w 1970753"/>
              <a:gd name="connsiteY2238" fmla="*/ 1578977 h 1651987"/>
              <a:gd name="connsiteX2239" fmla="*/ 648541 w 1970753"/>
              <a:gd name="connsiteY2239" fmla="*/ 1581259 h 1651987"/>
              <a:gd name="connsiteX2240" fmla="*/ 648541 w 1970753"/>
              <a:gd name="connsiteY2240" fmla="*/ 1583541 h 1651987"/>
              <a:gd name="connsiteX2241" fmla="*/ 648541 w 1970753"/>
              <a:gd name="connsiteY2241" fmla="*/ 1585823 h 1651987"/>
              <a:gd name="connsiteX2242" fmla="*/ 648541 w 1970753"/>
              <a:gd name="connsiteY2242" fmla="*/ 1588104 h 1651987"/>
              <a:gd name="connsiteX2243" fmla="*/ 646258 w 1970753"/>
              <a:gd name="connsiteY2243" fmla="*/ 1588104 h 1651987"/>
              <a:gd name="connsiteX2244" fmla="*/ 646258 w 1970753"/>
              <a:gd name="connsiteY2244" fmla="*/ 1590386 h 1651987"/>
              <a:gd name="connsiteX2245" fmla="*/ 643974 w 1970753"/>
              <a:gd name="connsiteY2245" fmla="*/ 1590386 h 1651987"/>
              <a:gd name="connsiteX2246" fmla="*/ 643974 w 1970753"/>
              <a:gd name="connsiteY2246" fmla="*/ 1588104 h 1651987"/>
              <a:gd name="connsiteX2247" fmla="*/ 641691 w 1970753"/>
              <a:gd name="connsiteY2247" fmla="*/ 1588104 h 1651987"/>
              <a:gd name="connsiteX2248" fmla="*/ 639407 w 1970753"/>
              <a:gd name="connsiteY2248" fmla="*/ 1588104 h 1651987"/>
              <a:gd name="connsiteX2249" fmla="*/ 637124 w 1970753"/>
              <a:gd name="connsiteY2249" fmla="*/ 1588104 h 1651987"/>
              <a:gd name="connsiteX2250" fmla="*/ 637124 w 1970753"/>
              <a:gd name="connsiteY2250" fmla="*/ 1585823 h 1651987"/>
              <a:gd name="connsiteX2251" fmla="*/ 637124 w 1970753"/>
              <a:gd name="connsiteY2251" fmla="*/ 1583541 h 1651987"/>
              <a:gd name="connsiteX2252" fmla="*/ 634840 w 1970753"/>
              <a:gd name="connsiteY2252" fmla="*/ 1583541 h 1651987"/>
              <a:gd name="connsiteX2253" fmla="*/ 634840 w 1970753"/>
              <a:gd name="connsiteY2253" fmla="*/ 1581259 h 1651987"/>
              <a:gd name="connsiteX2254" fmla="*/ 632556 w 1970753"/>
              <a:gd name="connsiteY2254" fmla="*/ 1581259 h 1651987"/>
              <a:gd name="connsiteX2255" fmla="*/ 632556 w 1970753"/>
              <a:gd name="connsiteY2255" fmla="*/ 1578977 h 1651987"/>
              <a:gd name="connsiteX2256" fmla="*/ 630273 w 1970753"/>
              <a:gd name="connsiteY2256" fmla="*/ 1578977 h 1651987"/>
              <a:gd name="connsiteX2257" fmla="*/ 627989 w 1970753"/>
              <a:gd name="connsiteY2257" fmla="*/ 1578977 h 1651987"/>
              <a:gd name="connsiteX2258" fmla="*/ 627989 w 1970753"/>
              <a:gd name="connsiteY2258" fmla="*/ 1581259 h 1651987"/>
              <a:gd name="connsiteX2259" fmla="*/ 625705 w 1970753"/>
              <a:gd name="connsiteY2259" fmla="*/ 1581259 h 1651987"/>
              <a:gd name="connsiteX2260" fmla="*/ 623422 w 1970753"/>
              <a:gd name="connsiteY2260" fmla="*/ 1581259 h 1651987"/>
              <a:gd name="connsiteX2261" fmla="*/ 621138 w 1970753"/>
              <a:gd name="connsiteY2261" fmla="*/ 1581259 h 1651987"/>
              <a:gd name="connsiteX2262" fmla="*/ 621138 w 1970753"/>
              <a:gd name="connsiteY2262" fmla="*/ 1583541 h 1651987"/>
              <a:gd name="connsiteX2263" fmla="*/ 618855 w 1970753"/>
              <a:gd name="connsiteY2263" fmla="*/ 1583541 h 1651987"/>
              <a:gd name="connsiteX2264" fmla="*/ 618855 w 1970753"/>
              <a:gd name="connsiteY2264" fmla="*/ 1581259 h 1651987"/>
              <a:gd name="connsiteX2265" fmla="*/ 616571 w 1970753"/>
              <a:gd name="connsiteY2265" fmla="*/ 1581259 h 1651987"/>
              <a:gd name="connsiteX2266" fmla="*/ 614288 w 1970753"/>
              <a:gd name="connsiteY2266" fmla="*/ 1581259 h 1651987"/>
              <a:gd name="connsiteX2267" fmla="*/ 614288 w 1970753"/>
              <a:gd name="connsiteY2267" fmla="*/ 1583541 h 1651987"/>
              <a:gd name="connsiteX2268" fmla="*/ 612004 w 1970753"/>
              <a:gd name="connsiteY2268" fmla="*/ 1583541 h 1651987"/>
              <a:gd name="connsiteX2269" fmla="*/ 609720 w 1970753"/>
              <a:gd name="connsiteY2269" fmla="*/ 1583541 h 1651987"/>
              <a:gd name="connsiteX2270" fmla="*/ 609720 w 1970753"/>
              <a:gd name="connsiteY2270" fmla="*/ 1585823 h 1651987"/>
              <a:gd name="connsiteX2271" fmla="*/ 607437 w 1970753"/>
              <a:gd name="connsiteY2271" fmla="*/ 1585823 h 1651987"/>
              <a:gd name="connsiteX2272" fmla="*/ 605153 w 1970753"/>
              <a:gd name="connsiteY2272" fmla="*/ 1585823 h 1651987"/>
              <a:gd name="connsiteX2273" fmla="*/ 602870 w 1970753"/>
              <a:gd name="connsiteY2273" fmla="*/ 1585823 h 1651987"/>
              <a:gd name="connsiteX2274" fmla="*/ 600586 w 1970753"/>
              <a:gd name="connsiteY2274" fmla="*/ 1585823 h 1651987"/>
              <a:gd name="connsiteX2275" fmla="*/ 600586 w 1970753"/>
              <a:gd name="connsiteY2275" fmla="*/ 1588104 h 1651987"/>
              <a:gd name="connsiteX2276" fmla="*/ 598302 w 1970753"/>
              <a:gd name="connsiteY2276" fmla="*/ 1588104 h 1651987"/>
              <a:gd name="connsiteX2277" fmla="*/ 596019 w 1970753"/>
              <a:gd name="connsiteY2277" fmla="*/ 1588104 h 1651987"/>
              <a:gd name="connsiteX2278" fmla="*/ 593735 w 1970753"/>
              <a:gd name="connsiteY2278" fmla="*/ 1588104 h 1651987"/>
              <a:gd name="connsiteX2279" fmla="*/ 591451 w 1970753"/>
              <a:gd name="connsiteY2279" fmla="*/ 1588104 h 1651987"/>
              <a:gd name="connsiteX2280" fmla="*/ 589168 w 1970753"/>
              <a:gd name="connsiteY2280" fmla="*/ 1588104 h 1651987"/>
              <a:gd name="connsiteX2281" fmla="*/ 586884 w 1970753"/>
              <a:gd name="connsiteY2281" fmla="*/ 1588104 h 1651987"/>
              <a:gd name="connsiteX2282" fmla="*/ 586884 w 1970753"/>
              <a:gd name="connsiteY2282" fmla="*/ 1590386 h 1651987"/>
              <a:gd name="connsiteX2283" fmla="*/ 584601 w 1970753"/>
              <a:gd name="connsiteY2283" fmla="*/ 1590386 h 1651987"/>
              <a:gd name="connsiteX2284" fmla="*/ 582317 w 1970753"/>
              <a:gd name="connsiteY2284" fmla="*/ 1590386 h 1651987"/>
              <a:gd name="connsiteX2285" fmla="*/ 582317 w 1970753"/>
              <a:gd name="connsiteY2285" fmla="*/ 1592668 h 1651987"/>
              <a:gd name="connsiteX2286" fmla="*/ 580034 w 1970753"/>
              <a:gd name="connsiteY2286" fmla="*/ 1592668 h 1651987"/>
              <a:gd name="connsiteX2287" fmla="*/ 577750 w 1970753"/>
              <a:gd name="connsiteY2287" fmla="*/ 1592668 h 1651987"/>
              <a:gd name="connsiteX2288" fmla="*/ 577750 w 1970753"/>
              <a:gd name="connsiteY2288" fmla="*/ 1594950 h 1651987"/>
              <a:gd name="connsiteX2289" fmla="*/ 575466 w 1970753"/>
              <a:gd name="connsiteY2289" fmla="*/ 1597232 h 1651987"/>
              <a:gd name="connsiteX2290" fmla="*/ 575466 w 1970753"/>
              <a:gd name="connsiteY2290" fmla="*/ 1599514 h 1651987"/>
              <a:gd name="connsiteX2291" fmla="*/ 575466 w 1970753"/>
              <a:gd name="connsiteY2291" fmla="*/ 1601796 h 1651987"/>
              <a:gd name="connsiteX2292" fmla="*/ 575466 w 1970753"/>
              <a:gd name="connsiteY2292" fmla="*/ 1604078 h 1651987"/>
              <a:gd name="connsiteX2293" fmla="*/ 575466 w 1970753"/>
              <a:gd name="connsiteY2293" fmla="*/ 1606360 h 1651987"/>
              <a:gd name="connsiteX2294" fmla="*/ 573183 w 1970753"/>
              <a:gd name="connsiteY2294" fmla="*/ 1608642 h 1651987"/>
              <a:gd name="connsiteX2295" fmla="*/ 570899 w 1970753"/>
              <a:gd name="connsiteY2295" fmla="*/ 1608642 h 1651987"/>
              <a:gd name="connsiteX2296" fmla="*/ 568616 w 1970753"/>
              <a:gd name="connsiteY2296" fmla="*/ 1608642 h 1651987"/>
              <a:gd name="connsiteX2297" fmla="*/ 568616 w 1970753"/>
              <a:gd name="connsiteY2297" fmla="*/ 1606360 h 1651987"/>
              <a:gd name="connsiteX2298" fmla="*/ 568616 w 1970753"/>
              <a:gd name="connsiteY2298" fmla="*/ 1604078 h 1651987"/>
              <a:gd name="connsiteX2299" fmla="*/ 570899 w 1970753"/>
              <a:gd name="connsiteY2299" fmla="*/ 1604078 h 1651987"/>
              <a:gd name="connsiteX2300" fmla="*/ 570899 w 1970753"/>
              <a:gd name="connsiteY2300" fmla="*/ 1601796 h 1651987"/>
              <a:gd name="connsiteX2301" fmla="*/ 568616 w 1970753"/>
              <a:gd name="connsiteY2301" fmla="*/ 1601796 h 1651987"/>
              <a:gd name="connsiteX2302" fmla="*/ 568616 w 1970753"/>
              <a:gd name="connsiteY2302" fmla="*/ 1599514 h 1651987"/>
              <a:gd name="connsiteX2303" fmla="*/ 568616 w 1970753"/>
              <a:gd name="connsiteY2303" fmla="*/ 1597232 h 1651987"/>
              <a:gd name="connsiteX2304" fmla="*/ 566332 w 1970753"/>
              <a:gd name="connsiteY2304" fmla="*/ 1597232 h 1651987"/>
              <a:gd name="connsiteX2305" fmla="*/ 566332 w 1970753"/>
              <a:gd name="connsiteY2305" fmla="*/ 1594950 h 1651987"/>
              <a:gd name="connsiteX2306" fmla="*/ 564049 w 1970753"/>
              <a:gd name="connsiteY2306" fmla="*/ 1594950 h 1651987"/>
              <a:gd name="connsiteX2307" fmla="*/ 564049 w 1970753"/>
              <a:gd name="connsiteY2307" fmla="*/ 1592668 h 1651987"/>
              <a:gd name="connsiteX2308" fmla="*/ 561765 w 1970753"/>
              <a:gd name="connsiteY2308" fmla="*/ 1592668 h 1651987"/>
              <a:gd name="connsiteX2309" fmla="*/ 561765 w 1970753"/>
              <a:gd name="connsiteY2309" fmla="*/ 1590386 h 1651987"/>
              <a:gd name="connsiteX2310" fmla="*/ 559481 w 1970753"/>
              <a:gd name="connsiteY2310" fmla="*/ 1590386 h 1651987"/>
              <a:gd name="connsiteX2311" fmla="*/ 557198 w 1970753"/>
              <a:gd name="connsiteY2311" fmla="*/ 1590386 h 1651987"/>
              <a:gd name="connsiteX2312" fmla="*/ 554914 w 1970753"/>
              <a:gd name="connsiteY2312" fmla="*/ 1590386 h 1651987"/>
              <a:gd name="connsiteX2313" fmla="*/ 554914 w 1970753"/>
              <a:gd name="connsiteY2313" fmla="*/ 1592668 h 1651987"/>
              <a:gd name="connsiteX2314" fmla="*/ 552630 w 1970753"/>
              <a:gd name="connsiteY2314" fmla="*/ 1592668 h 1651987"/>
              <a:gd name="connsiteX2315" fmla="*/ 552630 w 1970753"/>
              <a:gd name="connsiteY2315" fmla="*/ 1594950 h 1651987"/>
              <a:gd name="connsiteX2316" fmla="*/ 552630 w 1970753"/>
              <a:gd name="connsiteY2316" fmla="*/ 1597232 h 1651987"/>
              <a:gd name="connsiteX2317" fmla="*/ 550347 w 1970753"/>
              <a:gd name="connsiteY2317" fmla="*/ 1597232 h 1651987"/>
              <a:gd name="connsiteX2318" fmla="*/ 550347 w 1970753"/>
              <a:gd name="connsiteY2318" fmla="*/ 1599514 h 1651987"/>
              <a:gd name="connsiteX2319" fmla="*/ 550347 w 1970753"/>
              <a:gd name="connsiteY2319" fmla="*/ 1601796 h 1651987"/>
              <a:gd name="connsiteX2320" fmla="*/ 552630 w 1970753"/>
              <a:gd name="connsiteY2320" fmla="*/ 1601796 h 1651987"/>
              <a:gd name="connsiteX2321" fmla="*/ 552630 w 1970753"/>
              <a:gd name="connsiteY2321" fmla="*/ 1604078 h 1651987"/>
              <a:gd name="connsiteX2322" fmla="*/ 552630 w 1970753"/>
              <a:gd name="connsiteY2322" fmla="*/ 1606360 h 1651987"/>
              <a:gd name="connsiteX2323" fmla="*/ 554914 w 1970753"/>
              <a:gd name="connsiteY2323" fmla="*/ 1606360 h 1651987"/>
              <a:gd name="connsiteX2324" fmla="*/ 554914 w 1970753"/>
              <a:gd name="connsiteY2324" fmla="*/ 1608642 h 1651987"/>
              <a:gd name="connsiteX2325" fmla="*/ 554914 w 1970753"/>
              <a:gd name="connsiteY2325" fmla="*/ 1610923 h 1651987"/>
              <a:gd name="connsiteX2326" fmla="*/ 557198 w 1970753"/>
              <a:gd name="connsiteY2326" fmla="*/ 1610923 h 1651987"/>
              <a:gd name="connsiteX2327" fmla="*/ 557198 w 1970753"/>
              <a:gd name="connsiteY2327" fmla="*/ 1613205 h 1651987"/>
              <a:gd name="connsiteX2328" fmla="*/ 557198 w 1970753"/>
              <a:gd name="connsiteY2328" fmla="*/ 1615487 h 1651987"/>
              <a:gd name="connsiteX2329" fmla="*/ 559481 w 1970753"/>
              <a:gd name="connsiteY2329" fmla="*/ 1615487 h 1651987"/>
              <a:gd name="connsiteX2330" fmla="*/ 557198 w 1970753"/>
              <a:gd name="connsiteY2330" fmla="*/ 1615487 h 1651987"/>
              <a:gd name="connsiteX2331" fmla="*/ 557198 w 1970753"/>
              <a:gd name="connsiteY2331" fmla="*/ 1617769 h 1651987"/>
              <a:gd name="connsiteX2332" fmla="*/ 557198 w 1970753"/>
              <a:gd name="connsiteY2332" fmla="*/ 1620051 h 1651987"/>
              <a:gd name="connsiteX2333" fmla="*/ 554914 w 1970753"/>
              <a:gd name="connsiteY2333" fmla="*/ 1620051 h 1651987"/>
              <a:gd name="connsiteX2334" fmla="*/ 552630 w 1970753"/>
              <a:gd name="connsiteY2334" fmla="*/ 1620051 h 1651987"/>
              <a:gd name="connsiteX2335" fmla="*/ 550347 w 1970753"/>
              <a:gd name="connsiteY2335" fmla="*/ 1620051 h 1651987"/>
              <a:gd name="connsiteX2336" fmla="*/ 548063 w 1970753"/>
              <a:gd name="connsiteY2336" fmla="*/ 1620051 h 1651987"/>
              <a:gd name="connsiteX2337" fmla="*/ 545780 w 1970753"/>
              <a:gd name="connsiteY2337" fmla="*/ 1620051 h 1651987"/>
              <a:gd name="connsiteX2338" fmla="*/ 545780 w 1970753"/>
              <a:gd name="connsiteY2338" fmla="*/ 1622333 h 1651987"/>
              <a:gd name="connsiteX2339" fmla="*/ 545780 w 1970753"/>
              <a:gd name="connsiteY2339" fmla="*/ 1624615 h 1651987"/>
              <a:gd name="connsiteX2340" fmla="*/ 543496 w 1970753"/>
              <a:gd name="connsiteY2340" fmla="*/ 1624615 h 1651987"/>
              <a:gd name="connsiteX2341" fmla="*/ 543496 w 1970753"/>
              <a:gd name="connsiteY2341" fmla="*/ 1626897 h 1651987"/>
              <a:gd name="connsiteX2342" fmla="*/ 543496 w 1970753"/>
              <a:gd name="connsiteY2342" fmla="*/ 1629179 h 1651987"/>
              <a:gd name="connsiteX2343" fmla="*/ 541212 w 1970753"/>
              <a:gd name="connsiteY2343" fmla="*/ 1629179 h 1651987"/>
              <a:gd name="connsiteX2344" fmla="*/ 538929 w 1970753"/>
              <a:gd name="connsiteY2344" fmla="*/ 1629179 h 1651987"/>
              <a:gd name="connsiteX2345" fmla="*/ 538929 w 1970753"/>
              <a:gd name="connsiteY2345" fmla="*/ 1626897 h 1651987"/>
              <a:gd name="connsiteX2346" fmla="*/ 536645 w 1970753"/>
              <a:gd name="connsiteY2346" fmla="*/ 1626897 h 1651987"/>
              <a:gd name="connsiteX2347" fmla="*/ 536645 w 1970753"/>
              <a:gd name="connsiteY2347" fmla="*/ 1629179 h 1651987"/>
              <a:gd name="connsiteX2348" fmla="*/ 534362 w 1970753"/>
              <a:gd name="connsiteY2348" fmla="*/ 1629179 h 1651987"/>
              <a:gd name="connsiteX2349" fmla="*/ 532078 w 1970753"/>
              <a:gd name="connsiteY2349" fmla="*/ 1629179 h 1651987"/>
              <a:gd name="connsiteX2350" fmla="*/ 529795 w 1970753"/>
              <a:gd name="connsiteY2350" fmla="*/ 1629179 h 1651987"/>
              <a:gd name="connsiteX2351" fmla="*/ 527511 w 1970753"/>
              <a:gd name="connsiteY2351" fmla="*/ 1629179 h 1651987"/>
              <a:gd name="connsiteX2352" fmla="*/ 525227 w 1970753"/>
              <a:gd name="connsiteY2352" fmla="*/ 1629179 h 1651987"/>
              <a:gd name="connsiteX2353" fmla="*/ 522944 w 1970753"/>
              <a:gd name="connsiteY2353" fmla="*/ 1629179 h 1651987"/>
              <a:gd name="connsiteX2354" fmla="*/ 522944 w 1970753"/>
              <a:gd name="connsiteY2354" fmla="*/ 1631460 h 1651987"/>
              <a:gd name="connsiteX2355" fmla="*/ 520660 w 1970753"/>
              <a:gd name="connsiteY2355" fmla="*/ 1631460 h 1651987"/>
              <a:gd name="connsiteX2356" fmla="*/ 520660 w 1970753"/>
              <a:gd name="connsiteY2356" fmla="*/ 1633742 h 1651987"/>
              <a:gd name="connsiteX2357" fmla="*/ 518376 w 1970753"/>
              <a:gd name="connsiteY2357" fmla="*/ 1633742 h 1651987"/>
              <a:gd name="connsiteX2358" fmla="*/ 518376 w 1970753"/>
              <a:gd name="connsiteY2358" fmla="*/ 1636024 h 1651987"/>
              <a:gd name="connsiteX2359" fmla="*/ 518376 w 1970753"/>
              <a:gd name="connsiteY2359" fmla="*/ 1638306 h 1651987"/>
              <a:gd name="connsiteX2360" fmla="*/ 518376 w 1970753"/>
              <a:gd name="connsiteY2360" fmla="*/ 1640588 h 1651987"/>
              <a:gd name="connsiteX2361" fmla="*/ 518376 w 1970753"/>
              <a:gd name="connsiteY2361" fmla="*/ 1642870 h 1651987"/>
              <a:gd name="connsiteX2362" fmla="*/ 518376 w 1970753"/>
              <a:gd name="connsiteY2362" fmla="*/ 1645142 h 1651987"/>
              <a:gd name="connsiteX2363" fmla="*/ 518376 w 1970753"/>
              <a:gd name="connsiteY2363" fmla="*/ 1647424 h 1651987"/>
              <a:gd name="connsiteX2364" fmla="*/ 516093 w 1970753"/>
              <a:gd name="connsiteY2364" fmla="*/ 1649706 h 1651987"/>
              <a:gd name="connsiteX2365" fmla="*/ 513809 w 1970753"/>
              <a:gd name="connsiteY2365" fmla="*/ 1649706 h 1651987"/>
              <a:gd name="connsiteX2366" fmla="*/ 513809 w 1970753"/>
              <a:gd name="connsiteY2366" fmla="*/ 1651988 h 1651987"/>
              <a:gd name="connsiteX2367" fmla="*/ 511526 w 1970753"/>
              <a:gd name="connsiteY2367" fmla="*/ 1651988 h 1651987"/>
              <a:gd name="connsiteX2368" fmla="*/ 509242 w 1970753"/>
              <a:gd name="connsiteY2368" fmla="*/ 1651988 h 1651987"/>
              <a:gd name="connsiteX2369" fmla="*/ 509242 w 1970753"/>
              <a:gd name="connsiteY2369" fmla="*/ 1649706 h 1651987"/>
              <a:gd name="connsiteX2370" fmla="*/ 506959 w 1970753"/>
              <a:gd name="connsiteY2370" fmla="*/ 1649706 h 1651987"/>
              <a:gd name="connsiteX2371" fmla="*/ 504675 w 1970753"/>
              <a:gd name="connsiteY2371" fmla="*/ 1649706 h 1651987"/>
              <a:gd name="connsiteX2372" fmla="*/ 502391 w 1970753"/>
              <a:gd name="connsiteY2372" fmla="*/ 1649706 h 1651987"/>
              <a:gd name="connsiteX2373" fmla="*/ 500108 w 1970753"/>
              <a:gd name="connsiteY2373" fmla="*/ 1649706 h 1651987"/>
              <a:gd name="connsiteX2374" fmla="*/ 497824 w 1970753"/>
              <a:gd name="connsiteY2374" fmla="*/ 1649706 h 1651987"/>
              <a:gd name="connsiteX2375" fmla="*/ 495541 w 1970753"/>
              <a:gd name="connsiteY2375" fmla="*/ 1649706 h 1651987"/>
              <a:gd name="connsiteX2376" fmla="*/ 493257 w 1970753"/>
              <a:gd name="connsiteY2376" fmla="*/ 1649706 h 1651987"/>
              <a:gd name="connsiteX2377" fmla="*/ 493257 w 1970753"/>
              <a:gd name="connsiteY2377" fmla="*/ 1647424 h 1651987"/>
              <a:gd name="connsiteX2378" fmla="*/ 490973 w 1970753"/>
              <a:gd name="connsiteY2378" fmla="*/ 1647424 h 1651987"/>
              <a:gd name="connsiteX2379" fmla="*/ 488690 w 1970753"/>
              <a:gd name="connsiteY2379" fmla="*/ 1647424 h 1651987"/>
              <a:gd name="connsiteX2380" fmla="*/ 486406 w 1970753"/>
              <a:gd name="connsiteY2380" fmla="*/ 1645142 h 1651987"/>
              <a:gd name="connsiteX2381" fmla="*/ 484122 w 1970753"/>
              <a:gd name="connsiteY2381" fmla="*/ 1645142 h 1651987"/>
              <a:gd name="connsiteX2382" fmla="*/ 484122 w 1970753"/>
              <a:gd name="connsiteY2382" fmla="*/ 1642870 h 1651987"/>
              <a:gd name="connsiteX2383" fmla="*/ 481839 w 1970753"/>
              <a:gd name="connsiteY2383" fmla="*/ 1642870 h 1651987"/>
              <a:gd name="connsiteX2384" fmla="*/ 481839 w 1970753"/>
              <a:gd name="connsiteY2384" fmla="*/ 1640588 h 1651987"/>
              <a:gd name="connsiteX2385" fmla="*/ 484122 w 1970753"/>
              <a:gd name="connsiteY2385" fmla="*/ 1640588 h 1651987"/>
              <a:gd name="connsiteX2386" fmla="*/ 484122 w 1970753"/>
              <a:gd name="connsiteY2386" fmla="*/ 1638306 h 1651987"/>
              <a:gd name="connsiteX2387" fmla="*/ 484122 w 1970753"/>
              <a:gd name="connsiteY2387" fmla="*/ 1636024 h 1651987"/>
              <a:gd name="connsiteX2388" fmla="*/ 484122 w 1970753"/>
              <a:gd name="connsiteY2388" fmla="*/ 1633742 h 1651987"/>
              <a:gd name="connsiteX2389" fmla="*/ 481839 w 1970753"/>
              <a:gd name="connsiteY2389" fmla="*/ 1633742 h 1651987"/>
              <a:gd name="connsiteX2390" fmla="*/ 481839 w 1970753"/>
              <a:gd name="connsiteY2390" fmla="*/ 1631460 h 1651987"/>
              <a:gd name="connsiteX2391" fmla="*/ 479555 w 1970753"/>
              <a:gd name="connsiteY2391" fmla="*/ 1631460 h 1651987"/>
              <a:gd name="connsiteX2392" fmla="*/ 479555 w 1970753"/>
              <a:gd name="connsiteY2392" fmla="*/ 1633742 h 1651987"/>
              <a:gd name="connsiteX2393" fmla="*/ 477272 w 1970753"/>
              <a:gd name="connsiteY2393" fmla="*/ 1633742 h 1651987"/>
              <a:gd name="connsiteX2394" fmla="*/ 474988 w 1970753"/>
              <a:gd name="connsiteY2394" fmla="*/ 1633742 h 1651987"/>
              <a:gd name="connsiteX2395" fmla="*/ 474988 w 1970753"/>
              <a:gd name="connsiteY2395" fmla="*/ 1636024 h 1651987"/>
              <a:gd name="connsiteX2396" fmla="*/ 472705 w 1970753"/>
              <a:gd name="connsiteY2396" fmla="*/ 1636024 h 1651987"/>
              <a:gd name="connsiteX2397" fmla="*/ 472705 w 1970753"/>
              <a:gd name="connsiteY2397" fmla="*/ 1638306 h 1651987"/>
              <a:gd name="connsiteX2398" fmla="*/ 470421 w 1970753"/>
              <a:gd name="connsiteY2398" fmla="*/ 1638306 h 1651987"/>
              <a:gd name="connsiteX2399" fmla="*/ 468137 w 1970753"/>
              <a:gd name="connsiteY2399" fmla="*/ 1638306 h 1651987"/>
              <a:gd name="connsiteX2400" fmla="*/ 468137 w 1970753"/>
              <a:gd name="connsiteY2400" fmla="*/ 1640588 h 1651987"/>
              <a:gd name="connsiteX2401" fmla="*/ 465854 w 1970753"/>
              <a:gd name="connsiteY2401" fmla="*/ 1640588 h 1651987"/>
              <a:gd name="connsiteX2402" fmla="*/ 463570 w 1970753"/>
              <a:gd name="connsiteY2402" fmla="*/ 1640588 h 1651987"/>
              <a:gd name="connsiteX2403" fmla="*/ 461287 w 1970753"/>
              <a:gd name="connsiteY2403" fmla="*/ 1640588 h 1651987"/>
              <a:gd name="connsiteX2404" fmla="*/ 461287 w 1970753"/>
              <a:gd name="connsiteY2404" fmla="*/ 1638306 h 1651987"/>
              <a:gd name="connsiteX2405" fmla="*/ 459003 w 1970753"/>
              <a:gd name="connsiteY2405" fmla="*/ 1638306 h 1651987"/>
              <a:gd name="connsiteX2406" fmla="*/ 456719 w 1970753"/>
              <a:gd name="connsiteY2406" fmla="*/ 1636024 h 1651987"/>
              <a:gd name="connsiteX2407" fmla="*/ 459003 w 1970753"/>
              <a:gd name="connsiteY2407" fmla="*/ 1636024 h 1651987"/>
              <a:gd name="connsiteX2408" fmla="*/ 459003 w 1970753"/>
              <a:gd name="connsiteY2408" fmla="*/ 1633742 h 1651987"/>
              <a:gd name="connsiteX2409" fmla="*/ 461287 w 1970753"/>
              <a:gd name="connsiteY2409" fmla="*/ 1631460 h 1651987"/>
              <a:gd name="connsiteX2410" fmla="*/ 461287 w 1970753"/>
              <a:gd name="connsiteY2410" fmla="*/ 1629179 h 1651987"/>
              <a:gd name="connsiteX2411" fmla="*/ 463570 w 1970753"/>
              <a:gd name="connsiteY2411" fmla="*/ 1629179 h 1651987"/>
              <a:gd name="connsiteX2412" fmla="*/ 463570 w 1970753"/>
              <a:gd name="connsiteY2412" fmla="*/ 1626897 h 1651987"/>
              <a:gd name="connsiteX2413" fmla="*/ 463570 w 1970753"/>
              <a:gd name="connsiteY2413" fmla="*/ 1624615 h 1651987"/>
              <a:gd name="connsiteX2414" fmla="*/ 461287 w 1970753"/>
              <a:gd name="connsiteY2414" fmla="*/ 1624615 h 1651987"/>
              <a:gd name="connsiteX2415" fmla="*/ 461287 w 1970753"/>
              <a:gd name="connsiteY2415" fmla="*/ 1622333 h 1651987"/>
              <a:gd name="connsiteX2416" fmla="*/ 459003 w 1970753"/>
              <a:gd name="connsiteY2416" fmla="*/ 1622333 h 1651987"/>
              <a:gd name="connsiteX2417" fmla="*/ 459003 w 1970753"/>
              <a:gd name="connsiteY2417" fmla="*/ 1620051 h 1651987"/>
              <a:gd name="connsiteX2418" fmla="*/ 456719 w 1970753"/>
              <a:gd name="connsiteY2418" fmla="*/ 1620051 h 1651987"/>
              <a:gd name="connsiteX2419" fmla="*/ 456719 w 1970753"/>
              <a:gd name="connsiteY2419" fmla="*/ 1617769 h 1651987"/>
              <a:gd name="connsiteX2420" fmla="*/ 456719 w 1970753"/>
              <a:gd name="connsiteY2420" fmla="*/ 1615487 h 1651987"/>
              <a:gd name="connsiteX2421" fmla="*/ 456719 w 1970753"/>
              <a:gd name="connsiteY2421" fmla="*/ 1613205 h 1651987"/>
              <a:gd name="connsiteX2422" fmla="*/ 454436 w 1970753"/>
              <a:gd name="connsiteY2422" fmla="*/ 1613205 h 1651987"/>
              <a:gd name="connsiteX2423" fmla="*/ 454436 w 1970753"/>
              <a:gd name="connsiteY2423" fmla="*/ 1610923 h 1651987"/>
              <a:gd name="connsiteX2424" fmla="*/ 452152 w 1970753"/>
              <a:gd name="connsiteY2424" fmla="*/ 1610923 h 1651987"/>
              <a:gd name="connsiteX2425" fmla="*/ 449869 w 1970753"/>
              <a:gd name="connsiteY2425" fmla="*/ 1610923 h 1651987"/>
              <a:gd name="connsiteX2426" fmla="*/ 449869 w 1970753"/>
              <a:gd name="connsiteY2426" fmla="*/ 1613205 h 1651987"/>
              <a:gd name="connsiteX2427" fmla="*/ 449869 w 1970753"/>
              <a:gd name="connsiteY2427" fmla="*/ 1615487 h 1651987"/>
              <a:gd name="connsiteX2428" fmla="*/ 447585 w 1970753"/>
              <a:gd name="connsiteY2428" fmla="*/ 1615487 h 1651987"/>
              <a:gd name="connsiteX2429" fmla="*/ 447585 w 1970753"/>
              <a:gd name="connsiteY2429" fmla="*/ 1617769 h 1651987"/>
              <a:gd name="connsiteX2430" fmla="*/ 445301 w 1970753"/>
              <a:gd name="connsiteY2430" fmla="*/ 1617769 h 1651987"/>
              <a:gd name="connsiteX2431" fmla="*/ 445301 w 1970753"/>
              <a:gd name="connsiteY2431" fmla="*/ 1620051 h 1651987"/>
              <a:gd name="connsiteX2432" fmla="*/ 443018 w 1970753"/>
              <a:gd name="connsiteY2432" fmla="*/ 1620051 h 1651987"/>
              <a:gd name="connsiteX2433" fmla="*/ 443018 w 1970753"/>
              <a:gd name="connsiteY2433" fmla="*/ 1622333 h 1651987"/>
              <a:gd name="connsiteX2434" fmla="*/ 440734 w 1970753"/>
              <a:gd name="connsiteY2434" fmla="*/ 1622333 h 1651987"/>
              <a:gd name="connsiteX2435" fmla="*/ 438451 w 1970753"/>
              <a:gd name="connsiteY2435" fmla="*/ 1622333 h 1651987"/>
              <a:gd name="connsiteX2436" fmla="*/ 436167 w 1970753"/>
              <a:gd name="connsiteY2436" fmla="*/ 1622333 h 1651987"/>
              <a:gd name="connsiteX2437" fmla="*/ 433883 w 1970753"/>
              <a:gd name="connsiteY2437" fmla="*/ 1622333 h 1651987"/>
              <a:gd name="connsiteX2438" fmla="*/ 431600 w 1970753"/>
              <a:gd name="connsiteY2438" fmla="*/ 1622333 h 1651987"/>
              <a:gd name="connsiteX2439" fmla="*/ 429316 w 1970753"/>
              <a:gd name="connsiteY2439" fmla="*/ 1622333 h 1651987"/>
              <a:gd name="connsiteX2440" fmla="*/ 427033 w 1970753"/>
              <a:gd name="connsiteY2440" fmla="*/ 1622333 h 1651987"/>
              <a:gd name="connsiteX2441" fmla="*/ 424749 w 1970753"/>
              <a:gd name="connsiteY2441" fmla="*/ 1622333 h 1651987"/>
              <a:gd name="connsiteX2442" fmla="*/ 424749 w 1970753"/>
              <a:gd name="connsiteY2442" fmla="*/ 1624615 h 1651987"/>
              <a:gd name="connsiteX2443" fmla="*/ 422466 w 1970753"/>
              <a:gd name="connsiteY2443" fmla="*/ 1624615 h 1651987"/>
              <a:gd name="connsiteX2444" fmla="*/ 420182 w 1970753"/>
              <a:gd name="connsiteY2444" fmla="*/ 1624615 h 1651987"/>
              <a:gd name="connsiteX2445" fmla="*/ 420182 w 1970753"/>
              <a:gd name="connsiteY2445" fmla="*/ 1626897 h 1651987"/>
              <a:gd name="connsiteX2446" fmla="*/ 417898 w 1970753"/>
              <a:gd name="connsiteY2446" fmla="*/ 1626897 h 1651987"/>
              <a:gd name="connsiteX2447" fmla="*/ 415615 w 1970753"/>
              <a:gd name="connsiteY2447" fmla="*/ 1626897 h 1651987"/>
              <a:gd name="connsiteX2448" fmla="*/ 415615 w 1970753"/>
              <a:gd name="connsiteY2448" fmla="*/ 1629179 h 1651987"/>
              <a:gd name="connsiteX2449" fmla="*/ 413331 w 1970753"/>
              <a:gd name="connsiteY2449" fmla="*/ 1629179 h 1651987"/>
              <a:gd name="connsiteX2450" fmla="*/ 411047 w 1970753"/>
              <a:gd name="connsiteY2450" fmla="*/ 1629179 h 1651987"/>
              <a:gd name="connsiteX2451" fmla="*/ 411047 w 1970753"/>
              <a:gd name="connsiteY2451" fmla="*/ 1631460 h 1651987"/>
              <a:gd name="connsiteX2452" fmla="*/ 408764 w 1970753"/>
              <a:gd name="connsiteY2452" fmla="*/ 1631460 h 1651987"/>
              <a:gd name="connsiteX2453" fmla="*/ 408764 w 1970753"/>
              <a:gd name="connsiteY2453" fmla="*/ 1629179 h 1651987"/>
              <a:gd name="connsiteX2454" fmla="*/ 406480 w 1970753"/>
              <a:gd name="connsiteY2454" fmla="*/ 1629179 h 1651987"/>
              <a:gd name="connsiteX2455" fmla="*/ 406480 w 1970753"/>
              <a:gd name="connsiteY2455" fmla="*/ 1626897 h 1651987"/>
              <a:gd name="connsiteX2456" fmla="*/ 406480 w 1970753"/>
              <a:gd name="connsiteY2456" fmla="*/ 1624615 h 1651987"/>
              <a:gd name="connsiteX2457" fmla="*/ 404197 w 1970753"/>
              <a:gd name="connsiteY2457" fmla="*/ 1624615 h 1651987"/>
              <a:gd name="connsiteX2458" fmla="*/ 404197 w 1970753"/>
              <a:gd name="connsiteY2458" fmla="*/ 1622333 h 1651987"/>
              <a:gd name="connsiteX2459" fmla="*/ 404197 w 1970753"/>
              <a:gd name="connsiteY2459" fmla="*/ 1620051 h 1651987"/>
              <a:gd name="connsiteX2460" fmla="*/ 401913 w 1970753"/>
              <a:gd name="connsiteY2460" fmla="*/ 1620051 h 1651987"/>
              <a:gd name="connsiteX2461" fmla="*/ 399629 w 1970753"/>
              <a:gd name="connsiteY2461" fmla="*/ 1620051 h 1651987"/>
              <a:gd name="connsiteX2462" fmla="*/ 399629 w 1970753"/>
              <a:gd name="connsiteY2462" fmla="*/ 1617769 h 1651987"/>
              <a:gd name="connsiteX2463" fmla="*/ 397346 w 1970753"/>
              <a:gd name="connsiteY2463" fmla="*/ 1617769 h 1651987"/>
              <a:gd name="connsiteX2464" fmla="*/ 397346 w 1970753"/>
              <a:gd name="connsiteY2464" fmla="*/ 1615487 h 1651987"/>
              <a:gd name="connsiteX2465" fmla="*/ 395062 w 1970753"/>
              <a:gd name="connsiteY2465" fmla="*/ 1615487 h 1651987"/>
              <a:gd name="connsiteX2466" fmla="*/ 395062 w 1970753"/>
              <a:gd name="connsiteY2466" fmla="*/ 1613205 h 1651987"/>
              <a:gd name="connsiteX2467" fmla="*/ 392779 w 1970753"/>
              <a:gd name="connsiteY2467" fmla="*/ 1613205 h 1651987"/>
              <a:gd name="connsiteX2468" fmla="*/ 390495 w 1970753"/>
              <a:gd name="connsiteY2468" fmla="*/ 1613205 h 1651987"/>
              <a:gd name="connsiteX2469" fmla="*/ 390495 w 1970753"/>
              <a:gd name="connsiteY2469" fmla="*/ 1610923 h 1651987"/>
              <a:gd name="connsiteX2470" fmla="*/ 390495 w 1970753"/>
              <a:gd name="connsiteY2470" fmla="*/ 1608642 h 1651987"/>
              <a:gd name="connsiteX2471" fmla="*/ 390495 w 1970753"/>
              <a:gd name="connsiteY2471" fmla="*/ 1606360 h 1651987"/>
              <a:gd name="connsiteX2472" fmla="*/ 388212 w 1970753"/>
              <a:gd name="connsiteY2472" fmla="*/ 1606360 h 1651987"/>
              <a:gd name="connsiteX2473" fmla="*/ 385928 w 1970753"/>
              <a:gd name="connsiteY2473" fmla="*/ 1606360 h 1651987"/>
              <a:gd name="connsiteX2474" fmla="*/ 385928 w 1970753"/>
              <a:gd name="connsiteY2474" fmla="*/ 1604078 h 1651987"/>
              <a:gd name="connsiteX2475" fmla="*/ 383644 w 1970753"/>
              <a:gd name="connsiteY2475" fmla="*/ 1604078 h 1651987"/>
              <a:gd name="connsiteX2476" fmla="*/ 383644 w 1970753"/>
              <a:gd name="connsiteY2476" fmla="*/ 1606360 h 1651987"/>
              <a:gd name="connsiteX2477" fmla="*/ 381361 w 1970753"/>
              <a:gd name="connsiteY2477" fmla="*/ 1606360 h 1651987"/>
              <a:gd name="connsiteX2478" fmla="*/ 381361 w 1970753"/>
              <a:gd name="connsiteY2478" fmla="*/ 1604078 h 1651987"/>
              <a:gd name="connsiteX2479" fmla="*/ 379077 w 1970753"/>
              <a:gd name="connsiteY2479" fmla="*/ 1604078 h 1651987"/>
              <a:gd name="connsiteX2480" fmla="*/ 379077 w 1970753"/>
              <a:gd name="connsiteY2480" fmla="*/ 1601796 h 1651987"/>
              <a:gd name="connsiteX2481" fmla="*/ 376793 w 1970753"/>
              <a:gd name="connsiteY2481" fmla="*/ 1601796 h 1651987"/>
              <a:gd name="connsiteX2482" fmla="*/ 374510 w 1970753"/>
              <a:gd name="connsiteY2482" fmla="*/ 1601796 h 1651987"/>
              <a:gd name="connsiteX2483" fmla="*/ 374510 w 1970753"/>
              <a:gd name="connsiteY2483" fmla="*/ 1599514 h 1651987"/>
              <a:gd name="connsiteX2484" fmla="*/ 372226 w 1970753"/>
              <a:gd name="connsiteY2484" fmla="*/ 1599514 h 1651987"/>
              <a:gd name="connsiteX2485" fmla="*/ 369943 w 1970753"/>
              <a:gd name="connsiteY2485" fmla="*/ 1599514 h 1651987"/>
              <a:gd name="connsiteX2486" fmla="*/ 367659 w 1970753"/>
              <a:gd name="connsiteY2486" fmla="*/ 1599514 h 1651987"/>
              <a:gd name="connsiteX2487" fmla="*/ 367659 w 1970753"/>
              <a:gd name="connsiteY2487" fmla="*/ 1601796 h 1651987"/>
              <a:gd name="connsiteX2488" fmla="*/ 365376 w 1970753"/>
              <a:gd name="connsiteY2488" fmla="*/ 1601796 h 1651987"/>
              <a:gd name="connsiteX2489" fmla="*/ 363092 w 1970753"/>
              <a:gd name="connsiteY2489" fmla="*/ 1601796 h 1651987"/>
              <a:gd name="connsiteX2490" fmla="*/ 363092 w 1970753"/>
              <a:gd name="connsiteY2490" fmla="*/ 1599514 h 1651987"/>
              <a:gd name="connsiteX2491" fmla="*/ 360808 w 1970753"/>
              <a:gd name="connsiteY2491" fmla="*/ 1599514 h 1651987"/>
              <a:gd name="connsiteX2492" fmla="*/ 358525 w 1970753"/>
              <a:gd name="connsiteY2492" fmla="*/ 1599514 h 1651987"/>
              <a:gd name="connsiteX2493" fmla="*/ 358525 w 1970753"/>
              <a:gd name="connsiteY2493" fmla="*/ 1601796 h 1651987"/>
              <a:gd name="connsiteX2494" fmla="*/ 356241 w 1970753"/>
              <a:gd name="connsiteY2494" fmla="*/ 1601796 h 1651987"/>
              <a:gd name="connsiteX2495" fmla="*/ 356241 w 1970753"/>
              <a:gd name="connsiteY2495" fmla="*/ 1604078 h 1651987"/>
              <a:gd name="connsiteX2496" fmla="*/ 356241 w 1970753"/>
              <a:gd name="connsiteY2496" fmla="*/ 1606360 h 1651987"/>
              <a:gd name="connsiteX2497" fmla="*/ 353958 w 1970753"/>
              <a:gd name="connsiteY2497" fmla="*/ 1606360 h 1651987"/>
              <a:gd name="connsiteX2498" fmla="*/ 351674 w 1970753"/>
              <a:gd name="connsiteY2498" fmla="*/ 1606360 h 1651987"/>
              <a:gd name="connsiteX2499" fmla="*/ 351674 w 1970753"/>
              <a:gd name="connsiteY2499" fmla="*/ 1608642 h 1651987"/>
              <a:gd name="connsiteX2500" fmla="*/ 349390 w 1970753"/>
              <a:gd name="connsiteY2500" fmla="*/ 1608642 h 1651987"/>
              <a:gd name="connsiteX2501" fmla="*/ 349390 w 1970753"/>
              <a:gd name="connsiteY2501" fmla="*/ 1606360 h 1651987"/>
              <a:gd name="connsiteX2502" fmla="*/ 347107 w 1970753"/>
              <a:gd name="connsiteY2502" fmla="*/ 1606360 h 1651987"/>
              <a:gd name="connsiteX2503" fmla="*/ 347107 w 1970753"/>
              <a:gd name="connsiteY2503" fmla="*/ 1604078 h 1651987"/>
              <a:gd name="connsiteX2504" fmla="*/ 344823 w 1970753"/>
              <a:gd name="connsiteY2504" fmla="*/ 1604078 h 1651987"/>
              <a:gd name="connsiteX2505" fmla="*/ 344823 w 1970753"/>
              <a:gd name="connsiteY2505" fmla="*/ 1601796 h 1651987"/>
              <a:gd name="connsiteX2506" fmla="*/ 342539 w 1970753"/>
              <a:gd name="connsiteY2506" fmla="*/ 1601796 h 1651987"/>
              <a:gd name="connsiteX2507" fmla="*/ 342539 w 1970753"/>
              <a:gd name="connsiteY2507" fmla="*/ 1599514 h 1651987"/>
              <a:gd name="connsiteX2508" fmla="*/ 340256 w 1970753"/>
              <a:gd name="connsiteY2508" fmla="*/ 1599514 h 1651987"/>
              <a:gd name="connsiteX2509" fmla="*/ 340256 w 1970753"/>
              <a:gd name="connsiteY2509" fmla="*/ 1597232 h 1651987"/>
              <a:gd name="connsiteX2510" fmla="*/ 340256 w 1970753"/>
              <a:gd name="connsiteY2510" fmla="*/ 1594950 h 1651987"/>
              <a:gd name="connsiteX2511" fmla="*/ 340256 w 1970753"/>
              <a:gd name="connsiteY2511" fmla="*/ 1592668 h 1651987"/>
              <a:gd name="connsiteX2512" fmla="*/ 337972 w 1970753"/>
              <a:gd name="connsiteY2512" fmla="*/ 1592668 h 1651987"/>
              <a:gd name="connsiteX2513" fmla="*/ 335689 w 1970753"/>
              <a:gd name="connsiteY2513" fmla="*/ 1592668 h 1651987"/>
              <a:gd name="connsiteX2514" fmla="*/ 335689 w 1970753"/>
              <a:gd name="connsiteY2514" fmla="*/ 1590386 h 1651987"/>
              <a:gd name="connsiteX2515" fmla="*/ 335689 w 1970753"/>
              <a:gd name="connsiteY2515" fmla="*/ 1588104 h 1651987"/>
              <a:gd name="connsiteX2516" fmla="*/ 333405 w 1970753"/>
              <a:gd name="connsiteY2516" fmla="*/ 1588104 h 1651987"/>
              <a:gd name="connsiteX2517" fmla="*/ 333405 w 1970753"/>
              <a:gd name="connsiteY2517" fmla="*/ 1585823 h 1651987"/>
              <a:gd name="connsiteX2518" fmla="*/ 331122 w 1970753"/>
              <a:gd name="connsiteY2518" fmla="*/ 1585823 h 1651987"/>
              <a:gd name="connsiteX2519" fmla="*/ 331122 w 1970753"/>
              <a:gd name="connsiteY2519" fmla="*/ 1583541 h 1651987"/>
              <a:gd name="connsiteX2520" fmla="*/ 328838 w 1970753"/>
              <a:gd name="connsiteY2520" fmla="*/ 1583541 h 1651987"/>
              <a:gd name="connsiteX2521" fmla="*/ 326554 w 1970753"/>
              <a:gd name="connsiteY2521" fmla="*/ 1583541 h 1651987"/>
              <a:gd name="connsiteX2522" fmla="*/ 326554 w 1970753"/>
              <a:gd name="connsiteY2522" fmla="*/ 1581259 h 1651987"/>
              <a:gd name="connsiteX2523" fmla="*/ 326554 w 1970753"/>
              <a:gd name="connsiteY2523" fmla="*/ 1578977 h 1651987"/>
              <a:gd name="connsiteX2524" fmla="*/ 324271 w 1970753"/>
              <a:gd name="connsiteY2524" fmla="*/ 1578977 h 1651987"/>
              <a:gd name="connsiteX2525" fmla="*/ 324271 w 1970753"/>
              <a:gd name="connsiteY2525" fmla="*/ 1576695 h 1651987"/>
              <a:gd name="connsiteX2526" fmla="*/ 321987 w 1970753"/>
              <a:gd name="connsiteY2526" fmla="*/ 1576695 h 1651987"/>
              <a:gd name="connsiteX2527" fmla="*/ 319704 w 1970753"/>
              <a:gd name="connsiteY2527" fmla="*/ 1576695 h 1651987"/>
              <a:gd name="connsiteX2528" fmla="*/ 319704 w 1970753"/>
              <a:gd name="connsiteY2528" fmla="*/ 1578977 h 1651987"/>
              <a:gd name="connsiteX2529" fmla="*/ 317420 w 1970753"/>
              <a:gd name="connsiteY2529" fmla="*/ 1578977 h 1651987"/>
              <a:gd name="connsiteX2530" fmla="*/ 315137 w 1970753"/>
              <a:gd name="connsiteY2530" fmla="*/ 1578977 h 1651987"/>
              <a:gd name="connsiteX2531" fmla="*/ 312853 w 1970753"/>
              <a:gd name="connsiteY2531" fmla="*/ 1578977 h 1651987"/>
              <a:gd name="connsiteX2532" fmla="*/ 310569 w 1970753"/>
              <a:gd name="connsiteY2532" fmla="*/ 1576695 h 1651987"/>
              <a:gd name="connsiteX2533" fmla="*/ 308286 w 1970753"/>
              <a:gd name="connsiteY2533" fmla="*/ 1576695 h 1651987"/>
              <a:gd name="connsiteX2534" fmla="*/ 308286 w 1970753"/>
              <a:gd name="connsiteY2534" fmla="*/ 1574413 h 1651987"/>
              <a:gd name="connsiteX2535" fmla="*/ 306002 w 1970753"/>
              <a:gd name="connsiteY2535" fmla="*/ 1574413 h 1651987"/>
              <a:gd name="connsiteX2536" fmla="*/ 306002 w 1970753"/>
              <a:gd name="connsiteY2536" fmla="*/ 1572131 h 1651987"/>
              <a:gd name="connsiteX2537" fmla="*/ 306002 w 1970753"/>
              <a:gd name="connsiteY2537" fmla="*/ 1569849 h 1651987"/>
              <a:gd name="connsiteX2538" fmla="*/ 303718 w 1970753"/>
              <a:gd name="connsiteY2538" fmla="*/ 1569849 h 1651987"/>
              <a:gd name="connsiteX2539" fmla="*/ 303718 w 1970753"/>
              <a:gd name="connsiteY2539" fmla="*/ 1567567 h 1651987"/>
              <a:gd name="connsiteX2540" fmla="*/ 301435 w 1970753"/>
              <a:gd name="connsiteY2540" fmla="*/ 1567567 h 1651987"/>
              <a:gd name="connsiteX2541" fmla="*/ 299151 w 1970753"/>
              <a:gd name="connsiteY2541" fmla="*/ 1567567 h 1651987"/>
              <a:gd name="connsiteX2542" fmla="*/ 299151 w 1970753"/>
              <a:gd name="connsiteY2542" fmla="*/ 1565286 h 1651987"/>
              <a:gd name="connsiteX2543" fmla="*/ 296868 w 1970753"/>
              <a:gd name="connsiteY2543" fmla="*/ 1563004 h 1651987"/>
              <a:gd name="connsiteX2544" fmla="*/ 296868 w 1970753"/>
              <a:gd name="connsiteY2544" fmla="*/ 1560722 h 1651987"/>
              <a:gd name="connsiteX2545" fmla="*/ 294584 w 1970753"/>
              <a:gd name="connsiteY2545" fmla="*/ 1560722 h 1651987"/>
              <a:gd name="connsiteX2546" fmla="*/ 294584 w 1970753"/>
              <a:gd name="connsiteY2546" fmla="*/ 1558440 h 1651987"/>
              <a:gd name="connsiteX2547" fmla="*/ 294584 w 1970753"/>
              <a:gd name="connsiteY2547" fmla="*/ 1556158 h 1651987"/>
              <a:gd name="connsiteX2548" fmla="*/ 296868 w 1970753"/>
              <a:gd name="connsiteY2548" fmla="*/ 1556158 h 1651987"/>
              <a:gd name="connsiteX2549" fmla="*/ 296868 w 1970753"/>
              <a:gd name="connsiteY2549" fmla="*/ 1553876 h 1651987"/>
              <a:gd name="connsiteX2550" fmla="*/ 294584 w 1970753"/>
              <a:gd name="connsiteY2550" fmla="*/ 1553876 h 1651987"/>
              <a:gd name="connsiteX2551" fmla="*/ 294584 w 1970753"/>
              <a:gd name="connsiteY2551" fmla="*/ 1551594 h 1651987"/>
              <a:gd name="connsiteX2552" fmla="*/ 292300 w 1970753"/>
              <a:gd name="connsiteY2552" fmla="*/ 1551594 h 1651987"/>
              <a:gd name="connsiteX2553" fmla="*/ 292300 w 1970753"/>
              <a:gd name="connsiteY2553" fmla="*/ 1549312 h 1651987"/>
              <a:gd name="connsiteX2554" fmla="*/ 292300 w 1970753"/>
              <a:gd name="connsiteY2554" fmla="*/ 1547030 h 1651987"/>
              <a:gd name="connsiteX2555" fmla="*/ 290017 w 1970753"/>
              <a:gd name="connsiteY2555" fmla="*/ 1547030 h 1651987"/>
              <a:gd name="connsiteX2556" fmla="*/ 290017 w 1970753"/>
              <a:gd name="connsiteY2556" fmla="*/ 1544748 h 1651987"/>
              <a:gd name="connsiteX2557" fmla="*/ 287733 w 1970753"/>
              <a:gd name="connsiteY2557" fmla="*/ 1544748 h 1651987"/>
              <a:gd name="connsiteX2558" fmla="*/ 285450 w 1970753"/>
              <a:gd name="connsiteY2558" fmla="*/ 1544748 h 1651987"/>
              <a:gd name="connsiteX2559" fmla="*/ 283166 w 1970753"/>
              <a:gd name="connsiteY2559" fmla="*/ 1544748 h 1651987"/>
              <a:gd name="connsiteX2560" fmla="*/ 283166 w 1970753"/>
              <a:gd name="connsiteY2560" fmla="*/ 1542467 h 1651987"/>
              <a:gd name="connsiteX2561" fmla="*/ 280883 w 1970753"/>
              <a:gd name="connsiteY2561" fmla="*/ 1542467 h 1651987"/>
              <a:gd name="connsiteX2562" fmla="*/ 280883 w 1970753"/>
              <a:gd name="connsiteY2562" fmla="*/ 1540185 h 1651987"/>
              <a:gd name="connsiteX2563" fmla="*/ 278599 w 1970753"/>
              <a:gd name="connsiteY2563" fmla="*/ 1540185 h 1651987"/>
              <a:gd name="connsiteX2564" fmla="*/ 278599 w 1970753"/>
              <a:gd name="connsiteY2564" fmla="*/ 1537903 h 1651987"/>
              <a:gd name="connsiteX2565" fmla="*/ 278599 w 1970753"/>
              <a:gd name="connsiteY2565" fmla="*/ 1535621 h 1651987"/>
              <a:gd name="connsiteX2566" fmla="*/ 276315 w 1970753"/>
              <a:gd name="connsiteY2566" fmla="*/ 1535621 h 1651987"/>
              <a:gd name="connsiteX2567" fmla="*/ 276315 w 1970753"/>
              <a:gd name="connsiteY2567" fmla="*/ 1533339 h 1651987"/>
              <a:gd name="connsiteX2568" fmla="*/ 276315 w 1970753"/>
              <a:gd name="connsiteY2568" fmla="*/ 1531057 h 1651987"/>
              <a:gd name="connsiteX2569" fmla="*/ 274032 w 1970753"/>
              <a:gd name="connsiteY2569" fmla="*/ 1528775 h 1651987"/>
              <a:gd name="connsiteX2570" fmla="*/ 274032 w 1970753"/>
              <a:gd name="connsiteY2570" fmla="*/ 1526493 h 1651987"/>
              <a:gd name="connsiteX2571" fmla="*/ 274032 w 1970753"/>
              <a:gd name="connsiteY2571" fmla="*/ 1524211 h 1651987"/>
              <a:gd name="connsiteX2572" fmla="*/ 271748 w 1970753"/>
              <a:gd name="connsiteY2572" fmla="*/ 1524211 h 1651987"/>
              <a:gd name="connsiteX2573" fmla="*/ 269464 w 1970753"/>
              <a:gd name="connsiteY2573" fmla="*/ 1524211 h 1651987"/>
              <a:gd name="connsiteX2574" fmla="*/ 269464 w 1970753"/>
              <a:gd name="connsiteY2574" fmla="*/ 1521930 h 1651987"/>
              <a:gd name="connsiteX2575" fmla="*/ 267181 w 1970753"/>
              <a:gd name="connsiteY2575" fmla="*/ 1521930 h 1651987"/>
              <a:gd name="connsiteX2576" fmla="*/ 264897 w 1970753"/>
              <a:gd name="connsiteY2576" fmla="*/ 1521930 h 1651987"/>
              <a:gd name="connsiteX2577" fmla="*/ 264897 w 1970753"/>
              <a:gd name="connsiteY2577" fmla="*/ 1519648 h 1651987"/>
              <a:gd name="connsiteX2578" fmla="*/ 262614 w 1970753"/>
              <a:gd name="connsiteY2578" fmla="*/ 1519648 h 1651987"/>
              <a:gd name="connsiteX2579" fmla="*/ 260330 w 1970753"/>
              <a:gd name="connsiteY2579" fmla="*/ 1519648 h 1651987"/>
              <a:gd name="connsiteX2580" fmla="*/ 258047 w 1970753"/>
              <a:gd name="connsiteY2580" fmla="*/ 1519648 h 1651987"/>
              <a:gd name="connsiteX2581" fmla="*/ 255763 w 1970753"/>
              <a:gd name="connsiteY2581" fmla="*/ 1519648 h 1651987"/>
              <a:gd name="connsiteX2582" fmla="*/ 255763 w 1970753"/>
              <a:gd name="connsiteY2582" fmla="*/ 1521930 h 1651987"/>
              <a:gd name="connsiteX2583" fmla="*/ 253479 w 1970753"/>
              <a:gd name="connsiteY2583" fmla="*/ 1521930 h 1651987"/>
              <a:gd name="connsiteX2584" fmla="*/ 253479 w 1970753"/>
              <a:gd name="connsiteY2584" fmla="*/ 1519648 h 1651987"/>
              <a:gd name="connsiteX2585" fmla="*/ 253479 w 1970753"/>
              <a:gd name="connsiteY2585" fmla="*/ 1517366 h 1651987"/>
              <a:gd name="connsiteX2586" fmla="*/ 251196 w 1970753"/>
              <a:gd name="connsiteY2586" fmla="*/ 1515084 h 1651987"/>
              <a:gd name="connsiteX2587" fmla="*/ 251196 w 1970753"/>
              <a:gd name="connsiteY2587" fmla="*/ 1512802 h 1651987"/>
              <a:gd name="connsiteX2588" fmla="*/ 253479 w 1970753"/>
              <a:gd name="connsiteY2588" fmla="*/ 1512802 h 1651987"/>
              <a:gd name="connsiteX2589" fmla="*/ 253479 w 1970753"/>
              <a:gd name="connsiteY2589" fmla="*/ 1510520 h 1651987"/>
              <a:gd name="connsiteX2590" fmla="*/ 253479 w 1970753"/>
              <a:gd name="connsiteY2590" fmla="*/ 1508238 h 1651987"/>
              <a:gd name="connsiteX2591" fmla="*/ 255763 w 1970753"/>
              <a:gd name="connsiteY2591" fmla="*/ 1508238 h 1651987"/>
              <a:gd name="connsiteX2592" fmla="*/ 255763 w 1970753"/>
              <a:gd name="connsiteY2592" fmla="*/ 1505956 h 1651987"/>
              <a:gd name="connsiteX2593" fmla="*/ 255763 w 1970753"/>
              <a:gd name="connsiteY2593" fmla="*/ 1503674 h 1651987"/>
              <a:gd name="connsiteX2594" fmla="*/ 255763 w 1970753"/>
              <a:gd name="connsiteY2594" fmla="*/ 1501393 h 1651987"/>
              <a:gd name="connsiteX2595" fmla="*/ 255763 w 1970753"/>
              <a:gd name="connsiteY2595" fmla="*/ 1499111 h 1651987"/>
              <a:gd name="connsiteX2596" fmla="*/ 253479 w 1970753"/>
              <a:gd name="connsiteY2596" fmla="*/ 1499111 h 1651987"/>
              <a:gd name="connsiteX2597" fmla="*/ 253479 w 1970753"/>
              <a:gd name="connsiteY2597" fmla="*/ 1496829 h 1651987"/>
              <a:gd name="connsiteX2598" fmla="*/ 253479 w 1970753"/>
              <a:gd name="connsiteY2598" fmla="*/ 1494547 h 1651987"/>
              <a:gd name="connsiteX2599" fmla="*/ 251196 w 1970753"/>
              <a:gd name="connsiteY2599" fmla="*/ 1494547 h 1651987"/>
              <a:gd name="connsiteX2600" fmla="*/ 251196 w 1970753"/>
              <a:gd name="connsiteY2600" fmla="*/ 1492265 h 1651987"/>
              <a:gd name="connsiteX2601" fmla="*/ 251196 w 1970753"/>
              <a:gd name="connsiteY2601" fmla="*/ 1489983 h 1651987"/>
              <a:gd name="connsiteX2602" fmla="*/ 248912 w 1970753"/>
              <a:gd name="connsiteY2602" fmla="*/ 1489983 h 1651987"/>
              <a:gd name="connsiteX2603" fmla="*/ 248912 w 1970753"/>
              <a:gd name="connsiteY2603" fmla="*/ 1487701 h 1651987"/>
              <a:gd name="connsiteX2604" fmla="*/ 246629 w 1970753"/>
              <a:gd name="connsiteY2604" fmla="*/ 1487701 h 1651987"/>
              <a:gd name="connsiteX2605" fmla="*/ 246629 w 1970753"/>
              <a:gd name="connsiteY2605" fmla="*/ 1489983 h 1651987"/>
              <a:gd name="connsiteX2606" fmla="*/ 244345 w 1970753"/>
              <a:gd name="connsiteY2606" fmla="*/ 1489983 h 1651987"/>
              <a:gd name="connsiteX2607" fmla="*/ 242061 w 1970753"/>
              <a:gd name="connsiteY2607" fmla="*/ 1492265 h 1651987"/>
              <a:gd name="connsiteX2608" fmla="*/ 239778 w 1970753"/>
              <a:gd name="connsiteY2608" fmla="*/ 1492265 h 1651987"/>
              <a:gd name="connsiteX2609" fmla="*/ 237494 w 1970753"/>
              <a:gd name="connsiteY2609" fmla="*/ 1492265 h 1651987"/>
              <a:gd name="connsiteX2610" fmla="*/ 235210 w 1970753"/>
              <a:gd name="connsiteY2610" fmla="*/ 1492265 h 1651987"/>
              <a:gd name="connsiteX2611" fmla="*/ 232927 w 1970753"/>
              <a:gd name="connsiteY2611" fmla="*/ 1492265 h 1651987"/>
              <a:gd name="connsiteX2612" fmla="*/ 232927 w 1970753"/>
              <a:gd name="connsiteY2612" fmla="*/ 1489983 h 1651987"/>
              <a:gd name="connsiteX2613" fmla="*/ 230643 w 1970753"/>
              <a:gd name="connsiteY2613" fmla="*/ 1489983 h 1651987"/>
              <a:gd name="connsiteX2614" fmla="*/ 230643 w 1970753"/>
              <a:gd name="connsiteY2614" fmla="*/ 1487701 h 1651987"/>
              <a:gd name="connsiteX2615" fmla="*/ 230643 w 1970753"/>
              <a:gd name="connsiteY2615" fmla="*/ 1485429 h 1651987"/>
              <a:gd name="connsiteX2616" fmla="*/ 228360 w 1970753"/>
              <a:gd name="connsiteY2616" fmla="*/ 1485429 h 1651987"/>
              <a:gd name="connsiteX2617" fmla="*/ 228360 w 1970753"/>
              <a:gd name="connsiteY2617" fmla="*/ 1483147 h 1651987"/>
              <a:gd name="connsiteX2618" fmla="*/ 226076 w 1970753"/>
              <a:gd name="connsiteY2618" fmla="*/ 1483147 h 1651987"/>
              <a:gd name="connsiteX2619" fmla="*/ 223793 w 1970753"/>
              <a:gd name="connsiteY2619" fmla="*/ 1483147 h 1651987"/>
              <a:gd name="connsiteX2620" fmla="*/ 223793 w 1970753"/>
              <a:gd name="connsiteY2620" fmla="*/ 1480865 h 1651987"/>
              <a:gd name="connsiteX2621" fmla="*/ 223793 w 1970753"/>
              <a:gd name="connsiteY2621" fmla="*/ 1478583 h 1651987"/>
              <a:gd name="connsiteX2622" fmla="*/ 221509 w 1970753"/>
              <a:gd name="connsiteY2622" fmla="*/ 1478583 h 1651987"/>
              <a:gd name="connsiteX2623" fmla="*/ 219225 w 1970753"/>
              <a:gd name="connsiteY2623" fmla="*/ 1478583 h 1651987"/>
              <a:gd name="connsiteX2624" fmla="*/ 219225 w 1970753"/>
              <a:gd name="connsiteY2624" fmla="*/ 1476301 h 1651987"/>
              <a:gd name="connsiteX2625" fmla="*/ 219225 w 1970753"/>
              <a:gd name="connsiteY2625" fmla="*/ 1474019 h 1651987"/>
              <a:gd name="connsiteX2626" fmla="*/ 221509 w 1970753"/>
              <a:gd name="connsiteY2626" fmla="*/ 1474019 h 1651987"/>
              <a:gd name="connsiteX2627" fmla="*/ 221509 w 1970753"/>
              <a:gd name="connsiteY2627" fmla="*/ 1471737 h 1651987"/>
              <a:gd name="connsiteX2628" fmla="*/ 221509 w 1970753"/>
              <a:gd name="connsiteY2628" fmla="*/ 1469455 h 1651987"/>
              <a:gd name="connsiteX2629" fmla="*/ 221509 w 1970753"/>
              <a:gd name="connsiteY2629" fmla="*/ 1467174 h 1651987"/>
              <a:gd name="connsiteX2630" fmla="*/ 221509 w 1970753"/>
              <a:gd name="connsiteY2630" fmla="*/ 1464891 h 1651987"/>
              <a:gd name="connsiteX2631" fmla="*/ 219225 w 1970753"/>
              <a:gd name="connsiteY2631" fmla="*/ 1464891 h 1651987"/>
              <a:gd name="connsiteX2632" fmla="*/ 216942 w 1970753"/>
              <a:gd name="connsiteY2632" fmla="*/ 1464891 h 1651987"/>
              <a:gd name="connsiteX2633" fmla="*/ 216942 w 1970753"/>
              <a:gd name="connsiteY2633" fmla="*/ 1462610 h 1651987"/>
              <a:gd name="connsiteX2634" fmla="*/ 214658 w 1970753"/>
              <a:gd name="connsiteY2634" fmla="*/ 1462610 h 1651987"/>
              <a:gd name="connsiteX2635" fmla="*/ 214658 w 1970753"/>
              <a:gd name="connsiteY2635" fmla="*/ 1460328 h 1651987"/>
              <a:gd name="connsiteX2636" fmla="*/ 212375 w 1970753"/>
              <a:gd name="connsiteY2636" fmla="*/ 1460328 h 1651987"/>
              <a:gd name="connsiteX2637" fmla="*/ 212375 w 1970753"/>
              <a:gd name="connsiteY2637" fmla="*/ 1458046 h 1651987"/>
              <a:gd name="connsiteX2638" fmla="*/ 212375 w 1970753"/>
              <a:gd name="connsiteY2638" fmla="*/ 1455764 h 1651987"/>
              <a:gd name="connsiteX2639" fmla="*/ 210091 w 1970753"/>
              <a:gd name="connsiteY2639" fmla="*/ 1455764 h 1651987"/>
              <a:gd name="connsiteX2640" fmla="*/ 207808 w 1970753"/>
              <a:gd name="connsiteY2640" fmla="*/ 1455764 h 1651987"/>
              <a:gd name="connsiteX2641" fmla="*/ 207808 w 1970753"/>
              <a:gd name="connsiteY2641" fmla="*/ 1458046 h 1651987"/>
              <a:gd name="connsiteX2642" fmla="*/ 205524 w 1970753"/>
              <a:gd name="connsiteY2642" fmla="*/ 1458046 h 1651987"/>
              <a:gd name="connsiteX2643" fmla="*/ 205524 w 1970753"/>
              <a:gd name="connsiteY2643" fmla="*/ 1460328 h 1651987"/>
              <a:gd name="connsiteX2644" fmla="*/ 205524 w 1970753"/>
              <a:gd name="connsiteY2644" fmla="*/ 1458046 h 1651987"/>
              <a:gd name="connsiteX2645" fmla="*/ 203240 w 1970753"/>
              <a:gd name="connsiteY2645" fmla="*/ 1458046 h 1651987"/>
              <a:gd name="connsiteX2646" fmla="*/ 200957 w 1970753"/>
              <a:gd name="connsiteY2646" fmla="*/ 1458046 h 1651987"/>
              <a:gd name="connsiteX2647" fmla="*/ 200957 w 1970753"/>
              <a:gd name="connsiteY2647" fmla="*/ 1455764 h 1651987"/>
              <a:gd name="connsiteX2648" fmla="*/ 200957 w 1970753"/>
              <a:gd name="connsiteY2648" fmla="*/ 1453482 h 1651987"/>
              <a:gd name="connsiteX2649" fmla="*/ 200957 w 1970753"/>
              <a:gd name="connsiteY2649" fmla="*/ 1451200 h 1651987"/>
              <a:gd name="connsiteX2650" fmla="*/ 200957 w 1970753"/>
              <a:gd name="connsiteY2650" fmla="*/ 1448918 h 1651987"/>
              <a:gd name="connsiteX2651" fmla="*/ 198673 w 1970753"/>
              <a:gd name="connsiteY2651" fmla="*/ 1448918 h 1651987"/>
              <a:gd name="connsiteX2652" fmla="*/ 198673 w 1970753"/>
              <a:gd name="connsiteY2652" fmla="*/ 1446636 h 1651987"/>
              <a:gd name="connsiteX2653" fmla="*/ 196389 w 1970753"/>
              <a:gd name="connsiteY2653" fmla="*/ 1446636 h 1651987"/>
              <a:gd name="connsiteX2654" fmla="*/ 196389 w 1970753"/>
              <a:gd name="connsiteY2654" fmla="*/ 1444355 h 1651987"/>
              <a:gd name="connsiteX2655" fmla="*/ 196389 w 1970753"/>
              <a:gd name="connsiteY2655" fmla="*/ 1442073 h 1651987"/>
              <a:gd name="connsiteX2656" fmla="*/ 196389 w 1970753"/>
              <a:gd name="connsiteY2656" fmla="*/ 1439791 h 1651987"/>
              <a:gd name="connsiteX2657" fmla="*/ 194106 w 1970753"/>
              <a:gd name="connsiteY2657" fmla="*/ 1439791 h 1651987"/>
              <a:gd name="connsiteX2658" fmla="*/ 194106 w 1970753"/>
              <a:gd name="connsiteY2658" fmla="*/ 1437509 h 1651987"/>
              <a:gd name="connsiteX2659" fmla="*/ 194106 w 1970753"/>
              <a:gd name="connsiteY2659" fmla="*/ 1435227 h 1651987"/>
              <a:gd name="connsiteX2660" fmla="*/ 194106 w 1970753"/>
              <a:gd name="connsiteY2660" fmla="*/ 1432945 h 1651987"/>
              <a:gd name="connsiteX2661" fmla="*/ 191822 w 1970753"/>
              <a:gd name="connsiteY2661" fmla="*/ 1430663 h 1651987"/>
              <a:gd name="connsiteX2662" fmla="*/ 191822 w 1970753"/>
              <a:gd name="connsiteY2662" fmla="*/ 1428381 h 1651987"/>
              <a:gd name="connsiteX2663" fmla="*/ 189539 w 1970753"/>
              <a:gd name="connsiteY2663" fmla="*/ 1428381 h 1651987"/>
              <a:gd name="connsiteX2664" fmla="*/ 189539 w 1970753"/>
              <a:gd name="connsiteY2664" fmla="*/ 1426099 h 1651987"/>
              <a:gd name="connsiteX2665" fmla="*/ 187255 w 1970753"/>
              <a:gd name="connsiteY2665" fmla="*/ 1426099 h 1651987"/>
              <a:gd name="connsiteX2666" fmla="*/ 184971 w 1970753"/>
              <a:gd name="connsiteY2666" fmla="*/ 1426099 h 1651987"/>
              <a:gd name="connsiteX2667" fmla="*/ 184971 w 1970753"/>
              <a:gd name="connsiteY2667" fmla="*/ 1423818 h 1651987"/>
              <a:gd name="connsiteX2668" fmla="*/ 182688 w 1970753"/>
              <a:gd name="connsiteY2668" fmla="*/ 1423818 h 1651987"/>
              <a:gd name="connsiteX2669" fmla="*/ 180404 w 1970753"/>
              <a:gd name="connsiteY2669" fmla="*/ 1423818 h 1651987"/>
              <a:gd name="connsiteX2670" fmla="*/ 180404 w 1970753"/>
              <a:gd name="connsiteY2670" fmla="*/ 1421535 h 1651987"/>
              <a:gd name="connsiteX2671" fmla="*/ 178121 w 1970753"/>
              <a:gd name="connsiteY2671" fmla="*/ 1421535 h 1651987"/>
              <a:gd name="connsiteX2672" fmla="*/ 178121 w 1970753"/>
              <a:gd name="connsiteY2672" fmla="*/ 1419254 h 1651987"/>
              <a:gd name="connsiteX2673" fmla="*/ 180404 w 1970753"/>
              <a:gd name="connsiteY2673" fmla="*/ 1419254 h 1651987"/>
              <a:gd name="connsiteX2674" fmla="*/ 180404 w 1970753"/>
              <a:gd name="connsiteY2674" fmla="*/ 1416972 h 1651987"/>
              <a:gd name="connsiteX2675" fmla="*/ 180404 w 1970753"/>
              <a:gd name="connsiteY2675" fmla="*/ 1414690 h 1651987"/>
              <a:gd name="connsiteX2676" fmla="*/ 180404 w 1970753"/>
              <a:gd name="connsiteY2676" fmla="*/ 1412408 h 1651987"/>
              <a:gd name="connsiteX2677" fmla="*/ 178121 w 1970753"/>
              <a:gd name="connsiteY2677" fmla="*/ 1412408 h 1651987"/>
              <a:gd name="connsiteX2678" fmla="*/ 178121 w 1970753"/>
              <a:gd name="connsiteY2678" fmla="*/ 1410126 h 1651987"/>
              <a:gd name="connsiteX2679" fmla="*/ 175837 w 1970753"/>
              <a:gd name="connsiteY2679" fmla="*/ 1410126 h 1651987"/>
              <a:gd name="connsiteX2680" fmla="*/ 175837 w 1970753"/>
              <a:gd name="connsiteY2680" fmla="*/ 1407844 h 1651987"/>
              <a:gd name="connsiteX2681" fmla="*/ 173554 w 1970753"/>
              <a:gd name="connsiteY2681" fmla="*/ 1407844 h 1651987"/>
              <a:gd name="connsiteX2682" fmla="*/ 171270 w 1970753"/>
              <a:gd name="connsiteY2682" fmla="*/ 1407844 h 1651987"/>
              <a:gd name="connsiteX2683" fmla="*/ 171270 w 1970753"/>
              <a:gd name="connsiteY2683" fmla="*/ 1405562 h 1651987"/>
              <a:gd name="connsiteX2684" fmla="*/ 171270 w 1970753"/>
              <a:gd name="connsiteY2684" fmla="*/ 1403280 h 1651987"/>
              <a:gd name="connsiteX2685" fmla="*/ 171270 w 1970753"/>
              <a:gd name="connsiteY2685" fmla="*/ 1400999 h 1651987"/>
              <a:gd name="connsiteX2686" fmla="*/ 168986 w 1970753"/>
              <a:gd name="connsiteY2686" fmla="*/ 1400999 h 1651987"/>
              <a:gd name="connsiteX2687" fmla="*/ 168986 w 1970753"/>
              <a:gd name="connsiteY2687" fmla="*/ 1398717 h 1651987"/>
              <a:gd name="connsiteX2688" fmla="*/ 166703 w 1970753"/>
              <a:gd name="connsiteY2688" fmla="*/ 1398717 h 1651987"/>
              <a:gd name="connsiteX2689" fmla="*/ 166703 w 1970753"/>
              <a:gd name="connsiteY2689" fmla="*/ 1396435 h 1651987"/>
              <a:gd name="connsiteX2690" fmla="*/ 164419 w 1970753"/>
              <a:gd name="connsiteY2690" fmla="*/ 1396435 h 1651987"/>
              <a:gd name="connsiteX2691" fmla="*/ 164419 w 1970753"/>
              <a:gd name="connsiteY2691" fmla="*/ 1394153 h 1651987"/>
              <a:gd name="connsiteX2692" fmla="*/ 164419 w 1970753"/>
              <a:gd name="connsiteY2692" fmla="*/ 1391871 h 1651987"/>
              <a:gd name="connsiteX2693" fmla="*/ 164419 w 1970753"/>
              <a:gd name="connsiteY2693" fmla="*/ 1389589 h 1651987"/>
              <a:gd name="connsiteX2694" fmla="*/ 164419 w 1970753"/>
              <a:gd name="connsiteY2694" fmla="*/ 1387307 h 1651987"/>
              <a:gd name="connsiteX2695" fmla="*/ 166703 w 1970753"/>
              <a:gd name="connsiteY2695" fmla="*/ 1387307 h 1651987"/>
              <a:gd name="connsiteX2696" fmla="*/ 166703 w 1970753"/>
              <a:gd name="connsiteY2696" fmla="*/ 1385025 h 1651987"/>
              <a:gd name="connsiteX2697" fmla="*/ 168986 w 1970753"/>
              <a:gd name="connsiteY2697" fmla="*/ 1385025 h 1651987"/>
              <a:gd name="connsiteX2698" fmla="*/ 168986 w 1970753"/>
              <a:gd name="connsiteY2698" fmla="*/ 1382743 h 1651987"/>
              <a:gd name="connsiteX2699" fmla="*/ 166703 w 1970753"/>
              <a:gd name="connsiteY2699" fmla="*/ 1382743 h 1651987"/>
              <a:gd name="connsiteX2700" fmla="*/ 166703 w 1970753"/>
              <a:gd name="connsiteY2700" fmla="*/ 1380462 h 1651987"/>
              <a:gd name="connsiteX2701" fmla="*/ 166703 w 1970753"/>
              <a:gd name="connsiteY2701" fmla="*/ 1378179 h 1651987"/>
              <a:gd name="connsiteX2702" fmla="*/ 164419 w 1970753"/>
              <a:gd name="connsiteY2702" fmla="*/ 1378179 h 1651987"/>
              <a:gd name="connsiteX2703" fmla="*/ 164419 w 1970753"/>
              <a:gd name="connsiteY2703" fmla="*/ 1375898 h 1651987"/>
              <a:gd name="connsiteX2704" fmla="*/ 164419 w 1970753"/>
              <a:gd name="connsiteY2704" fmla="*/ 1373616 h 1651987"/>
              <a:gd name="connsiteX2705" fmla="*/ 162135 w 1970753"/>
              <a:gd name="connsiteY2705" fmla="*/ 1373616 h 1651987"/>
              <a:gd name="connsiteX2706" fmla="*/ 159852 w 1970753"/>
              <a:gd name="connsiteY2706" fmla="*/ 1373616 h 1651987"/>
              <a:gd name="connsiteX2707" fmla="*/ 159852 w 1970753"/>
              <a:gd name="connsiteY2707" fmla="*/ 1371334 h 1651987"/>
              <a:gd name="connsiteX2708" fmla="*/ 157568 w 1970753"/>
              <a:gd name="connsiteY2708" fmla="*/ 1371334 h 1651987"/>
              <a:gd name="connsiteX2709" fmla="*/ 155285 w 1970753"/>
              <a:gd name="connsiteY2709" fmla="*/ 1371334 h 1651987"/>
              <a:gd name="connsiteX2710" fmla="*/ 153001 w 1970753"/>
              <a:gd name="connsiteY2710" fmla="*/ 1371334 h 1651987"/>
              <a:gd name="connsiteX2711" fmla="*/ 150718 w 1970753"/>
              <a:gd name="connsiteY2711" fmla="*/ 1371334 h 1651987"/>
              <a:gd name="connsiteX2712" fmla="*/ 148434 w 1970753"/>
              <a:gd name="connsiteY2712" fmla="*/ 1371334 h 1651987"/>
              <a:gd name="connsiteX2713" fmla="*/ 148434 w 1970753"/>
              <a:gd name="connsiteY2713" fmla="*/ 1369052 h 1651987"/>
              <a:gd name="connsiteX2714" fmla="*/ 146150 w 1970753"/>
              <a:gd name="connsiteY2714" fmla="*/ 1369052 h 1651987"/>
              <a:gd name="connsiteX2715" fmla="*/ 146150 w 1970753"/>
              <a:gd name="connsiteY2715" fmla="*/ 1371334 h 1651987"/>
              <a:gd name="connsiteX2716" fmla="*/ 143867 w 1970753"/>
              <a:gd name="connsiteY2716" fmla="*/ 1371334 h 1651987"/>
              <a:gd name="connsiteX2717" fmla="*/ 143867 w 1970753"/>
              <a:gd name="connsiteY2717" fmla="*/ 1369052 h 1651987"/>
              <a:gd name="connsiteX2718" fmla="*/ 141583 w 1970753"/>
              <a:gd name="connsiteY2718" fmla="*/ 1371334 h 1651987"/>
              <a:gd name="connsiteX2719" fmla="*/ 139300 w 1970753"/>
              <a:gd name="connsiteY2719" fmla="*/ 1371334 h 1651987"/>
              <a:gd name="connsiteX2720" fmla="*/ 137016 w 1970753"/>
              <a:gd name="connsiteY2720" fmla="*/ 1371334 h 1651987"/>
              <a:gd name="connsiteX2721" fmla="*/ 134732 w 1970753"/>
              <a:gd name="connsiteY2721" fmla="*/ 1371334 h 1651987"/>
              <a:gd name="connsiteX2722" fmla="*/ 134732 w 1970753"/>
              <a:gd name="connsiteY2722" fmla="*/ 1369052 h 1651987"/>
              <a:gd name="connsiteX2723" fmla="*/ 132449 w 1970753"/>
              <a:gd name="connsiteY2723" fmla="*/ 1369052 h 1651987"/>
              <a:gd name="connsiteX2724" fmla="*/ 130165 w 1970753"/>
              <a:gd name="connsiteY2724" fmla="*/ 1369052 h 1651987"/>
              <a:gd name="connsiteX2725" fmla="*/ 130165 w 1970753"/>
              <a:gd name="connsiteY2725" fmla="*/ 1366770 h 1651987"/>
              <a:gd name="connsiteX2726" fmla="*/ 127881 w 1970753"/>
              <a:gd name="connsiteY2726" fmla="*/ 1366770 h 1651987"/>
              <a:gd name="connsiteX2727" fmla="*/ 125598 w 1970753"/>
              <a:gd name="connsiteY2727" fmla="*/ 1366770 h 1651987"/>
              <a:gd name="connsiteX2728" fmla="*/ 123314 w 1970753"/>
              <a:gd name="connsiteY2728" fmla="*/ 1366770 h 1651987"/>
              <a:gd name="connsiteX2729" fmla="*/ 121031 w 1970753"/>
              <a:gd name="connsiteY2729" fmla="*/ 1366770 h 1651987"/>
              <a:gd name="connsiteX2730" fmla="*/ 121031 w 1970753"/>
              <a:gd name="connsiteY2730" fmla="*/ 1364488 h 1651987"/>
              <a:gd name="connsiteX2731" fmla="*/ 118747 w 1970753"/>
              <a:gd name="connsiteY2731" fmla="*/ 1364488 h 1651987"/>
              <a:gd name="connsiteX2732" fmla="*/ 118747 w 1970753"/>
              <a:gd name="connsiteY2732" fmla="*/ 1362206 h 1651987"/>
              <a:gd name="connsiteX2733" fmla="*/ 118747 w 1970753"/>
              <a:gd name="connsiteY2733" fmla="*/ 1359924 h 1651987"/>
              <a:gd name="connsiteX2734" fmla="*/ 118747 w 1970753"/>
              <a:gd name="connsiteY2734" fmla="*/ 1357642 h 1651987"/>
              <a:gd name="connsiteX2735" fmla="*/ 116464 w 1970753"/>
              <a:gd name="connsiteY2735" fmla="*/ 1357642 h 1651987"/>
              <a:gd name="connsiteX2736" fmla="*/ 116464 w 1970753"/>
              <a:gd name="connsiteY2736" fmla="*/ 1355361 h 1651987"/>
              <a:gd name="connsiteX2737" fmla="*/ 116464 w 1970753"/>
              <a:gd name="connsiteY2737" fmla="*/ 1353079 h 1651987"/>
              <a:gd name="connsiteX2738" fmla="*/ 116464 w 1970753"/>
              <a:gd name="connsiteY2738" fmla="*/ 1350797 h 1651987"/>
              <a:gd name="connsiteX2739" fmla="*/ 116464 w 1970753"/>
              <a:gd name="connsiteY2739" fmla="*/ 1348515 h 1651987"/>
              <a:gd name="connsiteX2740" fmla="*/ 116464 w 1970753"/>
              <a:gd name="connsiteY2740" fmla="*/ 1346233 h 1651987"/>
              <a:gd name="connsiteX2741" fmla="*/ 116464 w 1970753"/>
              <a:gd name="connsiteY2741" fmla="*/ 1343951 h 1651987"/>
              <a:gd name="connsiteX2742" fmla="*/ 116464 w 1970753"/>
              <a:gd name="connsiteY2742" fmla="*/ 1341669 h 1651987"/>
              <a:gd name="connsiteX2743" fmla="*/ 116464 w 1970753"/>
              <a:gd name="connsiteY2743" fmla="*/ 1339387 h 1651987"/>
              <a:gd name="connsiteX2744" fmla="*/ 116464 w 1970753"/>
              <a:gd name="connsiteY2744" fmla="*/ 1337115 h 1651987"/>
              <a:gd name="connsiteX2745" fmla="*/ 116464 w 1970753"/>
              <a:gd name="connsiteY2745" fmla="*/ 1334823 h 1651987"/>
              <a:gd name="connsiteX2746" fmla="*/ 114180 w 1970753"/>
              <a:gd name="connsiteY2746" fmla="*/ 1334823 h 1651987"/>
              <a:gd name="connsiteX2747" fmla="*/ 114180 w 1970753"/>
              <a:gd name="connsiteY2747" fmla="*/ 1332542 h 1651987"/>
              <a:gd name="connsiteX2748" fmla="*/ 111896 w 1970753"/>
              <a:gd name="connsiteY2748" fmla="*/ 1332542 h 1651987"/>
              <a:gd name="connsiteX2749" fmla="*/ 111896 w 1970753"/>
              <a:gd name="connsiteY2749" fmla="*/ 1334823 h 1651987"/>
              <a:gd name="connsiteX2750" fmla="*/ 109613 w 1970753"/>
              <a:gd name="connsiteY2750" fmla="*/ 1334823 h 1651987"/>
              <a:gd name="connsiteX2751" fmla="*/ 109613 w 1970753"/>
              <a:gd name="connsiteY2751" fmla="*/ 1337115 h 1651987"/>
              <a:gd name="connsiteX2752" fmla="*/ 109613 w 1970753"/>
              <a:gd name="connsiteY2752" fmla="*/ 1339387 h 1651987"/>
              <a:gd name="connsiteX2753" fmla="*/ 107329 w 1970753"/>
              <a:gd name="connsiteY2753" fmla="*/ 1339387 h 1651987"/>
              <a:gd name="connsiteX2754" fmla="*/ 105046 w 1970753"/>
              <a:gd name="connsiteY2754" fmla="*/ 1339387 h 1651987"/>
              <a:gd name="connsiteX2755" fmla="*/ 102762 w 1970753"/>
              <a:gd name="connsiteY2755" fmla="*/ 1339387 h 1651987"/>
              <a:gd name="connsiteX2756" fmla="*/ 100479 w 1970753"/>
              <a:gd name="connsiteY2756" fmla="*/ 1339387 h 1651987"/>
              <a:gd name="connsiteX2757" fmla="*/ 98195 w 1970753"/>
              <a:gd name="connsiteY2757" fmla="*/ 1339387 h 1651987"/>
              <a:gd name="connsiteX2758" fmla="*/ 95911 w 1970753"/>
              <a:gd name="connsiteY2758" fmla="*/ 1339387 h 1651987"/>
              <a:gd name="connsiteX2759" fmla="*/ 93628 w 1970753"/>
              <a:gd name="connsiteY2759" fmla="*/ 1339387 h 1651987"/>
              <a:gd name="connsiteX2760" fmla="*/ 93628 w 1970753"/>
              <a:gd name="connsiteY2760" fmla="*/ 1337115 h 1651987"/>
              <a:gd name="connsiteX2761" fmla="*/ 91344 w 1970753"/>
              <a:gd name="connsiteY2761" fmla="*/ 1337115 h 1651987"/>
              <a:gd name="connsiteX2762" fmla="*/ 91344 w 1970753"/>
              <a:gd name="connsiteY2762" fmla="*/ 1334823 h 1651987"/>
              <a:gd name="connsiteX2763" fmla="*/ 89060 w 1970753"/>
              <a:gd name="connsiteY2763" fmla="*/ 1334823 h 1651987"/>
              <a:gd name="connsiteX2764" fmla="*/ 89060 w 1970753"/>
              <a:gd name="connsiteY2764" fmla="*/ 1332542 h 1651987"/>
              <a:gd name="connsiteX2765" fmla="*/ 86777 w 1970753"/>
              <a:gd name="connsiteY2765" fmla="*/ 1332542 h 1651987"/>
              <a:gd name="connsiteX2766" fmla="*/ 84493 w 1970753"/>
              <a:gd name="connsiteY2766" fmla="*/ 1332542 h 1651987"/>
              <a:gd name="connsiteX2767" fmla="*/ 84493 w 1970753"/>
              <a:gd name="connsiteY2767" fmla="*/ 1330269 h 1651987"/>
              <a:gd name="connsiteX2768" fmla="*/ 82210 w 1970753"/>
              <a:gd name="connsiteY2768" fmla="*/ 1330269 h 1651987"/>
              <a:gd name="connsiteX2769" fmla="*/ 82210 w 1970753"/>
              <a:gd name="connsiteY2769" fmla="*/ 1327987 h 1651987"/>
              <a:gd name="connsiteX2770" fmla="*/ 79926 w 1970753"/>
              <a:gd name="connsiteY2770" fmla="*/ 1327987 h 1651987"/>
              <a:gd name="connsiteX2771" fmla="*/ 79926 w 1970753"/>
              <a:gd name="connsiteY2771" fmla="*/ 1325706 h 1651987"/>
              <a:gd name="connsiteX2772" fmla="*/ 79926 w 1970753"/>
              <a:gd name="connsiteY2772" fmla="*/ 1323423 h 1651987"/>
              <a:gd name="connsiteX2773" fmla="*/ 77642 w 1970753"/>
              <a:gd name="connsiteY2773" fmla="*/ 1323423 h 1651987"/>
              <a:gd name="connsiteX2774" fmla="*/ 77642 w 1970753"/>
              <a:gd name="connsiteY2774" fmla="*/ 1321142 h 1651987"/>
              <a:gd name="connsiteX2775" fmla="*/ 77642 w 1970753"/>
              <a:gd name="connsiteY2775" fmla="*/ 1318860 h 1651987"/>
              <a:gd name="connsiteX2776" fmla="*/ 75359 w 1970753"/>
              <a:gd name="connsiteY2776" fmla="*/ 1318860 h 1651987"/>
              <a:gd name="connsiteX2777" fmla="*/ 75359 w 1970753"/>
              <a:gd name="connsiteY2777" fmla="*/ 1316578 h 1651987"/>
              <a:gd name="connsiteX2778" fmla="*/ 75359 w 1970753"/>
              <a:gd name="connsiteY2778" fmla="*/ 1314296 h 1651987"/>
              <a:gd name="connsiteX2779" fmla="*/ 73075 w 1970753"/>
              <a:gd name="connsiteY2779" fmla="*/ 1312014 h 1651987"/>
              <a:gd name="connsiteX2780" fmla="*/ 70792 w 1970753"/>
              <a:gd name="connsiteY2780" fmla="*/ 1312014 h 1651987"/>
              <a:gd name="connsiteX2781" fmla="*/ 68508 w 1970753"/>
              <a:gd name="connsiteY2781" fmla="*/ 1312014 h 1651987"/>
              <a:gd name="connsiteX2782" fmla="*/ 66225 w 1970753"/>
              <a:gd name="connsiteY2782" fmla="*/ 1312014 h 1651987"/>
              <a:gd name="connsiteX2783" fmla="*/ 63941 w 1970753"/>
              <a:gd name="connsiteY2783" fmla="*/ 1312014 h 1651987"/>
              <a:gd name="connsiteX2784" fmla="*/ 61657 w 1970753"/>
              <a:gd name="connsiteY2784" fmla="*/ 1312014 h 1651987"/>
              <a:gd name="connsiteX2785" fmla="*/ 59374 w 1970753"/>
              <a:gd name="connsiteY2785" fmla="*/ 1312014 h 1651987"/>
              <a:gd name="connsiteX2786" fmla="*/ 59374 w 1970753"/>
              <a:gd name="connsiteY2786" fmla="*/ 1309732 h 1651987"/>
              <a:gd name="connsiteX2787" fmla="*/ 57090 w 1970753"/>
              <a:gd name="connsiteY2787" fmla="*/ 1309732 h 1651987"/>
              <a:gd name="connsiteX2788" fmla="*/ 57090 w 1970753"/>
              <a:gd name="connsiteY2788" fmla="*/ 1307450 h 1651987"/>
              <a:gd name="connsiteX2789" fmla="*/ 57090 w 1970753"/>
              <a:gd name="connsiteY2789" fmla="*/ 1305168 h 1651987"/>
              <a:gd name="connsiteX2790" fmla="*/ 57090 w 1970753"/>
              <a:gd name="connsiteY2790" fmla="*/ 1302887 h 1651987"/>
              <a:gd name="connsiteX2791" fmla="*/ 57090 w 1970753"/>
              <a:gd name="connsiteY2791" fmla="*/ 1300605 h 1651987"/>
              <a:gd name="connsiteX2792" fmla="*/ 54806 w 1970753"/>
              <a:gd name="connsiteY2792" fmla="*/ 1300605 h 1651987"/>
              <a:gd name="connsiteX2793" fmla="*/ 52523 w 1970753"/>
              <a:gd name="connsiteY2793" fmla="*/ 1300605 h 1651987"/>
              <a:gd name="connsiteX2794" fmla="*/ 52523 w 1970753"/>
              <a:gd name="connsiteY2794" fmla="*/ 1298323 h 1651987"/>
              <a:gd name="connsiteX2795" fmla="*/ 50239 w 1970753"/>
              <a:gd name="connsiteY2795" fmla="*/ 1298323 h 1651987"/>
              <a:gd name="connsiteX2796" fmla="*/ 47956 w 1970753"/>
              <a:gd name="connsiteY2796" fmla="*/ 1298323 h 1651987"/>
              <a:gd name="connsiteX2797" fmla="*/ 45672 w 1970753"/>
              <a:gd name="connsiteY2797" fmla="*/ 1298323 h 1651987"/>
              <a:gd name="connsiteX2798" fmla="*/ 43389 w 1970753"/>
              <a:gd name="connsiteY2798" fmla="*/ 1298323 h 1651987"/>
              <a:gd name="connsiteX2799" fmla="*/ 41105 w 1970753"/>
              <a:gd name="connsiteY2799" fmla="*/ 1298323 h 1651987"/>
              <a:gd name="connsiteX2800" fmla="*/ 38821 w 1970753"/>
              <a:gd name="connsiteY2800" fmla="*/ 1298323 h 1651987"/>
              <a:gd name="connsiteX2801" fmla="*/ 38821 w 1970753"/>
              <a:gd name="connsiteY2801" fmla="*/ 1300605 h 1651987"/>
              <a:gd name="connsiteX2802" fmla="*/ 36538 w 1970753"/>
              <a:gd name="connsiteY2802" fmla="*/ 1300605 h 1651987"/>
              <a:gd name="connsiteX2803" fmla="*/ 34254 w 1970753"/>
              <a:gd name="connsiteY2803" fmla="*/ 1300605 h 1651987"/>
              <a:gd name="connsiteX2804" fmla="*/ 34254 w 1970753"/>
              <a:gd name="connsiteY2804" fmla="*/ 1298323 h 1651987"/>
              <a:gd name="connsiteX2805" fmla="*/ 31970 w 1970753"/>
              <a:gd name="connsiteY2805" fmla="*/ 1298323 h 1651987"/>
              <a:gd name="connsiteX2806" fmla="*/ 31970 w 1970753"/>
              <a:gd name="connsiteY2806" fmla="*/ 1296041 h 1651987"/>
              <a:gd name="connsiteX2807" fmla="*/ 29687 w 1970753"/>
              <a:gd name="connsiteY2807" fmla="*/ 1296041 h 1651987"/>
              <a:gd name="connsiteX2808" fmla="*/ 29687 w 1970753"/>
              <a:gd name="connsiteY2808" fmla="*/ 1293759 h 1651987"/>
              <a:gd name="connsiteX2809" fmla="*/ 27403 w 1970753"/>
              <a:gd name="connsiteY2809" fmla="*/ 1293759 h 1651987"/>
              <a:gd name="connsiteX2810" fmla="*/ 25120 w 1970753"/>
              <a:gd name="connsiteY2810" fmla="*/ 1291477 h 1651987"/>
              <a:gd name="connsiteX2811" fmla="*/ 22836 w 1970753"/>
              <a:gd name="connsiteY2811" fmla="*/ 1291477 h 1651987"/>
              <a:gd name="connsiteX2812" fmla="*/ 22836 w 1970753"/>
              <a:gd name="connsiteY2812" fmla="*/ 1289195 h 1651987"/>
              <a:gd name="connsiteX2813" fmla="*/ 22836 w 1970753"/>
              <a:gd name="connsiteY2813" fmla="*/ 1286913 h 1651987"/>
              <a:gd name="connsiteX2814" fmla="*/ 20552 w 1970753"/>
              <a:gd name="connsiteY2814" fmla="*/ 1286913 h 1651987"/>
              <a:gd name="connsiteX2815" fmla="*/ 20552 w 1970753"/>
              <a:gd name="connsiteY2815" fmla="*/ 1284631 h 1651987"/>
              <a:gd name="connsiteX2816" fmla="*/ 20552 w 1970753"/>
              <a:gd name="connsiteY2816" fmla="*/ 1282350 h 1651987"/>
              <a:gd name="connsiteX2817" fmla="*/ 18269 w 1970753"/>
              <a:gd name="connsiteY2817" fmla="*/ 1282350 h 1651987"/>
              <a:gd name="connsiteX2818" fmla="*/ 18269 w 1970753"/>
              <a:gd name="connsiteY2818" fmla="*/ 1280067 h 1651987"/>
              <a:gd name="connsiteX2819" fmla="*/ 15985 w 1970753"/>
              <a:gd name="connsiteY2819" fmla="*/ 1277786 h 1651987"/>
              <a:gd name="connsiteX2820" fmla="*/ 15985 w 1970753"/>
              <a:gd name="connsiteY2820" fmla="*/ 1275504 h 1651987"/>
              <a:gd name="connsiteX2821" fmla="*/ 13702 w 1970753"/>
              <a:gd name="connsiteY2821" fmla="*/ 1275504 h 1651987"/>
              <a:gd name="connsiteX2822" fmla="*/ 13702 w 1970753"/>
              <a:gd name="connsiteY2822" fmla="*/ 1273222 h 1651987"/>
              <a:gd name="connsiteX2823" fmla="*/ 13702 w 1970753"/>
              <a:gd name="connsiteY2823" fmla="*/ 1270940 h 1651987"/>
              <a:gd name="connsiteX2824" fmla="*/ 13702 w 1970753"/>
              <a:gd name="connsiteY2824" fmla="*/ 1268658 h 1651987"/>
              <a:gd name="connsiteX2825" fmla="*/ 11418 w 1970753"/>
              <a:gd name="connsiteY2825" fmla="*/ 1268658 h 1651987"/>
              <a:gd name="connsiteX2826" fmla="*/ 11418 w 1970753"/>
              <a:gd name="connsiteY2826" fmla="*/ 1266376 h 1651987"/>
              <a:gd name="connsiteX2827" fmla="*/ 11418 w 1970753"/>
              <a:gd name="connsiteY2827" fmla="*/ 1264094 h 1651987"/>
              <a:gd name="connsiteX2828" fmla="*/ 9135 w 1970753"/>
              <a:gd name="connsiteY2828" fmla="*/ 1264094 h 1651987"/>
              <a:gd name="connsiteX2829" fmla="*/ 9135 w 1970753"/>
              <a:gd name="connsiteY2829" fmla="*/ 1261812 h 1651987"/>
              <a:gd name="connsiteX2830" fmla="*/ 6851 w 1970753"/>
              <a:gd name="connsiteY2830" fmla="*/ 1261812 h 1651987"/>
              <a:gd name="connsiteX2831" fmla="*/ 4567 w 1970753"/>
              <a:gd name="connsiteY2831" fmla="*/ 1261812 h 1651987"/>
              <a:gd name="connsiteX2832" fmla="*/ 4567 w 1970753"/>
              <a:gd name="connsiteY2832" fmla="*/ 1259530 h 1651987"/>
              <a:gd name="connsiteX2833" fmla="*/ 2284 w 1970753"/>
              <a:gd name="connsiteY2833" fmla="*/ 1259530 h 1651987"/>
              <a:gd name="connsiteX2834" fmla="*/ 2284 w 1970753"/>
              <a:gd name="connsiteY2834" fmla="*/ 1257249 h 1651987"/>
              <a:gd name="connsiteX2835" fmla="*/ 0 w 1970753"/>
              <a:gd name="connsiteY2835" fmla="*/ 1257249 h 1651987"/>
              <a:gd name="connsiteX2836" fmla="*/ 0 w 1970753"/>
              <a:gd name="connsiteY2836" fmla="*/ 1254967 h 1651987"/>
              <a:gd name="connsiteX2837" fmla="*/ 0 w 1970753"/>
              <a:gd name="connsiteY2837" fmla="*/ 1252685 h 1651987"/>
              <a:gd name="connsiteX2838" fmla="*/ 2284 w 1970753"/>
              <a:gd name="connsiteY2838" fmla="*/ 1252685 h 1651987"/>
              <a:gd name="connsiteX2839" fmla="*/ 2284 w 1970753"/>
              <a:gd name="connsiteY2839" fmla="*/ 1250403 h 1651987"/>
              <a:gd name="connsiteX2840" fmla="*/ 2284 w 1970753"/>
              <a:gd name="connsiteY2840" fmla="*/ 1248121 h 1651987"/>
              <a:gd name="connsiteX2841" fmla="*/ 2284 w 1970753"/>
              <a:gd name="connsiteY2841" fmla="*/ 1245839 h 1651987"/>
              <a:gd name="connsiteX2842" fmla="*/ 2284 w 1970753"/>
              <a:gd name="connsiteY2842" fmla="*/ 1243557 h 1651987"/>
              <a:gd name="connsiteX2843" fmla="*/ 2284 w 1970753"/>
              <a:gd name="connsiteY2843" fmla="*/ 1241275 h 1651987"/>
              <a:gd name="connsiteX2844" fmla="*/ 2284 w 1970753"/>
              <a:gd name="connsiteY2844" fmla="*/ 1238994 h 1651987"/>
              <a:gd name="connsiteX2845" fmla="*/ 2284 w 1970753"/>
              <a:gd name="connsiteY2845" fmla="*/ 1236711 h 1651987"/>
              <a:gd name="connsiteX2846" fmla="*/ 0 w 1970753"/>
              <a:gd name="connsiteY2846" fmla="*/ 1236711 h 1651987"/>
              <a:gd name="connsiteX2847" fmla="*/ 0 w 1970753"/>
              <a:gd name="connsiteY2847" fmla="*/ 1234430 h 1651987"/>
              <a:gd name="connsiteX2848" fmla="*/ 2284 w 1970753"/>
              <a:gd name="connsiteY2848" fmla="*/ 1229866 h 1651987"/>
              <a:gd name="connsiteX2849" fmla="*/ 4567 w 1970753"/>
              <a:gd name="connsiteY2849" fmla="*/ 1225302 h 1651987"/>
              <a:gd name="connsiteX2850" fmla="*/ 6851 w 1970753"/>
              <a:gd name="connsiteY2850" fmla="*/ 1220738 h 1651987"/>
              <a:gd name="connsiteX2851" fmla="*/ 9135 w 1970753"/>
              <a:gd name="connsiteY2851" fmla="*/ 1216174 h 1651987"/>
              <a:gd name="connsiteX2852" fmla="*/ 11418 w 1970753"/>
              <a:gd name="connsiteY2852" fmla="*/ 1211611 h 1651987"/>
              <a:gd name="connsiteX2853" fmla="*/ 13702 w 1970753"/>
              <a:gd name="connsiteY2853" fmla="*/ 1207047 h 1651987"/>
              <a:gd name="connsiteX2854" fmla="*/ 15985 w 1970753"/>
              <a:gd name="connsiteY2854" fmla="*/ 1200201 h 1651987"/>
              <a:gd name="connsiteX2855" fmla="*/ 18269 w 1970753"/>
              <a:gd name="connsiteY2855" fmla="*/ 1195637 h 1651987"/>
              <a:gd name="connsiteX2856" fmla="*/ 20552 w 1970753"/>
              <a:gd name="connsiteY2856" fmla="*/ 1191074 h 1651987"/>
              <a:gd name="connsiteX2857" fmla="*/ 22836 w 1970753"/>
              <a:gd name="connsiteY2857" fmla="*/ 1186510 h 1651987"/>
              <a:gd name="connsiteX2858" fmla="*/ 22836 w 1970753"/>
              <a:gd name="connsiteY2858" fmla="*/ 1184228 h 1651987"/>
              <a:gd name="connsiteX2859" fmla="*/ 27403 w 1970753"/>
              <a:gd name="connsiteY2859" fmla="*/ 1172828 h 1651987"/>
              <a:gd name="connsiteX2860" fmla="*/ 34254 w 1970753"/>
              <a:gd name="connsiteY2860" fmla="*/ 1159137 h 1651987"/>
              <a:gd name="connsiteX2861" fmla="*/ 43389 w 1970753"/>
              <a:gd name="connsiteY2861" fmla="*/ 1140882 h 1651987"/>
              <a:gd name="connsiteX2862" fmla="*/ 45672 w 1970753"/>
              <a:gd name="connsiteY2862" fmla="*/ 1136318 h 1651987"/>
              <a:gd name="connsiteX2863" fmla="*/ 50239 w 1970753"/>
              <a:gd name="connsiteY2863" fmla="*/ 1124908 h 1651987"/>
              <a:gd name="connsiteX2864" fmla="*/ 57090 w 1970753"/>
              <a:gd name="connsiteY2864" fmla="*/ 1111217 h 1651987"/>
              <a:gd name="connsiteX2865" fmla="*/ 57090 w 1970753"/>
              <a:gd name="connsiteY2865" fmla="*/ 1106653 h 1651987"/>
              <a:gd name="connsiteX2866" fmla="*/ 61657 w 1970753"/>
              <a:gd name="connsiteY2866" fmla="*/ 1102089 h 1651987"/>
              <a:gd name="connsiteX2867" fmla="*/ 63941 w 1970753"/>
              <a:gd name="connsiteY2867" fmla="*/ 1092962 h 1651987"/>
              <a:gd name="connsiteX2868" fmla="*/ 68508 w 1970753"/>
              <a:gd name="connsiteY2868" fmla="*/ 1083834 h 1651987"/>
              <a:gd name="connsiteX2869" fmla="*/ 70792 w 1970753"/>
              <a:gd name="connsiteY2869" fmla="*/ 1076988 h 1651987"/>
              <a:gd name="connsiteX2870" fmla="*/ 73075 w 1970753"/>
              <a:gd name="connsiteY2870" fmla="*/ 1076988 h 1651987"/>
              <a:gd name="connsiteX2871" fmla="*/ 73075 w 1970753"/>
              <a:gd name="connsiteY2871" fmla="*/ 1074706 h 1651987"/>
              <a:gd name="connsiteX2872" fmla="*/ 77642 w 1970753"/>
              <a:gd name="connsiteY2872" fmla="*/ 1061015 h 1651987"/>
              <a:gd name="connsiteX2873" fmla="*/ 79926 w 1970753"/>
              <a:gd name="connsiteY2873" fmla="*/ 1058733 h 1651987"/>
              <a:gd name="connsiteX2874" fmla="*/ 79926 w 1970753"/>
              <a:gd name="connsiteY2874" fmla="*/ 1056451 h 1651987"/>
              <a:gd name="connsiteX2875" fmla="*/ 82210 w 1970753"/>
              <a:gd name="connsiteY2875" fmla="*/ 1056451 h 1651987"/>
              <a:gd name="connsiteX2876" fmla="*/ 82210 w 1970753"/>
              <a:gd name="connsiteY2876" fmla="*/ 1051887 h 1651987"/>
              <a:gd name="connsiteX2877" fmla="*/ 84493 w 1970753"/>
              <a:gd name="connsiteY2877" fmla="*/ 1051887 h 1651987"/>
              <a:gd name="connsiteX2878" fmla="*/ 84493 w 1970753"/>
              <a:gd name="connsiteY2878" fmla="*/ 1047324 h 1651987"/>
              <a:gd name="connsiteX2879" fmla="*/ 86777 w 1970753"/>
              <a:gd name="connsiteY2879" fmla="*/ 1042760 h 1651987"/>
              <a:gd name="connsiteX2880" fmla="*/ 89060 w 1970753"/>
              <a:gd name="connsiteY2880" fmla="*/ 1040478 h 1651987"/>
              <a:gd name="connsiteX2881" fmla="*/ 93628 w 1970753"/>
              <a:gd name="connsiteY2881" fmla="*/ 1031350 h 1651987"/>
              <a:gd name="connsiteX2882" fmla="*/ 95911 w 1970753"/>
              <a:gd name="connsiteY2882" fmla="*/ 1022223 h 1651987"/>
              <a:gd name="connsiteX2883" fmla="*/ 98195 w 1970753"/>
              <a:gd name="connsiteY2883" fmla="*/ 1019950 h 1651987"/>
              <a:gd name="connsiteX2884" fmla="*/ 98195 w 1970753"/>
              <a:gd name="connsiteY2884" fmla="*/ 1015387 h 1651987"/>
              <a:gd name="connsiteX2885" fmla="*/ 100479 w 1970753"/>
              <a:gd name="connsiteY2885" fmla="*/ 1013105 h 1651987"/>
              <a:gd name="connsiteX2886" fmla="*/ 102762 w 1970753"/>
              <a:gd name="connsiteY2886" fmla="*/ 1008541 h 1651987"/>
              <a:gd name="connsiteX2887" fmla="*/ 105046 w 1970753"/>
              <a:gd name="connsiteY2887" fmla="*/ 1001695 h 1651987"/>
              <a:gd name="connsiteX2888" fmla="*/ 107329 w 1970753"/>
              <a:gd name="connsiteY2888" fmla="*/ 999413 h 1651987"/>
              <a:gd name="connsiteX2889" fmla="*/ 107329 w 1970753"/>
              <a:gd name="connsiteY2889" fmla="*/ 997131 h 1651987"/>
              <a:gd name="connsiteX2890" fmla="*/ 107329 w 1970753"/>
              <a:gd name="connsiteY2890" fmla="*/ 994850 h 1651987"/>
              <a:gd name="connsiteX2891" fmla="*/ 109613 w 1970753"/>
              <a:gd name="connsiteY2891" fmla="*/ 994850 h 1651987"/>
              <a:gd name="connsiteX2892" fmla="*/ 109613 w 1970753"/>
              <a:gd name="connsiteY2892" fmla="*/ 992568 h 1651987"/>
              <a:gd name="connsiteX2893" fmla="*/ 111896 w 1970753"/>
              <a:gd name="connsiteY2893" fmla="*/ 988004 h 1651987"/>
              <a:gd name="connsiteX2894" fmla="*/ 116464 w 1970753"/>
              <a:gd name="connsiteY2894" fmla="*/ 981158 h 1651987"/>
              <a:gd name="connsiteX2895" fmla="*/ 116464 w 1970753"/>
              <a:gd name="connsiteY2895" fmla="*/ 978876 h 1651987"/>
              <a:gd name="connsiteX2896" fmla="*/ 116464 w 1970753"/>
              <a:gd name="connsiteY2896" fmla="*/ 976594 h 1651987"/>
              <a:gd name="connsiteX2897" fmla="*/ 118747 w 1970753"/>
              <a:gd name="connsiteY2897" fmla="*/ 974313 h 1651987"/>
              <a:gd name="connsiteX2898" fmla="*/ 118747 w 1970753"/>
              <a:gd name="connsiteY2898" fmla="*/ 972031 h 1651987"/>
              <a:gd name="connsiteX2899" fmla="*/ 123314 w 1970753"/>
              <a:gd name="connsiteY2899" fmla="*/ 965185 h 1651987"/>
              <a:gd name="connsiteX2900" fmla="*/ 125598 w 1970753"/>
              <a:gd name="connsiteY2900" fmla="*/ 960621 h 1651987"/>
              <a:gd name="connsiteX2901" fmla="*/ 125598 w 1970753"/>
              <a:gd name="connsiteY2901" fmla="*/ 956057 h 1651987"/>
              <a:gd name="connsiteX2902" fmla="*/ 127881 w 1970753"/>
              <a:gd name="connsiteY2902" fmla="*/ 951494 h 1651987"/>
              <a:gd name="connsiteX2903" fmla="*/ 130165 w 1970753"/>
              <a:gd name="connsiteY2903" fmla="*/ 946930 h 1651987"/>
              <a:gd name="connsiteX2904" fmla="*/ 132449 w 1970753"/>
              <a:gd name="connsiteY2904" fmla="*/ 944648 h 1651987"/>
              <a:gd name="connsiteX2905" fmla="*/ 132449 w 1970753"/>
              <a:gd name="connsiteY2905" fmla="*/ 942366 h 1651987"/>
              <a:gd name="connsiteX2906" fmla="*/ 139300 w 1970753"/>
              <a:gd name="connsiteY2906" fmla="*/ 930957 h 1651987"/>
              <a:gd name="connsiteX2907" fmla="*/ 146150 w 1970753"/>
              <a:gd name="connsiteY2907" fmla="*/ 917265 h 1651987"/>
              <a:gd name="connsiteX2908" fmla="*/ 146150 w 1970753"/>
              <a:gd name="connsiteY2908" fmla="*/ 914983 h 1651987"/>
              <a:gd name="connsiteX2909" fmla="*/ 153001 w 1970753"/>
              <a:gd name="connsiteY2909" fmla="*/ 901292 h 1651987"/>
              <a:gd name="connsiteX2910" fmla="*/ 153001 w 1970753"/>
              <a:gd name="connsiteY2910" fmla="*/ 899010 h 1651987"/>
              <a:gd name="connsiteX2911" fmla="*/ 155285 w 1970753"/>
              <a:gd name="connsiteY2911" fmla="*/ 894446 h 1651987"/>
              <a:gd name="connsiteX2912" fmla="*/ 157568 w 1970753"/>
              <a:gd name="connsiteY2912" fmla="*/ 892164 h 1651987"/>
              <a:gd name="connsiteX2913" fmla="*/ 157568 w 1970753"/>
              <a:gd name="connsiteY2913" fmla="*/ 889882 h 1651987"/>
              <a:gd name="connsiteX2914" fmla="*/ 157568 w 1970753"/>
              <a:gd name="connsiteY2914" fmla="*/ 887601 h 1651987"/>
              <a:gd name="connsiteX2915" fmla="*/ 159852 w 1970753"/>
              <a:gd name="connsiteY2915" fmla="*/ 887601 h 1651987"/>
              <a:gd name="connsiteX2916" fmla="*/ 159852 w 1970753"/>
              <a:gd name="connsiteY2916" fmla="*/ 885318 h 1651987"/>
              <a:gd name="connsiteX2917" fmla="*/ 162135 w 1970753"/>
              <a:gd name="connsiteY2917" fmla="*/ 883037 h 1651987"/>
              <a:gd name="connsiteX2918" fmla="*/ 162135 w 1970753"/>
              <a:gd name="connsiteY2918" fmla="*/ 880755 h 1651987"/>
              <a:gd name="connsiteX2919" fmla="*/ 162135 w 1970753"/>
              <a:gd name="connsiteY2919" fmla="*/ 878473 h 1651987"/>
              <a:gd name="connsiteX2920" fmla="*/ 164419 w 1970753"/>
              <a:gd name="connsiteY2920" fmla="*/ 878473 h 1651987"/>
              <a:gd name="connsiteX2921" fmla="*/ 164419 w 1970753"/>
              <a:gd name="connsiteY2921" fmla="*/ 873909 h 1651987"/>
              <a:gd name="connsiteX2922" fmla="*/ 166703 w 1970753"/>
              <a:gd name="connsiteY2922" fmla="*/ 869345 h 1651987"/>
              <a:gd name="connsiteX2923" fmla="*/ 168986 w 1970753"/>
              <a:gd name="connsiteY2923" fmla="*/ 869345 h 1651987"/>
              <a:gd name="connsiteX2924" fmla="*/ 168986 w 1970753"/>
              <a:gd name="connsiteY2924" fmla="*/ 867063 h 1651987"/>
              <a:gd name="connsiteX2925" fmla="*/ 168986 w 1970753"/>
              <a:gd name="connsiteY2925" fmla="*/ 864782 h 1651987"/>
              <a:gd name="connsiteX2926" fmla="*/ 171270 w 1970753"/>
              <a:gd name="connsiteY2926" fmla="*/ 862509 h 1651987"/>
              <a:gd name="connsiteX2927" fmla="*/ 171270 w 1970753"/>
              <a:gd name="connsiteY2927" fmla="*/ 860227 h 1651987"/>
              <a:gd name="connsiteX2928" fmla="*/ 171270 w 1970753"/>
              <a:gd name="connsiteY2928" fmla="*/ 857945 h 1651987"/>
              <a:gd name="connsiteX2929" fmla="*/ 173554 w 1970753"/>
              <a:gd name="connsiteY2929" fmla="*/ 857945 h 1651987"/>
              <a:gd name="connsiteX2930" fmla="*/ 173554 w 1970753"/>
              <a:gd name="connsiteY2930" fmla="*/ 855663 h 1651987"/>
              <a:gd name="connsiteX2931" fmla="*/ 173554 w 1970753"/>
              <a:gd name="connsiteY2931" fmla="*/ 853382 h 1651987"/>
              <a:gd name="connsiteX2932" fmla="*/ 175837 w 1970753"/>
              <a:gd name="connsiteY2932" fmla="*/ 853382 h 1651987"/>
              <a:gd name="connsiteX2933" fmla="*/ 175837 w 1970753"/>
              <a:gd name="connsiteY2933" fmla="*/ 851100 h 1651987"/>
              <a:gd name="connsiteX2934" fmla="*/ 175837 w 1970753"/>
              <a:gd name="connsiteY2934" fmla="*/ 848818 h 1651987"/>
              <a:gd name="connsiteX2935" fmla="*/ 178121 w 1970753"/>
              <a:gd name="connsiteY2935" fmla="*/ 848818 h 1651987"/>
              <a:gd name="connsiteX2936" fmla="*/ 178121 w 1970753"/>
              <a:gd name="connsiteY2936" fmla="*/ 846536 h 1651987"/>
              <a:gd name="connsiteX2937" fmla="*/ 178121 w 1970753"/>
              <a:gd name="connsiteY2937" fmla="*/ 844254 h 1651987"/>
              <a:gd name="connsiteX2938" fmla="*/ 180404 w 1970753"/>
              <a:gd name="connsiteY2938" fmla="*/ 844254 h 1651987"/>
              <a:gd name="connsiteX2939" fmla="*/ 180404 w 1970753"/>
              <a:gd name="connsiteY2939" fmla="*/ 841972 h 1651987"/>
              <a:gd name="connsiteX2940" fmla="*/ 184971 w 1970753"/>
              <a:gd name="connsiteY2940" fmla="*/ 832844 h 1651987"/>
              <a:gd name="connsiteX2941" fmla="*/ 184971 w 1970753"/>
              <a:gd name="connsiteY2941" fmla="*/ 830563 h 1651987"/>
              <a:gd name="connsiteX2942" fmla="*/ 187255 w 1970753"/>
              <a:gd name="connsiteY2942" fmla="*/ 828281 h 1651987"/>
              <a:gd name="connsiteX2943" fmla="*/ 189539 w 1970753"/>
              <a:gd name="connsiteY2943" fmla="*/ 823717 h 1651987"/>
              <a:gd name="connsiteX2944" fmla="*/ 189539 w 1970753"/>
              <a:gd name="connsiteY2944" fmla="*/ 821435 h 1651987"/>
              <a:gd name="connsiteX2945" fmla="*/ 191822 w 1970753"/>
              <a:gd name="connsiteY2945" fmla="*/ 819153 h 1651987"/>
              <a:gd name="connsiteX2946" fmla="*/ 189539 w 1970753"/>
              <a:gd name="connsiteY2946" fmla="*/ 816871 h 1651987"/>
              <a:gd name="connsiteX2947" fmla="*/ 187255 w 1970753"/>
              <a:gd name="connsiteY2947" fmla="*/ 816871 h 1651987"/>
              <a:gd name="connsiteX2948" fmla="*/ 182688 w 1970753"/>
              <a:gd name="connsiteY2948" fmla="*/ 816871 h 1651987"/>
              <a:gd name="connsiteX2949" fmla="*/ 182688 w 1970753"/>
              <a:gd name="connsiteY2949" fmla="*/ 814589 h 1651987"/>
              <a:gd name="connsiteX2950" fmla="*/ 180404 w 1970753"/>
              <a:gd name="connsiteY2950" fmla="*/ 814589 h 1651987"/>
              <a:gd name="connsiteX2951" fmla="*/ 178121 w 1970753"/>
              <a:gd name="connsiteY2951" fmla="*/ 814589 h 1651987"/>
              <a:gd name="connsiteX2952" fmla="*/ 175837 w 1970753"/>
              <a:gd name="connsiteY2952" fmla="*/ 814589 h 1651987"/>
              <a:gd name="connsiteX2953" fmla="*/ 173554 w 1970753"/>
              <a:gd name="connsiteY2953" fmla="*/ 812307 h 1651987"/>
              <a:gd name="connsiteX2954" fmla="*/ 171270 w 1970753"/>
              <a:gd name="connsiteY2954" fmla="*/ 812307 h 1651987"/>
              <a:gd name="connsiteX2955" fmla="*/ 168986 w 1970753"/>
              <a:gd name="connsiteY2955" fmla="*/ 812307 h 1651987"/>
              <a:gd name="connsiteX2956" fmla="*/ 166703 w 1970753"/>
              <a:gd name="connsiteY2956" fmla="*/ 810026 h 1651987"/>
              <a:gd name="connsiteX2957" fmla="*/ 164419 w 1970753"/>
              <a:gd name="connsiteY2957" fmla="*/ 810026 h 1651987"/>
              <a:gd name="connsiteX2958" fmla="*/ 164419 w 1970753"/>
              <a:gd name="connsiteY2958" fmla="*/ 807744 h 1651987"/>
              <a:gd name="connsiteX2959" fmla="*/ 166703 w 1970753"/>
              <a:gd name="connsiteY2959" fmla="*/ 805462 h 1651987"/>
              <a:gd name="connsiteX2960" fmla="*/ 166703 w 1970753"/>
              <a:gd name="connsiteY2960" fmla="*/ 803180 h 1651987"/>
              <a:gd name="connsiteX2961" fmla="*/ 166703 w 1970753"/>
              <a:gd name="connsiteY2961" fmla="*/ 800898 h 1651987"/>
              <a:gd name="connsiteX2962" fmla="*/ 168986 w 1970753"/>
              <a:gd name="connsiteY2962" fmla="*/ 798616 h 1651987"/>
              <a:gd name="connsiteX2963" fmla="*/ 171270 w 1970753"/>
              <a:gd name="connsiteY2963" fmla="*/ 789488 h 1651987"/>
              <a:gd name="connsiteX2964" fmla="*/ 173554 w 1970753"/>
              <a:gd name="connsiteY2964" fmla="*/ 780361 h 1651987"/>
              <a:gd name="connsiteX2965" fmla="*/ 175837 w 1970753"/>
              <a:gd name="connsiteY2965" fmla="*/ 773515 h 1651987"/>
              <a:gd name="connsiteX2966" fmla="*/ 178121 w 1970753"/>
              <a:gd name="connsiteY2966" fmla="*/ 764388 h 1651987"/>
              <a:gd name="connsiteX2967" fmla="*/ 171270 w 1970753"/>
              <a:gd name="connsiteY2967" fmla="*/ 759824 h 1651987"/>
              <a:gd name="connsiteX2968" fmla="*/ 173554 w 1970753"/>
              <a:gd name="connsiteY2968" fmla="*/ 755260 h 1651987"/>
              <a:gd name="connsiteX2969" fmla="*/ 175837 w 1970753"/>
              <a:gd name="connsiteY2969" fmla="*/ 750696 h 1651987"/>
              <a:gd name="connsiteX2970" fmla="*/ 180404 w 1970753"/>
              <a:gd name="connsiteY2970" fmla="*/ 746132 h 1651987"/>
              <a:gd name="connsiteX2971" fmla="*/ 182688 w 1970753"/>
              <a:gd name="connsiteY2971" fmla="*/ 741569 h 1651987"/>
              <a:gd name="connsiteX2972" fmla="*/ 184971 w 1970753"/>
              <a:gd name="connsiteY2972" fmla="*/ 743850 h 1651987"/>
              <a:gd name="connsiteX2973" fmla="*/ 187255 w 1970753"/>
              <a:gd name="connsiteY2973" fmla="*/ 737005 h 1651987"/>
              <a:gd name="connsiteX2974" fmla="*/ 187255 w 1970753"/>
              <a:gd name="connsiteY2974" fmla="*/ 732441 h 1651987"/>
              <a:gd name="connsiteX2975" fmla="*/ 189539 w 1970753"/>
              <a:gd name="connsiteY2975" fmla="*/ 730159 h 1651987"/>
              <a:gd name="connsiteX2976" fmla="*/ 189539 w 1970753"/>
              <a:gd name="connsiteY2976" fmla="*/ 727877 h 1651987"/>
              <a:gd name="connsiteX2977" fmla="*/ 191822 w 1970753"/>
              <a:gd name="connsiteY2977" fmla="*/ 723314 h 1651987"/>
              <a:gd name="connsiteX2978" fmla="*/ 196389 w 1970753"/>
              <a:gd name="connsiteY2978" fmla="*/ 707340 h 1651987"/>
              <a:gd name="connsiteX2979" fmla="*/ 196389 w 1970753"/>
              <a:gd name="connsiteY2979" fmla="*/ 702786 h 1651987"/>
              <a:gd name="connsiteX2980" fmla="*/ 198673 w 1970753"/>
              <a:gd name="connsiteY2980" fmla="*/ 693658 h 1651987"/>
              <a:gd name="connsiteX2981" fmla="*/ 200957 w 1970753"/>
              <a:gd name="connsiteY2981" fmla="*/ 691376 h 1651987"/>
              <a:gd name="connsiteX2982" fmla="*/ 203240 w 1970753"/>
              <a:gd name="connsiteY2982" fmla="*/ 684531 h 1651987"/>
              <a:gd name="connsiteX2983" fmla="*/ 200957 w 1970753"/>
              <a:gd name="connsiteY2983" fmla="*/ 684531 h 1651987"/>
              <a:gd name="connsiteX2984" fmla="*/ 198673 w 1970753"/>
              <a:gd name="connsiteY2984" fmla="*/ 684531 h 1651987"/>
              <a:gd name="connsiteX2985" fmla="*/ 196389 w 1970753"/>
              <a:gd name="connsiteY2985" fmla="*/ 684531 h 1651987"/>
              <a:gd name="connsiteX2986" fmla="*/ 191822 w 1970753"/>
              <a:gd name="connsiteY2986" fmla="*/ 682249 h 1651987"/>
              <a:gd name="connsiteX2987" fmla="*/ 189539 w 1970753"/>
              <a:gd name="connsiteY2987" fmla="*/ 679967 h 1651987"/>
              <a:gd name="connsiteX2988" fmla="*/ 184971 w 1970753"/>
              <a:gd name="connsiteY2988" fmla="*/ 679967 h 1651987"/>
              <a:gd name="connsiteX2989" fmla="*/ 184971 w 1970753"/>
              <a:gd name="connsiteY2989" fmla="*/ 677685 h 1651987"/>
              <a:gd name="connsiteX2990" fmla="*/ 182688 w 1970753"/>
              <a:gd name="connsiteY2990" fmla="*/ 673121 h 1651987"/>
              <a:gd name="connsiteX2991" fmla="*/ 180404 w 1970753"/>
              <a:gd name="connsiteY2991" fmla="*/ 670839 h 1651987"/>
              <a:gd name="connsiteX2992" fmla="*/ 180404 w 1970753"/>
              <a:gd name="connsiteY2992" fmla="*/ 668558 h 1651987"/>
              <a:gd name="connsiteX2993" fmla="*/ 178121 w 1970753"/>
              <a:gd name="connsiteY2993" fmla="*/ 666275 h 1651987"/>
              <a:gd name="connsiteX2994" fmla="*/ 178121 w 1970753"/>
              <a:gd name="connsiteY2994" fmla="*/ 663994 h 1651987"/>
              <a:gd name="connsiteX2995" fmla="*/ 180404 w 1970753"/>
              <a:gd name="connsiteY2995" fmla="*/ 663994 h 1651987"/>
              <a:gd name="connsiteX2996" fmla="*/ 182688 w 1970753"/>
              <a:gd name="connsiteY2996" fmla="*/ 663994 h 1651987"/>
              <a:gd name="connsiteX2997" fmla="*/ 189539 w 1970753"/>
              <a:gd name="connsiteY2997" fmla="*/ 663994 h 1651987"/>
              <a:gd name="connsiteX2998" fmla="*/ 191822 w 1970753"/>
              <a:gd name="connsiteY2998" fmla="*/ 663994 h 1651987"/>
              <a:gd name="connsiteX2999" fmla="*/ 194106 w 1970753"/>
              <a:gd name="connsiteY2999" fmla="*/ 659430 h 1651987"/>
              <a:gd name="connsiteX3000" fmla="*/ 196389 w 1970753"/>
              <a:gd name="connsiteY3000" fmla="*/ 654866 h 1651987"/>
              <a:gd name="connsiteX3001" fmla="*/ 198673 w 1970753"/>
              <a:gd name="connsiteY3001" fmla="*/ 652584 h 1651987"/>
              <a:gd name="connsiteX3002" fmla="*/ 200957 w 1970753"/>
              <a:gd name="connsiteY3002" fmla="*/ 652584 h 1651987"/>
              <a:gd name="connsiteX3003" fmla="*/ 203240 w 1970753"/>
              <a:gd name="connsiteY3003" fmla="*/ 654866 h 1651987"/>
              <a:gd name="connsiteX3004" fmla="*/ 205524 w 1970753"/>
              <a:gd name="connsiteY3004" fmla="*/ 654866 h 1651987"/>
              <a:gd name="connsiteX3005" fmla="*/ 207808 w 1970753"/>
              <a:gd name="connsiteY3005" fmla="*/ 654866 h 1651987"/>
              <a:gd name="connsiteX3006" fmla="*/ 210091 w 1970753"/>
              <a:gd name="connsiteY3006" fmla="*/ 654866 h 1651987"/>
              <a:gd name="connsiteX3007" fmla="*/ 212375 w 1970753"/>
              <a:gd name="connsiteY3007" fmla="*/ 654866 h 1651987"/>
              <a:gd name="connsiteX3008" fmla="*/ 212375 w 1970753"/>
              <a:gd name="connsiteY3008" fmla="*/ 652584 h 1651987"/>
              <a:gd name="connsiteX3009" fmla="*/ 212375 w 1970753"/>
              <a:gd name="connsiteY3009" fmla="*/ 650302 h 1651987"/>
              <a:gd name="connsiteX3010" fmla="*/ 214658 w 1970753"/>
              <a:gd name="connsiteY3010" fmla="*/ 641175 h 1651987"/>
              <a:gd name="connsiteX3011" fmla="*/ 216942 w 1970753"/>
              <a:gd name="connsiteY3011" fmla="*/ 634329 h 1651987"/>
              <a:gd name="connsiteX3012" fmla="*/ 221509 w 1970753"/>
              <a:gd name="connsiteY3012" fmla="*/ 622919 h 1651987"/>
              <a:gd name="connsiteX3013" fmla="*/ 221509 w 1970753"/>
              <a:gd name="connsiteY3013" fmla="*/ 618356 h 1651987"/>
              <a:gd name="connsiteX3014" fmla="*/ 223793 w 1970753"/>
              <a:gd name="connsiteY3014" fmla="*/ 611510 h 1651987"/>
              <a:gd name="connsiteX3015" fmla="*/ 228360 w 1970753"/>
              <a:gd name="connsiteY3015" fmla="*/ 602382 h 1651987"/>
              <a:gd name="connsiteX3016" fmla="*/ 230643 w 1970753"/>
              <a:gd name="connsiteY3016" fmla="*/ 588691 h 1651987"/>
              <a:gd name="connsiteX3017" fmla="*/ 232927 w 1970753"/>
              <a:gd name="connsiteY3017" fmla="*/ 581845 h 1651987"/>
              <a:gd name="connsiteX3018" fmla="*/ 235210 w 1970753"/>
              <a:gd name="connsiteY3018" fmla="*/ 581845 h 1651987"/>
              <a:gd name="connsiteX3019" fmla="*/ 235210 w 1970753"/>
              <a:gd name="connsiteY3019" fmla="*/ 579563 h 1651987"/>
              <a:gd name="connsiteX3020" fmla="*/ 237494 w 1970753"/>
              <a:gd name="connsiteY3020" fmla="*/ 579563 h 1651987"/>
              <a:gd name="connsiteX3021" fmla="*/ 239778 w 1970753"/>
              <a:gd name="connsiteY3021" fmla="*/ 579563 h 1651987"/>
              <a:gd name="connsiteX3022" fmla="*/ 242061 w 1970753"/>
              <a:gd name="connsiteY3022" fmla="*/ 579563 h 1651987"/>
              <a:gd name="connsiteX3023" fmla="*/ 244345 w 1970753"/>
              <a:gd name="connsiteY3023" fmla="*/ 579563 h 1651987"/>
              <a:gd name="connsiteX3024" fmla="*/ 246629 w 1970753"/>
              <a:gd name="connsiteY3024" fmla="*/ 579563 h 1651987"/>
              <a:gd name="connsiteX3025" fmla="*/ 248912 w 1970753"/>
              <a:gd name="connsiteY3025" fmla="*/ 579563 h 1651987"/>
              <a:gd name="connsiteX3026" fmla="*/ 248912 w 1970753"/>
              <a:gd name="connsiteY3026" fmla="*/ 577282 h 1651987"/>
              <a:gd name="connsiteX3027" fmla="*/ 251196 w 1970753"/>
              <a:gd name="connsiteY3027" fmla="*/ 577282 h 1651987"/>
              <a:gd name="connsiteX3028" fmla="*/ 251196 w 1970753"/>
              <a:gd name="connsiteY3028" fmla="*/ 575000 h 1651987"/>
              <a:gd name="connsiteX3029" fmla="*/ 251196 w 1970753"/>
              <a:gd name="connsiteY3029" fmla="*/ 572718 h 1651987"/>
              <a:gd name="connsiteX3030" fmla="*/ 251196 w 1970753"/>
              <a:gd name="connsiteY3030" fmla="*/ 570436 h 1651987"/>
              <a:gd name="connsiteX3031" fmla="*/ 251196 w 1970753"/>
              <a:gd name="connsiteY3031" fmla="*/ 568154 h 1651987"/>
              <a:gd name="connsiteX3032" fmla="*/ 253479 w 1970753"/>
              <a:gd name="connsiteY3032" fmla="*/ 568154 h 1651987"/>
              <a:gd name="connsiteX3033" fmla="*/ 253479 w 1970753"/>
              <a:gd name="connsiteY3033" fmla="*/ 565872 h 1651987"/>
              <a:gd name="connsiteX3034" fmla="*/ 255763 w 1970753"/>
              <a:gd name="connsiteY3034" fmla="*/ 565872 h 1651987"/>
              <a:gd name="connsiteX3035" fmla="*/ 255763 w 1970753"/>
              <a:gd name="connsiteY3035" fmla="*/ 563590 h 1651987"/>
              <a:gd name="connsiteX3036" fmla="*/ 258047 w 1970753"/>
              <a:gd name="connsiteY3036" fmla="*/ 563590 h 1651987"/>
              <a:gd name="connsiteX3037" fmla="*/ 258047 w 1970753"/>
              <a:gd name="connsiteY3037" fmla="*/ 561308 h 1651987"/>
              <a:gd name="connsiteX3038" fmla="*/ 258047 w 1970753"/>
              <a:gd name="connsiteY3038" fmla="*/ 559027 h 1651987"/>
              <a:gd name="connsiteX3039" fmla="*/ 260330 w 1970753"/>
              <a:gd name="connsiteY3039" fmla="*/ 559027 h 1651987"/>
              <a:gd name="connsiteX3040" fmla="*/ 260330 w 1970753"/>
              <a:gd name="connsiteY3040" fmla="*/ 556745 h 1651987"/>
              <a:gd name="connsiteX3041" fmla="*/ 262614 w 1970753"/>
              <a:gd name="connsiteY3041" fmla="*/ 556745 h 1651987"/>
              <a:gd name="connsiteX3042" fmla="*/ 262614 w 1970753"/>
              <a:gd name="connsiteY3042" fmla="*/ 554463 h 1651987"/>
              <a:gd name="connsiteX3043" fmla="*/ 260330 w 1970753"/>
              <a:gd name="connsiteY3043" fmla="*/ 554463 h 1651987"/>
              <a:gd name="connsiteX3044" fmla="*/ 260330 w 1970753"/>
              <a:gd name="connsiteY3044" fmla="*/ 552181 h 1651987"/>
              <a:gd name="connsiteX3045" fmla="*/ 260330 w 1970753"/>
              <a:gd name="connsiteY3045" fmla="*/ 549908 h 1651987"/>
              <a:gd name="connsiteX3046" fmla="*/ 258047 w 1970753"/>
              <a:gd name="connsiteY3046" fmla="*/ 549908 h 1651987"/>
              <a:gd name="connsiteX3047" fmla="*/ 258047 w 1970753"/>
              <a:gd name="connsiteY3047" fmla="*/ 547627 h 1651987"/>
              <a:gd name="connsiteX3048" fmla="*/ 255763 w 1970753"/>
              <a:gd name="connsiteY3048" fmla="*/ 547627 h 1651987"/>
              <a:gd name="connsiteX3049" fmla="*/ 255763 w 1970753"/>
              <a:gd name="connsiteY3049" fmla="*/ 545345 h 1651987"/>
              <a:gd name="connsiteX3050" fmla="*/ 255763 w 1970753"/>
              <a:gd name="connsiteY3050" fmla="*/ 543063 h 1651987"/>
              <a:gd name="connsiteX3051" fmla="*/ 258047 w 1970753"/>
              <a:gd name="connsiteY3051" fmla="*/ 543063 h 1651987"/>
              <a:gd name="connsiteX3052" fmla="*/ 258047 w 1970753"/>
              <a:gd name="connsiteY3052" fmla="*/ 540781 h 1651987"/>
              <a:gd name="connsiteX3053" fmla="*/ 260330 w 1970753"/>
              <a:gd name="connsiteY3053" fmla="*/ 540781 h 1651987"/>
              <a:gd name="connsiteX3054" fmla="*/ 260330 w 1970753"/>
              <a:gd name="connsiteY3054" fmla="*/ 538499 h 1651987"/>
              <a:gd name="connsiteX3055" fmla="*/ 262614 w 1970753"/>
              <a:gd name="connsiteY3055" fmla="*/ 538499 h 1651987"/>
              <a:gd name="connsiteX3056" fmla="*/ 264897 w 1970753"/>
              <a:gd name="connsiteY3056" fmla="*/ 538499 h 1651987"/>
              <a:gd name="connsiteX3057" fmla="*/ 264897 w 1970753"/>
              <a:gd name="connsiteY3057" fmla="*/ 536217 h 1651987"/>
              <a:gd name="connsiteX3058" fmla="*/ 264897 w 1970753"/>
              <a:gd name="connsiteY3058" fmla="*/ 533935 h 1651987"/>
              <a:gd name="connsiteX3059" fmla="*/ 267181 w 1970753"/>
              <a:gd name="connsiteY3059" fmla="*/ 533935 h 1651987"/>
              <a:gd name="connsiteX3060" fmla="*/ 267181 w 1970753"/>
              <a:gd name="connsiteY3060" fmla="*/ 531653 h 1651987"/>
              <a:gd name="connsiteX3061" fmla="*/ 269464 w 1970753"/>
              <a:gd name="connsiteY3061" fmla="*/ 531653 h 1651987"/>
              <a:gd name="connsiteX3062" fmla="*/ 269464 w 1970753"/>
              <a:gd name="connsiteY3062" fmla="*/ 529371 h 1651987"/>
              <a:gd name="connsiteX3063" fmla="*/ 271748 w 1970753"/>
              <a:gd name="connsiteY3063" fmla="*/ 529371 h 1651987"/>
              <a:gd name="connsiteX3064" fmla="*/ 271748 w 1970753"/>
              <a:gd name="connsiteY3064" fmla="*/ 527089 h 1651987"/>
              <a:gd name="connsiteX3065" fmla="*/ 271748 w 1970753"/>
              <a:gd name="connsiteY3065" fmla="*/ 524807 h 1651987"/>
              <a:gd name="connsiteX3066" fmla="*/ 269464 w 1970753"/>
              <a:gd name="connsiteY3066" fmla="*/ 524807 h 1651987"/>
              <a:gd name="connsiteX3067" fmla="*/ 271748 w 1970753"/>
              <a:gd name="connsiteY3067" fmla="*/ 524807 h 1651987"/>
              <a:gd name="connsiteX3068" fmla="*/ 269464 w 1970753"/>
              <a:gd name="connsiteY3068" fmla="*/ 524807 h 1651987"/>
              <a:gd name="connsiteX3069" fmla="*/ 269464 w 1970753"/>
              <a:gd name="connsiteY3069" fmla="*/ 522526 h 1651987"/>
              <a:gd name="connsiteX3070" fmla="*/ 269464 w 1970753"/>
              <a:gd name="connsiteY3070" fmla="*/ 520244 h 1651987"/>
              <a:gd name="connsiteX3071" fmla="*/ 271748 w 1970753"/>
              <a:gd name="connsiteY3071" fmla="*/ 520244 h 1651987"/>
              <a:gd name="connsiteX3072" fmla="*/ 274032 w 1970753"/>
              <a:gd name="connsiteY3072" fmla="*/ 520244 h 1651987"/>
              <a:gd name="connsiteX3073" fmla="*/ 276315 w 1970753"/>
              <a:gd name="connsiteY3073" fmla="*/ 520244 h 1651987"/>
              <a:gd name="connsiteX3074" fmla="*/ 278599 w 1970753"/>
              <a:gd name="connsiteY3074" fmla="*/ 520244 h 1651987"/>
              <a:gd name="connsiteX3075" fmla="*/ 280883 w 1970753"/>
              <a:gd name="connsiteY3075" fmla="*/ 520244 h 1651987"/>
              <a:gd name="connsiteX3076" fmla="*/ 280883 w 1970753"/>
              <a:gd name="connsiteY3076" fmla="*/ 517962 h 1651987"/>
              <a:gd name="connsiteX3077" fmla="*/ 283166 w 1970753"/>
              <a:gd name="connsiteY3077" fmla="*/ 517962 h 1651987"/>
              <a:gd name="connsiteX3078" fmla="*/ 285450 w 1970753"/>
              <a:gd name="connsiteY3078" fmla="*/ 517962 h 1651987"/>
              <a:gd name="connsiteX3079" fmla="*/ 285450 w 1970753"/>
              <a:gd name="connsiteY3079" fmla="*/ 515680 h 1651987"/>
              <a:gd name="connsiteX3080" fmla="*/ 287733 w 1970753"/>
              <a:gd name="connsiteY3080" fmla="*/ 515680 h 1651987"/>
              <a:gd name="connsiteX3081" fmla="*/ 287733 w 1970753"/>
              <a:gd name="connsiteY3081" fmla="*/ 513398 h 1651987"/>
              <a:gd name="connsiteX3082" fmla="*/ 290017 w 1970753"/>
              <a:gd name="connsiteY3082" fmla="*/ 513398 h 1651987"/>
              <a:gd name="connsiteX3083" fmla="*/ 290017 w 1970753"/>
              <a:gd name="connsiteY3083" fmla="*/ 511116 h 1651987"/>
              <a:gd name="connsiteX3084" fmla="*/ 290017 w 1970753"/>
              <a:gd name="connsiteY3084" fmla="*/ 508834 h 1651987"/>
              <a:gd name="connsiteX3085" fmla="*/ 292300 w 1970753"/>
              <a:gd name="connsiteY3085" fmla="*/ 508834 h 1651987"/>
              <a:gd name="connsiteX3086" fmla="*/ 292300 w 1970753"/>
              <a:gd name="connsiteY3086" fmla="*/ 506552 h 1651987"/>
              <a:gd name="connsiteX3087" fmla="*/ 292300 w 1970753"/>
              <a:gd name="connsiteY3087" fmla="*/ 504271 h 1651987"/>
              <a:gd name="connsiteX3088" fmla="*/ 294584 w 1970753"/>
              <a:gd name="connsiteY3088" fmla="*/ 504271 h 1651987"/>
              <a:gd name="connsiteX3089" fmla="*/ 296868 w 1970753"/>
              <a:gd name="connsiteY3089" fmla="*/ 504271 h 1651987"/>
              <a:gd name="connsiteX3090" fmla="*/ 296868 w 1970753"/>
              <a:gd name="connsiteY3090" fmla="*/ 501989 h 1651987"/>
              <a:gd name="connsiteX3091" fmla="*/ 299151 w 1970753"/>
              <a:gd name="connsiteY3091" fmla="*/ 501989 h 1651987"/>
              <a:gd name="connsiteX3092" fmla="*/ 301435 w 1970753"/>
              <a:gd name="connsiteY3092" fmla="*/ 501989 h 1651987"/>
              <a:gd name="connsiteX3093" fmla="*/ 303718 w 1970753"/>
              <a:gd name="connsiteY3093" fmla="*/ 501989 h 1651987"/>
              <a:gd name="connsiteX3094" fmla="*/ 303718 w 1970753"/>
              <a:gd name="connsiteY3094" fmla="*/ 499707 h 1651987"/>
              <a:gd name="connsiteX3095" fmla="*/ 306002 w 1970753"/>
              <a:gd name="connsiteY3095" fmla="*/ 499707 h 1651987"/>
              <a:gd name="connsiteX3096" fmla="*/ 308286 w 1970753"/>
              <a:gd name="connsiteY3096" fmla="*/ 499707 h 1651987"/>
              <a:gd name="connsiteX3097" fmla="*/ 308286 w 1970753"/>
              <a:gd name="connsiteY3097" fmla="*/ 497425 h 1651987"/>
              <a:gd name="connsiteX3098" fmla="*/ 310569 w 1970753"/>
              <a:gd name="connsiteY3098" fmla="*/ 497425 h 1651987"/>
              <a:gd name="connsiteX3099" fmla="*/ 312853 w 1970753"/>
              <a:gd name="connsiteY3099" fmla="*/ 497425 h 1651987"/>
              <a:gd name="connsiteX3100" fmla="*/ 312853 w 1970753"/>
              <a:gd name="connsiteY3100" fmla="*/ 495143 h 1651987"/>
              <a:gd name="connsiteX3101" fmla="*/ 315137 w 1970753"/>
              <a:gd name="connsiteY3101" fmla="*/ 495143 h 1651987"/>
              <a:gd name="connsiteX3102" fmla="*/ 315137 w 1970753"/>
              <a:gd name="connsiteY3102" fmla="*/ 492861 h 1651987"/>
              <a:gd name="connsiteX3103" fmla="*/ 315137 w 1970753"/>
              <a:gd name="connsiteY3103" fmla="*/ 490579 h 1651987"/>
              <a:gd name="connsiteX3104" fmla="*/ 315137 w 1970753"/>
              <a:gd name="connsiteY3104" fmla="*/ 488297 h 1651987"/>
              <a:gd name="connsiteX3105" fmla="*/ 312853 w 1970753"/>
              <a:gd name="connsiteY3105" fmla="*/ 488297 h 1651987"/>
              <a:gd name="connsiteX3106" fmla="*/ 310569 w 1970753"/>
              <a:gd name="connsiteY3106" fmla="*/ 488297 h 1651987"/>
              <a:gd name="connsiteX3107" fmla="*/ 310569 w 1970753"/>
              <a:gd name="connsiteY3107" fmla="*/ 486015 h 1651987"/>
              <a:gd name="connsiteX3108" fmla="*/ 308286 w 1970753"/>
              <a:gd name="connsiteY3108" fmla="*/ 486015 h 1651987"/>
              <a:gd name="connsiteX3109" fmla="*/ 308286 w 1970753"/>
              <a:gd name="connsiteY3109" fmla="*/ 483733 h 1651987"/>
              <a:gd name="connsiteX3110" fmla="*/ 308286 w 1970753"/>
              <a:gd name="connsiteY3110" fmla="*/ 481451 h 1651987"/>
              <a:gd name="connsiteX3111" fmla="*/ 310569 w 1970753"/>
              <a:gd name="connsiteY3111" fmla="*/ 481451 h 1651987"/>
              <a:gd name="connsiteX3112" fmla="*/ 310569 w 1970753"/>
              <a:gd name="connsiteY3112" fmla="*/ 479170 h 1651987"/>
              <a:gd name="connsiteX3113" fmla="*/ 312853 w 1970753"/>
              <a:gd name="connsiteY3113" fmla="*/ 479170 h 1651987"/>
              <a:gd name="connsiteX3114" fmla="*/ 315137 w 1970753"/>
              <a:gd name="connsiteY3114" fmla="*/ 479170 h 1651987"/>
              <a:gd name="connsiteX3115" fmla="*/ 315137 w 1970753"/>
              <a:gd name="connsiteY3115" fmla="*/ 476888 h 1651987"/>
              <a:gd name="connsiteX3116" fmla="*/ 317420 w 1970753"/>
              <a:gd name="connsiteY3116" fmla="*/ 476888 h 1651987"/>
              <a:gd name="connsiteX3117" fmla="*/ 317420 w 1970753"/>
              <a:gd name="connsiteY3117" fmla="*/ 474606 h 1651987"/>
              <a:gd name="connsiteX3118" fmla="*/ 317420 w 1970753"/>
              <a:gd name="connsiteY3118" fmla="*/ 472324 h 1651987"/>
              <a:gd name="connsiteX3119" fmla="*/ 319704 w 1970753"/>
              <a:gd name="connsiteY3119" fmla="*/ 472324 h 1651987"/>
              <a:gd name="connsiteX3120" fmla="*/ 319704 w 1970753"/>
              <a:gd name="connsiteY3120" fmla="*/ 470042 h 1651987"/>
              <a:gd name="connsiteX3121" fmla="*/ 319704 w 1970753"/>
              <a:gd name="connsiteY3121" fmla="*/ 467760 h 1651987"/>
              <a:gd name="connsiteX3122" fmla="*/ 321987 w 1970753"/>
              <a:gd name="connsiteY3122" fmla="*/ 467760 h 1651987"/>
              <a:gd name="connsiteX3123" fmla="*/ 321987 w 1970753"/>
              <a:gd name="connsiteY3123" fmla="*/ 465478 h 1651987"/>
              <a:gd name="connsiteX3124" fmla="*/ 324271 w 1970753"/>
              <a:gd name="connsiteY3124" fmla="*/ 465478 h 1651987"/>
              <a:gd name="connsiteX3125" fmla="*/ 326554 w 1970753"/>
              <a:gd name="connsiteY3125" fmla="*/ 465478 h 1651987"/>
              <a:gd name="connsiteX3126" fmla="*/ 328838 w 1970753"/>
              <a:gd name="connsiteY3126" fmla="*/ 465478 h 1651987"/>
              <a:gd name="connsiteX3127" fmla="*/ 331122 w 1970753"/>
              <a:gd name="connsiteY3127" fmla="*/ 465478 h 1651987"/>
              <a:gd name="connsiteX3128" fmla="*/ 333405 w 1970753"/>
              <a:gd name="connsiteY3128" fmla="*/ 465478 h 1651987"/>
              <a:gd name="connsiteX3129" fmla="*/ 335689 w 1970753"/>
              <a:gd name="connsiteY3129" fmla="*/ 465478 h 1651987"/>
              <a:gd name="connsiteX3130" fmla="*/ 337972 w 1970753"/>
              <a:gd name="connsiteY3130" fmla="*/ 465478 h 1651987"/>
              <a:gd name="connsiteX3131" fmla="*/ 340256 w 1970753"/>
              <a:gd name="connsiteY3131" fmla="*/ 465478 h 1651987"/>
              <a:gd name="connsiteX3132" fmla="*/ 340256 w 1970753"/>
              <a:gd name="connsiteY3132" fmla="*/ 463196 h 1651987"/>
              <a:gd name="connsiteX3133" fmla="*/ 342539 w 1970753"/>
              <a:gd name="connsiteY3133" fmla="*/ 463196 h 1651987"/>
              <a:gd name="connsiteX3134" fmla="*/ 344823 w 1970753"/>
              <a:gd name="connsiteY3134" fmla="*/ 463196 h 1651987"/>
              <a:gd name="connsiteX3135" fmla="*/ 344823 w 1970753"/>
              <a:gd name="connsiteY3135" fmla="*/ 465478 h 1651987"/>
              <a:gd name="connsiteX3136" fmla="*/ 344823 w 1970753"/>
              <a:gd name="connsiteY3136" fmla="*/ 463196 h 1651987"/>
              <a:gd name="connsiteX3137" fmla="*/ 347107 w 1970753"/>
              <a:gd name="connsiteY3137" fmla="*/ 463196 h 1651987"/>
              <a:gd name="connsiteX3138" fmla="*/ 347107 w 1970753"/>
              <a:gd name="connsiteY3138" fmla="*/ 460915 h 1651987"/>
              <a:gd name="connsiteX3139" fmla="*/ 347107 w 1970753"/>
              <a:gd name="connsiteY3139" fmla="*/ 458633 h 1651987"/>
              <a:gd name="connsiteX3140" fmla="*/ 347107 w 1970753"/>
              <a:gd name="connsiteY3140" fmla="*/ 456351 h 1651987"/>
              <a:gd name="connsiteX3141" fmla="*/ 349390 w 1970753"/>
              <a:gd name="connsiteY3141" fmla="*/ 456351 h 1651987"/>
              <a:gd name="connsiteX3142" fmla="*/ 349390 w 1970753"/>
              <a:gd name="connsiteY3142" fmla="*/ 454069 h 1651987"/>
              <a:gd name="connsiteX3143" fmla="*/ 351674 w 1970753"/>
              <a:gd name="connsiteY3143" fmla="*/ 451787 h 1651987"/>
              <a:gd name="connsiteX3144" fmla="*/ 351674 w 1970753"/>
              <a:gd name="connsiteY3144" fmla="*/ 449505 h 1651987"/>
              <a:gd name="connsiteX3145" fmla="*/ 353958 w 1970753"/>
              <a:gd name="connsiteY3145" fmla="*/ 449505 h 1651987"/>
              <a:gd name="connsiteX3146" fmla="*/ 353958 w 1970753"/>
              <a:gd name="connsiteY3146" fmla="*/ 447223 h 1651987"/>
              <a:gd name="connsiteX3147" fmla="*/ 356241 w 1970753"/>
              <a:gd name="connsiteY3147" fmla="*/ 447223 h 1651987"/>
              <a:gd name="connsiteX3148" fmla="*/ 356241 w 1970753"/>
              <a:gd name="connsiteY3148" fmla="*/ 444941 h 1651987"/>
              <a:gd name="connsiteX3149" fmla="*/ 358525 w 1970753"/>
              <a:gd name="connsiteY3149" fmla="*/ 444941 h 1651987"/>
              <a:gd name="connsiteX3150" fmla="*/ 358525 w 1970753"/>
              <a:gd name="connsiteY3150" fmla="*/ 442659 h 1651987"/>
              <a:gd name="connsiteX3151" fmla="*/ 360808 w 1970753"/>
              <a:gd name="connsiteY3151" fmla="*/ 442659 h 1651987"/>
              <a:gd name="connsiteX3152" fmla="*/ 360808 w 1970753"/>
              <a:gd name="connsiteY3152" fmla="*/ 440377 h 1651987"/>
              <a:gd name="connsiteX3153" fmla="*/ 363092 w 1970753"/>
              <a:gd name="connsiteY3153" fmla="*/ 440377 h 1651987"/>
              <a:gd name="connsiteX3154" fmla="*/ 363092 w 1970753"/>
              <a:gd name="connsiteY3154" fmla="*/ 438095 h 1651987"/>
              <a:gd name="connsiteX3155" fmla="*/ 365376 w 1970753"/>
              <a:gd name="connsiteY3155" fmla="*/ 438095 h 1651987"/>
              <a:gd name="connsiteX3156" fmla="*/ 367659 w 1970753"/>
              <a:gd name="connsiteY3156" fmla="*/ 438095 h 1651987"/>
              <a:gd name="connsiteX3157" fmla="*/ 367659 w 1970753"/>
              <a:gd name="connsiteY3157" fmla="*/ 435814 h 1651987"/>
              <a:gd name="connsiteX3158" fmla="*/ 369943 w 1970753"/>
              <a:gd name="connsiteY3158" fmla="*/ 435814 h 1651987"/>
              <a:gd name="connsiteX3159" fmla="*/ 372226 w 1970753"/>
              <a:gd name="connsiteY3159" fmla="*/ 435814 h 1651987"/>
              <a:gd name="connsiteX3160" fmla="*/ 372226 w 1970753"/>
              <a:gd name="connsiteY3160" fmla="*/ 433532 h 1651987"/>
              <a:gd name="connsiteX3161" fmla="*/ 374510 w 1970753"/>
              <a:gd name="connsiteY3161" fmla="*/ 433532 h 1651987"/>
              <a:gd name="connsiteX3162" fmla="*/ 376793 w 1970753"/>
              <a:gd name="connsiteY3162" fmla="*/ 433532 h 1651987"/>
              <a:gd name="connsiteX3163" fmla="*/ 379077 w 1970753"/>
              <a:gd name="connsiteY3163" fmla="*/ 433532 h 1651987"/>
              <a:gd name="connsiteX3164" fmla="*/ 381361 w 1970753"/>
              <a:gd name="connsiteY3164" fmla="*/ 433532 h 1651987"/>
              <a:gd name="connsiteX3165" fmla="*/ 383644 w 1970753"/>
              <a:gd name="connsiteY3165" fmla="*/ 433532 h 1651987"/>
              <a:gd name="connsiteX3166" fmla="*/ 383644 w 1970753"/>
              <a:gd name="connsiteY3166" fmla="*/ 431250 h 1651987"/>
              <a:gd name="connsiteX3167" fmla="*/ 385928 w 1970753"/>
              <a:gd name="connsiteY3167" fmla="*/ 431250 h 1651987"/>
              <a:gd name="connsiteX3168" fmla="*/ 388212 w 1970753"/>
              <a:gd name="connsiteY3168" fmla="*/ 431250 h 1651987"/>
              <a:gd name="connsiteX3169" fmla="*/ 388212 w 1970753"/>
              <a:gd name="connsiteY3169" fmla="*/ 428968 h 1651987"/>
              <a:gd name="connsiteX3170" fmla="*/ 390495 w 1970753"/>
              <a:gd name="connsiteY3170" fmla="*/ 428968 h 1651987"/>
              <a:gd name="connsiteX3171" fmla="*/ 390495 w 1970753"/>
              <a:gd name="connsiteY3171" fmla="*/ 431250 h 1651987"/>
              <a:gd name="connsiteX3172" fmla="*/ 392779 w 1970753"/>
              <a:gd name="connsiteY3172" fmla="*/ 431250 h 1651987"/>
              <a:gd name="connsiteX3173" fmla="*/ 392779 w 1970753"/>
              <a:gd name="connsiteY3173" fmla="*/ 428968 h 1651987"/>
              <a:gd name="connsiteX3174" fmla="*/ 392779 w 1970753"/>
              <a:gd name="connsiteY3174" fmla="*/ 426686 h 1651987"/>
              <a:gd name="connsiteX3175" fmla="*/ 395062 w 1970753"/>
              <a:gd name="connsiteY3175" fmla="*/ 426686 h 1651987"/>
              <a:gd name="connsiteX3176" fmla="*/ 395062 w 1970753"/>
              <a:gd name="connsiteY3176" fmla="*/ 424404 h 1651987"/>
              <a:gd name="connsiteX3177" fmla="*/ 395062 w 1970753"/>
              <a:gd name="connsiteY3177" fmla="*/ 422122 h 1651987"/>
              <a:gd name="connsiteX3178" fmla="*/ 397346 w 1970753"/>
              <a:gd name="connsiteY3178" fmla="*/ 422122 h 1651987"/>
              <a:gd name="connsiteX3179" fmla="*/ 399629 w 1970753"/>
              <a:gd name="connsiteY3179" fmla="*/ 422122 h 1651987"/>
              <a:gd name="connsiteX3180" fmla="*/ 401913 w 1970753"/>
              <a:gd name="connsiteY3180" fmla="*/ 422122 h 1651987"/>
              <a:gd name="connsiteX3181" fmla="*/ 401913 w 1970753"/>
              <a:gd name="connsiteY3181" fmla="*/ 424404 h 1651987"/>
              <a:gd name="connsiteX3182" fmla="*/ 404197 w 1970753"/>
              <a:gd name="connsiteY3182" fmla="*/ 424404 h 1651987"/>
              <a:gd name="connsiteX3183" fmla="*/ 406480 w 1970753"/>
              <a:gd name="connsiteY3183" fmla="*/ 424404 h 1651987"/>
              <a:gd name="connsiteX3184" fmla="*/ 408764 w 1970753"/>
              <a:gd name="connsiteY3184" fmla="*/ 424404 h 1651987"/>
              <a:gd name="connsiteX3185" fmla="*/ 408764 w 1970753"/>
              <a:gd name="connsiteY3185" fmla="*/ 422122 h 1651987"/>
              <a:gd name="connsiteX3186" fmla="*/ 411047 w 1970753"/>
              <a:gd name="connsiteY3186" fmla="*/ 422122 h 1651987"/>
              <a:gd name="connsiteX3187" fmla="*/ 413331 w 1970753"/>
              <a:gd name="connsiteY3187" fmla="*/ 422122 h 1651987"/>
              <a:gd name="connsiteX3188" fmla="*/ 415615 w 1970753"/>
              <a:gd name="connsiteY3188" fmla="*/ 422122 h 1651987"/>
              <a:gd name="connsiteX3189" fmla="*/ 417898 w 1970753"/>
              <a:gd name="connsiteY3189" fmla="*/ 422122 h 1651987"/>
              <a:gd name="connsiteX3190" fmla="*/ 420182 w 1970753"/>
              <a:gd name="connsiteY3190" fmla="*/ 422122 h 1651987"/>
              <a:gd name="connsiteX3191" fmla="*/ 420182 w 1970753"/>
              <a:gd name="connsiteY3191" fmla="*/ 419840 h 1651987"/>
              <a:gd name="connsiteX3192" fmla="*/ 422466 w 1970753"/>
              <a:gd name="connsiteY3192" fmla="*/ 419840 h 1651987"/>
              <a:gd name="connsiteX3193" fmla="*/ 424749 w 1970753"/>
              <a:gd name="connsiteY3193" fmla="*/ 419840 h 1651987"/>
              <a:gd name="connsiteX3194" fmla="*/ 427033 w 1970753"/>
              <a:gd name="connsiteY3194" fmla="*/ 419840 h 1651987"/>
              <a:gd name="connsiteX3195" fmla="*/ 427033 w 1970753"/>
              <a:gd name="connsiteY3195" fmla="*/ 417558 h 1651987"/>
              <a:gd name="connsiteX3196" fmla="*/ 429316 w 1970753"/>
              <a:gd name="connsiteY3196" fmla="*/ 417558 h 1651987"/>
              <a:gd name="connsiteX3197" fmla="*/ 429316 w 1970753"/>
              <a:gd name="connsiteY3197" fmla="*/ 415277 h 1651987"/>
              <a:gd name="connsiteX3198" fmla="*/ 431600 w 1970753"/>
              <a:gd name="connsiteY3198" fmla="*/ 415277 h 1651987"/>
              <a:gd name="connsiteX3199" fmla="*/ 431600 w 1970753"/>
              <a:gd name="connsiteY3199" fmla="*/ 412995 h 1651987"/>
              <a:gd name="connsiteX3200" fmla="*/ 431600 w 1970753"/>
              <a:gd name="connsiteY3200" fmla="*/ 410713 h 1651987"/>
              <a:gd name="connsiteX3201" fmla="*/ 433883 w 1970753"/>
              <a:gd name="connsiteY3201" fmla="*/ 410713 h 1651987"/>
              <a:gd name="connsiteX3202" fmla="*/ 433883 w 1970753"/>
              <a:gd name="connsiteY3202" fmla="*/ 408431 h 1651987"/>
              <a:gd name="connsiteX3203" fmla="*/ 436167 w 1970753"/>
              <a:gd name="connsiteY3203" fmla="*/ 408431 h 1651987"/>
              <a:gd name="connsiteX3204" fmla="*/ 436167 w 1970753"/>
              <a:gd name="connsiteY3204" fmla="*/ 406149 h 1651987"/>
              <a:gd name="connsiteX3205" fmla="*/ 438451 w 1970753"/>
              <a:gd name="connsiteY3205" fmla="*/ 406149 h 1651987"/>
              <a:gd name="connsiteX3206" fmla="*/ 438451 w 1970753"/>
              <a:gd name="connsiteY3206" fmla="*/ 408431 h 1651987"/>
              <a:gd name="connsiteX3207" fmla="*/ 440734 w 1970753"/>
              <a:gd name="connsiteY3207" fmla="*/ 408431 h 1651987"/>
              <a:gd name="connsiteX3208" fmla="*/ 443018 w 1970753"/>
              <a:gd name="connsiteY3208" fmla="*/ 408431 h 1651987"/>
              <a:gd name="connsiteX3209" fmla="*/ 445301 w 1970753"/>
              <a:gd name="connsiteY3209" fmla="*/ 410713 h 1651987"/>
              <a:gd name="connsiteX3210" fmla="*/ 445301 w 1970753"/>
              <a:gd name="connsiteY3210" fmla="*/ 412995 h 1651987"/>
              <a:gd name="connsiteX3211" fmla="*/ 447585 w 1970753"/>
              <a:gd name="connsiteY3211" fmla="*/ 412995 h 1651987"/>
              <a:gd name="connsiteX3212" fmla="*/ 449869 w 1970753"/>
              <a:gd name="connsiteY3212" fmla="*/ 412995 h 1651987"/>
              <a:gd name="connsiteX3213" fmla="*/ 449869 w 1970753"/>
              <a:gd name="connsiteY3213" fmla="*/ 410713 h 1651987"/>
              <a:gd name="connsiteX3214" fmla="*/ 449869 w 1970753"/>
              <a:gd name="connsiteY3214" fmla="*/ 412995 h 1651987"/>
              <a:gd name="connsiteX3215" fmla="*/ 452152 w 1970753"/>
              <a:gd name="connsiteY3215" fmla="*/ 412995 h 1651987"/>
              <a:gd name="connsiteX3216" fmla="*/ 452152 w 1970753"/>
              <a:gd name="connsiteY3216" fmla="*/ 415277 h 1651987"/>
              <a:gd name="connsiteX3217" fmla="*/ 452152 w 1970753"/>
              <a:gd name="connsiteY3217" fmla="*/ 417558 h 1651987"/>
              <a:gd name="connsiteX3218" fmla="*/ 454436 w 1970753"/>
              <a:gd name="connsiteY3218" fmla="*/ 417558 h 1651987"/>
              <a:gd name="connsiteX3219" fmla="*/ 454436 w 1970753"/>
              <a:gd name="connsiteY3219" fmla="*/ 419840 h 1651987"/>
              <a:gd name="connsiteX3220" fmla="*/ 456719 w 1970753"/>
              <a:gd name="connsiteY3220" fmla="*/ 419840 h 1651987"/>
              <a:gd name="connsiteX3221" fmla="*/ 456719 w 1970753"/>
              <a:gd name="connsiteY3221" fmla="*/ 422122 h 1651987"/>
              <a:gd name="connsiteX3222" fmla="*/ 459003 w 1970753"/>
              <a:gd name="connsiteY3222" fmla="*/ 422122 h 1651987"/>
              <a:gd name="connsiteX3223" fmla="*/ 461287 w 1970753"/>
              <a:gd name="connsiteY3223" fmla="*/ 422122 h 1651987"/>
              <a:gd name="connsiteX3224" fmla="*/ 463570 w 1970753"/>
              <a:gd name="connsiteY3224" fmla="*/ 422122 h 1651987"/>
              <a:gd name="connsiteX3225" fmla="*/ 465854 w 1970753"/>
              <a:gd name="connsiteY3225" fmla="*/ 422122 h 1651987"/>
              <a:gd name="connsiteX3226" fmla="*/ 465854 w 1970753"/>
              <a:gd name="connsiteY3226" fmla="*/ 419840 h 1651987"/>
              <a:gd name="connsiteX3227" fmla="*/ 468137 w 1970753"/>
              <a:gd name="connsiteY3227" fmla="*/ 419840 h 1651987"/>
              <a:gd name="connsiteX3228" fmla="*/ 468137 w 1970753"/>
              <a:gd name="connsiteY3228" fmla="*/ 417558 h 1651987"/>
              <a:gd name="connsiteX3229" fmla="*/ 468137 w 1970753"/>
              <a:gd name="connsiteY3229" fmla="*/ 415277 h 1651987"/>
              <a:gd name="connsiteX3230" fmla="*/ 468137 w 1970753"/>
              <a:gd name="connsiteY3230" fmla="*/ 412995 h 1651987"/>
              <a:gd name="connsiteX3231" fmla="*/ 468137 w 1970753"/>
              <a:gd name="connsiteY3231" fmla="*/ 410713 h 1651987"/>
              <a:gd name="connsiteX3232" fmla="*/ 468137 w 1970753"/>
              <a:gd name="connsiteY3232" fmla="*/ 408431 h 1651987"/>
              <a:gd name="connsiteX3233" fmla="*/ 468137 w 1970753"/>
              <a:gd name="connsiteY3233" fmla="*/ 406149 h 1651987"/>
              <a:gd name="connsiteX3234" fmla="*/ 468137 w 1970753"/>
              <a:gd name="connsiteY3234" fmla="*/ 403867 h 1651987"/>
              <a:gd name="connsiteX3235" fmla="*/ 468137 w 1970753"/>
              <a:gd name="connsiteY3235" fmla="*/ 401585 h 1651987"/>
              <a:gd name="connsiteX3236" fmla="*/ 468137 w 1970753"/>
              <a:gd name="connsiteY3236" fmla="*/ 399303 h 1651987"/>
              <a:gd name="connsiteX3237" fmla="*/ 468137 w 1970753"/>
              <a:gd name="connsiteY3237" fmla="*/ 397021 h 1651987"/>
              <a:gd name="connsiteX3238" fmla="*/ 468137 w 1970753"/>
              <a:gd name="connsiteY3238" fmla="*/ 394749 h 1651987"/>
              <a:gd name="connsiteX3239" fmla="*/ 470421 w 1970753"/>
              <a:gd name="connsiteY3239" fmla="*/ 394749 h 1651987"/>
              <a:gd name="connsiteX3240" fmla="*/ 472705 w 1970753"/>
              <a:gd name="connsiteY3240" fmla="*/ 394749 h 1651987"/>
              <a:gd name="connsiteX3241" fmla="*/ 474988 w 1970753"/>
              <a:gd name="connsiteY3241" fmla="*/ 394749 h 1651987"/>
              <a:gd name="connsiteX3242" fmla="*/ 477272 w 1970753"/>
              <a:gd name="connsiteY3242" fmla="*/ 394749 h 1651987"/>
              <a:gd name="connsiteX3243" fmla="*/ 479555 w 1970753"/>
              <a:gd name="connsiteY3243" fmla="*/ 394749 h 1651987"/>
              <a:gd name="connsiteX3244" fmla="*/ 479555 w 1970753"/>
              <a:gd name="connsiteY3244" fmla="*/ 392467 h 1651987"/>
              <a:gd name="connsiteX3245" fmla="*/ 481839 w 1970753"/>
              <a:gd name="connsiteY3245" fmla="*/ 392467 h 1651987"/>
              <a:gd name="connsiteX3246" fmla="*/ 481839 w 1970753"/>
              <a:gd name="connsiteY3246" fmla="*/ 390185 h 1651987"/>
              <a:gd name="connsiteX3247" fmla="*/ 484122 w 1970753"/>
              <a:gd name="connsiteY3247" fmla="*/ 390185 h 1651987"/>
              <a:gd name="connsiteX3248" fmla="*/ 484122 w 1970753"/>
              <a:gd name="connsiteY3248" fmla="*/ 387903 h 1651987"/>
              <a:gd name="connsiteX3249" fmla="*/ 486406 w 1970753"/>
              <a:gd name="connsiteY3249" fmla="*/ 387903 h 1651987"/>
              <a:gd name="connsiteX3250" fmla="*/ 488690 w 1970753"/>
              <a:gd name="connsiteY3250" fmla="*/ 387903 h 1651987"/>
              <a:gd name="connsiteX3251" fmla="*/ 490973 w 1970753"/>
              <a:gd name="connsiteY3251" fmla="*/ 387903 h 1651987"/>
              <a:gd name="connsiteX3252" fmla="*/ 490973 w 1970753"/>
              <a:gd name="connsiteY3252" fmla="*/ 385621 h 1651987"/>
              <a:gd name="connsiteX3253" fmla="*/ 493257 w 1970753"/>
              <a:gd name="connsiteY3253" fmla="*/ 385621 h 1651987"/>
              <a:gd name="connsiteX3254" fmla="*/ 493257 w 1970753"/>
              <a:gd name="connsiteY3254" fmla="*/ 383339 h 1651987"/>
              <a:gd name="connsiteX3255" fmla="*/ 495541 w 1970753"/>
              <a:gd name="connsiteY3255" fmla="*/ 383339 h 1651987"/>
              <a:gd name="connsiteX3256" fmla="*/ 497824 w 1970753"/>
              <a:gd name="connsiteY3256" fmla="*/ 383339 h 1651987"/>
              <a:gd name="connsiteX3257" fmla="*/ 500108 w 1970753"/>
              <a:gd name="connsiteY3257" fmla="*/ 381058 h 1651987"/>
              <a:gd name="connsiteX3258" fmla="*/ 502391 w 1970753"/>
              <a:gd name="connsiteY3258" fmla="*/ 381058 h 1651987"/>
              <a:gd name="connsiteX3259" fmla="*/ 502391 w 1970753"/>
              <a:gd name="connsiteY3259" fmla="*/ 378776 h 1651987"/>
              <a:gd name="connsiteX3260" fmla="*/ 504675 w 1970753"/>
              <a:gd name="connsiteY3260" fmla="*/ 378776 h 1651987"/>
              <a:gd name="connsiteX3261" fmla="*/ 504675 w 1970753"/>
              <a:gd name="connsiteY3261" fmla="*/ 376494 h 1651987"/>
              <a:gd name="connsiteX3262" fmla="*/ 506959 w 1970753"/>
              <a:gd name="connsiteY3262" fmla="*/ 376494 h 1651987"/>
              <a:gd name="connsiteX3263" fmla="*/ 509242 w 1970753"/>
              <a:gd name="connsiteY3263" fmla="*/ 376494 h 1651987"/>
              <a:gd name="connsiteX3264" fmla="*/ 511526 w 1970753"/>
              <a:gd name="connsiteY3264" fmla="*/ 376494 h 1651987"/>
              <a:gd name="connsiteX3265" fmla="*/ 513809 w 1970753"/>
              <a:gd name="connsiteY3265" fmla="*/ 376494 h 1651987"/>
              <a:gd name="connsiteX3266" fmla="*/ 516093 w 1970753"/>
              <a:gd name="connsiteY3266" fmla="*/ 376494 h 1651987"/>
              <a:gd name="connsiteX3267" fmla="*/ 516093 w 1970753"/>
              <a:gd name="connsiteY3267" fmla="*/ 374212 h 1651987"/>
              <a:gd name="connsiteX3268" fmla="*/ 516093 w 1970753"/>
              <a:gd name="connsiteY3268" fmla="*/ 371930 h 1651987"/>
              <a:gd name="connsiteX3269" fmla="*/ 518376 w 1970753"/>
              <a:gd name="connsiteY3269" fmla="*/ 371930 h 1651987"/>
              <a:gd name="connsiteX3270" fmla="*/ 520660 w 1970753"/>
              <a:gd name="connsiteY3270" fmla="*/ 371930 h 1651987"/>
              <a:gd name="connsiteX3271" fmla="*/ 520660 w 1970753"/>
              <a:gd name="connsiteY3271" fmla="*/ 369648 h 1651987"/>
              <a:gd name="connsiteX3272" fmla="*/ 522944 w 1970753"/>
              <a:gd name="connsiteY3272" fmla="*/ 369648 h 1651987"/>
              <a:gd name="connsiteX3273" fmla="*/ 525227 w 1970753"/>
              <a:gd name="connsiteY3273" fmla="*/ 369648 h 1651987"/>
              <a:gd name="connsiteX3274" fmla="*/ 525227 w 1970753"/>
              <a:gd name="connsiteY3274" fmla="*/ 371930 h 1651987"/>
              <a:gd name="connsiteX3275" fmla="*/ 525227 w 1970753"/>
              <a:gd name="connsiteY3275" fmla="*/ 374212 h 1651987"/>
              <a:gd name="connsiteX3276" fmla="*/ 525227 w 1970753"/>
              <a:gd name="connsiteY3276" fmla="*/ 376494 h 1651987"/>
              <a:gd name="connsiteX3277" fmla="*/ 527511 w 1970753"/>
              <a:gd name="connsiteY3277" fmla="*/ 376494 h 1651987"/>
              <a:gd name="connsiteX3278" fmla="*/ 527511 w 1970753"/>
              <a:gd name="connsiteY3278" fmla="*/ 378776 h 1651987"/>
              <a:gd name="connsiteX3279" fmla="*/ 529795 w 1970753"/>
              <a:gd name="connsiteY3279" fmla="*/ 378776 h 1651987"/>
              <a:gd name="connsiteX3280" fmla="*/ 529795 w 1970753"/>
              <a:gd name="connsiteY3280" fmla="*/ 381058 h 1651987"/>
              <a:gd name="connsiteX3281" fmla="*/ 529795 w 1970753"/>
              <a:gd name="connsiteY3281" fmla="*/ 383339 h 1651987"/>
              <a:gd name="connsiteX3282" fmla="*/ 527511 w 1970753"/>
              <a:gd name="connsiteY3282" fmla="*/ 383339 h 1651987"/>
              <a:gd name="connsiteX3283" fmla="*/ 527511 w 1970753"/>
              <a:gd name="connsiteY3283" fmla="*/ 385621 h 1651987"/>
              <a:gd name="connsiteX3284" fmla="*/ 529795 w 1970753"/>
              <a:gd name="connsiteY3284" fmla="*/ 385621 h 1651987"/>
              <a:gd name="connsiteX3285" fmla="*/ 529795 w 1970753"/>
              <a:gd name="connsiteY3285" fmla="*/ 387903 h 1651987"/>
              <a:gd name="connsiteX3286" fmla="*/ 529795 w 1970753"/>
              <a:gd name="connsiteY3286" fmla="*/ 390185 h 1651987"/>
              <a:gd name="connsiteX3287" fmla="*/ 532078 w 1970753"/>
              <a:gd name="connsiteY3287" fmla="*/ 390185 h 1651987"/>
              <a:gd name="connsiteX3288" fmla="*/ 532078 w 1970753"/>
              <a:gd name="connsiteY3288" fmla="*/ 392467 h 1651987"/>
              <a:gd name="connsiteX3289" fmla="*/ 534362 w 1970753"/>
              <a:gd name="connsiteY3289" fmla="*/ 392467 h 1651987"/>
              <a:gd name="connsiteX3290" fmla="*/ 536645 w 1970753"/>
              <a:gd name="connsiteY3290" fmla="*/ 394749 h 1651987"/>
              <a:gd name="connsiteX3291" fmla="*/ 538929 w 1970753"/>
              <a:gd name="connsiteY3291" fmla="*/ 394749 h 1651987"/>
              <a:gd name="connsiteX3292" fmla="*/ 541212 w 1970753"/>
              <a:gd name="connsiteY3292" fmla="*/ 394749 h 1651987"/>
              <a:gd name="connsiteX3293" fmla="*/ 543496 w 1970753"/>
              <a:gd name="connsiteY3293" fmla="*/ 394749 h 1651987"/>
              <a:gd name="connsiteX3294" fmla="*/ 545780 w 1970753"/>
              <a:gd name="connsiteY3294" fmla="*/ 394749 h 1651987"/>
              <a:gd name="connsiteX3295" fmla="*/ 545780 w 1970753"/>
              <a:gd name="connsiteY3295" fmla="*/ 392467 h 1651987"/>
              <a:gd name="connsiteX3296" fmla="*/ 548063 w 1970753"/>
              <a:gd name="connsiteY3296" fmla="*/ 392467 h 1651987"/>
              <a:gd name="connsiteX3297" fmla="*/ 548063 w 1970753"/>
              <a:gd name="connsiteY3297" fmla="*/ 390185 h 1651987"/>
              <a:gd name="connsiteX3298" fmla="*/ 548063 w 1970753"/>
              <a:gd name="connsiteY3298" fmla="*/ 387903 h 1651987"/>
              <a:gd name="connsiteX3299" fmla="*/ 550347 w 1970753"/>
              <a:gd name="connsiteY3299" fmla="*/ 387903 h 1651987"/>
              <a:gd name="connsiteX3300" fmla="*/ 552630 w 1970753"/>
              <a:gd name="connsiteY3300" fmla="*/ 387903 h 1651987"/>
              <a:gd name="connsiteX3301" fmla="*/ 552630 w 1970753"/>
              <a:gd name="connsiteY3301" fmla="*/ 385621 h 1651987"/>
              <a:gd name="connsiteX3302" fmla="*/ 554914 w 1970753"/>
              <a:gd name="connsiteY3302" fmla="*/ 385621 h 1651987"/>
              <a:gd name="connsiteX3303" fmla="*/ 557198 w 1970753"/>
              <a:gd name="connsiteY3303" fmla="*/ 385621 h 1651987"/>
              <a:gd name="connsiteX3304" fmla="*/ 559481 w 1970753"/>
              <a:gd name="connsiteY3304" fmla="*/ 385621 h 1651987"/>
              <a:gd name="connsiteX3305" fmla="*/ 561765 w 1970753"/>
              <a:gd name="connsiteY3305" fmla="*/ 385621 h 1651987"/>
              <a:gd name="connsiteX3306" fmla="*/ 561765 w 1970753"/>
              <a:gd name="connsiteY3306" fmla="*/ 387903 h 1651987"/>
              <a:gd name="connsiteX3307" fmla="*/ 564049 w 1970753"/>
              <a:gd name="connsiteY3307" fmla="*/ 387903 h 1651987"/>
              <a:gd name="connsiteX3308" fmla="*/ 564049 w 1970753"/>
              <a:gd name="connsiteY3308" fmla="*/ 390185 h 1651987"/>
              <a:gd name="connsiteX3309" fmla="*/ 564049 w 1970753"/>
              <a:gd name="connsiteY3309" fmla="*/ 392467 h 1651987"/>
              <a:gd name="connsiteX3310" fmla="*/ 566332 w 1970753"/>
              <a:gd name="connsiteY3310" fmla="*/ 392467 h 1651987"/>
              <a:gd name="connsiteX3311" fmla="*/ 566332 w 1970753"/>
              <a:gd name="connsiteY3311" fmla="*/ 394749 h 1651987"/>
              <a:gd name="connsiteX3312" fmla="*/ 566332 w 1970753"/>
              <a:gd name="connsiteY3312" fmla="*/ 397021 h 1651987"/>
              <a:gd name="connsiteX3313" fmla="*/ 568616 w 1970753"/>
              <a:gd name="connsiteY3313" fmla="*/ 397021 h 1651987"/>
              <a:gd name="connsiteX3314" fmla="*/ 568616 w 1970753"/>
              <a:gd name="connsiteY3314" fmla="*/ 394749 h 1651987"/>
              <a:gd name="connsiteX3315" fmla="*/ 570899 w 1970753"/>
              <a:gd name="connsiteY3315" fmla="*/ 394749 h 1651987"/>
              <a:gd name="connsiteX3316" fmla="*/ 573183 w 1970753"/>
              <a:gd name="connsiteY3316" fmla="*/ 394749 h 1651987"/>
              <a:gd name="connsiteX3317" fmla="*/ 573183 w 1970753"/>
              <a:gd name="connsiteY3317" fmla="*/ 392467 h 1651987"/>
              <a:gd name="connsiteX3318" fmla="*/ 575466 w 1970753"/>
              <a:gd name="connsiteY3318" fmla="*/ 392467 h 1651987"/>
              <a:gd name="connsiteX3319" fmla="*/ 577750 w 1970753"/>
              <a:gd name="connsiteY3319" fmla="*/ 392467 h 1651987"/>
              <a:gd name="connsiteX3320" fmla="*/ 577750 w 1970753"/>
              <a:gd name="connsiteY3320" fmla="*/ 394749 h 1651987"/>
              <a:gd name="connsiteX3321" fmla="*/ 580034 w 1970753"/>
              <a:gd name="connsiteY3321" fmla="*/ 394749 h 1651987"/>
              <a:gd name="connsiteX3322" fmla="*/ 580034 w 1970753"/>
              <a:gd name="connsiteY3322" fmla="*/ 397021 h 1651987"/>
              <a:gd name="connsiteX3323" fmla="*/ 577750 w 1970753"/>
              <a:gd name="connsiteY3323" fmla="*/ 397021 h 1651987"/>
              <a:gd name="connsiteX3324" fmla="*/ 580034 w 1970753"/>
              <a:gd name="connsiteY3324" fmla="*/ 399303 h 1651987"/>
              <a:gd name="connsiteX3325" fmla="*/ 582317 w 1970753"/>
              <a:gd name="connsiteY3325" fmla="*/ 399303 h 1651987"/>
              <a:gd name="connsiteX3326" fmla="*/ 584601 w 1970753"/>
              <a:gd name="connsiteY3326" fmla="*/ 399303 h 1651987"/>
              <a:gd name="connsiteX3327" fmla="*/ 584601 w 1970753"/>
              <a:gd name="connsiteY3327" fmla="*/ 401585 h 1651987"/>
              <a:gd name="connsiteX3328" fmla="*/ 586884 w 1970753"/>
              <a:gd name="connsiteY3328" fmla="*/ 401585 h 1651987"/>
              <a:gd name="connsiteX3329" fmla="*/ 586884 w 1970753"/>
              <a:gd name="connsiteY3329" fmla="*/ 403867 h 1651987"/>
              <a:gd name="connsiteX3330" fmla="*/ 589168 w 1970753"/>
              <a:gd name="connsiteY3330" fmla="*/ 403867 h 1651987"/>
              <a:gd name="connsiteX3331" fmla="*/ 589168 w 1970753"/>
              <a:gd name="connsiteY3331" fmla="*/ 406149 h 1651987"/>
              <a:gd name="connsiteX3332" fmla="*/ 589168 w 1970753"/>
              <a:gd name="connsiteY3332" fmla="*/ 408431 h 1651987"/>
              <a:gd name="connsiteX3333" fmla="*/ 589168 w 1970753"/>
              <a:gd name="connsiteY3333" fmla="*/ 410713 h 1651987"/>
              <a:gd name="connsiteX3334" fmla="*/ 589168 w 1970753"/>
              <a:gd name="connsiteY3334" fmla="*/ 412995 h 1651987"/>
              <a:gd name="connsiteX3335" fmla="*/ 589168 w 1970753"/>
              <a:gd name="connsiteY3335" fmla="*/ 415277 h 1651987"/>
              <a:gd name="connsiteX3336" fmla="*/ 589168 w 1970753"/>
              <a:gd name="connsiteY3336" fmla="*/ 417558 h 1651987"/>
              <a:gd name="connsiteX3337" fmla="*/ 589168 w 1970753"/>
              <a:gd name="connsiteY3337" fmla="*/ 419840 h 1651987"/>
              <a:gd name="connsiteX3338" fmla="*/ 589168 w 1970753"/>
              <a:gd name="connsiteY3338" fmla="*/ 422122 h 1651987"/>
              <a:gd name="connsiteX3339" fmla="*/ 589168 w 1970753"/>
              <a:gd name="connsiteY3339" fmla="*/ 424404 h 1651987"/>
              <a:gd name="connsiteX3340" fmla="*/ 586884 w 1970753"/>
              <a:gd name="connsiteY3340" fmla="*/ 424404 h 1651987"/>
              <a:gd name="connsiteX3341" fmla="*/ 586884 w 1970753"/>
              <a:gd name="connsiteY3341" fmla="*/ 426686 h 1651987"/>
              <a:gd name="connsiteX3342" fmla="*/ 586884 w 1970753"/>
              <a:gd name="connsiteY3342" fmla="*/ 428968 h 1651987"/>
              <a:gd name="connsiteX3343" fmla="*/ 589168 w 1970753"/>
              <a:gd name="connsiteY3343" fmla="*/ 428968 h 1651987"/>
              <a:gd name="connsiteX3344" fmla="*/ 589168 w 1970753"/>
              <a:gd name="connsiteY3344" fmla="*/ 431250 h 1651987"/>
              <a:gd name="connsiteX3345" fmla="*/ 591451 w 1970753"/>
              <a:gd name="connsiteY3345" fmla="*/ 431250 h 1651987"/>
              <a:gd name="connsiteX3346" fmla="*/ 591451 w 1970753"/>
              <a:gd name="connsiteY3346" fmla="*/ 433532 h 1651987"/>
              <a:gd name="connsiteX3347" fmla="*/ 593735 w 1970753"/>
              <a:gd name="connsiteY3347" fmla="*/ 435814 h 1651987"/>
              <a:gd name="connsiteX3348" fmla="*/ 596019 w 1970753"/>
              <a:gd name="connsiteY3348" fmla="*/ 438095 h 1651987"/>
              <a:gd name="connsiteX3349" fmla="*/ 598302 w 1970753"/>
              <a:gd name="connsiteY3349" fmla="*/ 438095 h 1651987"/>
              <a:gd name="connsiteX3350" fmla="*/ 600586 w 1970753"/>
              <a:gd name="connsiteY3350" fmla="*/ 438095 h 1651987"/>
              <a:gd name="connsiteX3351" fmla="*/ 600586 w 1970753"/>
              <a:gd name="connsiteY3351" fmla="*/ 435814 h 1651987"/>
              <a:gd name="connsiteX3352" fmla="*/ 602870 w 1970753"/>
              <a:gd name="connsiteY3352" fmla="*/ 435814 h 1651987"/>
              <a:gd name="connsiteX3353" fmla="*/ 602870 w 1970753"/>
              <a:gd name="connsiteY3353" fmla="*/ 433532 h 1651987"/>
              <a:gd name="connsiteX3354" fmla="*/ 605153 w 1970753"/>
              <a:gd name="connsiteY3354" fmla="*/ 433532 h 1651987"/>
              <a:gd name="connsiteX3355" fmla="*/ 607437 w 1970753"/>
              <a:gd name="connsiteY3355" fmla="*/ 433532 h 1651987"/>
              <a:gd name="connsiteX3356" fmla="*/ 609720 w 1970753"/>
              <a:gd name="connsiteY3356" fmla="*/ 433532 h 1651987"/>
              <a:gd name="connsiteX3357" fmla="*/ 609720 w 1970753"/>
              <a:gd name="connsiteY3357" fmla="*/ 431250 h 1651987"/>
              <a:gd name="connsiteX3358" fmla="*/ 612004 w 1970753"/>
              <a:gd name="connsiteY3358" fmla="*/ 431250 h 1651987"/>
              <a:gd name="connsiteX3359" fmla="*/ 612004 w 1970753"/>
              <a:gd name="connsiteY3359" fmla="*/ 428968 h 1651987"/>
              <a:gd name="connsiteX3360" fmla="*/ 614288 w 1970753"/>
              <a:gd name="connsiteY3360" fmla="*/ 428968 h 1651987"/>
              <a:gd name="connsiteX3361" fmla="*/ 614288 w 1970753"/>
              <a:gd name="connsiteY3361" fmla="*/ 426686 h 1651987"/>
              <a:gd name="connsiteX3362" fmla="*/ 616571 w 1970753"/>
              <a:gd name="connsiteY3362" fmla="*/ 426686 h 1651987"/>
              <a:gd name="connsiteX3363" fmla="*/ 616571 w 1970753"/>
              <a:gd name="connsiteY3363" fmla="*/ 424404 h 1651987"/>
              <a:gd name="connsiteX3364" fmla="*/ 618855 w 1970753"/>
              <a:gd name="connsiteY3364" fmla="*/ 424404 h 1651987"/>
              <a:gd name="connsiteX3365" fmla="*/ 618855 w 1970753"/>
              <a:gd name="connsiteY3365" fmla="*/ 422122 h 1651987"/>
              <a:gd name="connsiteX3366" fmla="*/ 621138 w 1970753"/>
              <a:gd name="connsiteY3366" fmla="*/ 422122 h 1651987"/>
              <a:gd name="connsiteX3367" fmla="*/ 621138 w 1970753"/>
              <a:gd name="connsiteY3367" fmla="*/ 419840 h 1651987"/>
              <a:gd name="connsiteX3368" fmla="*/ 621138 w 1970753"/>
              <a:gd name="connsiteY3368" fmla="*/ 417558 h 1651987"/>
              <a:gd name="connsiteX3369" fmla="*/ 621138 w 1970753"/>
              <a:gd name="connsiteY3369" fmla="*/ 415277 h 1651987"/>
              <a:gd name="connsiteX3370" fmla="*/ 618855 w 1970753"/>
              <a:gd name="connsiteY3370" fmla="*/ 415277 h 1651987"/>
              <a:gd name="connsiteX3371" fmla="*/ 616571 w 1970753"/>
              <a:gd name="connsiteY3371" fmla="*/ 415277 h 1651987"/>
              <a:gd name="connsiteX3372" fmla="*/ 614288 w 1970753"/>
              <a:gd name="connsiteY3372" fmla="*/ 415277 h 1651987"/>
              <a:gd name="connsiteX3373" fmla="*/ 612004 w 1970753"/>
              <a:gd name="connsiteY3373" fmla="*/ 415277 h 1651987"/>
              <a:gd name="connsiteX3374" fmla="*/ 609720 w 1970753"/>
              <a:gd name="connsiteY3374" fmla="*/ 415277 h 1651987"/>
              <a:gd name="connsiteX3375" fmla="*/ 607437 w 1970753"/>
              <a:gd name="connsiteY3375" fmla="*/ 412995 h 1651987"/>
              <a:gd name="connsiteX3376" fmla="*/ 607437 w 1970753"/>
              <a:gd name="connsiteY3376" fmla="*/ 410713 h 1651987"/>
              <a:gd name="connsiteX3377" fmla="*/ 605153 w 1970753"/>
              <a:gd name="connsiteY3377" fmla="*/ 410713 h 1651987"/>
              <a:gd name="connsiteX3378" fmla="*/ 607437 w 1970753"/>
              <a:gd name="connsiteY3378" fmla="*/ 410713 h 1651987"/>
              <a:gd name="connsiteX3379" fmla="*/ 607437 w 1970753"/>
              <a:gd name="connsiteY3379" fmla="*/ 408431 h 1651987"/>
              <a:gd name="connsiteX3380" fmla="*/ 609720 w 1970753"/>
              <a:gd name="connsiteY3380" fmla="*/ 408431 h 1651987"/>
              <a:gd name="connsiteX3381" fmla="*/ 609720 w 1970753"/>
              <a:gd name="connsiteY3381" fmla="*/ 406149 h 1651987"/>
              <a:gd name="connsiteX3382" fmla="*/ 612004 w 1970753"/>
              <a:gd name="connsiteY3382" fmla="*/ 406149 h 1651987"/>
              <a:gd name="connsiteX3383" fmla="*/ 614288 w 1970753"/>
              <a:gd name="connsiteY3383" fmla="*/ 406149 h 1651987"/>
              <a:gd name="connsiteX3384" fmla="*/ 614288 w 1970753"/>
              <a:gd name="connsiteY3384" fmla="*/ 403867 h 1651987"/>
              <a:gd name="connsiteX3385" fmla="*/ 616571 w 1970753"/>
              <a:gd name="connsiteY3385" fmla="*/ 403867 h 1651987"/>
              <a:gd name="connsiteX3386" fmla="*/ 616571 w 1970753"/>
              <a:gd name="connsiteY3386" fmla="*/ 401585 h 1651987"/>
              <a:gd name="connsiteX3387" fmla="*/ 616571 w 1970753"/>
              <a:gd name="connsiteY3387" fmla="*/ 399303 h 1651987"/>
              <a:gd name="connsiteX3388" fmla="*/ 616571 w 1970753"/>
              <a:gd name="connsiteY3388" fmla="*/ 397021 h 1651987"/>
              <a:gd name="connsiteX3389" fmla="*/ 614288 w 1970753"/>
              <a:gd name="connsiteY3389" fmla="*/ 394749 h 1651987"/>
              <a:gd name="connsiteX3390" fmla="*/ 614288 w 1970753"/>
              <a:gd name="connsiteY3390" fmla="*/ 392467 h 1651987"/>
              <a:gd name="connsiteX3391" fmla="*/ 614288 w 1970753"/>
              <a:gd name="connsiteY3391" fmla="*/ 390185 h 1651987"/>
              <a:gd name="connsiteX3392" fmla="*/ 614288 w 1970753"/>
              <a:gd name="connsiteY3392" fmla="*/ 387903 h 1651987"/>
              <a:gd name="connsiteX3393" fmla="*/ 614288 w 1970753"/>
              <a:gd name="connsiteY3393" fmla="*/ 385621 h 1651987"/>
              <a:gd name="connsiteX3394" fmla="*/ 616571 w 1970753"/>
              <a:gd name="connsiteY3394" fmla="*/ 385621 h 1651987"/>
              <a:gd name="connsiteX3395" fmla="*/ 616571 w 1970753"/>
              <a:gd name="connsiteY3395" fmla="*/ 383339 h 1651987"/>
              <a:gd name="connsiteX3396" fmla="*/ 616571 w 1970753"/>
              <a:gd name="connsiteY3396" fmla="*/ 381058 h 1651987"/>
              <a:gd name="connsiteX3397" fmla="*/ 618855 w 1970753"/>
              <a:gd name="connsiteY3397" fmla="*/ 381058 h 1651987"/>
              <a:gd name="connsiteX3398" fmla="*/ 621138 w 1970753"/>
              <a:gd name="connsiteY3398" fmla="*/ 381058 h 1651987"/>
              <a:gd name="connsiteX3399" fmla="*/ 623422 w 1970753"/>
              <a:gd name="connsiteY3399" fmla="*/ 381058 h 1651987"/>
              <a:gd name="connsiteX3400" fmla="*/ 625705 w 1970753"/>
              <a:gd name="connsiteY3400" fmla="*/ 381058 h 1651987"/>
              <a:gd name="connsiteX3401" fmla="*/ 627989 w 1970753"/>
              <a:gd name="connsiteY3401" fmla="*/ 381058 h 1651987"/>
              <a:gd name="connsiteX3402" fmla="*/ 627989 w 1970753"/>
              <a:gd name="connsiteY3402" fmla="*/ 378776 h 1651987"/>
              <a:gd name="connsiteX3403" fmla="*/ 630273 w 1970753"/>
              <a:gd name="connsiteY3403" fmla="*/ 376494 h 1651987"/>
              <a:gd name="connsiteX3404" fmla="*/ 630273 w 1970753"/>
              <a:gd name="connsiteY3404" fmla="*/ 374212 h 1651987"/>
              <a:gd name="connsiteX3405" fmla="*/ 632556 w 1970753"/>
              <a:gd name="connsiteY3405" fmla="*/ 374212 h 1651987"/>
              <a:gd name="connsiteX3406" fmla="*/ 630273 w 1970753"/>
              <a:gd name="connsiteY3406" fmla="*/ 374212 h 1651987"/>
              <a:gd name="connsiteX3407" fmla="*/ 630273 w 1970753"/>
              <a:gd name="connsiteY3407" fmla="*/ 371930 h 1651987"/>
              <a:gd name="connsiteX3408" fmla="*/ 630273 w 1970753"/>
              <a:gd name="connsiteY3408" fmla="*/ 369648 h 1651987"/>
              <a:gd name="connsiteX3409" fmla="*/ 632556 w 1970753"/>
              <a:gd name="connsiteY3409" fmla="*/ 367366 h 1651987"/>
              <a:gd name="connsiteX3410" fmla="*/ 634840 w 1970753"/>
              <a:gd name="connsiteY3410" fmla="*/ 367366 h 1651987"/>
              <a:gd name="connsiteX3411" fmla="*/ 634840 w 1970753"/>
              <a:gd name="connsiteY3411" fmla="*/ 365084 h 1651987"/>
              <a:gd name="connsiteX3412" fmla="*/ 637124 w 1970753"/>
              <a:gd name="connsiteY3412" fmla="*/ 365084 h 1651987"/>
              <a:gd name="connsiteX3413" fmla="*/ 637124 w 1970753"/>
              <a:gd name="connsiteY3413" fmla="*/ 367366 h 1651987"/>
              <a:gd name="connsiteX3414" fmla="*/ 639407 w 1970753"/>
              <a:gd name="connsiteY3414" fmla="*/ 367366 h 1651987"/>
              <a:gd name="connsiteX3415" fmla="*/ 641691 w 1970753"/>
              <a:gd name="connsiteY3415" fmla="*/ 367366 h 1651987"/>
              <a:gd name="connsiteX3416" fmla="*/ 643974 w 1970753"/>
              <a:gd name="connsiteY3416" fmla="*/ 367366 h 1651987"/>
              <a:gd name="connsiteX3417" fmla="*/ 643974 w 1970753"/>
              <a:gd name="connsiteY3417" fmla="*/ 365084 h 1651987"/>
              <a:gd name="connsiteX3418" fmla="*/ 643974 w 1970753"/>
              <a:gd name="connsiteY3418" fmla="*/ 362802 h 1651987"/>
              <a:gd name="connsiteX3419" fmla="*/ 646258 w 1970753"/>
              <a:gd name="connsiteY3419" fmla="*/ 362802 h 1651987"/>
              <a:gd name="connsiteX3420" fmla="*/ 646258 w 1970753"/>
              <a:gd name="connsiteY3420" fmla="*/ 360521 h 1651987"/>
              <a:gd name="connsiteX3421" fmla="*/ 646258 w 1970753"/>
              <a:gd name="connsiteY3421" fmla="*/ 358239 h 1651987"/>
              <a:gd name="connsiteX3422" fmla="*/ 646258 w 1970753"/>
              <a:gd name="connsiteY3422" fmla="*/ 355957 h 1651987"/>
              <a:gd name="connsiteX3423" fmla="*/ 648541 w 1970753"/>
              <a:gd name="connsiteY3423" fmla="*/ 355957 h 1651987"/>
              <a:gd name="connsiteX3424" fmla="*/ 650825 w 1970753"/>
              <a:gd name="connsiteY3424" fmla="*/ 355957 h 1651987"/>
              <a:gd name="connsiteX3425" fmla="*/ 653109 w 1970753"/>
              <a:gd name="connsiteY3425" fmla="*/ 355957 h 1651987"/>
              <a:gd name="connsiteX3426" fmla="*/ 653109 w 1970753"/>
              <a:gd name="connsiteY3426" fmla="*/ 353675 h 1651987"/>
              <a:gd name="connsiteX3427" fmla="*/ 655392 w 1970753"/>
              <a:gd name="connsiteY3427" fmla="*/ 353675 h 1651987"/>
              <a:gd name="connsiteX3428" fmla="*/ 655392 w 1970753"/>
              <a:gd name="connsiteY3428" fmla="*/ 351393 h 1651987"/>
              <a:gd name="connsiteX3429" fmla="*/ 657676 w 1970753"/>
              <a:gd name="connsiteY3429" fmla="*/ 351393 h 1651987"/>
              <a:gd name="connsiteX3430" fmla="*/ 657676 w 1970753"/>
              <a:gd name="connsiteY3430" fmla="*/ 349111 h 1651987"/>
              <a:gd name="connsiteX3431" fmla="*/ 659959 w 1970753"/>
              <a:gd name="connsiteY3431" fmla="*/ 349111 h 1651987"/>
              <a:gd name="connsiteX3432" fmla="*/ 659959 w 1970753"/>
              <a:gd name="connsiteY3432" fmla="*/ 346829 h 1651987"/>
              <a:gd name="connsiteX3433" fmla="*/ 662243 w 1970753"/>
              <a:gd name="connsiteY3433" fmla="*/ 346829 h 1651987"/>
              <a:gd name="connsiteX3434" fmla="*/ 664527 w 1970753"/>
              <a:gd name="connsiteY3434" fmla="*/ 346829 h 1651987"/>
              <a:gd name="connsiteX3435" fmla="*/ 666810 w 1970753"/>
              <a:gd name="connsiteY3435" fmla="*/ 346829 h 1651987"/>
              <a:gd name="connsiteX3436" fmla="*/ 669094 w 1970753"/>
              <a:gd name="connsiteY3436" fmla="*/ 346829 h 1651987"/>
              <a:gd name="connsiteX3437" fmla="*/ 669094 w 1970753"/>
              <a:gd name="connsiteY3437" fmla="*/ 344547 h 1651987"/>
              <a:gd name="connsiteX3438" fmla="*/ 669094 w 1970753"/>
              <a:gd name="connsiteY3438" fmla="*/ 342265 h 1651987"/>
              <a:gd name="connsiteX3439" fmla="*/ 669094 w 1970753"/>
              <a:gd name="connsiteY3439" fmla="*/ 339983 h 1651987"/>
              <a:gd name="connsiteX3440" fmla="*/ 669094 w 1970753"/>
              <a:gd name="connsiteY3440" fmla="*/ 337702 h 1651987"/>
              <a:gd name="connsiteX3441" fmla="*/ 666810 w 1970753"/>
              <a:gd name="connsiteY3441" fmla="*/ 335420 h 1651987"/>
              <a:gd name="connsiteX3442" fmla="*/ 666810 w 1970753"/>
              <a:gd name="connsiteY3442" fmla="*/ 333138 h 1651987"/>
              <a:gd name="connsiteX3443" fmla="*/ 666810 w 1970753"/>
              <a:gd name="connsiteY3443" fmla="*/ 330856 h 1651987"/>
              <a:gd name="connsiteX3444" fmla="*/ 666810 w 1970753"/>
              <a:gd name="connsiteY3444" fmla="*/ 328574 h 1651987"/>
              <a:gd name="connsiteX3445" fmla="*/ 669094 w 1970753"/>
              <a:gd name="connsiteY3445" fmla="*/ 326292 h 1651987"/>
              <a:gd name="connsiteX3446" fmla="*/ 669094 w 1970753"/>
              <a:gd name="connsiteY3446" fmla="*/ 324010 h 1651987"/>
              <a:gd name="connsiteX3447" fmla="*/ 671378 w 1970753"/>
              <a:gd name="connsiteY3447" fmla="*/ 324010 h 1651987"/>
              <a:gd name="connsiteX3448" fmla="*/ 671378 w 1970753"/>
              <a:gd name="connsiteY3448" fmla="*/ 321728 h 1651987"/>
              <a:gd name="connsiteX3449" fmla="*/ 671378 w 1970753"/>
              <a:gd name="connsiteY3449" fmla="*/ 319446 h 1651987"/>
              <a:gd name="connsiteX3450" fmla="*/ 671378 w 1970753"/>
              <a:gd name="connsiteY3450" fmla="*/ 317165 h 1651987"/>
              <a:gd name="connsiteX3451" fmla="*/ 673661 w 1970753"/>
              <a:gd name="connsiteY3451" fmla="*/ 317165 h 1651987"/>
              <a:gd name="connsiteX3452" fmla="*/ 673661 w 1970753"/>
              <a:gd name="connsiteY3452" fmla="*/ 314883 h 1651987"/>
              <a:gd name="connsiteX3453" fmla="*/ 673661 w 1970753"/>
              <a:gd name="connsiteY3453" fmla="*/ 312601 h 1651987"/>
              <a:gd name="connsiteX3454" fmla="*/ 675945 w 1970753"/>
              <a:gd name="connsiteY3454" fmla="*/ 312601 h 1651987"/>
              <a:gd name="connsiteX3455" fmla="*/ 678228 w 1970753"/>
              <a:gd name="connsiteY3455" fmla="*/ 312601 h 1651987"/>
              <a:gd name="connsiteX3456" fmla="*/ 678228 w 1970753"/>
              <a:gd name="connsiteY3456" fmla="*/ 310319 h 1651987"/>
              <a:gd name="connsiteX3457" fmla="*/ 680512 w 1970753"/>
              <a:gd name="connsiteY3457" fmla="*/ 310319 h 1651987"/>
              <a:gd name="connsiteX3458" fmla="*/ 680512 w 1970753"/>
              <a:gd name="connsiteY3458" fmla="*/ 308037 h 1651987"/>
              <a:gd name="connsiteX3459" fmla="*/ 682795 w 1970753"/>
              <a:gd name="connsiteY3459" fmla="*/ 308037 h 1651987"/>
              <a:gd name="connsiteX3460" fmla="*/ 682795 w 1970753"/>
              <a:gd name="connsiteY3460" fmla="*/ 305755 h 1651987"/>
              <a:gd name="connsiteX3461" fmla="*/ 682795 w 1970753"/>
              <a:gd name="connsiteY3461" fmla="*/ 308037 h 1651987"/>
              <a:gd name="connsiteX3462" fmla="*/ 685079 w 1970753"/>
              <a:gd name="connsiteY3462" fmla="*/ 308037 h 1651987"/>
              <a:gd name="connsiteX3463" fmla="*/ 687363 w 1970753"/>
              <a:gd name="connsiteY3463" fmla="*/ 308037 h 1651987"/>
              <a:gd name="connsiteX3464" fmla="*/ 689646 w 1970753"/>
              <a:gd name="connsiteY3464" fmla="*/ 308037 h 1651987"/>
              <a:gd name="connsiteX3465" fmla="*/ 689646 w 1970753"/>
              <a:gd name="connsiteY3465" fmla="*/ 310319 h 1651987"/>
              <a:gd name="connsiteX3466" fmla="*/ 689646 w 1970753"/>
              <a:gd name="connsiteY3466" fmla="*/ 308037 h 1651987"/>
              <a:gd name="connsiteX3467" fmla="*/ 691930 w 1970753"/>
              <a:gd name="connsiteY3467" fmla="*/ 308037 h 1651987"/>
              <a:gd name="connsiteX3468" fmla="*/ 691930 w 1970753"/>
              <a:gd name="connsiteY3468" fmla="*/ 305755 h 1651987"/>
              <a:gd name="connsiteX3469" fmla="*/ 694213 w 1970753"/>
              <a:gd name="connsiteY3469" fmla="*/ 305755 h 1651987"/>
              <a:gd name="connsiteX3470" fmla="*/ 694213 w 1970753"/>
              <a:gd name="connsiteY3470" fmla="*/ 308037 h 1651987"/>
              <a:gd name="connsiteX3471" fmla="*/ 696497 w 1970753"/>
              <a:gd name="connsiteY3471" fmla="*/ 308037 h 1651987"/>
              <a:gd name="connsiteX3472" fmla="*/ 698780 w 1970753"/>
              <a:gd name="connsiteY3472" fmla="*/ 308037 h 1651987"/>
              <a:gd name="connsiteX3473" fmla="*/ 701064 w 1970753"/>
              <a:gd name="connsiteY3473" fmla="*/ 308037 h 1651987"/>
              <a:gd name="connsiteX3474" fmla="*/ 701064 w 1970753"/>
              <a:gd name="connsiteY3474" fmla="*/ 310319 h 1651987"/>
              <a:gd name="connsiteX3475" fmla="*/ 701064 w 1970753"/>
              <a:gd name="connsiteY3475" fmla="*/ 312601 h 1651987"/>
              <a:gd name="connsiteX3476" fmla="*/ 703348 w 1970753"/>
              <a:gd name="connsiteY3476" fmla="*/ 312601 h 1651987"/>
              <a:gd name="connsiteX3477" fmla="*/ 705631 w 1970753"/>
              <a:gd name="connsiteY3477" fmla="*/ 312601 h 1651987"/>
              <a:gd name="connsiteX3478" fmla="*/ 705631 w 1970753"/>
              <a:gd name="connsiteY3478" fmla="*/ 310319 h 1651987"/>
              <a:gd name="connsiteX3479" fmla="*/ 705631 w 1970753"/>
              <a:gd name="connsiteY3479" fmla="*/ 308037 h 1651987"/>
              <a:gd name="connsiteX3480" fmla="*/ 705631 w 1970753"/>
              <a:gd name="connsiteY3480" fmla="*/ 305755 h 1651987"/>
              <a:gd name="connsiteX3481" fmla="*/ 705631 w 1970753"/>
              <a:gd name="connsiteY3481" fmla="*/ 303473 h 1651987"/>
              <a:gd name="connsiteX3482" fmla="*/ 705631 w 1970753"/>
              <a:gd name="connsiteY3482" fmla="*/ 301191 h 1651987"/>
              <a:gd name="connsiteX3483" fmla="*/ 707915 w 1970753"/>
              <a:gd name="connsiteY3483" fmla="*/ 301191 h 1651987"/>
              <a:gd name="connsiteX3484" fmla="*/ 707915 w 1970753"/>
              <a:gd name="connsiteY3484" fmla="*/ 298909 h 1651987"/>
              <a:gd name="connsiteX3485" fmla="*/ 707915 w 1970753"/>
              <a:gd name="connsiteY3485" fmla="*/ 296627 h 1651987"/>
              <a:gd name="connsiteX3486" fmla="*/ 710199 w 1970753"/>
              <a:gd name="connsiteY3486" fmla="*/ 296627 h 1651987"/>
              <a:gd name="connsiteX3487" fmla="*/ 710199 w 1970753"/>
              <a:gd name="connsiteY3487" fmla="*/ 294345 h 1651987"/>
              <a:gd name="connsiteX3488" fmla="*/ 712482 w 1970753"/>
              <a:gd name="connsiteY3488" fmla="*/ 294345 h 1651987"/>
              <a:gd name="connsiteX3489" fmla="*/ 714766 w 1970753"/>
              <a:gd name="connsiteY3489" fmla="*/ 294345 h 1651987"/>
              <a:gd name="connsiteX3490" fmla="*/ 717049 w 1970753"/>
              <a:gd name="connsiteY3490" fmla="*/ 294345 h 1651987"/>
              <a:gd name="connsiteX3491" fmla="*/ 717049 w 1970753"/>
              <a:gd name="connsiteY3491" fmla="*/ 296627 h 1651987"/>
              <a:gd name="connsiteX3492" fmla="*/ 717049 w 1970753"/>
              <a:gd name="connsiteY3492" fmla="*/ 294345 h 1651987"/>
              <a:gd name="connsiteX3493" fmla="*/ 719333 w 1970753"/>
              <a:gd name="connsiteY3493" fmla="*/ 294345 h 1651987"/>
              <a:gd name="connsiteX3494" fmla="*/ 721617 w 1970753"/>
              <a:gd name="connsiteY3494" fmla="*/ 294345 h 1651987"/>
              <a:gd name="connsiteX3495" fmla="*/ 723900 w 1970753"/>
              <a:gd name="connsiteY3495" fmla="*/ 294345 h 1651987"/>
              <a:gd name="connsiteX3496" fmla="*/ 726184 w 1970753"/>
              <a:gd name="connsiteY3496" fmla="*/ 294345 h 1651987"/>
              <a:gd name="connsiteX3497" fmla="*/ 726184 w 1970753"/>
              <a:gd name="connsiteY3497" fmla="*/ 296627 h 1651987"/>
              <a:gd name="connsiteX3498" fmla="*/ 728467 w 1970753"/>
              <a:gd name="connsiteY3498" fmla="*/ 296627 h 1651987"/>
              <a:gd name="connsiteX3499" fmla="*/ 730751 w 1970753"/>
              <a:gd name="connsiteY3499" fmla="*/ 296627 h 1651987"/>
              <a:gd name="connsiteX3500" fmla="*/ 730751 w 1970753"/>
              <a:gd name="connsiteY3500" fmla="*/ 298909 h 1651987"/>
              <a:gd name="connsiteX3501" fmla="*/ 733034 w 1970753"/>
              <a:gd name="connsiteY3501" fmla="*/ 298909 h 1651987"/>
              <a:gd name="connsiteX3502" fmla="*/ 735318 w 1970753"/>
              <a:gd name="connsiteY3502" fmla="*/ 298909 h 1651987"/>
              <a:gd name="connsiteX3503" fmla="*/ 735318 w 1970753"/>
              <a:gd name="connsiteY3503" fmla="*/ 301191 h 1651987"/>
              <a:gd name="connsiteX3504" fmla="*/ 737602 w 1970753"/>
              <a:gd name="connsiteY3504" fmla="*/ 301191 h 1651987"/>
              <a:gd name="connsiteX3505" fmla="*/ 739885 w 1970753"/>
              <a:gd name="connsiteY3505" fmla="*/ 301191 h 1651987"/>
              <a:gd name="connsiteX3506" fmla="*/ 739885 w 1970753"/>
              <a:gd name="connsiteY3506" fmla="*/ 303473 h 1651987"/>
              <a:gd name="connsiteX3507" fmla="*/ 742169 w 1970753"/>
              <a:gd name="connsiteY3507" fmla="*/ 301191 h 1651987"/>
              <a:gd name="connsiteX3508" fmla="*/ 744453 w 1970753"/>
              <a:gd name="connsiteY3508" fmla="*/ 301191 h 1651987"/>
              <a:gd name="connsiteX3509" fmla="*/ 744453 w 1970753"/>
              <a:gd name="connsiteY3509" fmla="*/ 298909 h 1651987"/>
              <a:gd name="connsiteX3510" fmla="*/ 746736 w 1970753"/>
              <a:gd name="connsiteY3510" fmla="*/ 298909 h 1651987"/>
              <a:gd name="connsiteX3511" fmla="*/ 746736 w 1970753"/>
              <a:gd name="connsiteY3511" fmla="*/ 296627 h 1651987"/>
              <a:gd name="connsiteX3512" fmla="*/ 749020 w 1970753"/>
              <a:gd name="connsiteY3512" fmla="*/ 294345 h 1651987"/>
              <a:gd name="connsiteX3513" fmla="*/ 751303 w 1970753"/>
              <a:gd name="connsiteY3513" fmla="*/ 294345 h 1651987"/>
              <a:gd name="connsiteX3514" fmla="*/ 753587 w 1970753"/>
              <a:gd name="connsiteY3514" fmla="*/ 294345 h 1651987"/>
              <a:gd name="connsiteX3515" fmla="*/ 755870 w 1970753"/>
              <a:gd name="connsiteY3515" fmla="*/ 294345 h 1651987"/>
              <a:gd name="connsiteX3516" fmla="*/ 755870 w 1970753"/>
              <a:gd name="connsiteY3516" fmla="*/ 296627 h 1651987"/>
              <a:gd name="connsiteX3517" fmla="*/ 758154 w 1970753"/>
              <a:gd name="connsiteY3517" fmla="*/ 296627 h 1651987"/>
              <a:gd name="connsiteX3518" fmla="*/ 760438 w 1970753"/>
              <a:gd name="connsiteY3518" fmla="*/ 296627 h 1651987"/>
              <a:gd name="connsiteX3519" fmla="*/ 762721 w 1970753"/>
              <a:gd name="connsiteY3519" fmla="*/ 296627 h 1651987"/>
              <a:gd name="connsiteX3520" fmla="*/ 765005 w 1970753"/>
              <a:gd name="connsiteY3520" fmla="*/ 296627 h 1651987"/>
              <a:gd name="connsiteX3521" fmla="*/ 767288 w 1970753"/>
              <a:gd name="connsiteY3521" fmla="*/ 296627 h 1651987"/>
              <a:gd name="connsiteX3522" fmla="*/ 767288 w 1970753"/>
              <a:gd name="connsiteY3522" fmla="*/ 298909 h 1651987"/>
              <a:gd name="connsiteX3523" fmla="*/ 769572 w 1970753"/>
              <a:gd name="connsiteY3523" fmla="*/ 298909 h 1651987"/>
              <a:gd name="connsiteX3524" fmla="*/ 771856 w 1970753"/>
              <a:gd name="connsiteY3524" fmla="*/ 298909 h 1651987"/>
              <a:gd name="connsiteX3525" fmla="*/ 771856 w 1970753"/>
              <a:gd name="connsiteY3525" fmla="*/ 296627 h 1651987"/>
              <a:gd name="connsiteX3526" fmla="*/ 774139 w 1970753"/>
              <a:gd name="connsiteY3526" fmla="*/ 296627 h 1651987"/>
              <a:gd name="connsiteX3527" fmla="*/ 774139 w 1970753"/>
              <a:gd name="connsiteY3527" fmla="*/ 294345 h 1651987"/>
              <a:gd name="connsiteX3528" fmla="*/ 771856 w 1970753"/>
              <a:gd name="connsiteY3528" fmla="*/ 294345 h 1651987"/>
              <a:gd name="connsiteX3529" fmla="*/ 771856 w 1970753"/>
              <a:gd name="connsiteY3529" fmla="*/ 292064 h 1651987"/>
              <a:gd name="connsiteX3530" fmla="*/ 769572 w 1970753"/>
              <a:gd name="connsiteY3530" fmla="*/ 292064 h 1651987"/>
              <a:gd name="connsiteX3531" fmla="*/ 767288 w 1970753"/>
              <a:gd name="connsiteY3531" fmla="*/ 292064 h 1651987"/>
              <a:gd name="connsiteX3532" fmla="*/ 765005 w 1970753"/>
              <a:gd name="connsiteY3532" fmla="*/ 292064 h 1651987"/>
              <a:gd name="connsiteX3533" fmla="*/ 762721 w 1970753"/>
              <a:gd name="connsiteY3533" fmla="*/ 292064 h 1651987"/>
              <a:gd name="connsiteX3534" fmla="*/ 762721 w 1970753"/>
              <a:gd name="connsiteY3534" fmla="*/ 289782 h 1651987"/>
              <a:gd name="connsiteX3535" fmla="*/ 760438 w 1970753"/>
              <a:gd name="connsiteY3535" fmla="*/ 289782 h 1651987"/>
              <a:gd name="connsiteX3536" fmla="*/ 760438 w 1970753"/>
              <a:gd name="connsiteY3536" fmla="*/ 287500 h 1651987"/>
              <a:gd name="connsiteX3537" fmla="*/ 758154 w 1970753"/>
              <a:gd name="connsiteY3537" fmla="*/ 287500 h 1651987"/>
              <a:gd name="connsiteX3538" fmla="*/ 755870 w 1970753"/>
              <a:gd name="connsiteY3538" fmla="*/ 287500 h 1651987"/>
              <a:gd name="connsiteX3539" fmla="*/ 755870 w 1970753"/>
              <a:gd name="connsiteY3539" fmla="*/ 285218 h 1651987"/>
              <a:gd name="connsiteX3540" fmla="*/ 753587 w 1970753"/>
              <a:gd name="connsiteY3540" fmla="*/ 285218 h 1651987"/>
              <a:gd name="connsiteX3541" fmla="*/ 751303 w 1970753"/>
              <a:gd name="connsiteY3541" fmla="*/ 282936 h 1651987"/>
              <a:gd name="connsiteX3542" fmla="*/ 751303 w 1970753"/>
              <a:gd name="connsiteY3542" fmla="*/ 280654 h 1651987"/>
              <a:gd name="connsiteX3543" fmla="*/ 749020 w 1970753"/>
              <a:gd name="connsiteY3543" fmla="*/ 280654 h 1651987"/>
              <a:gd name="connsiteX3544" fmla="*/ 749020 w 1970753"/>
              <a:gd name="connsiteY3544" fmla="*/ 278372 h 1651987"/>
              <a:gd name="connsiteX3545" fmla="*/ 749020 w 1970753"/>
              <a:gd name="connsiteY3545" fmla="*/ 276090 h 1651987"/>
              <a:gd name="connsiteX3546" fmla="*/ 751303 w 1970753"/>
              <a:gd name="connsiteY3546" fmla="*/ 276090 h 1651987"/>
              <a:gd name="connsiteX3547" fmla="*/ 751303 w 1970753"/>
              <a:gd name="connsiteY3547" fmla="*/ 273809 h 1651987"/>
              <a:gd name="connsiteX3548" fmla="*/ 751303 w 1970753"/>
              <a:gd name="connsiteY3548" fmla="*/ 271527 h 1651987"/>
              <a:gd name="connsiteX3549" fmla="*/ 753587 w 1970753"/>
              <a:gd name="connsiteY3549" fmla="*/ 271527 h 1651987"/>
              <a:gd name="connsiteX3550" fmla="*/ 753587 w 1970753"/>
              <a:gd name="connsiteY3550" fmla="*/ 269245 h 1651987"/>
              <a:gd name="connsiteX3551" fmla="*/ 753587 w 1970753"/>
              <a:gd name="connsiteY3551" fmla="*/ 266963 h 1651987"/>
              <a:gd name="connsiteX3552" fmla="*/ 755870 w 1970753"/>
              <a:gd name="connsiteY3552" fmla="*/ 266963 h 1651987"/>
              <a:gd name="connsiteX3553" fmla="*/ 755870 w 1970753"/>
              <a:gd name="connsiteY3553" fmla="*/ 264681 h 1651987"/>
              <a:gd name="connsiteX3554" fmla="*/ 758154 w 1970753"/>
              <a:gd name="connsiteY3554" fmla="*/ 264681 h 1651987"/>
              <a:gd name="connsiteX3555" fmla="*/ 758154 w 1970753"/>
              <a:gd name="connsiteY3555" fmla="*/ 262399 h 1651987"/>
              <a:gd name="connsiteX3556" fmla="*/ 760438 w 1970753"/>
              <a:gd name="connsiteY3556" fmla="*/ 262399 h 1651987"/>
              <a:gd name="connsiteX3557" fmla="*/ 762721 w 1970753"/>
              <a:gd name="connsiteY3557" fmla="*/ 262399 h 1651987"/>
              <a:gd name="connsiteX3558" fmla="*/ 762721 w 1970753"/>
              <a:gd name="connsiteY3558" fmla="*/ 264681 h 1651987"/>
              <a:gd name="connsiteX3559" fmla="*/ 760438 w 1970753"/>
              <a:gd name="connsiteY3559" fmla="*/ 266963 h 1651987"/>
              <a:gd name="connsiteX3560" fmla="*/ 760438 w 1970753"/>
              <a:gd name="connsiteY3560" fmla="*/ 269245 h 1651987"/>
              <a:gd name="connsiteX3561" fmla="*/ 762721 w 1970753"/>
              <a:gd name="connsiteY3561" fmla="*/ 269245 h 1651987"/>
              <a:gd name="connsiteX3562" fmla="*/ 762721 w 1970753"/>
              <a:gd name="connsiteY3562" fmla="*/ 266963 h 1651987"/>
              <a:gd name="connsiteX3563" fmla="*/ 765005 w 1970753"/>
              <a:gd name="connsiteY3563" fmla="*/ 266963 h 1651987"/>
              <a:gd name="connsiteX3564" fmla="*/ 765005 w 1970753"/>
              <a:gd name="connsiteY3564" fmla="*/ 264681 h 1651987"/>
              <a:gd name="connsiteX3565" fmla="*/ 765005 w 1970753"/>
              <a:gd name="connsiteY3565" fmla="*/ 262399 h 1651987"/>
              <a:gd name="connsiteX3566" fmla="*/ 765005 w 1970753"/>
              <a:gd name="connsiteY3566" fmla="*/ 260117 h 1651987"/>
              <a:gd name="connsiteX3567" fmla="*/ 765005 w 1970753"/>
              <a:gd name="connsiteY3567" fmla="*/ 257835 h 1651987"/>
              <a:gd name="connsiteX3568" fmla="*/ 765005 w 1970753"/>
              <a:gd name="connsiteY3568" fmla="*/ 255553 h 1651987"/>
              <a:gd name="connsiteX3569" fmla="*/ 765005 w 1970753"/>
              <a:gd name="connsiteY3569" fmla="*/ 253271 h 1651987"/>
              <a:gd name="connsiteX3570" fmla="*/ 765005 w 1970753"/>
              <a:gd name="connsiteY3570" fmla="*/ 250989 h 1651987"/>
              <a:gd name="connsiteX3571" fmla="*/ 765005 w 1970753"/>
              <a:gd name="connsiteY3571" fmla="*/ 248708 h 1651987"/>
              <a:gd name="connsiteX3572" fmla="*/ 767288 w 1970753"/>
              <a:gd name="connsiteY3572" fmla="*/ 248708 h 1651987"/>
              <a:gd name="connsiteX3573" fmla="*/ 767288 w 1970753"/>
              <a:gd name="connsiteY3573" fmla="*/ 246426 h 1651987"/>
              <a:gd name="connsiteX3574" fmla="*/ 767288 w 1970753"/>
              <a:gd name="connsiteY3574" fmla="*/ 244144 h 1651987"/>
              <a:gd name="connsiteX3575" fmla="*/ 767288 w 1970753"/>
              <a:gd name="connsiteY3575" fmla="*/ 241871 h 1651987"/>
              <a:gd name="connsiteX3576" fmla="*/ 765005 w 1970753"/>
              <a:gd name="connsiteY3576" fmla="*/ 241871 h 1651987"/>
              <a:gd name="connsiteX3577" fmla="*/ 765005 w 1970753"/>
              <a:gd name="connsiteY3577" fmla="*/ 239590 h 1651987"/>
              <a:gd name="connsiteX3578" fmla="*/ 765005 w 1970753"/>
              <a:gd name="connsiteY3578" fmla="*/ 237298 h 1651987"/>
              <a:gd name="connsiteX3579" fmla="*/ 762721 w 1970753"/>
              <a:gd name="connsiteY3579" fmla="*/ 237298 h 1651987"/>
              <a:gd name="connsiteX3580" fmla="*/ 760438 w 1970753"/>
              <a:gd name="connsiteY3580" fmla="*/ 237298 h 1651987"/>
              <a:gd name="connsiteX3581" fmla="*/ 760438 w 1970753"/>
              <a:gd name="connsiteY3581" fmla="*/ 235026 h 1651987"/>
              <a:gd name="connsiteX3582" fmla="*/ 758154 w 1970753"/>
              <a:gd name="connsiteY3582" fmla="*/ 235026 h 1651987"/>
              <a:gd name="connsiteX3583" fmla="*/ 758154 w 1970753"/>
              <a:gd name="connsiteY3583" fmla="*/ 232744 h 1651987"/>
              <a:gd name="connsiteX3584" fmla="*/ 755870 w 1970753"/>
              <a:gd name="connsiteY3584" fmla="*/ 232744 h 1651987"/>
              <a:gd name="connsiteX3585" fmla="*/ 755870 w 1970753"/>
              <a:gd name="connsiteY3585" fmla="*/ 230462 h 1651987"/>
              <a:gd name="connsiteX3586" fmla="*/ 753587 w 1970753"/>
              <a:gd name="connsiteY3586" fmla="*/ 230462 h 1651987"/>
              <a:gd name="connsiteX3587" fmla="*/ 753587 w 1970753"/>
              <a:gd name="connsiteY3587" fmla="*/ 228180 h 1651987"/>
              <a:gd name="connsiteX3588" fmla="*/ 751303 w 1970753"/>
              <a:gd name="connsiteY3588" fmla="*/ 228180 h 1651987"/>
              <a:gd name="connsiteX3589" fmla="*/ 751303 w 1970753"/>
              <a:gd name="connsiteY3589" fmla="*/ 225898 h 1651987"/>
              <a:gd name="connsiteX3590" fmla="*/ 749020 w 1970753"/>
              <a:gd name="connsiteY3590" fmla="*/ 225898 h 1651987"/>
              <a:gd name="connsiteX3591" fmla="*/ 746736 w 1970753"/>
              <a:gd name="connsiteY3591" fmla="*/ 225898 h 1651987"/>
              <a:gd name="connsiteX3592" fmla="*/ 746736 w 1970753"/>
              <a:gd name="connsiteY3592" fmla="*/ 223616 h 1651987"/>
              <a:gd name="connsiteX3593" fmla="*/ 746736 w 1970753"/>
              <a:gd name="connsiteY3593" fmla="*/ 221334 h 1651987"/>
              <a:gd name="connsiteX3594" fmla="*/ 744453 w 1970753"/>
              <a:gd name="connsiteY3594" fmla="*/ 221334 h 1651987"/>
              <a:gd name="connsiteX3595" fmla="*/ 744453 w 1970753"/>
              <a:gd name="connsiteY3595" fmla="*/ 219053 h 1651987"/>
              <a:gd name="connsiteX3596" fmla="*/ 744453 w 1970753"/>
              <a:gd name="connsiteY3596" fmla="*/ 216771 h 1651987"/>
              <a:gd name="connsiteX3597" fmla="*/ 744453 w 1970753"/>
              <a:gd name="connsiteY3597" fmla="*/ 214489 h 1651987"/>
              <a:gd name="connsiteX3598" fmla="*/ 742169 w 1970753"/>
              <a:gd name="connsiteY3598" fmla="*/ 212207 h 1651987"/>
              <a:gd name="connsiteX3599" fmla="*/ 742169 w 1970753"/>
              <a:gd name="connsiteY3599" fmla="*/ 209925 h 1651987"/>
              <a:gd name="connsiteX3600" fmla="*/ 739885 w 1970753"/>
              <a:gd name="connsiteY3600" fmla="*/ 209925 h 1651987"/>
              <a:gd name="connsiteX3601" fmla="*/ 739885 w 1970753"/>
              <a:gd name="connsiteY3601" fmla="*/ 207643 h 1651987"/>
              <a:gd name="connsiteX3602" fmla="*/ 737602 w 1970753"/>
              <a:gd name="connsiteY3602" fmla="*/ 207643 h 1651987"/>
              <a:gd name="connsiteX3603" fmla="*/ 737602 w 1970753"/>
              <a:gd name="connsiteY3603" fmla="*/ 205361 h 1651987"/>
              <a:gd name="connsiteX3604" fmla="*/ 739885 w 1970753"/>
              <a:gd name="connsiteY3604" fmla="*/ 205361 h 1651987"/>
              <a:gd name="connsiteX3605" fmla="*/ 739885 w 1970753"/>
              <a:gd name="connsiteY3605" fmla="*/ 203079 h 1651987"/>
              <a:gd name="connsiteX3606" fmla="*/ 739885 w 1970753"/>
              <a:gd name="connsiteY3606" fmla="*/ 200797 h 1651987"/>
              <a:gd name="connsiteX3607" fmla="*/ 739885 w 1970753"/>
              <a:gd name="connsiteY3607" fmla="*/ 198515 h 1651987"/>
              <a:gd name="connsiteX3608" fmla="*/ 742169 w 1970753"/>
              <a:gd name="connsiteY3608" fmla="*/ 198515 h 1651987"/>
              <a:gd name="connsiteX3609" fmla="*/ 742169 w 1970753"/>
              <a:gd name="connsiteY3609" fmla="*/ 196233 h 1651987"/>
              <a:gd name="connsiteX3610" fmla="*/ 744453 w 1970753"/>
              <a:gd name="connsiteY3610" fmla="*/ 196233 h 1651987"/>
              <a:gd name="connsiteX3611" fmla="*/ 746736 w 1970753"/>
              <a:gd name="connsiteY3611" fmla="*/ 196233 h 1651987"/>
              <a:gd name="connsiteX3612" fmla="*/ 746736 w 1970753"/>
              <a:gd name="connsiteY3612" fmla="*/ 198515 h 1651987"/>
              <a:gd name="connsiteX3613" fmla="*/ 749020 w 1970753"/>
              <a:gd name="connsiteY3613" fmla="*/ 198515 h 1651987"/>
              <a:gd name="connsiteX3614" fmla="*/ 751303 w 1970753"/>
              <a:gd name="connsiteY3614" fmla="*/ 198515 h 1651987"/>
              <a:gd name="connsiteX3615" fmla="*/ 751303 w 1970753"/>
              <a:gd name="connsiteY3615" fmla="*/ 200797 h 1651987"/>
              <a:gd name="connsiteX3616" fmla="*/ 753587 w 1970753"/>
              <a:gd name="connsiteY3616" fmla="*/ 200797 h 1651987"/>
              <a:gd name="connsiteX3617" fmla="*/ 755870 w 1970753"/>
              <a:gd name="connsiteY3617" fmla="*/ 200797 h 1651987"/>
              <a:gd name="connsiteX3618" fmla="*/ 755870 w 1970753"/>
              <a:gd name="connsiteY3618" fmla="*/ 198515 h 1651987"/>
              <a:gd name="connsiteX3619" fmla="*/ 758154 w 1970753"/>
              <a:gd name="connsiteY3619" fmla="*/ 198515 h 1651987"/>
              <a:gd name="connsiteX3620" fmla="*/ 758154 w 1970753"/>
              <a:gd name="connsiteY3620" fmla="*/ 196233 h 1651987"/>
              <a:gd name="connsiteX3621" fmla="*/ 760438 w 1970753"/>
              <a:gd name="connsiteY3621" fmla="*/ 196233 h 1651987"/>
              <a:gd name="connsiteX3622" fmla="*/ 760438 w 1970753"/>
              <a:gd name="connsiteY3622" fmla="*/ 193952 h 1651987"/>
              <a:gd name="connsiteX3623" fmla="*/ 760438 w 1970753"/>
              <a:gd name="connsiteY3623" fmla="*/ 191670 h 1651987"/>
              <a:gd name="connsiteX3624" fmla="*/ 760438 w 1970753"/>
              <a:gd name="connsiteY3624" fmla="*/ 189388 h 1651987"/>
              <a:gd name="connsiteX3625" fmla="*/ 762721 w 1970753"/>
              <a:gd name="connsiteY3625" fmla="*/ 189388 h 1651987"/>
              <a:gd name="connsiteX3626" fmla="*/ 765005 w 1970753"/>
              <a:gd name="connsiteY3626" fmla="*/ 189388 h 1651987"/>
              <a:gd name="connsiteX3627" fmla="*/ 767288 w 1970753"/>
              <a:gd name="connsiteY3627" fmla="*/ 189388 h 1651987"/>
              <a:gd name="connsiteX3628" fmla="*/ 769572 w 1970753"/>
              <a:gd name="connsiteY3628" fmla="*/ 189388 h 1651987"/>
              <a:gd name="connsiteX3629" fmla="*/ 769572 w 1970753"/>
              <a:gd name="connsiteY3629" fmla="*/ 187106 h 1651987"/>
              <a:gd name="connsiteX3630" fmla="*/ 771856 w 1970753"/>
              <a:gd name="connsiteY3630" fmla="*/ 187106 h 1651987"/>
              <a:gd name="connsiteX3631" fmla="*/ 771856 w 1970753"/>
              <a:gd name="connsiteY3631" fmla="*/ 184824 h 1651987"/>
              <a:gd name="connsiteX3632" fmla="*/ 774139 w 1970753"/>
              <a:gd name="connsiteY3632" fmla="*/ 184824 h 1651987"/>
              <a:gd name="connsiteX3633" fmla="*/ 774139 w 1970753"/>
              <a:gd name="connsiteY3633" fmla="*/ 182542 h 1651987"/>
              <a:gd name="connsiteX3634" fmla="*/ 774139 w 1970753"/>
              <a:gd name="connsiteY3634" fmla="*/ 180260 h 1651987"/>
              <a:gd name="connsiteX3635" fmla="*/ 776423 w 1970753"/>
              <a:gd name="connsiteY3635" fmla="*/ 180260 h 1651987"/>
              <a:gd name="connsiteX3636" fmla="*/ 776423 w 1970753"/>
              <a:gd name="connsiteY3636" fmla="*/ 177978 h 1651987"/>
              <a:gd name="connsiteX3637" fmla="*/ 776423 w 1970753"/>
              <a:gd name="connsiteY3637" fmla="*/ 175697 h 1651987"/>
              <a:gd name="connsiteX3638" fmla="*/ 776423 w 1970753"/>
              <a:gd name="connsiteY3638" fmla="*/ 173415 h 1651987"/>
              <a:gd name="connsiteX3639" fmla="*/ 778707 w 1970753"/>
              <a:gd name="connsiteY3639" fmla="*/ 173415 h 1651987"/>
              <a:gd name="connsiteX3640" fmla="*/ 780990 w 1970753"/>
              <a:gd name="connsiteY3640" fmla="*/ 173415 h 1651987"/>
              <a:gd name="connsiteX3641" fmla="*/ 783274 w 1970753"/>
              <a:gd name="connsiteY3641" fmla="*/ 173415 h 1651987"/>
              <a:gd name="connsiteX3642" fmla="*/ 785557 w 1970753"/>
              <a:gd name="connsiteY3642" fmla="*/ 173415 h 1651987"/>
              <a:gd name="connsiteX3643" fmla="*/ 785557 w 1970753"/>
              <a:gd name="connsiteY3643" fmla="*/ 175697 h 1651987"/>
              <a:gd name="connsiteX3644" fmla="*/ 787841 w 1970753"/>
              <a:gd name="connsiteY3644" fmla="*/ 175697 h 1651987"/>
              <a:gd name="connsiteX3645" fmla="*/ 790124 w 1970753"/>
              <a:gd name="connsiteY3645" fmla="*/ 175697 h 1651987"/>
              <a:gd name="connsiteX3646" fmla="*/ 790124 w 1970753"/>
              <a:gd name="connsiteY3646" fmla="*/ 177978 h 1651987"/>
              <a:gd name="connsiteX3647" fmla="*/ 792408 w 1970753"/>
              <a:gd name="connsiteY3647" fmla="*/ 177978 h 1651987"/>
              <a:gd name="connsiteX3648" fmla="*/ 794692 w 1970753"/>
              <a:gd name="connsiteY3648" fmla="*/ 177978 h 1651987"/>
              <a:gd name="connsiteX3649" fmla="*/ 796975 w 1970753"/>
              <a:gd name="connsiteY3649" fmla="*/ 177978 h 1651987"/>
              <a:gd name="connsiteX3650" fmla="*/ 796975 w 1970753"/>
              <a:gd name="connsiteY3650" fmla="*/ 180260 h 1651987"/>
              <a:gd name="connsiteX3651" fmla="*/ 799259 w 1970753"/>
              <a:gd name="connsiteY3651" fmla="*/ 180260 h 1651987"/>
              <a:gd name="connsiteX3652" fmla="*/ 799259 w 1970753"/>
              <a:gd name="connsiteY3652" fmla="*/ 177978 h 1651987"/>
              <a:gd name="connsiteX3653" fmla="*/ 799259 w 1970753"/>
              <a:gd name="connsiteY3653" fmla="*/ 175697 h 1651987"/>
              <a:gd name="connsiteX3654" fmla="*/ 799259 w 1970753"/>
              <a:gd name="connsiteY3654" fmla="*/ 173415 h 1651987"/>
              <a:gd name="connsiteX3655" fmla="*/ 801542 w 1970753"/>
              <a:gd name="connsiteY3655" fmla="*/ 173415 h 1651987"/>
              <a:gd name="connsiteX3656" fmla="*/ 801542 w 1970753"/>
              <a:gd name="connsiteY3656" fmla="*/ 171133 h 1651987"/>
              <a:gd name="connsiteX3657" fmla="*/ 801542 w 1970753"/>
              <a:gd name="connsiteY3657" fmla="*/ 168851 h 1651987"/>
              <a:gd name="connsiteX3658" fmla="*/ 801542 w 1970753"/>
              <a:gd name="connsiteY3658" fmla="*/ 166569 h 1651987"/>
              <a:gd name="connsiteX3659" fmla="*/ 801542 w 1970753"/>
              <a:gd name="connsiteY3659" fmla="*/ 164287 h 1651987"/>
              <a:gd name="connsiteX3660" fmla="*/ 801542 w 1970753"/>
              <a:gd name="connsiteY3660" fmla="*/ 162005 h 1651987"/>
              <a:gd name="connsiteX3661" fmla="*/ 799259 w 1970753"/>
              <a:gd name="connsiteY3661" fmla="*/ 162005 h 1651987"/>
              <a:gd name="connsiteX3662" fmla="*/ 799259 w 1970753"/>
              <a:gd name="connsiteY3662" fmla="*/ 159723 h 1651987"/>
              <a:gd name="connsiteX3663" fmla="*/ 796975 w 1970753"/>
              <a:gd name="connsiteY3663" fmla="*/ 159723 h 1651987"/>
              <a:gd name="connsiteX3664" fmla="*/ 796975 w 1970753"/>
              <a:gd name="connsiteY3664" fmla="*/ 157441 h 1651987"/>
              <a:gd name="connsiteX3665" fmla="*/ 799259 w 1970753"/>
              <a:gd name="connsiteY3665" fmla="*/ 157441 h 1651987"/>
              <a:gd name="connsiteX3666" fmla="*/ 799259 w 1970753"/>
              <a:gd name="connsiteY3666" fmla="*/ 155159 h 1651987"/>
              <a:gd name="connsiteX3667" fmla="*/ 799259 w 1970753"/>
              <a:gd name="connsiteY3667" fmla="*/ 152877 h 1651987"/>
              <a:gd name="connsiteX3668" fmla="*/ 801542 w 1970753"/>
              <a:gd name="connsiteY3668" fmla="*/ 152877 h 1651987"/>
              <a:gd name="connsiteX3669" fmla="*/ 801542 w 1970753"/>
              <a:gd name="connsiteY3669" fmla="*/ 150596 h 1651987"/>
              <a:gd name="connsiteX3670" fmla="*/ 803826 w 1970753"/>
              <a:gd name="connsiteY3670" fmla="*/ 150596 h 1651987"/>
              <a:gd name="connsiteX3671" fmla="*/ 803826 w 1970753"/>
              <a:gd name="connsiteY3671" fmla="*/ 148314 h 1651987"/>
              <a:gd name="connsiteX3672" fmla="*/ 806110 w 1970753"/>
              <a:gd name="connsiteY3672" fmla="*/ 148314 h 1651987"/>
              <a:gd name="connsiteX3673" fmla="*/ 808393 w 1970753"/>
              <a:gd name="connsiteY3673" fmla="*/ 148314 h 1651987"/>
              <a:gd name="connsiteX3674" fmla="*/ 808393 w 1970753"/>
              <a:gd name="connsiteY3674" fmla="*/ 146032 h 1651987"/>
              <a:gd name="connsiteX3675" fmla="*/ 810677 w 1970753"/>
              <a:gd name="connsiteY3675" fmla="*/ 146032 h 1651987"/>
              <a:gd name="connsiteX3676" fmla="*/ 810677 w 1970753"/>
              <a:gd name="connsiteY3676" fmla="*/ 143750 h 1651987"/>
              <a:gd name="connsiteX3677" fmla="*/ 810677 w 1970753"/>
              <a:gd name="connsiteY3677" fmla="*/ 141468 h 1651987"/>
              <a:gd name="connsiteX3678" fmla="*/ 810677 w 1970753"/>
              <a:gd name="connsiteY3678" fmla="*/ 139186 h 1651987"/>
              <a:gd name="connsiteX3679" fmla="*/ 810677 w 1970753"/>
              <a:gd name="connsiteY3679" fmla="*/ 136904 h 1651987"/>
              <a:gd name="connsiteX3680" fmla="*/ 812960 w 1970753"/>
              <a:gd name="connsiteY3680" fmla="*/ 136904 h 1651987"/>
              <a:gd name="connsiteX3681" fmla="*/ 815244 w 1970753"/>
              <a:gd name="connsiteY3681" fmla="*/ 136904 h 1651987"/>
              <a:gd name="connsiteX3682" fmla="*/ 817528 w 1970753"/>
              <a:gd name="connsiteY3682" fmla="*/ 136904 h 1651987"/>
              <a:gd name="connsiteX3683" fmla="*/ 819811 w 1970753"/>
              <a:gd name="connsiteY3683" fmla="*/ 136904 h 1651987"/>
              <a:gd name="connsiteX3684" fmla="*/ 819811 w 1970753"/>
              <a:gd name="connsiteY3684" fmla="*/ 134622 h 1651987"/>
              <a:gd name="connsiteX3685" fmla="*/ 822095 w 1970753"/>
              <a:gd name="connsiteY3685" fmla="*/ 134622 h 1651987"/>
              <a:gd name="connsiteX3686" fmla="*/ 824378 w 1970753"/>
              <a:gd name="connsiteY3686" fmla="*/ 134622 h 1651987"/>
              <a:gd name="connsiteX3687" fmla="*/ 824378 w 1970753"/>
              <a:gd name="connsiteY3687" fmla="*/ 132340 h 1651987"/>
              <a:gd name="connsiteX3688" fmla="*/ 826662 w 1970753"/>
              <a:gd name="connsiteY3688" fmla="*/ 132340 h 1651987"/>
              <a:gd name="connsiteX3689" fmla="*/ 828946 w 1970753"/>
              <a:gd name="connsiteY3689" fmla="*/ 132340 h 1651987"/>
              <a:gd name="connsiteX3690" fmla="*/ 831229 w 1970753"/>
              <a:gd name="connsiteY3690" fmla="*/ 132340 h 1651987"/>
              <a:gd name="connsiteX3691" fmla="*/ 831229 w 1970753"/>
              <a:gd name="connsiteY3691" fmla="*/ 134622 h 1651987"/>
              <a:gd name="connsiteX3692" fmla="*/ 833513 w 1970753"/>
              <a:gd name="connsiteY3692" fmla="*/ 134622 h 1651987"/>
              <a:gd name="connsiteX3693" fmla="*/ 833513 w 1970753"/>
              <a:gd name="connsiteY3693" fmla="*/ 136904 h 1651987"/>
              <a:gd name="connsiteX3694" fmla="*/ 833513 w 1970753"/>
              <a:gd name="connsiteY3694" fmla="*/ 139186 h 1651987"/>
              <a:gd name="connsiteX3695" fmla="*/ 833513 w 1970753"/>
              <a:gd name="connsiteY3695" fmla="*/ 141468 h 1651987"/>
              <a:gd name="connsiteX3696" fmla="*/ 835797 w 1970753"/>
              <a:gd name="connsiteY3696" fmla="*/ 141468 h 1651987"/>
              <a:gd name="connsiteX3697" fmla="*/ 835797 w 1970753"/>
              <a:gd name="connsiteY3697" fmla="*/ 143750 h 1651987"/>
              <a:gd name="connsiteX3698" fmla="*/ 838080 w 1970753"/>
              <a:gd name="connsiteY3698" fmla="*/ 143750 h 1651987"/>
              <a:gd name="connsiteX3699" fmla="*/ 838080 w 1970753"/>
              <a:gd name="connsiteY3699" fmla="*/ 141468 h 1651987"/>
              <a:gd name="connsiteX3700" fmla="*/ 840364 w 1970753"/>
              <a:gd name="connsiteY3700" fmla="*/ 141468 h 1651987"/>
              <a:gd name="connsiteX3701" fmla="*/ 840364 w 1970753"/>
              <a:gd name="connsiteY3701" fmla="*/ 139186 h 1651987"/>
              <a:gd name="connsiteX3702" fmla="*/ 842647 w 1970753"/>
              <a:gd name="connsiteY3702" fmla="*/ 139186 h 1651987"/>
              <a:gd name="connsiteX3703" fmla="*/ 842647 w 1970753"/>
              <a:gd name="connsiteY3703" fmla="*/ 136904 h 1651987"/>
              <a:gd name="connsiteX3704" fmla="*/ 842647 w 1970753"/>
              <a:gd name="connsiteY3704" fmla="*/ 134622 h 1651987"/>
              <a:gd name="connsiteX3705" fmla="*/ 842647 w 1970753"/>
              <a:gd name="connsiteY3705" fmla="*/ 132340 h 1651987"/>
              <a:gd name="connsiteX3706" fmla="*/ 842647 w 1970753"/>
              <a:gd name="connsiteY3706" fmla="*/ 130059 h 1651987"/>
              <a:gd name="connsiteX3707" fmla="*/ 844931 w 1970753"/>
              <a:gd name="connsiteY3707" fmla="*/ 130059 h 1651987"/>
              <a:gd name="connsiteX3708" fmla="*/ 844931 w 1970753"/>
              <a:gd name="connsiteY3708" fmla="*/ 127777 h 1651987"/>
              <a:gd name="connsiteX3709" fmla="*/ 844931 w 1970753"/>
              <a:gd name="connsiteY3709" fmla="*/ 125495 h 1651987"/>
              <a:gd name="connsiteX3710" fmla="*/ 847214 w 1970753"/>
              <a:gd name="connsiteY3710" fmla="*/ 125495 h 1651987"/>
              <a:gd name="connsiteX3711" fmla="*/ 847214 w 1970753"/>
              <a:gd name="connsiteY3711" fmla="*/ 123213 h 1651987"/>
              <a:gd name="connsiteX3712" fmla="*/ 849498 w 1970753"/>
              <a:gd name="connsiteY3712" fmla="*/ 123213 h 1651987"/>
              <a:gd name="connsiteX3713" fmla="*/ 851782 w 1970753"/>
              <a:gd name="connsiteY3713" fmla="*/ 123213 h 1651987"/>
              <a:gd name="connsiteX3714" fmla="*/ 854065 w 1970753"/>
              <a:gd name="connsiteY3714" fmla="*/ 123213 h 1651987"/>
              <a:gd name="connsiteX3715" fmla="*/ 854065 w 1970753"/>
              <a:gd name="connsiteY3715" fmla="*/ 120931 h 1651987"/>
              <a:gd name="connsiteX3716" fmla="*/ 856349 w 1970753"/>
              <a:gd name="connsiteY3716" fmla="*/ 120931 h 1651987"/>
              <a:gd name="connsiteX3717" fmla="*/ 858632 w 1970753"/>
              <a:gd name="connsiteY3717" fmla="*/ 120931 h 1651987"/>
              <a:gd name="connsiteX3718" fmla="*/ 860916 w 1970753"/>
              <a:gd name="connsiteY3718" fmla="*/ 120931 h 1651987"/>
              <a:gd name="connsiteX3719" fmla="*/ 860916 w 1970753"/>
              <a:gd name="connsiteY3719" fmla="*/ 118649 h 1651987"/>
              <a:gd name="connsiteX3720" fmla="*/ 863199 w 1970753"/>
              <a:gd name="connsiteY3720" fmla="*/ 118649 h 1651987"/>
              <a:gd name="connsiteX3721" fmla="*/ 863199 w 1970753"/>
              <a:gd name="connsiteY3721" fmla="*/ 116367 h 1651987"/>
              <a:gd name="connsiteX3722" fmla="*/ 865483 w 1970753"/>
              <a:gd name="connsiteY3722" fmla="*/ 116367 h 1651987"/>
              <a:gd name="connsiteX3723" fmla="*/ 865483 w 1970753"/>
              <a:gd name="connsiteY3723" fmla="*/ 114085 h 1651987"/>
              <a:gd name="connsiteX3724" fmla="*/ 867767 w 1970753"/>
              <a:gd name="connsiteY3724" fmla="*/ 114085 h 1651987"/>
              <a:gd name="connsiteX3725" fmla="*/ 870050 w 1970753"/>
              <a:gd name="connsiteY3725" fmla="*/ 114085 h 1651987"/>
              <a:gd name="connsiteX3726" fmla="*/ 872334 w 1970753"/>
              <a:gd name="connsiteY3726" fmla="*/ 114085 h 1651987"/>
              <a:gd name="connsiteX3727" fmla="*/ 872334 w 1970753"/>
              <a:gd name="connsiteY3727" fmla="*/ 111803 h 1651987"/>
              <a:gd name="connsiteX3728" fmla="*/ 874618 w 1970753"/>
              <a:gd name="connsiteY3728" fmla="*/ 111803 h 1651987"/>
              <a:gd name="connsiteX3729" fmla="*/ 876901 w 1970753"/>
              <a:gd name="connsiteY3729" fmla="*/ 109521 h 1651987"/>
              <a:gd name="connsiteX3730" fmla="*/ 879185 w 1970753"/>
              <a:gd name="connsiteY3730" fmla="*/ 109521 h 1651987"/>
              <a:gd name="connsiteX3731" fmla="*/ 879185 w 1970753"/>
              <a:gd name="connsiteY3731" fmla="*/ 107240 h 1651987"/>
              <a:gd name="connsiteX3732" fmla="*/ 881468 w 1970753"/>
              <a:gd name="connsiteY3732" fmla="*/ 107240 h 1651987"/>
              <a:gd name="connsiteX3733" fmla="*/ 881468 w 1970753"/>
              <a:gd name="connsiteY3733" fmla="*/ 109521 h 1651987"/>
              <a:gd name="connsiteX3734" fmla="*/ 881468 w 1970753"/>
              <a:gd name="connsiteY3734" fmla="*/ 111803 h 1651987"/>
              <a:gd name="connsiteX3735" fmla="*/ 881468 w 1970753"/>
              <a:gd name="connsiteY3735" fmla="*/ 114085 h 1651987"/>
              <a:gd name="connsiteX3736" fmla="*/ 881468 w 1970753"/>
              <a:gd name="connsiteY3736" fmla="*/ 116367 h 1651987"/>
              <a:gd name="connsiteX3737" fmla="*/ 883752 w 1970753"/>
              <a:gd name="connsiteY3737" fmla="*/ 116367 h 1651987"/>
              <a:gd name="connsiteX3738" fmla="*/ 886036 w 1970753"/>
              <a:gd name="connsiteY3738" fmla="*/ 116367 h 1651987"/>
              <a:gd name="connsiteX3739" fmla="*/ 886036 w 1970753"/>
              <a:gd name="connsiteY3739" fmla="*/ 114085 h 1651987"/>
              <a:gd name="connsiteX3740" fmla="*/ 888319 w 1970753"/>
              <a:gd name="connsiteY3740" fmla="*/ 114085 h 1651987"/>
              <a:gd name="connsiteX3741" fmla="*/ 890603 w 1970753"/>
              <a:gd name="connsiteY3741" fmla="*/ 114085 h 1651987"/>
              <a:gd name="connsiteX3742" fmla="*/ 892886 w 1970753"/>
              <a:gd name="connsiteY3742" fmla="*/ 111803 h 1651987"/>
              <a:gd name="connsiteX3743" fmla="*/ 895170 w 1970753"/>
              <a:gd name="connsiteY3743" fmla="*/ 111803 h 1651987"/>
              <a:gd name="connsiteX3744" fmla="*/ 895170 w 1970753"/>
              <a:gd name="connsiteY3744" fmla="*/ 109521 h 1651987"/>
              <a:gd name="connsiteX3745" fmla="*/ 897453 w 1970753"/>
              <a:gd name="connsiteY3745" fmla="*/ 109521 h 1651987"/>
              <a:gd name="connsiteX3746" fmla="*/ 897453 w 1970753"/>
              <a:gd name="connsiteY3746" fmla="*/ 107240 h 1651987"/>
              <a:gd name="connsiteX3747" fmla="*/ 897453 w 1970753"/>
              <a:gd name="connsiteY3747" fmla="*/ 104958 h 1651987"/>
              <a:gd name="connsiteX3748" fmla="*/ 899737 w 1970753"/>
              <a:gd name="connsiteY3748" fmla="*/ 104958 h 1651987"/>
              <a:gd name="connsiteX3749" fmla="*/ 899737 w 1970753"/>
              <a:gd name="connsiteY3749" fmla="*/ 102676 h 1651987"/>
              <a:gd name="connsiteX3750" fmla="*/ 902021 w 1970753"/>
              <a:gd name="connsiteY3750" fmla="*/ 102676 h 1651987"/>
              <a:gd name="connsiteX3751" fmla="*/ 904304 w 1970753"/>
              <a:gd name="connsiteY3751" fmla="*/ 102676 h 1651987"/>
              <a:gd name="connsiteX3752" fmla="*/ 904304 w 1970753"/>
              <a:gd name="connsiteY3752" fmla="*/ 104958 h 1651987"/>
              <a:gd name="connsiteX3753" fmla="*/ 906588 w 1970753"/>
              <a:gd name="connsiteY3753" fmla="*/ 104958 h 1651987"/>
              <a:gd name="connsiteX3754" fmla="*/ 906588 w 1970753"/>
              <a:gd name="connsiteY3754" fmla="*/ 107240 h 1651987"/>
              <a:gd name="connsiteX3755" fmla="*/ 906588 w 1970753"/>
              <a:gd name="connsiteY3755" fmla="*/ 109521 h 1651987"/>
              <a:gd name="connsiteX3756" fmla="*/ 908872 w 1970753"/>
              <a:gd name="connsiteY3756" fmla="*/ 109521 h 1651987"/>
              <a:gd name="connsiteX3757" fmla="*/ 911155 w 1970753"/>
              <a:gd name="connsiteY3757" fmla="*/ 109521 h 1651987"/>
              <a:gd name="connsiteX3758" fmla="*/ 913439 w 1970753"/>
              <a:gd name="connsiteY3758" fmla="*/ 109521 h 1651987"/>
              <a:gd name="connsiteX3759" fmla="*/ 915722 w 1970753"/>
              <a:gd name="connsiteY3759" fmla="*/ 109521 h 1651987"/>
              <a:gd name="connsiteX3760" fmla="*/ 915722 w 1970753"/>
              <a:gd name="connsiteY3760" fmla="*/ 111803 h 1651987"/>
              <a:gd name="connsiteX3761" fmla="*/ 918006 w 1970753"/>
              <a:gd name="connsiteY3761" fmla="*/ 111803 h 1651987"/>
              <a:gd name="connsiteX3762" fmla="*/ 918006 w 1970753"/>
              <a:gd name="connsiteY3762" fmla="*/ 114085 h 1651987"/>
              <a:gd name="connsiteX3763" fmla="*/ 918006 w 1970753"/>
              <a:gd name="connsiteY3763" fmla="*/ 116367 h 1651987"/>
              <a:gd name="connsiteX3764" fmla="*/ 918006 w 1970753"/>
              <a:gd name="connsiteY3764" fmla="*/ 118649 h 1651987"/>
              <a:gd name="connsiteX3765" fmla="*/ 918006 w 1970753"/>
              <a:gd name="connsiteY3765" fmla="*/ 120931 h 1651987"/>
              <a:gd name="connsiteX3766" fmla="*/ 920289 w 1970753"/>
              <a:gd name="connsiteY3766" fmla="*/ 120931 h 1651987"/>
              <a:gd name="connsiteX3767" fmla="*/ 920289 w 1970753"/>
              <a:gd name="connsiteY3767" fmla="*/ 123213 h 1651987"/>
              <a:gd name="connsiteX3768" fmla="*/ 922573 w 1970753"/>
              <a:gd name="connsiteY3768" fmla="*/ 123213 h 1651987"/>
              <a:gd name="connsiteX3769" fmla="*/ 922573 w 1970753"/>
              <a:gd name="connsiteY3769" fmla="*/ 125495 h 1651987"/>
              <a:gd name="connsiteX3770" fmla="*/ 922573 w 1970753"/>
              <a:gd name="connsiteY3770" fmla="*/ 123213 h 1651987"/>
              <a:gd name="connsiteX3771" fmla="*/ 922573 w 1970753"/>
              <a:gd name="connsiteY3771" fmla="*/ 120931 h 1651987"/>
              <a:gd name="connsiteX3772" fmla="*/ 924857 w 1970753"/>
              <a:gd name="connsiteY3772" fmla="*/ 120931 h 1651987"/>
              <a:gd name="connsiteX3773" fmla="*/ 924857 w 1970753"/>
              <a:gd name="connsiteY3773" fmla="*/ 118649 h 1651987"/>
              <a:gd name="connsiteX3774" fmla="*/ 924857 w 1970753"/>
              <a:gd name="connsiteY3774" fmla="*/ 116367 h 1651987"/>
              <a:gd name="connsiteX3775" fmla="*/ 924857 w 1970753"/>
              <a:gd name="connsiteY3775" fmla="*/ 114085 h 1651987"/>
              <a:gd name="connsiteX3776" fmla="*/ 922573 w 1970753"/>
              <a:gd name="connsiteY3776" fmla="*/ 114085 h 1651987"/>
              <a:gd name="connsiteX3777" fmla="*/ 922573 w 1970753"/>
              <a:gd name="connsiteY3777" fmla="*/ 111803 h 1651987"/>
              <a:gd name="connsiteX3778" fmla="*/ 922573 w 1970753"/>
              <a:gd name="connsiteY3778" fmla="*/ 109521 h 1651987"/>
              <a:gd name="connsiteX3779" fmla="*/ 924857 w 1970753"/>
              <a:gd name="connsiteY3779" fmla="*/ 109521 h 1651987"/>
              <a:gd name="connsiteX3780" fmla="*/ 924857 w 1970753"/>
              <a:gd name="connsiteY3780" fmla="*/ 107240 h 1651987"/>
              <a:gd name="connsiteX3781" fmla="*/ 924857 w 1970753"/>
              <a:gd name="connsiteY3781" fmla="*/ 104958 h 1651987"/>
              <a:gd name="connsiteX3782" fmla="*/ 922573 w 1970753"/>
              <a:gd name="connsiteY3782" fmla="*/ 104958 h 1651987"/>
              <a:gd name="connsiteX3783" fmla="*/ 922573 w 1970753"/>
              <a:gd name="connsiteY3783" fmla="*/ 102676 h 1651987"/>
              <a:gd name="connsiteX3784" fmla="*/ 922573 w 1970753"/>
              <a:gd name="connsiteY3784" fmla="*/ 100394 h 1651987"/>
              <a:gd name="connsiteX3785" fmla="*/ 922573 w 1970753"/>
              <a:gd name="connsiteY3785" fmla="*/ 98112 h 1651987"/>
              <a:gd name="connsiteX3786" fmla="*/ 922573 w 1970753"/>
              <a:gd name="connsiteY3786" fmla="*/ 95830 h 1651987"/>
              <a:gd name="connsiteX3787" fmla="*/ 922573 w 1970753"/>
              <a:gd name="connsiteY3787" fmla="*/ 93548 h 1651987"/>
              <a:gd name="connsiteX3788" fmla="*/ 924857 w 1970753"/>
              <a:gd name="connsiteY3788" fmla="*/ 91266 h 1651987"/>
              <a:gd name="connsiteX3789" fmla="*/ 924857 w 1970753"/>
              <a:gd name="connsiteY3789" fmla="*/ 88984 h 1651987"/>
              <a:gd name="connsiteX3790" fmla="*/ 924857 w 1970753"/>
              <a:gd name="connsiteY3790" fmla="*/ 86712 h 1651987"/>
              <a:gd name="connsiteX3791" fmla="*/ 927140 w 1970753"/>
              <a:gd name="connsiteY3791" fmla="*/ 86712 h 1651987"/>
              <a:gd name="connsiteX3792" fmla="*/ 927140 w 1970753"/>
              <a:gd name="connsiteY3792" fmla="*/ 84421 h 1651987"/>
              <a:gd name="connsiteX3793" fmla="*/ 929424 w 1970753"/>
              <a:gd name="connsiteY3793" fmla="*/ 84421 h 1651987"/>
              <a:gd name="connsiteX3794" fmla="*/ 929424 w 1970753"/>
              <a:gd name="connsiteY3794" fmla="*/ 82139 h 1651987"/>
              <a:gd name="connsiteX3795" fmla="*/ 931707 w 1970753"/>
              <a:gd name="connsiteY3795" fmla="*/ 82139 h 1651987"/>
              <a:gd name="connsiteX3796" fmla="*/ 931707 w 1970753"/>
              <a:gd name="connsiteY3796" fmla="*/ 84421 h 1651987"/>
              <a:gd name="connsiteX3797" fmla="*/ 933991 w 1970753"/>
              <a:gd name="connsiteY3797" fmla="*/ 84421 h 1651987"/>
              <a:gd name="connsiteX3798" fmla="*/ 933991 w 1970753"/>
              <a:gd name="connsiteY3798" fmla="*/ 86712 h 1651987"/>
              <a:gd name="connsiteX3799" fmla="*/ 933991 w 1970753"/>
              <a:gd name="connsiteY3799" fmla="*/ 88984 h 1651987"/>
              <a:gd name="connsiteX3800" fmla="*/ 931707 w 1970753"/>
              <a:gd name="connsiteY3800" fmla="*/ 88984 h 1651987"/>
              <a:gd name="connsiteX3801" fmla="*/ 931707 w 1970753"/>
              <a:gd name="connsiteY3801" fmla="*/ 91266 h 1651987"/>
              <a:gd name="connsiteX3802" fmla="*/ 933991 w 1970753"/>
              <a:gd name="connsiteY3802" fmla="*/ 91266 h 1651987"/>
              <a:gd name="connsiteX3803" fmla="*/ 933991 w 1970753"/>
              <a:gd name="connsiteY3803" fmla="*/ 93548 h 1651987"/>
              <a:gd name="connsiteX3804" fmla="*/ 936275 w 1970753"/>
              <a:gd name="connsiteY3804" fmla="*/ 93548 h 1651987"/>
              <a:gd name="connsiteX3805" fmla="*/ 936275 w 1970753"/>
              <a:gd name="connsiteY3805" fmla="*/ 95830 h 1651987"/>
              <a:gd name="connsiteX3806" fmla="*/ 938558 w 1970753"/>
              <a:gd name="connsiteY3806" fmla="*/ 95830 h 1651987"/>
              <a:gd name="connsiteX3807" fmla="*/ 938558 w 1970753"/>
              <a:gd name="connsiteY3807" fmla="*/ 98112 h 1651987"/>
              <a:gd name="connsiteX3808" fmla="*/ 940842 w 1970753"/>
              <a:gd name="connsiteY3808" fmla="*/ 98112 h 1651987"/>
              <a:gd name="connsiteX3809" fmla="*/ 943126 w 1970753"/>
              <a:gd name="connsiteY3809" fmla="*/ 98112 h 1651987"/>
              <a:gd name="connsiteX3810" fmla="*/ 943126 w 1970753"/>
              <a:gd name="connsiteY3810" fmla="*/ 100394 h 1651987"/>
              <a:gd name="connsiteX3811" fmla="*/ 945409 w 1970753"/>
              <a:gd name="connsiteY3811" fmla="*/ 100394 h 1651987"/>
              <a:gd name="connsiteX3812" fmla="*/ 947693 w 1970753"/>
              <a:gd name="connsiteY3812" fmla="*/ 100394 h 1651987"/>
              <a:gd name="connsiteX3813" fmla="*/ 947693 w 1970753"/>
              <a:gd name="connsiteY3813" fmla="*/ 102676 h 1651987"/>
              <a:gd name="connsiteX3814" fmla="*/ 949976 w 1970753"/>
              <a:gd name="connsiteY3814" fmla="*/ 102676 h 1651987"/>
              <a:gd name="connsiteX3815" fmla="*/ 952260 w 1970753"/>
              <a:gd name="connsiteY3815" fmla="*/ 102676 h 1651987"/>
              <a:gd name="connsiteX3816" fmla="*/ 952260 w 1970753"/>
              <a:gd name="connsiteY3816" fmla="*/ 104958 h 1651987"/>
              <a:gd name="connsiteX3817" fmla="*/ 954543 w 1970753"/>
              <a:gd name="connsiteY3817" fmla="*/ 104958 h 1651987"/>
              <a:gd name="connsiteX3818" fmla="*/ 954543 w 1970753"/>
              <a:gd name="connsiteY3818" fmla="*/ 107240 h 1651987"/>
              <a:gd name="connsiteX3819" fmla="*/ 956827 w 1970753"/>
              <a:gd name="connsiteY3819" fmla="*/ 107240 h 1651987"/>
              <a:gd name="connsiteX3820" fmla="*/ 959111 w 1970753"/>
              <a:gd name="connsiteY3820" fmla="*/ 107240 h 1651987"/>
              <a:gd name="connsiteX3821" fmla="*/ 961394 w 1970753"/>
              <a:gd name="connsiteY3821" fmla="*/ 107240 h 1651987"/>
              <a:gd name="connsiteX3822" fmla="*/ 961394 w 1970753"/>
              <a:gd name="connsiteY3822" fmla="*/ 109521 h 1651987"/>
              <a:gd name="connsiteX3823" fmla="*/ 963678 w 1970753"/>
              <a:gd name="connsiteY3823" fmla="*/ 109521 h 1651987"/>
              <a:gd name="connsiteX3824" fmla="*/ 965961 w 1970753"/>
              <a:gd name="connsiteY3824" fmla="*/ 109521 h 1651987"/>
              <a:gd name="connsiteX3825" fmla="*/ 968245 w 1970753"/>
              <a:gd name="connsiteY3825" fmla="*/ 109521 h 1651987"/>
              <a:gd name="connsiteX3826" fmla="*/ 970528 w 1970753"/>
              <a:gd name="connsiteY3826" fmla="*/ 109521 h 1651987"/>
              <a:gd name="connsiteX3827" fmla="*/ 972812 w 1970753"/>
              <a:gd name="connsiteY3827" fmla="*/ 109521 h 1651987"/>
              <a:gd name="connsiteX3828" fmla="*/ 975096 w 1970753"/>
              <a:gd name="connsiteY3828" fmla="*/ 109521 h 1651987"/>
              <a:gd name="connsiteX3829" fmla="*/ 977379 w 1970753"/>
              <a:gd name="connsiteY3829" fmla="*/ 109521 h 1651987"/>
              <a:gd name="connsiteX3830" fmla="*/ 979663 w 1970753"/>
              <a:gd name="connsiteY3830" fmla="*/ 109521 h 1651987"/>
              <a:gd name="connsiteX3831" fmla="*/ 981947 w 1970753"/>
              <a:gd name="connsiteY3831" fmla="*/ 109521 h 1651987"/>
              <a:gd name="connsiteX3832" fmla="*/ 984230 w 1970753"/>
              <a:gd name="connsiteY3832" fmla="*/ 109521 h 1651987"/>
              <a:gd name="connsiteX3833" fmla="*/ 986514 w 1970753"/>
              <a:gd name="connsiteY3833" fmla="*/ 107240 h 1651987"/>
              <a:gd name="connsiteX3834" fmla="*/ 988797 w 1970753"/>
              <a:gd name="connsiteY3834" fmla="*/ 107240 h 1651987"/>
              <a:gd name="connsiteX3835" fmla="*/ 988797 w 1970753"/>
              <a:gd name="connsiteY3835" fmla="*/ 104958 h 1651987"/>
              <a:gd name="connsiteX3836" fmla="*/ 991081 w 1970753"/>
              <a:gd name="connsiteY3836" fmla="*/ 104958 h 1651987"/>
              <a:gd name="connsiteX3837" fmla="*/ 993365 w 1970753"/>
              <a:gd name="connsiteY3837" fmla="*/ 104958 h 1651987"/>
              <a:gd name="connsiteX3838" fmla="*/ 995648 w 1970753"/>
              <a:gd name="connsiteY3838" fmla="*/ 104958 h 1651987"/>
              <a:gd name="connsiteX3839" fmla="*/ 995648 w 1970753"/>
              <a:gd name="connsiteY3839" fmla="*/ 107240 h 1651987"/>
              <a:gd name="connsiteX3840" fmla="*/ 997932 w 1970753"/>
              <a:gd name="connsiteY3840" fmla="*/ 107240 h 1651987"/>
              <a:gd name="connsiteX3841" fmla="*/ 1000215 w 1970753"/>
              <a:gd name="connsiteY3841" fmla="*/ 109521 h 1651987"/>
              <a:gd name="connsiteX3842" fmla="*/ 1002499 w 1970753"/>
              <a:gd name="connsiteY3842" fmla="*/ 109521 h 1651987"/>
              <a:gd name="connsiteX3843" fmla="*/ 1002499 w 1970753"/>
              <a:gd name="connsiteY3843" fmla="*/ 111803 h 1651987"/>
              <a:gd name="connsiteX3844" fmla="*/ 1004782 w 1970753"/>
              <a:gd name="connsiteY3844" fmla="*/ 111803 h 1651987"/>
              <a:gd name="connsiteX3845" fmla="*/ 1007066 w 1970753"/>
              <a:gd name="connsiteY3845" fmla="*/ 109521 h 1651987"/>
              <a:gd name="connsiteX3846" fmla="*/ 1009350 w 1970753"/>
              <a:gd name="connsiteY3846" fmla="*/ 109521 h 1651987"/>
              <a:gd name="connsiteX3847" fmla="*/ 1009350 w 1970753"/>
              <a:gd name="connsiteY3847" fmla="*/ 107240 h 1651987"/>
              <a:gd name="connsiteX3848" fmla="*/ 1011633 w 1970753"/>
              <a:gd name="connsiteY3848" fmla="*/ 104958 h 1651987"/>
              <a:gd name="connsiteX3849" fmla="*/ 1013917 w 1970753"/>
              <a:gd name="connsiteY3849" fmla="*/ 104958 h 1651987"/>
              <a:gd name="connsiteX3850" fmla="*/ 1013917 w 1970753"/>
              <a:gd name="connsiteY3850" fmla="*/ 102676 h 1651987"/>
              <a:gd name="connsiteX3851" fmla="*/ 1016201 w 1970753"/>
              <a:gd name="connsiteY3851" fmla="*/ 104958 h 1651987"/>
              <a:gd name="connsiteX3852" fmla="*/ 1018484 w 1970753"/>
              <a:gd name="connsiteY3852" fmla="*/ 104958 h 1651987"/>
              <a:gd name="connsiteX3853" fmla="*/ 1018484 w 1970753"/>
              <a:gd name="connsiteY3853" fmla="*/ 107240 h 1651987"/>
              <a:gd name="connsiteX3854" fmla="*/ 1018484 w 1970753"/>
              <a:gd name="connsiteY3854" fmla="*/ 109521 h 1651987"/>
              <a:gd name="connsiteX3855" fmla="*/ 1018484 w 1970753"/>
              <a:gd name="connsiteY3855" fmla="*/ 111803 h 1651987"/>
              <a:gd name="connsiteX3856" fmla="*/ 1018484 w 1970753"/>
              <a:gd name="connsiteY3856" fmla="*/ 114085 h 1651987"/>
              <a:gd name="connsiteX3857" fmla="*/ 1018484 w 1970753"/>
              <a:gd name="connsiteY3857" fmla="*/ 116367 h 1651987"/>
              <a:gd name="connsiteX3858" fmla="*/ 1018484 w 1970753"/>
              <a:gd name="connsiteY3858" fmla="*/ 118649 h 1651987"/>
              <a:gd name="connsiteX3859" fmla="*/ 1016201 w 1970753"/>
              <a:gd name="connsiteY3859" fmla="*/ 118649 h 1651987"/>
              <a:gd name="connsiteX3860" fmla="*/ 1016201 w 1970753"/>
              <a:gd name="connsiteY3860" fmla="*/ 120931 h 1651987"/>
              <a:gd name="connsiteX3861" fmla="*/ 1016201 w 1970753"/>
              <a:gd name="connsiteY3861" fmla="*/ 123213 h 1651987"/>
              <a:gd name="connsiteX3862" fmla="*/ 1018484 w 1970753"/>
              <a:gd name="connsiteY3862" fmla="*/ 123213 h 1651987"/>
              <a:gd name="connsiteX3863" fmla="*/ 1018484 w 1970753"/>
              <a:gd name="connsiteY3863" fmla="*/ 125495 h 1651987"/>
              <a:gd name="connsiteX3864" fmla="*/ 1020768 w 1970753"/>
              <a:gd name="connsiteY3864" fmla="*/ 125495 h 1651987"/>
              <a:gd name="connsiteX3865" fmla="*/ 1023051 w 1970753"/>
              <a:gd name="connsiteY3865" fmla="*/ 125495 h 1651987"/>
              <a:gd name="connsiteX3866" fmla="*/ 1025335 w 1970753"/>
              <a:gd name="connsiteY3866" fmla="*/ 125495 h 1651987"/>
              <a:gd name="connsiteX3867" fmla="*/ 1025335 w 1970753"/>
              <a:gd name="connsiteY3867" fmla="*/ 127777 h 1651987"/>
              <a:gd name="connsiteX3868" fmla="*/ 1027618 w 1970753"/>
              <a:gd name="connsiteY3868" fmla="*/ 127777 h 1651987"/>
              <a:gd name="connsiteX3869" fmla="*/ 1027618 w 1970753"/>
              <a:gd name="connsiteY3869" fmla="*/ 125495 h 1651987"/>
              <a:gd name="connsiteX3870" fmla="*/ 1029902 w 1970753"/>
              <a:gd name="connsiteY3870" fmla="*/ 125495 h 1651987"/>
              <a:gd name="connsiteX3871" fmla="*/ 1029902 w 1970753"/>
              <a:gd name="connsiteY3871" fmla="*/ 123213 h 1651987"/>
              <a:gd name="connsiteX3872" fmla="*/ 1029902 w 1970753"/>
              <a:gd name="connsiteY3872" fmla="*/ 120931 h 1651987"/>
              <a:gd name="connsiteX3873" fmla="*/ 1029902 w 1970753"/>
              <a:gd name="connsiteY3873" fmla="*/ 118649 h 1651987"/>
              <a:gd name="connsiteX3874" fmla="*/ 1029902 w 1970753"/>
              <a:gd name="connsiteY3874" fmla="*/ 116367 h 1651987"/>
              <a:gd name="connsiteX3875" fmla="*/ 1029902 w 1970753"/>
              <a:gd name="connsiteY3875" fmla="*/ 114085 h 1651987"/>
              <a:gd name="connsiteX3876" fmla="*/ 1032186 w 1970753"/>
              <a:gd name="connsiteY3876" fmla="*/ 114085 h 1651987"/>
              <a:gd name="connsiteX3877" fmla="*/ 1032186 w 1970753"/>
              <a:gd name="connsiteY3877" fmla="*/ 111803 h 1651987"/>
              <a:gd name="connsiteX3878" fmla="*/ 1034469 w 1970753"/>
              <a:gd name="connsiteY3878" fmla="*/ 111803 h 1651987"/>
              <a:gd name="connsiteX3879" fmla="*/ 1036753 w 1970753"/>
              <a:gd name="connsiteY3879" fmla="*/ 109521 h 1651987"/>
              <a:gd name="connsiteX3880" fmla="*/ 1036753 w 1970753"/>
              <a:gd name="connsiteY3880" fmla="*/ 107240 h 1651987"/>
              <a:gd name="connsiteX3881" fmla="*/ 1036753 w 1970753"/>
              <a:gd name="connsiteY3881" fmla="*/ 104958 h 1651987"/>
              <a:gd name="connsiteX3882" fmla="*/ 1039036 w 1970753"/>
              <a:gd name="connsiteY3882" fmla="*/ 104958 h 1651987"/>
              <a:gd name="connsiteX3883" fmla="*/ 1039036 w 1970753"/>
              <a:gd name="connsiteY3883" fmla="*/ 102676 h 1651987"/>
              <a:gd name="connsiteX3884" fmla="*/ 1041320 w 1970753"/>
              <a:gd name="connsiteY3884" fmla="*/ 102676 h 1651987"/>
              <a:gd name="connsiteX3885" fmla="*/ 1041320 w 1970753"/>
              <a:gd name="connsiteY3885" fmla="*/ 100394 h 1651987"/>
              <a:gd name="connsiteX3886" fmla="*/ 1043613 w 1970753"/>
              <a:gd name="connsiteY3886" fmla="*/ 100394 h 1651987"/>
              <a:gd name="connsiteX3887" fmla="*/ 1045887 w 1970753"/>
              <a:gd name="connsiteY3887" fmla="*/ 100394 h 1651987"/>
              <a:gd name="connsiteX3888" fmla="*/ 1045887 w 1970753"/>
              <a:gd name="connsiteY3888" fmla="*/ 98112 h 1651987"/>
              <a:gd name="connsiteX3889" fmla="*/ 1048180 w 1970753"/>
              <a:gd name="connsiteY3889" fmla="*/ 98112 h 1651987"/>
              <a:gd name="connsiteX3890" fmla="*/ 1048180 w 1970753"/>
              <a:gd name="connsiteY3890" fmla="*/ 95830 h 1651987"/>
              <a:gd name="connsiteX3891" fmla="*/ 1050455 w 1970753"/>
              <a:gd name="connsiteY3891" fmla="*/ 95830 h 1651987"/>
              <a:gd name="connsiteX3892" fmla="*/ 1050455 w 1970753"/>
              <a:gd name="connsiteY3892" fmla="*/ 93548 h 1651987"/>
              <a:gd name="connsiteX3893" fmla="*/ 1050455 w 1970753"/>
              <a:gd name="connsiteY3893" fmla="*/ 91266 h 1651987"/>
              <a:gd name="connsiteX3894" fmla="*/ 1052738 w 1970753"/>
              <a:gd name="connsiteY3894" fmla="*/ 91266 h 1651987"/>
              <a:gd name="connsiteX3895" fmla="*/ 1052738 w 1970753"/>
              <a:gd name="connsiteY3895" fmla="*/ 88984 h 1651987"/>
              <a:gd name="connsiteX3896" fmla="*/ 1055031 w 1970753"/>
              <a:gd name="connsiteY3896" fmla="*/ 88984 h 1651987"/>
              <a:gd name="connsiteX3897" fmla="*/ 1055031 w 1970753"/>
              <a:gd name="connsiteY3897" fmla="*/ 86712 h 1651987"/>
              <a:gd name="connsiteX3898" fmla="*/ 1057305 w 1970753"/>
              <a:gd name="connsiteY3898" fmla="*/ 86712 h 1651987"/>
              <a:gd name="connsiteX3899" fmla="*/ 1059598 w 1970753"/>
              <a:gd name="connsiteY3899" fmla="*/ 86712 h 1651987"/>
              <a:gd name="connsiteX3900" fmla="*/ 1059598 w 1970753"/>
              <a:gd name="connsiteY3900" fmla="*/ 84421 h 1651987"/>
              <a:gd name="connsiteX3901" fmla="*/ 1059598 w 1970753"/>
              <a:gd name="connsiteY3901" fmla="*/ 82139 h 1651987"/>
              <a:gd name="connsiteX3902" fmla="*/ 1059598 w 1970753"/>
              <a:gd name="connsiteY3902" fmla="*/ 79866 h 1651987"/>
              <a:gd name="connsiteX3903" fmla="*/ 1061882 w 1970753"/>
              <a:gd name="connsiteY3903" fmla="*/ 79866 h 1651987"/>
              <a:gd name="connsiteX3904" fmla="*/ 1061882 w 1970753"/>
              <a:gd name="connsiteY3904" fmla="*/ 77584 h 1651987"/>
              <a:gd name="connsiteX3905" fmla="*/ 1061882 w 1970753"/>
              <a:gd name="connsiteY3905" fmla="*/ 75303 h 1651987"/>
              <a:gd name="connsiteX3906" fmla="*/ 1064165 w 1970753"/>
              <a:gd name="connsiteY3906" fmla="*/ 75303 h 1651987"/>
              <a:gd name="connsiteX3907" fmla="*/ 1066449 w 1970753"/>
              <a:gd name="connsiteY3907" fmla="*/ 75303 h 1651987"/>
              <a:gd name="connsiteX3908" fmla="*/ 1068733 w 1970753"/>
              <a:gd name="connsiteY3908" fmla="*/ 75303 h 1651987"/>
              <a:gd name="connsiteX3909" fmla="*/ 1071016 w 1970753"/>
              <a:gd name="connsiteY3909" fmla="*/ 75303 h 1651987"/>
              <a:gd name="connsiteX3910" fmla="*/ 1073300 w 1970753"/>
              <a:gd name="connsiteY3910" fmla="*/ 75303 h 1651987"/>
              <a:gd name="connsiteX3911" fmla="*/ 1075584 w 1970753"/>
              <a:gd name="connsiteY3911" fmla="*/ 75303 h 1651987"/>
              <a:gd name="connsiteX3912" fmla="*/ 1075584 w 1970753"/>
              <a:gd name="connsiteY3912" fmla="*/ 77584 h 1651987"/>
              <a:gd name="connsiteX3913" fmla="*/ 1077867 w 1970753"/>
              <a:gd name="connsiteY3913" fmla="*/ 77584 h 1651987"/>
              <a:gd name="connsiteX3914" fmla="*/ 1077867 w 1970753"/>
              <a:gd name="connsiteY3914" fmla="*/ 79866 h 1651987"/>
              <a:gd name="connsiteX3915" fmla="*/ 1077867 w 1970753"/>
              <a:gd name="connsiteY3915" fmla="*/ 82139 h 1651987"/>
              <a:gd name="connsiteX3916" fmla="*/ 1075584 w 1970753"/>
              <a:gd name="connsiteY3916" fmla="*/ 82139 h 1651987"/>
              <a:gd name="connsiteX3917" fmla="*/ 1077867 w 1970753"/>
              <a:gd name="connsiteY3917" fmla="*/ 82139 h 1651987"/>
              <a:gd name="connsiteX3918" fmla="*/ 1077867 w 1970753"/>
              <a:gd name="connsiteY3918" fmla="*/ 84421 h 1651987"/>
              <a:gd name="connsiteX3919" fmla="*/ 1080141 w 1970753"/>
              <a:gd name="connsiteY3919" fmla="*/ 84421 h 1651987"/>
              <a:gd name="connsiteX3920" fmla="*/ 1080141 w 1970753"/>
              <a:gd name="connsiteY3920" fmla="*/ 86712 h 1651987"/>
              <a:gd name="connsiteX3921" fmla="*/ 1082434 w 1970753"/>
              <a:gd name="connsiteY3921" fmla="*/ 86712 h 1651987"/>
              <a:gd name="connsiteX3922" fmla="*/ 1084718 w 1970753"/>
              <a:gd name="connsiteY3922" fmla="*/ 86712 h 1651987"/>
              <a:gd name="connsiteX3923" fmla="*/ 1084718 w 1970753"/>
              <a:gd name="connsiteY3923" fmla="*/ 88984 h 1651987"/>
              <a:gd name="connsiteX3924" fmla="*/ 1087002 w 1970753"/>
              <a:gd name="connsiteY3924" fmla="*/ 91266 h 1651987"/>
              <a:gd name="connsiteX3925" fmla="*/ 1087002 w 1970753"/>
              <a:gd name="connsiteY3925" fmla="*/ 93548 h 1651987"/>
              <a:gd name="connsiteX3926" fmla="*/ 1087002 w 1970753"/>
              <a:gd name="connsiteY3926" fmla="*/ 95830 h 1651987"/>
              <a:gd name="connsiteX3927" fmla="*/ 1089285 w 1970753"/>
              <a:gd name="connsiteY3927" fmla="*/ 95830 h 1651987"/>
              <a:gd name="connsiteX3928" fmla="*/ 1091569 w 1970753"/>
              <a:gd name="connsiteY3928" fmla="*/ 95830 h 1651987"/>
              <a:gd name="connsiteX3929" fmla="*/ 1091569 w 1970753"/>
              <a:gd name="connsiteY3929" fmla="*/ 93548 h 1651987"/>
              <a:gd name="connsiteX3930" fmla="*/ 1093843 w 1970753"/>
              <a:gd name="connsiteY3930" fmla="*/ 93548 h 1651987"/>
              <a:gd name="connsiteX3931" fmla="*/ 1093843 w 1970753"/>
              <a:gd name="connsiteY3931" fmla="*/ 95830 h 1651987"/>
              <a:gd name="connsiteX3932" fmla="*/ 1096136 w 1970753"/>
              <a:gd name="connsiteY3932" fmla="*/ 95830 h 1651987"/>
              <a:gd name="connsiteX3933" fmla="*/ 1096136 w 1970753"/>
              <a:gd name="connsiteY3933" fmla="*/ 98112 h 1651987"/>
              <a:gd name="connsiteX3934" fmla="*/ 1096136 w 1970753"/>
              <a:gd name="connsiteY3934" fmla="*/ 100394 h 1651987"/>
              <a:gd name="connsiteX3935" fmla="*/ 1098419 w 1970753"/>
              <a:gd name="connsiteY3935" fmla="*/ 100394 h 1651987"/>
              <a:gd name="connsiteX3936" fmla="*/ 1098419 w 1970753"/>
              <a:gd name="connsiteY3936" fmla="*/ 102676 h 1651987"/>
              <a:gd name="connsiteX3937" fmla="*/ 1098419 w 1970753"/>
              <a:gd name="connsiteY3937" fmla="*/ 104958 h 1651987"/>
              <a:gd name="connsiteX3938" fmla="*/ 1100703 w 1970753"/>
              <a:gd name="connsiteY3938" fmla="*/ 104958 h 1651987"/>
              <a:gd name="connsiteX3939" fmla="*/ 1105270 w 1970753"/>
              <a:gd name="connsiteY3939" fmla="*/ 104958 h 1651987"/>
              <a:gd name="connsiteX3940" fmla="*/ 1107554 w 1970753"/>
              <a:gd name="connsiteY3940" fmla="*/ 102676 h 1651987"/>
              <a:gd name="connsiteX3941" fmla="*/ 1107554 w 1970753"/>
              <a:gd name="connsiteY3941" fmla="*/ 100394 h 1651987"/>
              <a:gd name="connsiteX3942" fmla="*/ 1109838 w 1970753"/>
              <a:gd name="connsiteY3942" fmla="*/ 100394 h 1651987"/>
              <a:gd name="connsiteX3943" fmla="*/ 1109838 w 1970753"/>
              <a:gd name="connsiteY3943" fmla="*/ 98112 h 1651987"/>
              <a:gd name="connsiteX3944" fmla="*/ 1112121 w 1970753"/>
              <a:gd name="connsiteY3944" fmla="*/ 95830 h 1651987"/>
              <a:gd name="connsiteX3945" fmla="*/ 1114405 w 1970753"/>
              <a:gd name="connsiteY3945" fmla="*/ 93548 h 1651987"/>
              <a:gd name="connsiteX3946" fmla="*/ 1114405 w 1970753"/>
              <a:gd name="connsiteY3946" fmla="*/ 95830 h 1651987"/>
              <a:gd name="connsiteX3947" fmla="*/ 1114405 w 1970753"/>
              <a:gd name="connsiteY3947" fmla="*/ 93548 h 1651987"/>
              <a:gd name="connsiteX3948" fmla="*/ 1116688 w 1970753"/>
              <a:gd name="connsiteY3948" fmla="*/ 93548 h 1651987"/>
              <a:gd name="connsiteX3949" fmla="*/ 1116688 w 1970753"/>
              <a:gd name="connsiteY3949" fmla="*/ 91266 h 1651987"/>
              <a:gd name="connsiteX3950" fmla="*/ 1118972 w 1970753"/>
              <a:gd name="connsiteY3950" fmla="*/ 91266 h 1651987"/>
              <a:gd name="connsiteX3951" fmla="*/ 1121255 w 1970753"/>
              <a:gd name="connsiteY3951" fmla="*/ 91266 h 1651987"/>
              <a:gd name="connsiteX3952" fmla="*/ 1121255 w 1970753"/>
              <a:gd name="connsiteY3952" fmla="*/ 88984 h 1651987"/>
              <a:gd name="connsiteX3953" fmla="*/ 1125823 w 1970753"/>
              <a:gd name="connsiteY3953" fmla="*/ 88984 h 1651987"/>
              <a:gd name="connsiteX3954" fmla="*/ 1125823 w 1970753"/>
              <a:gd name="connsiteY3954" fmla="*/ 86712 h 1651987"/>
              <a:gd name="connsiteX3955" fmla="*/ 1128106 w 1970753"/>
              <a:gd name="connsiteY3955" fmla="*/ 86712 h 1651987"/>
              <a:gd name="connsiteX3956" fmla="*/ 1128106 w 1970753"/>
              <a:gd name="connsiteY3956" fmla="*/ 84421 h 1651987"/>
              <a:gd name="connsiteX3957" fmla="*/ 1128106 w 1970753"/>
              <a:gd name="connsiteY3957" fmla="*/ 82139 h 1651987"/>
              <a:gd name="connsiteX3958" fmla="*/ 1128106 w 1970753"/>
              <a:gd name="connsiteY3958" fmla="*/ 79866 h 1651987"/>
              <a:gd name="connsiteX3959" fmla="*/ 1128106 w 1970753"/>
              <a:gd name="connsiteY3959" fmla="*/ 77584 h 1651987"/>
              <a:gd name="connsiteX3960" fmla="*/ 1130390 w 1970753"/>
              <a:gd name="connsiteY3960" fmla="*/ 77584 h 1651987"/>
              <a:gd name="connsiteX3961" fmla="*/ 1130390 w 1970753"/>
              <a:gd name="connsiteY3961" fmla="*/ 75303 h 1651987"/>
              <a:gd name="connsiteX3962" fmla="*/ 1130390 w 1970753"/>
              <a:gd name="connsiteY3962" fmla="*/ 73021 h 1651987"/>
              <a:gd name="connsiteX3963" fmla="*/ 1132673 w 1970753"/>
              <a:gd name="connsiteY3963" fmla="*/ 73021 h 1651987"/>
              <a:gd name="connsiteX3964" fmla="*/ 1134957 w 1970753"/>
              <a:gd name="connsiteY3964" fmla="*/ 73021 h 1651987"/>
              <a:gd name="connsiteX3965" fmla="*/ 1134957 w 1970753"/>
              <a:gd name="connsiteY3965" fmla="*/ 70739 h 1651987"/>
              <a:gd name="connsiteX3966" fmla="*/ 1137241 w 1970753"/>
              <a:gd name="connsiteY3966" fmla="*/ 70739 h 1651987"/>
              <a:gd name="connsiteX3967" fmla="*/ 1139524 w 1970753"/>
              <a:gd name="connsiteY3967" fmla="*/ 70739 h 1651987"/>
              <a:gd name="connsiteX3968" fmla="*/ 1139524 w 1970753"/>
              <a:gd name="connsiteY3968" fmla="*/ 68457 h 1651987"/>
              <a:gd name="connsiteX3969" fmla="*/ 1139524 w 1970753"/>
              <a:gd name="connsiteY3969" fmla="*/ 66175 h 1651987"/>
              <a:gd name="connsiteX3970" fmla="*/ 1139524 w 1970753"/>
              <a:gd name="connsiteY3970" fmla="*/ 63893 h 1651987"/>
              <a:gd name="connsiteX3971" fmla="*/ 1139524 w 1970753"/>
              <a:gd name="connsiteY3971" fmla="*/ 61611 h 1651987"/>
              <a:gd name="connsiteX3972" fmla="*/ 1141808 w 1970753"/>
              <a:gd name="connsiteY3972" fmla="*/ 61611 h 1651987"/>
              <a:gd name="connsiteX3973" fmla="*/ 1141808 w 1970753"/>
              <a:gd name="connsiteY3973" fmla="*/ 59329 h 1651987"/>
              <a:gd name="connsiteX3974" fmla="*/ 1141808 w 1970753"/>
              <a:gd name="connsiteY3974" fmla="*/ 57047 h 1651987"/>
              <a:gd name="connsiteX3975" fmla="*/ 1141808 w 1970753"/>
              <a:gd name="connsiteY3975" fmla="*/ 54765 h 1651987"/>
              <a:gd name="connsiteX3976" fmla="*/ 1139524 w 1970753"/>
              <a:gd name="connsiteY3976" fmla="*/ 54765 h 1651987"/>
              <a:gd name="connsiteX3977" fmla="*/ 1139524 w 1970753"/>
              <a:gd name="connsiteY3977" fmla="*/ 52484 h 1651987"/>
              <a:gd name="connsiteX3978" fmla="*/ 1137241 w 1970753"/>
              <a:gd name="connsiteY3978" fmla="*/ 52484 h 1651987"/>
              <a:gd name="connsiteX3979" fmla="*/ 1137241 w 1970753"/>
              <a:gd name="connsiteY3979" fmla="*/ 50202 h 1651987"/>
              <a:gd name="connsiteX3980" fmla="*/ 1139524 w 1970753"/>
              <a:gd name="connsiteY3980" fmla="*/ 50202 h 1651987"/>
              <a:gd name="connsiteX3981" fmla="*/ 1139524 w 1970753"/>
              <a:gd name="connsiteY3981" fmla="*/ 47920 h 1651987"/>
              <a:gd name="connsiteX3982" fmla="*/ 1141808 w 1970753"/>
              <a:gd name="connsiteY3982" fmla="*/ 47920 h 1651987"/>
              <a:gd name="connsiteX3983" fmla="*/ 1141808 w 1970753"/>
              <a:gd name="connsiteY3983" fmla="*/ 45638 h 1651987"/>
              <a:gd name="connsiteX3984" fmla="*/ 1144092 w 1970753"/>
              <a:gd name="connsiteY3984" fmla="*/ 45638 h 1651987"/>
              <a:gd name="connsiteX3985" fmla="*/ 1146375 w 1970753"/>
              <a:gd name="connsiteY3985" fmla="*/ 45638 h 1651987"/>
              <a:gd name="connsiteX3986" fmla="*/ 1146375 w 1970753"/>
              <a:gd name="connsiteY3986" fmla="*/ 47920 h 1651987"/>
              <a:gd name="connsiteX3987" fmla="*/ 1148659 w 1970753"/>
              <a:gd name="connsiteY3987" fmla="*/ 47920 h 1651987"/>
              <a:gd name="connsiteX3988" fmla="*/ 1150942 w 1970753"/>
              <a:gd name="connsiteY3988" fmla="*/ 47920 h 1651987"/>
              <a:gd name="connsiteX3989" fmla="*/ 1150942 w 1970753"/>
              <a:gd name="connsiteY3989" fmla="*/ 45638 h 1651987"/>
              <a:gd name="connsiteX3990" fmla="*/ 1153226 w 1970753"/>
              <a:gd name="connsiteY3990" fmla="*/ 45638 h 1651987"/>
              <a:gd name="connsiteX3991" fmla="*/ 1153226 w 1970753"/>
              <a:gd name="connsiteY3991" fmla="*/ 43356 h 1651987"/>
              <a:gd name="connsiteX3992" fmla="*/ 1155509 w 1970753"/>
              <a:gd name="connsiteY3992" fmla="*/ 43356 h 1651987"/>
              <a:gd name="connsiteX3993" fmla="*/ 1157793 w 1970753"/>
              <a:gd name="connsiteY3993" fmla="*/ 43356 h 1651987"/>
              <a:gd name="connsiteX3994" fmla="*/ 1160077 w 1970753"/>
              <a:gd name="connsiteY3994" fmla="*/ 43356 h 1651987"/>
              <a:gd name="connsiteX3995" fmla="*/ 1160077 w 1970753"/>
              <a:gd name="connsiteY3995" fmla="*/ 45638 h 1651987"/>
              <a:gd name="connsiteX3996" fmla="*/ 1162360 w 1970753"/>
              <a:gd name="connsiteY3996" fmla="*/ 45638 h 1651987"/>
              <a:gd name="connsiteX3997" fmla="*/ 1164644 w 1970753"/>
              <a:gd name="connsiteY3997" fmla="*/ 45638 h 1651987"/>
              <a:gd name="connsiteX3998" fmla="*/ 1164644 w 1970753"/>
              <a:gd name="connsiteY3998" fmla="*/ 43356 h 1651987"/>
              <a:gd name="connsiteX3999" fmla="*/ 1166927 w 1970753"/>
              <a:gd name="connsiteY3999" fmla="*/ 43356 h 1651987"/>
              <a:gd name="connsiteX4000" fmla="*/ 1166927 w 1970753"/>
              <a:gd name="connsiteY4000" fmla="*/ 41074 h 1651987"/>
              <a:gd name="connsiteX4001" fmla="*/ 1166927 w 1970753"/>
              <a:gd name="connsiteY4001" fmla="*/ 38792 h 1651987"/>
              <a:gd name="connsiteX4002" fmla="*/ 1164644 w 1970753"/>
              <a:gd name="connsiteY4002" fmla="*/ 38792 h 1651987"/>
              <a:gd name="connsiteX4003" fmla="*/ 1164644 w 1970753"/>
              <a:gd name="connsiteY4003" fmla="*/ 36510 h 1651987"/>
              <a:gd name="connsiteX4004" fmla="*/ 1162360 w 1970753"/>
              <a:gd name="connsiteY4004" fmla="*/ 36510 h 1651987"/>
              <a:gd name="connsiteX4005" fmla="*/ 1162360 w 1970753"/>
              <a:gd name="connsiteY4005" fmla="*/ 34228 h 1651987"/>
              <a:gd name="connsiteX4006" fmla="*/ 1162360 w 1970753"/>
              <a:gd name="connsiteY4006" fmla="*/ 31947 h 1651987"/>
              <a:gd name="connsiteX4007" fmla="*/ 1164644 w 1970753"/>
              <a:gd name="connsiteY4007" fmla="*/ 31947 h 1651987"/>
              <a:gd name="connsiteX4008" fmla="*/ 1164644 w 1970753"/>
              <a:gd name="connsiteY4008" fmla="*/ 29665 h 1651987"/>
              <a:gd name="connsiteX4009" fmla="*/ 1166927 w 1970753"/>
              <a:gd name="connsiteY4009" fmla="*/ 29665 h 1651987"/>
              <a:gd name="connsiteX4010" fmla="*/ 1169211 w 1970753"/>
              <a:gd name="connsiteY4010" fmla="*/ 29665 h 1651987"/>
              <a:gd name="connsiteX4011" fmla="*/ 1169211 w 1970753"/>
              <a:gd name="connsiteY4011" fmla="*/ 27383 h 1651987"/>
              <a:gd name="connsiteX4012" fmla="*/ 1171494 w 1970753"/>
              <a:gd name="connsiteY4012" fmla="*/ 27383 h 1651987"/>
              <a:gd name="connsiteX4013" fmla="*/ 1171494 w 1970753"/>
              <a:gd name="connsiteY4013" fmla="*/ 29665 h 1651987"/>
              <a:gd name="connsiteX4014" fmla="*/ 1173778 w 1970753"/>
              <a:gd name="connsiteY4014" fmla="*/ 29665 h 1651987"/>
              <a:gd name="connsiteX4015" fmla="*/ 1176062 w 1970753"/>
              <a:gd name="connsiteY4015" fmla="*/ 29665 h 1651987"/>
              <a:gd name="connsiteX4016" fmla="*/ 1176062 w 1970753"/>
              <a:gd name="connsiteY4016" fmla="*/ 27383 h 1651987"/>
              <a:gd name="connsiteX4017" fmla="*/ 1176062 w 1970753"/>
              <a:gd name="connsiteY4017" fmla="*/ 25101 h 1651987"/>
              <a:gd name="connsiteX4018" fmla="*/ 1178345 w 1970753"/>
              <a:gd name="connsiteY4018" fmla="*/ 25101 h 1651987"/>
              <a:gd name="connsiteX4019" fmla="*/ 1180629 w 1970753"/>
              <a:gd name="connsiteY4019" fmla="*/ 25101 h 1651987"/>
              <a:gd name="connsiteX4020" fmla="*/ 1182913 w 1970753"/>
              <a:gd name="connsiteY4020" fmla="*/ 25101 h 1651987"/>
              <a:gd name="connsiteX4021" fmla="*/ 1185196 w 1970753"/>
              <a:gd name="connsiteY4021" fmla="*/ 25101 h 1651987"/>
              <a:gd name="connsiteX4022" fmla="*/ 1185196 w 1970753"/>
              <a:gd name="connsiteY4022" fmla="*/ 27383 h 1651987"/>
              <a:gd name="connsiteX4023" fmla="*/ 1185196 w 1970753"/>
              <a:gd name="connsiteY4023" fmla="*/ 29665 h 1651987"/>
              <a:gd name="connsiteX4024" fmla="*/ 1185196 w 1970753"/>
              <a:gd name="connsiteY4024" fmla="*/ 31947 h 1651987"/>
              <a:gd name="connsiteX4025" fmla="*/ 1185196 w 1970753"/>
              <a:gd name="connsiteY4025" fmla="*/ 34228 h 1651987"/>
              <a:gd name="connsiteX4026" fmla="*/ 1185196 w 1970753"/>
              <a:gd name="connsiteY4026" fmla="*/ 36510 h 1651987"/>
              <a:gd name="connsiteX4027" fmla="*/ 1182913 w 1970753"/>
              <a:gd name="connsiteY4027" fmla="*/ 38792 h 1651987"/>
              <a:gd name="connsiteX4028" fmla="*/ 1182913 w 1970753"/>
              <a:gd name="connsiteY4028" fmla="*/ 41074 h 1651987"/>
              <a:gd name="connsiteX4029" fmla="*/ 1185196 w 1970753"/>
              <a:gd name="connsiteY4029" fmla="*/ 41074 h 1651987"/>
              <a:gd name="connsiteX4030" fmla="*/ 1185196 w 1970753"/>
              <a:gd name="connsiteY4030" fmla="*/ 43356 h 1651987"/>
              <a:gd name="connsiteX4031" fmla="*/ 1185196 w 1970753"/>
              <a:gd name="connsiteY4031" fmla="*/ 41074 h 1651987"/>
              <a:gd name="connsiteX4032" fmla="*/ 1187480 w 1970753"/>
              <a:gd name="connsiteY4032" fmla="*/ 41074 h 1651987"/>
              <a:gd name="connsiteX4033" fmla="*/ 1189763 w 1970753"/>
              <a:gd name="connsiteY4033" fmla="*/ 41074 h 1651987"/>
              <a:gd name="connsiteX4034" fmla="*/ 1192047 w 1970753"/>
              <a:gd name="connsiteY4034" fmla="*/ 41074 h 1651987"/>
              <a:gd name="connsiteX4035" fmla="*/ 1194331 w 1970753"/>
              <a:gd name="connsiteY4035" fmla="*/ 41074 h 1651987"/>
              <a:gd name="connsiteX4036" fmla="*/ 1194331 w 1970753"/>
              <a:gd name="connsiteY4036" fmla="*/ 43356 h 1651987"/>
              <a:gd name="connsiteX4037" fmla="*/ 1196614 w 1970753"/>
              <a:gd name="connsiteY4037" fmla="*/ 43356 h 1651987"/>
              <a:gd name="connsiteX4038" fmla="*/ 1198898 w 1970753"/>
              <a:gd name="connsiteY4038" fmla="*/ 43356 h 1651987"/>
              <a:gd name="connsiteX4039" fmla="*/ 1201181 w 1970753"/>
              <a:gd name="connsiteY4039" fmla="*/ 43356 h 1651987"/>
              <a:gd name="connsiteX4040" fmla="*/ 1201181 w 1970753"/>
              <a:gd name="connsiteY4040" fmla="*/ 41074 h 1651987"/>
              <a:gd name="connsiteX4041" fmla="*/ 1203465 w 1970753"/>
              <a:gd name="connsiteY4041" fmla="*/ 41074 h 1651987"/>
              <a:gd name="connsiteX4042" fmla="*/ 1203465 w 1970753"/>
              <a:gd name="connsiteY4042" fmla="*/ 38792 h 1651987"/>
              <a:gd name="connsiteX4043" fmla="*/ 1205748 w 1970753"/>
              <a:gd name="connsiteY4043" fmla="*/ 38792 h 1651987"/>
              <a:gd name="connsiteX4044" fmla="*/ 1208032 w 1970753"/>
              <a:gd name="connsiteY4044" fmla="*/ 38792 h 1651987"/>
              <a:gd name="connsiteX4045" fmla="*/ 1210316 w 1970753"/>
              <a:gd name="connsiteY4045" fmla="*/ 38792 h 1651987"/>
              <a:gd name="connsiteX4046" fmla="*/ 1212599 w 1970753"/>
              <a:gd name="connsiteY4046" fmla="*/ 38792 h 1651987"/>
              <a:gd name="connsiteX4047" fmla="*/ 1214883 w 1970753"/>
              <a:gd name="connsiteY4047" fmla="*/ 38792 h 1651987"/>
              <a:gd name="connsiteX4048" fmla="*/ 1217167 w 1970753"/>
              <a:gd name="connsiteY4048" fmla="*/ 38792 h 1651987"/>
              <a:gd name="connsiteX4049" fmla="*/ 1219450 w 1970753"/>
              <a:gd name="connsiteY4049" fmla="*/ 38792 h 1651987"/>
              <a:gd name="connsiteX4050" fmla="*/ 1219450 w 1970753"/>
              <a:gd name="connsiteY4050" fmla="*/ 36510 h 1651987"/>
              <a:gd name="connsiteX4051" fmla="*/ 1219450 w 1970753"/>
              <a:gd name="connsiteY4051" fmla="*/ 38792 h 1651987"/>
              <a:gd name="connsiteX4052" fmla="*/ 1221734 w 1970753"/>
              <a:gd name="connsiteY4052" fmla="*/ 38792 h 1651987"/>
              <a:gd name="connsiteX4053" fmla="*/ 1224017 w 1970753"/>
              <a:gd name="connsiteY4053" fmla="*/ 38792 h 1651987"/>
              <a:gd name="connsiteX4054" fmla="*/ 1224017 w 1970753"/>
              <a:gd name="connsiteY4054" fmla="*/ 41074 h 1651987"/>
              <a:gd name="connsiteX4055" fmla="*/ 1226301 w 1970753"/>
              <a:gd name="connsiteY4055" fmla="*/ 41074 h 1651987"/>
              <a:gd name="connsiteX4056" fmla="*/ 1226301 w 1970753"/>
              <a:gd name="connsiteY4056" fmla="*/ 43356 h 1651987"/>
              <a:gd name="connsiteX4057" fmla="*/ 1226301 w 1970753"/>
              <a:gd name="connsiteY4057" fmla="*/ 45638 h 1651987"/>
              <a:gd name="connsiteX4058" fmla="*/ 1226301 w 1970753"/>
              <a:gd name="connsiteY4058" fmla="*/ 47920 h 1651987"/>
              <a:gd name="connsiteX4059" fmla="*/ 1228584 w 1970753"/>
              <a:gd name="connsiteY4059" fmla="*/ 47920 h 1651987"/>
              <a:gd name="connsiteX4060" fmla="*/ 1228584 w 1970753"/>
              <a:gd name="connsiteY4060" fmla="*/ 50202 h 1651987"/>
              <a:gd name="connsiteX4061" fmla="*/ 1230868 w 1970753"/>
              <a:gd name="connsiteY4061" fmla="*/ 50202 h 1651987"/>
              <a:gd name="connsiteX4062" fmla="*/ 1230868 w 1970753"/>
              <a:gd name="connsiteY4062" fmla="*/ 52484 h 1651987"/>
              <a:gd name="connsiteX4063" fmla="*/ 1233152 w 1970753"/>
              <a:gd name="connsiteY4063" fmla="*/ 52484 h 1651987"/>
              <a:gd name="connsiteX4064" fmla="*/ 1235435 w 1970753"/>
              <a:gd name="connsiteY4064" fmla="*/ 54765 h 1651987"/>
              <a:gd name="connsiteX4065" fmla="*/ 1235435 w 1970753"/>
              <a:gd name="connsiteY4065" fmla="*/ 52484 h 1651987"/>
              <a:gd name="connsiteX4066" fmla="*/ 1235435 w 1970753"/>
              <a:gd name="connsiteY4066" fmla="*/ 50202 h 1651987"/>
              <a:gd name="connsiteX4067" fmla="*/ 1235435 w 1970753"/>
              <a:gd name="connsiteY4067" fmla="*/ 47920 h 1651987"/>
              <a:gd name="connsiteX4068" fmla="*/ 1235435 w 1970753"/>
              <a:gd name="connsiteY4068" fmla="*/ 45638 h 1651987"/>
              <a:gd name="connsiteX4069" fmla="*/ 1235435 w 1970753"/>
              <a:gd name="connsiteY4069" fmla="*/ 43356 h 1651987"/>
              <a:gd name="connsiteX4070" fmla="*/ 1235435 w 1970753"/>
              <a:gd name="connsiteY4070" fmla="*/ 41074 h 1651987"/>
              <a:gd name="connsiteX4071" fmla="*/ 1235435 w 1970753"/>
              <a:gd name="connsiteY4071" fmla="*/ 38792 h 1651987"/>
              <a:gd name="connsiteX4072" fmla="*/ 1235435 w 1970753"/>
              <a:gd name="connsiteY4072" fmla="*/ 36510 h 1651987"/>
              <a:gd name="connsiteX4073" fmla="*/ 1237719 w 1970753"/>
              <a:gd name="connsiteY4073" fmla="*/ 36510 h 1651987"/>
              <a:gd name="connsiteX4074" fmla="*/ 1237719 w 1970753"/>
              <a:gd name="connsiteY4074" fmla="*/ 34228 h 1651987"/>
              <a:gd name="connsiteX4075" fmla="*/ 1240002 w 1970753"/>
              <a:gd name="connsiteY4075" fmla="*/ 34228 h 1651987"/>
              <a:gd name="connsiteX4076" fmla="*/ 1242286 w 1970753"/>
              <a:gd name="connsiteY4076" fmla="*/ 34228 h 1651987"/>
              <a:gd name="connsiteX4077" fmla="*/ 1244570 w 1970753"/>
              <a:gd name="connsiteY4077" fmla="*/ 34228 h 1651987"/>
              <a:gd name="connsiteX4078" fmla="*/ 1246853 w 1970753"/>
              <a:gd name="connsiteY4078" fmla="*/ 34228 h 1651987"/>
              <a:gd name="connsiteX4079" fmla="*/ 1249137 w 1970753"/>
              <a:gd name="connsiteY4079" fmla="*/ 34228 h 1651987"/>
              <a:gd name="connsiteX4080" fmla="*/ 1251421 w 1970753"/>
              <a:gd name="connsiteY4080" fmla="*/ 34228 h 1651987"/>
              <a:gd name="connsiteX4081" fmla="*/ 1253704 w 1970753"/>
              <a:gd name="connsiteY4081" fmla="*/ 34228 h 1651987"/>
              <a:gd name="connsiteX4082" fmla="*/ 1255988 w 1970753"/>
              <a:gd name="connsiteY4082" fmla="*/ 34228 h 1651987"/>
              <a:gd name="connsiteX4083" fmla="*/ 1258271 w 1970753"/>
              <a:gd name="connsiteY4083" fmla="*/ 34228 h 1651987"/>
              <a:gd name="connsiteX4084" fmla="*/ 1260555 w 1970753"/>
              <a:gd name="connsiteY4084" fmla="*/ 34228 h 1651987"/>
              <a:gd name="connsiteX4085" fmla="*/ 1260555 w 1970753"/>
              <a:gd name="connsiteY4085" fmla="*/ 31947 h 1651987"/>
              <a:gd name="connsiteX4086" fmla="*/ 1262838 w 1970753"/>
              <a:gd name="connsiteY4086" fmla="*/ 31947 h 1651987"/>
              <a:gd name="connsiteX4087" fmla="*/ 1265122 w 1970753"/>
              <a:gd name="connsiteY4087" fmla="*/ 31947 h 1651987"/>
              <a:gd name="connsiteX4088" fmla="*/ 1267406 w 1970753"/>
              <a:gd name="connsiteY4088" fmla="*/ 31947 h 1651987"/>
              <a:gd name="connsiteX4089" fmla="*/ 1269689 w 1970753"/>
              <a:gd name="connsiteY4089" fmla="*/ 31947 h 1651987"/>
              <a:gd name="connsiteX4090" fmla="*/ 1271973 w 1970753"/>
              <a:gd name="connsiteY4090" fmla="*/ 31947 h 1651987"/>
              <a:gd name="connsiteX4091" fmla="*/ 1274256 w 1970753"/>
              <a:gd name="connsiteY4091" fmla="*/ 31947 h 1651987"/>
              <a:gd name="connsiteX4092" fmla="*/ 1276540 w 1970753"/>
              <a:gd name="connsiteY4092" fmla="*/ 31947 h 1651987"/>
              <a:gd name="connsiteX4093" fmla="*/ 1276540 w 1970753"/>
              <a:gd name="connsiteY4093" fmla="*/ 29665 h 1651987"/>
              <a:gd name="connsiteX4094" fmla="*/ 1276540 w 1970753"/>
              <a:gd name="connsiteY4094" fmla="*/ 27383 h 1651987"/>
              <a:gd name="connsiteX4095" fmla="*/ 1278823 w 1970753"/>
              <a:gd name="connsiteY4095" fmla="*/ 27383 h 1651987"/>
              <a:gd name="connsiteX4096" fmla="*/ 1278823 w 1970753"/>
              <a:gd name="connsiteY4096" fmla="*/ 25101 h 1651987"/>
              <a:gd name="connsiteX4097" fmla="*/ 1281107 w 1970753"/>
              <a:gd name="connsiteY4097" fmla="*/ 25101 h 1651987"/>
              <a:gd name="connsiteX4098" fmla="*/ 1281107 w 1970753"/>
              <a:gd name="connsiteY4098" fmla="*/ 22819 h 1651987"/>
              <a:gd name="connsiteX4099" fmla="*/ 1281107 w 1970753"/>
              <a:gd name="connsiteY4099" fmla="*/ 20537 h 1651987"/>
              <a:gd name="connsiteX4100" fmla="*/ 1281107 w 1970753"/>
              <a:gd name="connsiteY4100" fmla="*/ 18255 h 1651987"/>
              <a:gd name="connsiteX4101" fmla="*/ 1283391 w 1970753"/>
              <a:gd name="connsiteY4101" fmla="*/ 18255 h 1651987"/>
              <a:gd name="connsiteX4102" fmla="*/ 1283391 w 1970753"/>
              <a:gd name="connsiteY4102" fmla="*/ 15973 h 1651987"/>
              <a:gd name="connsiteX4103" fmla="*/ 1285674 w 1970753"/>
              <a:gd name="connsiteY4103" fmla="*/ 15973 h 1651987"/>
              <a:gd name="connsiteX4104" fmla="*/ 1287958 w 1970753"/>
              <a:gd name="connsiteY4104" fmla="*/ 15973 h 1651987"/>
              <a:gd name="connsiteX4105" fmla="*/ 1290242 w 1970753"/>
              <a:gd name="connsiteY4105" fmla="*/ 15973 h 1651987"/>
              <a:gd name="connsiteX4106" fmla="*/ 1292525 w 1970753"/>
              <a:gd name="connsiteY4106" fmla="*/ 15973 h 1651987"/>
              <a:gd name="connsiteX4107" fmla="*/ 1292525 w 1970753"/>
              <a:gd name="connsiteY4107" fmla="*/ 13691 h 1651987"/>
              <a:gd name="connsiteX4108" fmla="*/ 1294809 w 1970753"/>
              <a:gd name="connsiteY4108" fmla="*/ 13691 h 1651987"/>
              <a:gd name="connsiteX4109" fmla="*/ 1294809 w 1970753"/>
              <a:gd name="connsiteY4109" fmla="*/ 11409 h 1651987"/>
              <a:gd name="connsiteX4110" fmla="*/ 1297092 w 1970753"/>
              <a:gd name="connsiteY4110" fmla="*/ 11409 h 1651987"/>
              <a:gd name="connsiteX4111" fmla="*/ 1297092 w 1970753"/>
              <a:gd name="connsiteY4111" fmla="*/ 9128 h 1651987"/>
              <a:gd name="connsiteX4112" fmla="*/ 1297092 w 1970753"/>
              <a:gd name="connsiteY4112" fmla="*/ 6846 h 1651987"/>
              <a:gd name="connsiteX4113" fmla="*/ 1297092 w 1970753"/>
              <a:gd name="connsiteY4113" fmla="*/ 4564 h 1651987"/>
              <a:gd name="connsiteX4114" fmla="*/ 1299376 w 1970753"/>
              <a:gd name="connsiteY4114" fmla="*/ 4564 h 1651987"/>
              <a:gd name="connsiteX4115" fmla="*/ 1299376 w 1970753"/>
              <a:gd name="connsiteY4115" fmla="*/ 2282 h 1651987"/>
              <a:gd name="connsiteX4116" fmla="*/ 1301660 w 1970753"/>
              <a:gd name="connsiteY4116" fmla="*/ 2282 h 1651987"/>
              <a:gd name="connsiteX4117" fmla="*/ 1303943 w 1970753"/>
              <a:gd name="connsiteY4117" fmla="*/ 2282 h 1651987"/>
              <a:gd name="connsiteX4118" fmla="*/ 1306227 w 1970753"/>
              <a:gd name="connsiteY4118" fmla="*/ 2282 h 1651987"/>
              <a:gd name="connsiteX4119" fmla="*/ 1308510 w 1970753"/>
              <a:gd name="connsiteY4119" fmla="*/ 2282 h 1651987"/>
              <a:gd name="connsiteX4120" fmla="*/ 1308510 w 1970753"/>
              <a:gd name="connsiteY4120" fmla="*/ 0 h 1651987"/>
              <a:gd name="connsiteX4121" fmla="*/ 1310794 w 1970753"/>
              <a:gd name="connsiteY4121" fmla="*/ 0 h 1651987"/>
              <a:gd name="connsiteX4122" fmla="*/ 1310794 w 1970753"/>
              <a:gd name="connsiteY4122" fmla="*/ 2282 h 1651987"/>
              <a:gd name="connsiteX4123" fmla="*/ 1313077 w 1970753"/>
              <a:gd name="connsiteY4123" fmla="*/ 2282 h 1651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</a:cxnLst>
            <a:rect l="l" t="t" r="r" b="b"/>
            <a:pathLst>
              <a:path w="1970753" h="1651987">
                <a:moveTo>
                  <a:pt x="1313077" y="2282"/>
                </a:moveTo>
                <a:lnTo>
                  <a:pt x="1313077" y="4564"/>
                </a:lnTo>
                <a:lnTo>
                  <a:pt x="1315361" y="4564"/>
                </a:lnTo>
                <a:lnTo>
                  <a:pt x="1315361" y="6846"/>
                </a:lnTo>
                <a:lnTo>
                  <a:pt x="1317645" y="6846"/>
                </a:lnTo>
                <a:lnTo>
                  <a:pt x="1317645" y="9128"/>
                </a:lnTo>
                <a:lnTo>
                  <a:pt x="1319928" y="9128"/>
                </a:lnTo>
                <a:lnTo>
                  <a:pt x="1319928" y="11409"/>
                </a:lnTo>
                <a:lnTo>
                  <a:pt x="1319928" y="13691"/>
                </a:lnTo>
                <a:lnTo>
                  <a:pt x="1319928" y="15973"/>
                </a:lnTo>
                <a:lnTo>
                  <a:pt x="1319928" y="18255"/>
                </a:lnTo>
                <a:lnTo>
                  <a:pt x="1319928" y="20537"/>
                </a:lnTo>
                <a:lnTo>
                  <a:pt x="1317645" y="20537"/>
                </a:lnTo>
                <a:lnTo>
                  <a:pt x="1317645" y="22819"/>
                </a:lnTo>
                <a:lnTo>
                  <a:pt x="1317645" y="25101"/>
                </a:lnTo>
                <a:lnTo>
                  <a:pt x="1317645" y="27383"/>
                </a:lnTo>
                <a:lnTo>
                  <a:pt x="1317645" y="29665"/>
                </a:lnTo>
                <a:lnTo>
                  <a:pt x="1319928" y="29665"/>
                </a:lnTo>
                <a:lnTo>
                  <a:pt x="1319928" y="31947"/>
                </a:lnTo>
                <a:lnTo>
                  <a:pt x="1319928" y="34228"/>
                </a:lnTo>
                <a:lnTo>
                  <a:pt x="1322212" y="34228"/>
                </a:lnTo>
                <a:lnTo>
                  <a:pt x="1322212" y="36510"/>
                </a:lnTo>
                <a:lnTo>
                  <a:pt x="1322212" y="38792"/>
                </a:lnTo>
                <a:lnTo>
                  <a:pt x="1322212" y="41074"/>
                </a:lnTo>
                <a:lnTo>
                  <a:pt x="1322212" y="43356"/>
                </a:lnTo>
                <a:lnTo>
                  <a:pt x="1324496" y="43356"/>
                </a:lnTo>
                <a:lnTo>
                  <a:pt x="1326779" y="43356"/>
                </a:lnTo>
                <a:lnTo>
                  <a:pt x="1326779" y="45638"/>
                </a:lnTo>
                <a:lnTo>
                  <a:pt x="1329063" y="45638"/>
                </a:lnTo>
                <a:lnTo>
                  <a:pt x="1331346" y="45638"/>
                </a:lnTo>
                <a:lnTo>
                  <a:pt x="1331346" y="47920"/>
                </a:lnTo>
                <a:lnTo>
                  <a:pt x="1329063" y="47920"/>
                </a:lnTo>
                <a:lnTo>
                  <a:pt x="1329063" y="50202"/>
                </a:lnTo>
                <a:lnTo>
                  <a:pt x="1326779" y="50202"/>
                </a:lnTo>
                <a:lnTo>
                  <a:pt x="1324496" y="50202"/>
                </a:lnTo>
                <a:lnTo>
                  <a:pt x="1324496" y="52484"/>
                </a:lnTo>
                <a:lnTo>
                  <a:pt x="1326779" y="52484"/>
                </a:lnTo>
                <a:lnTo>
                  <a:pt x="1329063" y="52484"/>
                </a:lnTo>
                <a:lnTo>
                  <a:pt x="1331346" y="52484"/>
                </a:lnTo>
                <a:lnTo>
                  <a:pt x="1333630" y="52484"/>
                </a:lnTo>
                <a:lnTo>
                  <a:pt x="1333630" y="54765"/>
                </a:lnTo>
                <a:lnTo>
                  <a:pt x="1335913" y="54765"/>
                </a:lnTo>
                <a:lnTo>
                  <a:pt x="1338197" y="54765"/>
                </a:lnTo>
                <a:lnTo>
                  <a:pt x="1338197" y="57047"/>
                </a:lnTo>
                <a:lnTo>
                  <a:pt x="1338197" y="59329"/>
                </a:lnTo>
                <a:lnTo>
                  <a:pt x="1338197" y="61611"/>
                </a:lnTo>
                <a:lnTo>
                  <a:pt x="1340481" y="61611"/>
                </a:lnTo>
                <a:lnTo>
                  <a:pt x="1342764" y="61611"/>
                </a:lnTo>
                <a:lnTo>
                  <a:pt x="1342764" y="63893"/>
                </a:lnTo>
                <a:lnTo>
                  <a:pt x="1345048" y="63893"/>
                </a:lnTo>
                <a:lnTo>
                  <a:pt x="1345048" y="66175"/>
                </a:lnTo>
                <a:lnTo>
                  <a:pt x="1347331" y="66175"/>
                </a:lnTo>
                <a:lnTo>
                  <a:pt x="1347331" y="68457"/>
                </a:lnTo>
                <a:lnTo>
                  <a:pt x="1349615" y="68457"/>
                </a:lnTo>
                <a:lnTo>
                  <a:pt x="1349615" y="70739"/>
                </a:lnTo>
                <a:lnTo>
                  <a:pt x="1351899" y="70739"/>
                </a:lnTo>
                <a:lnTo>
                  <a:pt x="1354182" y="70739"/>
                </a:lnTo>
                <a:lnTo>
                  <a:pt x="1356466" y="70739"/>
                </a:lnTo>
                <a:lnTo>
                  <a:pt x="1358750" y="70739"/>
                </a:lnTo>
                <a:lnTo>
                  <a:pt x="1358750" y="73021"/>
                </a:lnTo>
                <a:lnTo>
                  <a:pt x="1361033" y="73021"/>
                </a:lnTo>
                <a:lnTo>
                  <a:pt x="1363317" y="73021"/>
                </a:lnTo>
                <a:lnTo>
                  <a:pt x="1363317" y="75303"/>
                </a:lnTo>
                <a:lnTo>
                  <a:pt x="1363317" y="77584"/>
                </a:lnTo>
                <a:lnTo>
                  <a:pt x="1365600" y="77584"/>
                </a:lnTo>
                <a:lnTo>
                  <a:pt x="1365600" y="79866"/>
                </a:lnTo>
                <a:lnTo>
                  <a:pt x="1365600" y="82139"/>
                </a:lnTo>
                <a:lnTo>
                  <a:pt x="1363317" y="82139"/>
                </a:lnTo>
                <a:lnTo>
                  <a:pt x="1363317" y="84421"/>
                </a:lnTo>
                <a:lnTo>
                  <a:pt x="1363317" y="86712"/>
                </a:lnTo>
                <a:lnTo>
                  <a:pt x="1363317" y="88984"/>
                </a:lnTo>
                <a:lnTo>
                  <a:pt x="1363317" y="91266"/>
                </a:lnTo>
                <a:lnTo>
                  <a:pt x="1365600" y="91266"/>
                </a:lnTo>
                <a:lnTo>
                  <a:pt x="1367884" y="91266"/>
                </a:lnTo>
                <a:lnTo>
                  <a:pt x="1370167" y="91266"/>
                </a:lnTo>
                <a:lnTo>
                  <a:pt x="1372451" y="91266"/>
                </a:lnTo>
                <a:lnTo>
                  <a:pt x="1374735" y="91266"/>
                </a:lnTo>
                <a:lnTo>
                  <a:pt x="1374735" y="88984"/>
                </a:lnTo>
                <a:lnTo>
                  <a:pt x="1377018" y="88984"/>
                </a:lnTo>
                <a:lnTo>
                  <a:pt x="1379302" y="88984"/>
                </a:lnTo>
                <a:lnTo>
                  <a:pt x="1379302" y="91266"/>
                </a:lnTo>
                <a:lnTo>
                  <a:pt x="1381585" y="91266"/>
                </a:lnTo>
                <a:lnTo>
                  <a:pt x="1383869" y="91266"/>
                </a:lnTo>
                <a:lnTo>
                  <a:pt x="1383869" y="88984"/>
                </a:lnTo>
                <a:lnTo>
                  <a:pt x="1381585" y="88984"/>
                </a:lnTo>
                <a:lnTo>
                  <a:pt x="1381585" y="86712"/>
                </a:lnTo>
                <a:lnTo>
                  <a:pt x="1381585" y="84421"/>
                </a:lnTo>
                <a:lnTo>
                  <a:pt x="1381585" y="82139"/>
                </a:lnTo>
                <a:lnTo>
                  <a:pt x="1379302" y="82139"/>
                </a:lnTo>
                <a:lnTo>
                  <a:pt x="1379302" y="79866"/>
                </a:lnTo>
                <a:lnTo>
                  <a:pt x="1379302" y="77584"/>
                </a:lnTo>
                <a:lnTo>
                  <a:pt x="1377018" y="77584"/>
                </a:lnTo>
                <a:lnTo>
                  <a:pt x="1377018" y="75303"/>
                </a:lnTo>
                <a:lnTo>
                  <a:pt x="1377018" y="73021"/>
                </a:lnTo>
                <a:lnTo>
                  <a:pt x="1379302" y="73021"/>
                </a:lnTo>
                <a:lnTo>
                  <a:pt x="1381585" y="73021"/>
                </a:lnTo>
                <a:lnTo>
                  <a:pt x="1383869" y="73021"/>
                </a:lnTo>
                <a:lnTo>
                  <a:pt x="1383869" y="75303"/>
                </a:lnTo>
                <a:lnTo>
                  <a:pt x="1386152" y="75303"/>
                </a:lnTo>
                <a:lnTo>
                  <a:pt x="1386152" y="77584"/>
                </a:lnTo>
                <a:lnTo>
                  <a:pt x="1386152" y="79866"/>
                </a:lnTo>
                <a:lnTo>
                  <a:pt x="1386152" y="82139"/>
                </a:lnTo>
                <a:lnTo>
                  <a:pt x="1388436" y="82139"/>
                </a:lnTo>
                <a:lnTo>
                  <a:pt x="1388436" y="84421"/>
                </a:lnTo>
                <a:lnTo>
                  <a:pt x="1388436" y="86712"/>
                </a:lnTo>
                <a:lnTo>
                  <a:pt x="1388436" y="88984"/>
                </a:lnTo>
                <a:lnTo>
                  <a:pt x="1388436" y="91266"/>
                </a:lnTo>
                <a:lnTo>
                  <a:pt x="1388436" y="93548"/>
                </a:lnTo>
                <a:lnTo>
                  <a:pt x="1390720" y="93548"/>
                </a:lnTo>
                <a:lnTo>
                  <a:pt x="1390720" y="95830"/>
                </a:lnTo>
                <a:lnTo>
                  <a:pt x="1393003" y="95830"/>
                </a:lnTo>
                <a:lnTo>
                  <a:pt x="1393003" y="98112"/>
                </a:lnTo>
                <a:lnTo>
                  <a:pt x="1393003" y="100394"/>
                </a:lnTo>
                <a:lnTo>
                  <a:pt x="1395287" y="100394"/>
                </a:lnTo>
                <a:lnTo>
                  <a:pt x="1397571" y="100394"/>
                </a:lnTo>
                <a:lnTo>
                  <a:pt x="1399854" y="100394"/>
                </a:lnTo>
                <a:lnTo>
                  <a:pt x="1399854" y="102676"/>
                </a:lnTo>
                <a:lnTo>
                  <a:pt x="1402138" y="102676"/>
                </a:lnTo>
                <a:lnTo>
                  <a:pt x="1402138" y="104958"/>
                </a:lnTo>
                <a:lnTo>
                  <a:pt x="1402138" y="107240"/>
                </a:lnTo>
                <a:lnTo>
                  <a:pt x="1404421" y="107240"/>
                </a:lnTo>
                <a:lnTo>
                  <a:pt x="1404421" y="104958"/>
                </a:lnTo>
                <a:lnTo>
                  <a:pt x="1406705" y="104958"/>
                </a:lnTo>
                <a:lnTo>
                  <a:pt x="1406705" y="102676"/>
                </a:lnTo>
                <a:lnTo>
                  <a:pt x="1408989" y="102676"/>
                </a:lnTo>
                <a:lnTo>
                  <a:pt x="1406705" y="102676"/>
                </a:lnTo>
                <a:lnTo>
                  <a:pt x="1406705" y="100394"/>
                </a:lnTo>
                <a:lnTo>
                  <a:pt x="1404421" y="100394"/>
                </a:lnTo>
                <a:lnTo>
                  <a:pt x="1404421" y="98112"/>
                </a:lnTo>
                <a:lnTo>
                  <a:pt x="1404421" y="95830"/>
                </a:lnTo>
                <a:lnTo>
                  <a:pt x="1404421" y="93548"/>
                </a:lnTo>
                <a:lnTo>
                  <a:pt x="1404421" y="91266"/>
                </a:lnTo>
                <a:lnTo>
                  <a:pt x="1406705" y="91266"/>
                </a:lnTo>
                <a:lnTo>
                  <a:pt x="1406705" y="88984"/>
                </a:lnTo>
                <a:lnTo>
                  <a:pt x="1408989" y="88984"/>
                </a:lnTo>
                <a:lnTo>
                  <a:pt x="1408989" y="91266"/>
                </a:lnTo>
                <a:lnTo>
                  <a:pt x="1411272" y="91266"/>
                </a:lnTo>
                <a:lnTo>
                  <a:pt x="1413556" y="91266"/>
                </a:lnTo>
                <a:lnTo>
                  <a:pt x="1413556" y="93548"/>
                </a:lnTo>
                <a:lnTo>
                  <a:pt x="1411272" y="93548"/>
                </a:lnTo>
                <a:lnTo>
                  <a:pt x="1413556" y="93548"/>
                </a:lnTo>
                <a:lnTo>
                  <a:pt x="1413556" y="95830"/>
                </a:lnTo>
                <a:lnTo>
                  <a:pt x="1415839" y="95830"/>
                </a:lnTo>
                <a:lnTo>
                  <a:pt x="1415839" y="98112"/>
                </a:lnTo>
                <a:lnTo>
                  <a:pt x="1415839" y="100394"/>
                </a:lnTo>
                <a:lnTo>
                  <a:pt x="1415839" y="102676"/>
                </a:lnTo>
                <a:lnTo>
                  <a:pt x="1418123" y="102676"/>
                </a:lnTo>
                <a:lnTo>
                  <a:pt x="1418123" y="100394"/>
                </a:lnTo>
                <a:lnTo>
                  <a:pt x="1420406" y="100394"/>
                </a:lnTo>
                <a:lnTo>
                  <a:pt x="1422690" y="100394"/>
                </a:lnTo>
                <a:lnTo>
                  <a:pt x="1422690" y="98112"/>
                </a:lnTo>
                <a:lnTo>
                  <a:pt x="1422690" y="100394"/>
                </a:lnTo>
                <a:lnTo>
                  <a:pt x="1422690" y="102676"/>
                </a:lnTo>
                <a:lnTo>
                  <a:pt x="1424974" y="102676"/>
                </a:lnTo>
                <a:lnTo>
                  <a:pt x="1424974" y="104958"/>
                </a:lnTo>
                <a:lnTo>
                  <a:pt x="1424974" y="107240"/>
                </a:lnTo>
                <a:lnTo>
                  <a:pt x="1427257" y="109521"/>
                </a:lnTo>
                <a:lnTo>
                  <a:pt x="1429541" y="111803"/>
                </a:lnTo>
                <a:lnTo>
                  <a:pt x="1429541" y="114085"/>
                </a:lnTo>
                <a:lnTo>
                  <a:pt x="1431825" y="114085"/>
                </a:lnTo>
                <a:lnTo>
                  <a:pt x="1431825" y="111803"/>
                </a:lnTo>
                <a:lnTo>
                  <a:pt x="1434108" y="111803"/>
                </a:lnTo>
                <a:lnTo>
                  <a:pt x="1434108" y="109521"/>
                </a:lnTo>
                <a:lnTo>
                  <a:pt x="1434108" y="107240"/>
                </a:lnTo>
                <a:lnTo>
                  <a:pt x="1436392" y="107240"/>
                </a:lnTo>
                <a:lnTo>
                  <a:pt x="1438675" y="104958"/>
                </a:lnTo>
                <a:lnTo>
                  <a:pt x="1440959" y="104958"/>
                </a:lnTo>
                <a:lnTo>
                  <a:pt x="1440959" y="107240"/>
                </a:lnTo>
                <a:lnTo>
                  <a:pt x="1440959" y="109521"/>
                </a:lnTo>
                <a:lnTo>
                  <a:pt x="1438675" y="109521"/>
                </a:lnTo>
                <a:lnTo>
                  <a:pt x="1438675" y="111803"/>
                </a:lnTo>
                <a:lnTo>
                  <a:pt x="1436392" y="111803"/>
                </a:lnTo>
                <a:lnTo>
                  <a:pt x="1436392" y="114085"/>
                </a:lnTo>
                <a:lnTo>
                  <a:pt x="1438675" y="114085"/>
                </a:lnTo>
                <a:lnTo>
                  <a:pt x="1438675" y="116367"/>
                </a:lnTo>
                <a:lnTo>
                  <a:pt x="1440959" y="116367"/>
                </a:lnTo>
                <a:lnTo>
                  <a:pt x="1443242" y="114085"/>
                </a:lnTo>
                <a:lnTo>
                  <a:pt x="1445526" y="114085"/>
                </a:lnTo>
                <a:lnTo>
                  <a:pt x="1445526" y="111803"/>
                </a:lnTo>
                <a:lnTo>
                  <a:pt x="1447810" y="111803"/>
                </a:lnTo>
                <a:lnTo>
                  <a:pt x="1447810" y="109521"/>
                </a:lnTo>
                <a:lnTo>
                  <a:pt x="1450093" y="109521"/>
                </a:lnTo>
                <a:lnTo>
                  <a:pt x="1452377" y="109521"/>
                </a:lnTo>
                <a:lnTo>
                  <a:pt x="1454660" y="109521"/>
                </a:lnTo>
                <a:lnTo>
                  <a:pt x="1454660" y="111803"/>
                </a:lnTo>
                <a:lnTo>
                  <a:pt x="1456944" y="111803"/>
                </a:lnTo>
                <a:lnTo>
                  <a:pt x="1459228" y="111803"/>
                </a:lnTo>
                <a:lnTo>
                  <a:pt x="1459228" y="109521"/>
                </a:lnTo>
                <a:lnTo>
                  <a:pt x="1461511" y="109521"/>
                </a:lnTo>
                <a:lnTo>
                  <a:pt x="1463795" y="109521"/>
                </a:lnTo>
                <a:lnTo>
                  <a:pt x="1466079" y="109521"/>
                </a:lnTo>
                <a:lnTo>
                  <a:pt x="1466079" y="111803"/>
                </a:lnTo>
                <a:lnTo>
                  <a:pt x="1468362" y="111803"/>
                </a:lnTo>
                <a:lnTo>
                  <a:pt x="1468362" y="114085"/>
                </a:lnTo>
                <a:lnTo>
                  <a:pt x="1468362" y="116367"/>
                </a:lnTo>
                <a:lnTo>
                  <a:pt x="1466079" y="116367"/>
                </a:lnTo>
                <a:lnTo>
                  <a:pt x="1466079" y="118649"/>
                </a:lnTo>
                <a:lnTo>
                  <a:pt x="1468362" y="118649"/>
                </a:lnTo>
                <a:lnTo>
                  <a:pt x="1468362" y="120931"/>
                </a:lnTo>
                <a:lnTo>
                  <a:pt x="1470646" y="120931"/>
                </a:lnTo>
                <a:lnTo>
                  <a:pt x="1470646" y="123213"/>
                </a:lnTo>
                <a:lnTo>
                  <a:pt x="1470646" y="125495"/>
                </a:lnTo>
                <a:lnTo>
                  <a:pt x="1472929" y="125495"/>
                </a:lnTo>
                <a:lnTo>
                  <a:pt x="1472929" y="127777"/>
                </a:lnTo>
                <a:lnTo>
                  <a:pt x="1475213" y="130059"/>
                </a:lnTo>
                <a:lnTo>
                  <a:pt x="1475213" y="132340"/>
                </a:lnTo>
                <a:lnTo>
                  <a:pt x="1477496" y="132340"/>
                </a:lnTo>
                <a:lnTo>
                  <a:pt x="1477496" y="134622"/>
                </a:lnTo>
                <a:lnTo>
                  <a:pt x="1475213" y="134622"/>
                </a:lnTo>
                <a:lnTo>
                  <a:pt x="1475213" y="136904"/>
                </a:lnTo>
                <a:lnTo>
                  <a:pt x="1472929" y="136904"/>
                </a:lnTo>
                <a:lnTo>
                  <a:pt x="1472929" y="139186"/>
                </a:lnTo>
                <a:lnTo>
                  <a:pt x="1470646" y="139186"/>
                </a:lnTo>
                <a:lnTo>
                  <a:pt x="1470646" y="141468"/>
                </a:lnTo>
                <a:lnTo>
                  <a:pt x="1472929" y="141468"/>
                </a:lnTo>
                <a:lnTo>
                  <a:pt x="1472929" y="143750"/>
                </a:lnTo>
                <a:lnTo>
                  <a:pt x="1475213" y="143750"/>
                </a:lnTo>
                <a:lnTo>
                  <a:pt x="1475213" y="141468"/>
                </a:lnTo>
                <a:lnTo>
                  <a:pt x="1477496" y="141468"/>
                </a:lnTo>
                <a:lnTo>
                  <a:pt x="1477496" y="139186"/>
                </a:lnTo>
                <a:lnTo>
                  <a:pt x="1479780" y="139186"/>
                </a:lnTo>
                <a:lnTo>
                  <a:pt x="1479780" y="136904"/>
                </a:lnTo>
                <a:lnTo>
                  <a:pt x="1482064" y="136904"/>
                </a:lnTo>
                <a:lnTo>
                  <a:pt x="1482064" y="134622"/>
                </a:lnTo>
                <a:lnTo>
                  <a:pt x="1484347" y="134622"/>
                </a:lnTo>
                <a:lnTo>
                  <a:pt x="1484347" y="132340"/>
                </a:lnTo>
                <a:lnTo>
                  <a:pt x="1484347" y="130059"/>
                </a:lnTo>
                <a:lnTo>
                  <a:pt x="1486631" y="130059"/>
                </a:lnTo>
                <a:lnTo>
                  <a:pt x="1484347" y="130059"/>
                </a:lnTo>
                <a:lnTo>
                  <a:pt x="1484347" y="127777"/>
                </a:lnTo>
                <a:lnTo>
                  <a:pt x="1482064" y="127777"/>
                </a:lnTo>
                <a:lnTo>
                  <a:pt x="1482064" y="125495"/>
                </a:lnTo>
                <a:lnTo>
                  <a:pt x="1479780" y="125495"/>
                </a:lnTo>
                <a:lnTo>
                  <a:pt x="1479780" y="123213"/>
                </a:lnTo>
                <a:lnTo>
                  <a:pt x="1482064" y="123213"/>
                </a:lnTo>
                <a:lnTo>
                  <a:pt x="1482064" y="120931"/>
                </a:lnTo>
                <a:lnTo>
                  <a:pt x="1484347" y="120931"/>
                </a:lnTo>
                <a:lnTo>
                  <a:pt x="1484347" y="123213"/>
                </a:lnTo>
                <a:lnTo>
                  <a:pt x="1486631" y="123213"/>
                </a:lnTo>
                <a:lnTo>
                  <a:pt x="1486631" y="125495"/>
                </a:lnTo>
                <a:lnTo>
                  <a:pt x="1488914" y="125495"/>
                </a:lnTo>
                <a:lnTo>
                  <a:pt x="1488914" y="127777"/>
                </a:lnTo>
                <a:lnTo>
                  <a:pt x="1488914" y="130059"/>
                </a:lnTo>
                <a:lnTo>
                  <a:pt x="1491198" y="130059"/>
                </a:lnTo>
                <a:lnTo>
                  <a:pt x="1491198" y="132340"/>
                </a:lnTo>
                <a:lnTo>
                  <a:pt x="1491198" y="130059"/>
                </a:lnTo>
                <a:lnTo>
                  <a:pt x="1493482" y="130059"/>
                </a:lnTo>
                <a:lnTo>
                  <a:pt x="1493482" y="127777"/>
                </a:lnTo>
                <a:lnTo>
                  <a:pt x="1493482" y="125495"/>
                </a:lnTo>
                <a:lnTo>
                  <a:pt x="1493482" y="123213"/>
                </a:lnTo>
                <a:lnTo>
                  <a:pt x="1495765" y="123213"/>
                </a:lnTo>
                <a:lnTo>
                  <a:pt x="1495765" y="120931"/>
                </a:lnTo>
                <a:lnTo>
                  <a:pt x="1493482" y="120931"/>
                </a:lnTo>
                <a:lnTo>
                  <a:pt x="1493482" y="118649"/>
                </a:lnTo>
                <a:lnTo>
                  <a:pt x="1495765" y="118649"/>
                </a:lnTo>
                <a:lnTo>
                  <a:pt x="1495765" y="120931"/>
                </a:lnTo>
                <a:lnTo>
                  <a:pt x="1498049" y="120931"/>
                </a:lnTo>
                <a:lnTo>
                  <a:pt x="1498049" y="123213"/>
                </a:lnTo>
                <a:lnTo>
                  <a:pt x="1498049" y="125495"/>
                </a:lnTo>
                <a:lnTo>
                  <a:pt x="1498049" y="127777"/>
                </a:lnTo>
                <a:lnTo>
                  <a:pt x="1500332" y="127777"/>
                </a:lnTo>
                <a:lnTo>
                  <a:pt x="1502616" y="127777"/>
                </a:lnTo>
                <a:lnTo>
                  <a:pt x="1502616" y="130059"/>
                </a:lnTo>
                <a:lnTo>
                  <a:pt x="1504900" y="130059"/>
                </a:lnTo>
                <a:lnTo>
                  <a:pt x="1504900" y="132340"/>
                </a:lnTo>
                <a:lnTo>
                  <a:pt x="1507183" y="132340"/>
                </a:lnTo>
                <a:lnTo>
                  <a:pt x="1507183" y="134622"/>
                </a:lnTo>
                <a:lnTo>
                  <a:pt x="1507183" y="136904"/>
                </a:lnTo>
                <a:lnTo>
                  <a:pt x="1504900" y="136904"/>
                </a:lnTo>
                <a:lnTo>
                  <a:pt x="1504900" y="139186"/>
                </a:lnTo>
                <a:lnTo>
                  <a:pt x="1504900" y="141468"/>
                </a:lnTo>
                <a:lnTo>
                  <a:pt x="1507183" y="141468"/>
                </a:lnTo>
                <a:lnTo>
                  <a:pt x="1507183" y="143750"/>
                </a:lnTo>
                <a:lnTo>
                  <a:pt x="1509467" y="143750"/>
                </a:lnTo>
                <a:lnTo>
                  <a:pt x="1511750" y="143750"/>
                </a:lnTo>
                <a:lnTo>
                  <a:pt x="1511750" y="146032"/>
                </a:lnTo>
                <a:lnTo>
                  <a:pt x="1514034" y="146032"/>
                </a:lnTo>
                <a:lnTo>
                  <a:pt x="1514034" y="148314"/>
                </a:lnTo>
                <a:lnTo>
                  <a:pt x="1514034" y="150596"/>
                </a:lnTo>
                <a:lnTo>
                  <a:pt x="1516318" y="150596"/>
                </a:lnTo>
                <a:lnTo>
                  <a:pt x="1516318" y="152877"/>
                </a:lnTo>
                <a:lnTo>
                  <a:pt x="1518601" y="152877"/>
                </a:lnTo>
                <a:lnTo>
                  <a:pt x="1520885" y="152877"/>
                </a:lnTo>
                <a:lnTo>
                  <a:pt x="1520885" y="155159"/>
                </a:lnTo>
                <a:lnTo>
                  <a:pt x="1520885" y="157441"/>
                </a:lnTo>
                <a:lnTo>
                  <a:pt x="1520885" y="159723"/>
                </a:lnTo>
                <a:lnTo>
                  <a:pt x="1518601" y="159723"/>
                </a:lnTo>
                <a:lnTo>
                  <a:pt x="1518601" y="162005"/>
                </a:lnTo>
                <a:lnTo>
                  <a:pt x="1516318" y="162005"/>
                </a:lnTo>
                <a:lnTo>
                  <a:pt x="1516318" y="164287"/>
                </a:lnTo>
                <a:lnTo>
                  <a:pt x="1514034" y="164287"/>
                </a:lnTo>
                <a:lnTo>
                  <a:pt x="1514034" y="166569"/>
                </a:lnTo>
                <a:lnTo>
                  <a:pt x="1516318" y="166569"/>
                </a:lnTo>
                <a:lnTo>
                  <a:pt x="1518601" y="166569"/>
                </a:lnTo>
                <a:lnTo>
                  <a:pt x="1518601" y="164287"/>
                </a:lnTo>
                <a:lnTo>
                  <a:pt x="1520885" y="164287"/>
                </a:lnTo>
                <a:lnTo>
                  <a:pt x="1523168" y="164287"/>
                </a:lnTo>
                <a:lnTo>
                  <a:pt x="1523168" y="162005"/>
                </a:lnTo>
                <a:lnTo>
                  <a:pt x="1525452" y="162005"/>
                </a:lnTo>
                <a:lnTo>
                  <a:pt x="1525452" y="159723"/>
                </a:lnTo>
                <a:lnTo>
                  <a:pt x="1525452" y="157441"/>
                </a:lnTo>
                <a:lnTo>
                  <a:pt x="1525452" y="155159"/>
                </a:lnTo>
                <a:lnTo>
                  <a:pt x="1527735" y="155159"/>
                </a:lnTo>
                <a:lnTo>
                  <a:pt x="1527735" y="152877"/>
                </a:lnTo>
                <a:lnTo>
                  <a:pt x="1530019" y="152877"/>
                </a:lnTo>
                <a:lnTo>
                  <a:pt x="1530019" y="155159"/>
                </a:lnTo>
                <a:lnTo>
                  <a:pt x="1532303" y="155159"/>
                </a:lnTo>
                <a:lnTo>
                  <a:pt x="1534586" y="155159"/>
                </a:lnTo>
                <a:lnTo>
                  <a:pt x="1534586" y="152877"/>
                </a:lnTo>
                <a:lnTo>
                  <a:pt x="1536870" y="150596"/>
                </a:lnTo>
                <a:lnTo>
                  <a:pt x="1536870" y="148314"/>
                </a:lnTo>
                <a:lnTo>
                  <a:pt x="1539154" y="148314"/>
                </a:lnTo>
                <a:lnTo>
                  <a:pt x="1541437" y="148314"/>
                </a:lnTo>
                <a:lnTo>
                  <a:pt x="1543721" y="148314"/>
                </a:lnTo>
                <a:lnTo>
                  <a:pt x="1543721" y="146032"/>
                </a:lnTo>
                <a:lnTo>
                  <a:pt x="1543721" y="143750"/>
                </a:lnTo>
                <a:lnTo>
                  <a:pt x="1543721" y="141468"/>
                </a:lnTo>
                <a:lnTo>
                  <a:pt x="1546004" y="141468"/>
                </a:lnTo>
                <a:lnTo>
                  <a:pt x="1546004" y="143750"/>
                </a:lnTo>
                <a:lnTo>
                  <a:pt x="1548288" y="143750"/>
                </a:lnTo>
                <a:lnTo>
                  <a:pt x="1550572" y="143750"/>
                </a:lnTo>
                <a:lnTo>
                  <a:pt x="1552855" y="143750"/>
                </a:lnTo>
                <a:lnTo>
                  <a:pt x="1552855" y="146032"/>
                </a:lnTo>
                <a:lnTo>
                  <a:pt x="1555139" y="146032"/>
                </a:lnTo>
                <a:lnTo>
                  <a:pt x="1555139" y="148314"/>
                </a:lnTo>
                <a:lnTo>
                  <a:pt x="1557422" y="148314"/>
                </a:lnTo>
                <a:lnTo>
                  <a:pt x="1557422" y="146032"/>
                </a:lnTo>
                <a:lnTo>
                  <a:pt x="1557422" y="143750"/>
                </a:lnTo>
                <a:lnTo>
                  <a:pt x="1559706" y="143750"/>
                </a:lnTo>
                <a:lnTo>
                  <a:pt x="1559706" y="141468"/>
                </a:lnTo>
                <a:lnTo>
                  <a:pt x="1559706" y="139186"/>
                </a:lnTo>
                <a:lnTo>
                  <a:pt x="1559706" y="136904"/>
                </a:lnTo>
                <a:lnTo>
                  <a:pt x="1557422" y="136904"/>
                </a:lnTo>
                <a:lnTo>
                  <a:pt x="1555139" y="136904"/>
                </a:lnTo>
                <a:lnTo>
                  <a:pt x="1555139" y="134622"/>
                </a:lnTo>
                <a:lnTo>
                  <a:pt x="1552855" y="134622"/>
                </a:lnTo>
                <a:lnTo>
                  <a:pt x="1550572" y="134622"/>
                </a:lnTo>
                <a:lnTo>
                  <a:pt x="1550572" y="136904"/>
                </a:lnTo>
                <a:lnTo>
                  <a:pt x="1548288" y="136904"/>
                </a:lnTo>
                <a:lnTo>
                  <a:pt x="1548288" y="139186"/>
                </a:lnTo>
                <a:lnTo>
                  <a:pt x="1546004" y="139186"/>
                </a:lnTo>
                <a:lnTo>
                  <a:pt x="1546004" y="136904"/>
                </a:lnTo>
                <a:lnTo>
                  <a:pt x="1543721" y="136904"/>
                </a:lnTo>
                <a:lnTo>
                  <a:pt x="1541437" y="136904"/>
                </a:lnTo>
                <a:lnTo>
                  <a:pt x="1541437" y="134622"/>
                </a:lnTo>
                <a:lnTo>
                  <a:pt x="1543721" y="134622"/>
                </a:lnTo>
                <a:lnTo>
                  <a:pt x="1543721" y="132340"/>
                </a:lnTo>
                <a:lnTo>
                  <a:pt x="1546004" y="132340"/>
                </a:lnTo>
                <a:lnTo>
                  <a:pt x="1546004" y="130059"/>
                </a:lnTo>
                <a:lnTo>
                  <a:pt x="1546004" y="127777"/>
                </a:lnTo>
                <a:lnTo>
                  <a:pt x="1548288" y="127777"/>
                </a:lnTo>
                <a:lnTo>
                  <a:pt x="1548288" y="125495"/>
                </a:lnTo>
                <a:lnTo>
                  <a:pt x="1550572" y="125495"/>
                </a:lnTo>
                <a:lnTo>
                  <a:pt x="1552855" y="123213"/>
                </a:lnTo>
                <a:lnTo>
                  <a:pt x="1552855" y="120931"/>
                </a:lnTo>
                <a:lnTo>
                  <a:pt x="1555139" y="120931"/>
                </a:lnTo>
                <a:lnTo>
                  <a:pt x="1557422" y="120931"/>
                </a:lnTo>
                <a:lnTo>
                  <a:pt x="1557422" y="118649"/>
                </a:lnTo>
                <a:lnTo>
                  <a:pt x="1557422" y="120931"/>
                </a:lnTo>
                <a:lnTo>
                  <a:pt x="1559706" y="120931"/>
                </a:lnTo>
                <a:lnTo>
                  <a:pt x="1559706" y="123213"/>
                </a:lnTo>
                <a:lnTo>
                  <a:pt x="1561989" y="123213"/>
                </a:lnTo>
                <a:lnTo>
                  <a:pt x="1564273" y="123213"/>
                </a:lnTo>
                <a:lnTo>
                  <a:pt x="1564273" y="125495"/>
                </a:lnTo>
                <a:lnTo>
                  <a:pt x="1566557" y="125495"/>
                </a:lnTo>
                <a:lnTo>
                  <a:pt x="1568840" y="127777"/>
                </a:lnTo>
                <a:lnTo>
                  <a:pt x="1571124" y="127777"/>
                </a:lnTo>
                <a:lnTo>
                  <a:pt x="1571124" y="130059"/>
                </a:lnTo>
                <a:lnTo>
                  <a:pt x="1573408" y="130059"/>
                </a:lnTo>
                <a:lnTo>
                  <a:pt x="1575691" y="130059"/>
                </a:lnTo>
                <a:lnTo>
                  <a:pt x="1577975" y="130059"/>
                </a:lnTo>
                <a:lnTo>
                  <a:pt x="1577975" y="127777"/>
                </a:lnTo>
                <a:lnTo>
                  <a:pt x="1580258" y="127777"/>
                </a:lnTo>
                <a:lnTo>
                  <a:pt x="1580258" y="125495"/>
                </a:lnTo>
                <a:lnTo>
                  <a:pt x="1580258" y="127777"/>
                </a:lnTo>
                <a:lnTo>
                  <a:pt x="1582542" y="127777"/>
                </a:lnTo>
                <a:lnTo>
                  <a:pt x="1582542" y="130059"/>
                </a:lnTo>
                <a:lnTo>
                  <a:pt x="1582542" y="132340"/>
                </a:lnTo>
                <a:lnTo>
                  <a:pt x="1584825" y="132340"/>
                </a:lnTo>
                <a:lnTo>
                  <a:pt x="1587109" y="132340"/>
                </a:lnTo>
                <a:lnTo>
                  <a:pt x="1587109" y="134622"/>
                </a:lnTo>
                <a:lnTo>
                  <a:pt x="1587109" y="136904"/>
                </a:lnTo>
                <a:lnTo>
                  <a:pt x="1589393" y="136904"/>
                </a:lnTo>
                <a:lnTo>
                  <a:pt x="1589393" y="139186"/>
                </a:lnTo>
                <a:lnTo>
                  <a:pt x="1591676" y="141468"/>
                </a:lnTo>
                <a:lnTo>
                  <a:pt x="1593960" y="141468"/>
                </a:lnTo>
                <a:lnTo>
                  <a:pt x="1593960" y="139186"/>
                </a:lnTo>
                <a:lnTo>
                  <a:pt x="1596243" y="139186"/>
                </a:lnTo>
                <a:lnTo>
                  <a:pt x="1598527" y="139186"/>
                </a:lnTo>
                <a:lnTo>
                  <a:pt x="1600811" y="139186"/>
                </a:lnTo>
                <a:lnTo>
                  <a:pt x="1600811" y="141468"/>
                </a:lnTo>
                <a:lnTo>
                  <a:pt x="1603094" y="141468"/>
                </a:lnTo>
                <a:lnTo>
                  <a:pt x="1605378" y="141468"/>
                </a:lnTo>
                <a:lnTo>
                  <a:pt x="1605378" y="143750"/>
                </a:lnTo>
                <a:lnTo>
                  <a:pt x="1605378" y="146032"/>
                </a:lnTo>
                <a:lnTo>
                  <a:pt x="1603094" y="146032"/>
                </a:lnTo>
                <a:lnTo>
                  <a:pt x="1603094" y="148314"/>
                </a:lnTo>
                <a:lnTo>
                  <a:pt x="1605378" y="148314"/>
                </a:lnTo>
                <a:lnTo>
                  <a:pt x="1607662" y="148314"/>
                </a:lnTo>
                <a:lnTo>
                  <a:pt x="1607662" y="150596"/>
                </a:lnTo>
                <a:lnTo>
                  <a:pt x="1609945" y="150596"/>
                </a:lnTo>
                <a:lnTo>
                  <a:pt x="1612229" y="150596"/>
                </a:lnTo>
                <a:lnTo>
                  <a:pt x="1612229" y="152877"/>
                </a:lnTo>
                <a:lnTo>
                  <a:pt x="1612229" y="150596"/>
                </a:lnTo>
                <a:lnTo>
                  <a:pt x="1612229" y="148314"/>
                </a:lnTo>
                <a:lnTo>
                  <a:pt x="1614512" y="148314"/>
                </a:lnTo>
                <a:lnTo>
                  <a:pt x="1614512" y="146032"/>
                </a:lnTo>
                <a:lnTo>
                  <a:pt x="1614512" y="143750"/>
                </a:lnTo>
                <a:lnTo>
                  <a:pt x="1616796" y="143750"/>
                </a:lnTo>
                <a:lnTo>
                  <a:pt x="1616796" y="146032"/>
                </a:lnTo>
                <a:lnTo>
                  <a:pt x="1616796" y="148314"/>
                </a:lnTo>
                <a:lnTo>
                  <a:pt x="1616796" y="150596"/>
                </a:lnTo>
                <a:lnTo>
                  <a:pt x="1616796" y="152877"/>
                </a:lnTo>
                <a:lnTo>
                  <a:pt x="1616796" y="155159"/>
                </a:lnTo>
                <a:lnTo>
                  <a:pt x="1616796" y="157441"/>
                </a:lnTo>
                <a:lnTo>
                  <a:pt x="1619079" y="157441"/>
                </a:lnTo>
                <a:lnTo>
                  <a:pt x="1621363" y="157441"/>
                </a:lnTo>
                <a:lnTo>
                  <a:pt x="1621363" y="155159"/>
                </a:lnTo>
                <a:lnTo>
                  <a:pt x="1623647" y="155159"/>
                </a:lnTo>
                <a:lnTo>
                  <a:pt x="1625930" y="157441"/>
                </a:lnTo>
                <a:lnTo>
                  <a:pt x="1628214" y="157441"/>
                </a:lnTo>
                <a:lnTo>
                  <a:pt x="1630497" y="157441"/>
                </a:lnTo>
                <a:lnTo>
                  <a:pt x="1630497" y="155159"/>
                </a:lnTo>
                <a:lnTo>
                  <a:pt x="1630497" y="152877"/>
                </a:lnTo>
                <a:lnTo>
                  <a:pt x="1632781" y="152877"/>
                </a:lnTo>
                <a:lnTo>
                  <a:pt x="1632781" y="150596"/>
                </a:lnTo>
                <a:lnTo>
                  <a:pt x="1635064" y="150596"/>
                </a:lnTo>
                <a:lnTo>
                  <a:pt x="1635064" y="152877"/>
                </a:lnTo>
                <a:lnTo>
                  <a:pt x="1637348" y="152877"/>
                </a:lnTo>
                <a:lnTo>
                  <a:pt x="1639632" y="152877"/>
                </a:lnTo>
                <a:lnTo>
                  <a:pt x="1639632" y="155159"/>
                </a:lnTo>
                <a:lnTo>
                  <a:pt x="1639632" y="157441"/>
                </a:lnTo>
                <a:lnTo>
                  <a:pt x="1641915" y="157441"/>
                </a:lnTo>
                <a:lnTo>
                  <a:pt x="1641915" y="159723"/>
                </a:lnTo>
                <a:lnTo>
                  <a:pt x="1641915" y="162005"/>
                </a:lnTo>
                <a:lnTo>
                  <a:pt x="1641915" y="164287"/>
                </a:lnTo>
                <a:lnTo>
                  <a:pt x="1644199" y="164287"/>
                </a:lnTo>
                <a:lnTo>
                  <a:pt x="1646483" y="164287"/>
                </a:lnTo>
                <a:lnTo>
                  <a:pt x="1648766" y="164287"/>
                </a:lnTo>
                <a:lnTo>
                  <a:pt x="1648766" y="162005"/>
                </a:lnTo>
                <a:lnTo>
                  <a:pt x="1651050" y="162005"/>
                </a:lnTo>
                <a:lnTo>
                  <a:pt x="1651050" y="159723"/>
                </a:lnTo>
                <a:lnTo>
                  <a:pt x="1648766" y="159723"/>
                </a:lnTo>
                <a:lnTo>
                  <a:pt x="1648766" y="157441"/>
                </a:lnTo>
                <a:lnTo>
                  <a:pt x="1648766" y="155159"/>
                </a:lnTo>
                <a:lnTo>
                  <a:pt x="1651050" y="155159"/>
                </a:lnTo>
                <a:lnTo>
                  <a:pt x="1651050" y="152877"/>
                </a:lnTo>
                <a:lnTo>
                  <a:pt x="1648766" y="152877"/>
                </a:lnTo>
                <a:lnTo>
                  <a:pt x="1648766" y="150596"/>
                </a:lnTo>
                <a:lnTo>
                  <a:pt x="1646483" y="150596"/>
                </a:lnTo>
                <a:lnTo>
                  <a:pt x="1644199" y="150596"/>
                </a:lnTo>
                <a:lnTo>
                  <a:pt x="1646483" y="150596"/>
                </a:lnTo>
                <a:lnTo>
                  <a:pt x="1646483" y="148314"/>
                </a:lnTo>
                <a:lnTo>
                  <a:pt x="1646483" y="146032"/>
                </a:lnTo>
                <a:lnTo>
                  <a:pt x="1648766" y="146032"/>
                </a:lnTo>
                <a:lnTo>
                  <a:pt x="1651050" y="148314"/>
                </a:lnTo>
                <a:lnTo>
                  <a:pt x="1653333" y="148314"/>
                </a:lnTo>
                <a:lnTo>
                  <a:pt x="1655617" y="148314"/>
                </a:lnTo>
                <a:lnTo>
                  <a:pt x="1655617" y="146032"/>
                </a:lnTo>
                <a:lnTo>
                  <a:pt x="1657901" y="146032"/>
                </a:lnTo>
                <a:lnTo>
                  <a:pt x="1660184" y="146032"/>
                </a:lnTo>
                <a:lnTo>
                  <a:pt x="1662468" y="146032"/>
                </a:lnTo>
                <a:lnTo>
                  <a:pt x="1664751" y="146032"/>
                </a:lnTo>
                <a:lnTo>
                  <a:pt x="1667035" y="146032"/>
                </a:lnTo>
                <a:lnTo>
                  <a:pt x="1669319" y="146032"/>
                </a:lnTo>
                <a:lnTo>
                  <a:pt x="1671602" y="146032"/>
                </a:lnTo>
                <a:lnTo>
                  <a:pt x="1671602" y="143750"/>
                </a:lnTo>
                <a:lnTo>
                  <a:pt x="1671602" y="141468"/>
                </a:lnTo>
                <a:lnTo>
                  <a:pt x="1673886" y="141468"/>
                </a:lnTo>
                <a:lnTo>
                  <a:pt x="1673886" y="139186"/>
                </a:lnTo>
                <a:lnTo>
                  <a:pt x="1676169" y="139186"/>
                </a:lnTo>
                <a:lnTo>
                  <a:pt x="1676169" y="136904"/>
                </a:lnTo>
                <a:lnTo>
                  <a:pt x="1678453" y="136904"/>
                </a:lnTo>
                <a:lnTo>
                  <a:pt x="1678453" y="139186"/>
                </a:lnTo>
                <a:lnTo>
                  <a:pt x="1680737" y="139186"/>
                </a:lnTo>
                <a:lnTo>
                  <a:pt x="1680737" y="141468"/>
                </a:lnTo>
                <a:lnTo>
                  <a:pt x="1683020" y="141468"/>
                </a:lnTo>
                <a:lnTo>
                  <a:pt x="1685304" y="141468"/>
                </a:lnTo>
                <a:lnTo>
                  <a:pt x="1685304" y="143750"/>
                </a:lnTo>
                <a:lnTo>
                  <a:pt x="1687587" y="143750"/>
                </a:lnTo>
                <a:lnTo>
                  <a:pt x="1689871" y="143750"/>
                </a:lnTo>
                <a:lnTo>
                  <a:pt x="1692154" y="143750"/>
                </a:lnTo>
                <a:lnTo>
                  <a:pt x="1692154" y="146032"/>
                </a:lnTo>
                <a:lnTo>
                  <a:pt x="1694438" y="146032"/>
                </a:lnTo>
                <a:lnTo>
                  <a:pt x="1694438" y="148314"/>
                </a:lnTo>
                <a:lnTo>
                  <a:pt x="1696722" y="148314"/>
                </a:lnTo>
                <a:lnTo>
                  <a:pt x="1696722" y="150596"/>
                </a:lnTo>
                <a:lnTo>
                  <a:pt x="1699005" y="150596"/>
                </a:lnTo>
                <a:lnTo>
                  <a:pt x="1699005" y="152877"/>
                </a:lnTo>
                <a:lnTo>
                  <a:pt x="1701289" y="152877"/>
                </a:lnTo>
                <a:lnTo>
                  <a:pt x="1701289" y="150596"/>
                </a:lnTo>
                <a:lnTo>
                  <a:pt x="1701289" y="148314"/>
                </a:lnTo>
                <a:lnTo>
                  <a:pt x="1701289" y="146032"/>
                </a:lnTo>
                <a:lnTo>
                  <a:pt x="1701289" y="143750"/>
                </a:lnTo>
                <a:lnTo>
                  <a:pt x="1703573" y="143750"/>
                </a:lnTo>
                <a:lnTo>
                  <a:pt x="1705856" y="143750"/>
                </a:lnTo>
                <a:lnTo>
                  <a:pt x="1708140" y="143750"/>
                </a:lnTo>
                <a:lnTo>
                  <a:pt x="1708140" y="146032"/>
                </a:lnTo>
                <a:lnTo>
                  <a:pt x="1708140" y="148314"/>
                </a:lnTo>
                <a:lnTo>
                  <a:pt x="1708140" y="150596"/>
                </a:lnTo>
                <a:lnTo>
                  <a:pt x="1708140" y="152877"/>
                </a:lnTo>
                <a:lnTo>
                  <a:pt x="1705856" y="152877"/>
                </a:lnTo>
                <a:lnTo>
                  <a:pt x="1705856" y="155159"/>
                </a:lnTo>
                <a:lnTo>
                  <a:pt x="1708140" y="155159"/>
                </a:lnTo>
                <a:lnTo>
                  <a:pt x="1708140" y="157441"/>
                </a:lnTo>
                <a:lnTo>
                  <a:pt x="1710423" y="157441"/>
                </a:lnTo>
                <a:lnTo>
                  <a:pt x="1710423" y="159723"/>
                </a:lnTo>
                <a:lnTo>
                  <a:pt x="1710423" y="162005"/>
                </a:lnTo>
                <a:lnTo>
                  <a:pt x="1710423" y="164287"/>
                </a:lnTo>
                <a:lnTo>
                  <a:pt x="1712707" y="164287"/>
                </a:lnTo>
                <a:lnTo>
                  <a:pt x="1712707" y="166569"/>
                </a:lnTo>
                <a:lnTo>
                  <a:pt x="1714991" y="166569"/>
                </a:lnTo>
                <a:lnTo>
                  <a:pt x="1714991" y="168851"/>
                </a:lnTo>
                <a:lnTo>
                  <a:pt x="1712707" y="168851"/>
                </a:lnTo>
                <a:lnTo>
                  <a:pt x="1712707" y="166569"/>
                </a:lnTo>
                <a:lnTo>
                  <a:pt x="1712707" y="168851"/>
                </a:lnTo>
                <a:lnTo>
                  <a:pt x="1710423" y="168851"/>
                </a:lnTo>
                <a:lnTo>
                  <a:pt x="1710423" y="171133"/>
                </a:lnTo>
                <a:lnTo>
                  <a:pt x="1710423" y="173415"/>
                </a:lnTo>
                <a:lnTo>
                  <a:pt x="1708140" y="173415"/>
                </a:lnTo>
                <a:lnTo>
                  <a:pt x="1708140" y="175697"/>
                </a:lnTo>
                <a:lnTo>
                  <a:pt x="1710423" y="175697"/>
                </a:lnTo>
                <a:lnTo>
                  <a:pt x="1712707" y="175697"/>
                </a:lnTo>
                <a:lnTo>
                  <a:pt x="1712707" y="177978"/>
                </a:lnTo>
                <a:lnTo>
                  <a:pt x="1714991" y="177978"/>
                </a:lnTo>
                <a:lnTo>
                  <a:pt x="1714991" y="180260"/>
                </a:lnTo>
                <a:lnTo>
                  <a:pt x="1714991" y="177978"/>
                </a:lnTo>
                <a:lnTo>
                  <a:pt x="1714991" y="180260"/>
                </a:lnTo>
                <a:lnTo>
                  <a:pt x="1714991" y="182542"/>
                </a:lnTo>
                <a:lnTo>
                  <a:pt x="1717274" y="182542"/>
                </a:lnTo>
                <a:lnTo>
                  <a:pt x="1717274" y="184824"/>
                </a:lnTo>
                <a:lnTo>
                  <a:pt x="1719558" y="184824"/>
                </a:lnTo>
                <a:lnTo>
                  <a:pt x="1717274" y="184824"/>
                </a:lnTo>
                <a:lnTo>
                  <a:pt x="1717274" y="187106"/>
                </a:lnTo>
                <a:lnTo>
                  <a:pt x="1719558" y="187106"/>
                </a:lnTo>
                <a:lnTo>
                  <a:pt x="1719558" y="189388"/>
                </a:lnTo>
                <a:lnTo>
                  <a:pt x="1717274" y="189388"/>
                </a:lnTo>
                <a:lnTo>
                  <a:pt x="1719558" y="189388"/>
                </a:lnTo>
                <a:lnTo>
                  <a:pt x="1721841" y="189388"/>
                </a:lnTo>
                <a:lnTo>
                  <a:pt x="1719558" y="189388"/>
                </a:lnTo>
                <a:lnTo>
                  <a:pt x="1719558" y="191670"/>
                </a:lnTo>
                <a:lnTo>
                  <a:pt x="1721841" y="191670"/>
                </a:lnTo>
                <a:lnTo>
                  <a:pt x="1721841" y="193952"/>
                </a:lnTo>
                <a:lnTo>
                  <a:pt x="1724125" y="193952"/>
                </a:lnTo>
                <a:lnTo>
                  <a:pt x="1724125" y="196233"/>
                </a:lnTo>
                <a:lnTo>
                  <a:pt x="1724125" y="198515"/>
                </a:lnTo>
                <a:lnTo>
                  <a:pt x="1726408" y="198515"/>
                </a:lnTo>
                <a:lnTo>
                  <a:pt x="1726408" y="200797"/>
                </a:lnTo>
                <a:lnTo>
                  <a:pt x="1726408" y="203079"/>
                </a:lnTo>
                <a:lnTo>
                  <a:pt x="1728692" y="203079"/>
                </a:lnTo>
                <a:lnTo>
                  <a:pt x="1728692" y="205361"/>
                </a:lnTo>
                <a:lnTo>
                  <a:pt x="1728692" y="207643"/>
                </a:lnTo>
                <a:lnTo>
                  <a:pt x="1728692" y="209925"/>
                </a:lnTo>
                <a:lnTo>
                  <a:pt x="1728692" y="212207"/>
                </a:lnTo>
                <a:lnTo>
                  <a:pt x="1730976" y="212207"/>
                </a:lnTo>
                <a:lnTo>
                  <a:pt x="1730976" y="209925"/>
                </a:lnTo>
                <a:lnTo>
                  <a:pt x="1733259" y="209925"/>
                </a:lnTo>
                <a:lnTo>
                  <a:pt x="1733259" y="212207"/>
                </a:lnTo>
                <a:lnTo>
                  <a:pt x="1733259" y="209925"/>
                </a:lnTo>
                <a:lnTo>
                  <a:pt x="1733259" y="207643"/>
                </a:lnTo>
                <a:lnTo>
                  <a:pt x="1735543" y="207643"/>
                </a:lnTo>
                <a:lnTo>
                  <a:pt x="1737827" y="207643"/>
                </a:lnTo>
                <a:lnTo>
                  <a:pt x="1737827" y="205361"/>
                </a:lnTo>
                <a:lnTo>
                  <a:pt x="1735543" y="205361"/>
                </a:lnTo>
                <a:lnTo>
                  <a:pt x="1737827" y="205361"/>
                </a:lnTo>
                <a:lnTo>
                  <a:pt x="1740110" y="205361"/>
                </a:lnTo>
                <a:lnTo>
                  <a:pt x="1740110" y="203079"/>
                </a:lnTo>
                <a:lnTo>
                  <a:pt x="1742394" y="203079"/>
                </a:lnTo>
                <a:lnTo>
                  <a:pt x="1742394" y="205361"/>
                </a:lnTo>
                <a:lnTo>
                  <a:pt x="1742394" y="203079"/>
                </a:lnTo>
                <a:lnTo>
                  <a:pt x="1742394" y="200797"/>
                </a:lnTo>
                <a:lnTo>
                  <a:pt x="1744677" y="200797"/>
                </a:lnTo>
                <a:lnTo>
                  <a:pt x="1744677" y="203079"/>
                </a:lnTo>
                <a:lnTo>
                  <a:pt x="1744677" y="200797"/>
                </a:lnTo>
                <a:lnTo>
                  <a:pt x="1746961" y="200797"/>
                </a:lnTo>
                <a:lnTo>
                  <a:pt x="1749244" y="200797"/>
                </a:lnTo>
                <a:lnTo>
                  <a:pt x="1751528" y="200797"/>
                </a:lnTo>
                <a:lnTo>
                  <a:pt x="1751528" y="203079"/>
                </a:lnTo>
                <a:lnTo>
                  <a:pt x="1751528" y="200797"/>
                </a:lnTo>
                <a:lnTo>
                  <a:pt x="1753812" y="200797"/>
                </a:lnTo>
                <a:lnTo>
                  <a:pt x="1756095" y="200797"/>
                </a:lnTo>
                <a:lnTo>
                  <a:pt x="1758379" y="200797"/>
                </a:lnTo>
                <a:lnTo>
                  <a:pt x="1758379" y="198515"/>
                </a:lnTo>
                <a:lnTo>
                  <a:pt x="1756095" y="198515"/>
                </a:lnTo>
                <a:lnTo>
                  <a:pt x="1758379" y="198515"/>
                </a:lnTo>
                <a:lnTo>
                  <a:pt x="1758379" y="200797"/>
                </a:lnTo>
                <a:lnTo>
                  <a:pt x="1760662" y="200797"/>
                </a:lnTo>
                <a:lnTo>
                  <a:pt x="1762946" y="200797"/>
                </a:lnTo>
                <a:lnTo>
                  <a:pt x="1765230" y="200797"/>
                </a:lnTo>
                <a:lnTo>
                  <a:pt x="1765230" y="203079"/>
                </a:lnTo>
                <a:lnTo>
                  <a:pt x="1767513" y="203079"/>
                </a:lnTo>
                <a:lnTo>
                  <a:pt x="1767513" y="200797"/>
                </a:lnTo>
                <a:lnTo>
                  <a:pt x="1769797" y="200797"/>
                </a:lnTo>
                <a:lnTo>
                  <a:pt x="1769797" y="203079"/>
                </a:lnTo>
                <a:lnTo>
                  <a:pt x="1769797" y="205361"/>
                </a:lnTo>
                <a:lnTo>
                  <a:pt x="1769797" y="207643"/>
                </a:lnTo>
                <a:lnTo>
                  <a:pt x="1772081" y="207643"/>
                </a:lnTo>
                <a:lnTo>
                  <a:pt x="1772081" y="209925"/>
                </a:lnTo>
                <a:lnTo>
                  <a:pt x="1769797" y="209925"/>
                </a:lnTo>
                <a:lnTo>
                  <a:pt x="1769797" y="212207"/>
                </a:lnTo>
                <a:lnTo>
                  <a:pt x="1772081" y="212207"/>
                </a:lnTo>
                <a:lnTo>
                  <a:pt x="1772081" y="214489"/>
                </a:lnTo>
                <a:lnTo>
                  <a:pt x="1772081" y="216771"/>
                </a:lnTo>
                <a:lnTo>
                  <a:pt x="1774364" y="216771"/>
                </a:lnTo>
                <a:lnTo>
                  <a:pt x="1776648" y="216771"/>
                </a:lnTo>
                <a:lnTo>
                  <a:pt x="1776648" y="219053"/>
                </a:lnTo>
                <a:lnTo>
                  <a:pt x="1774364" y="219053"/>
                </a:lnTo>
                <a:lnTo>
                  <a:pt x="1776648" y="219053"/>
                </a:lnTo>
                <a:lnTo>
                  <a:pt x="1776648" y="221334"/>
                </a:lnTo>
                <a:lnTo>
                  <a:pt x="1778931" y="221334"/>
                </a:lnTo>
                <a:lnTo>
                  <a:pt x="1778931" y="223616"/>
                </a:lnTo>
                <a:lnTo>
                  <a:pt x="1781215" y="223616"/>
                </a:lnTo>
                <a:lnTo>
                  <a:pt x="1781215" y="221334"/>
                </a:lnTo>
                <a:lnTo>
                  <a:pt x="1781215" y="219053"/>
                </a:lnTo>
                <a:lnTo>
                  <a:pt x="1781215" y="216771"/>
                </a:lnTo>
                <a:lnTo>
                  <a:pt x="1783498" y="216771"/>
                </a:lnTo>
                <a:lnTo>
                  <a:pt x="1783498" y="219053"/>
                </a:lnTo>
                <a:lnTo>
                  <a:pt x="1783498" y="216771"/>
                </a:lnTo>
                <a:lnTo>
                  <a:pt x="1781215" y="216771"/>
                </a:lnTo>
                <a:lnTo>
                  <a:pt x="1781215" y="219053"/>
                </a:lnTo>
                <a:lnTo>
                  <a:pt x="1783498" y="219053"/>
                </a:lnTo>
                <a:lnTo>
                  <a:pt x="1785782" y="219053"/>
                </a:lnTo>
                <a:lnTo>
                  <a:pt x="1783498" y="219053"/>
                </a:lnTo>
                <a:lnTo>
                  <a:pt x="1783498" y="221334"/>
                </a:lnTo>
                <a:lnTo>
                  <a:pt x="1785782" y="221334"/>
                </a:lnTo>
                <a:lnTo>
                  <a:pt x="1785782" y="223616"/>
                </a:lnTo>
                <a:lnTo>
                  <a:pt x="1783498" y="223616"/>
                </a:lnTo>
                <a:lnTo>
                  <a:pt x="1785782" y="223616"/>
                </a:lnTo>
                <a:lnTo>
                  <a:pt x="1785782" y="221334"/>
                </a:lnTo>
                <a:lnTo>
                  <a:pt x="1788066" y="221334"/>
                </a:lnTo>
                <a:lnTo>
                  <a:pt x="1785782" y="221334"/>
                </a:lnTo>
                <a:lnTo>
                  <a:pt x="1785782" y="223616"/>
                </a:lnTo>
                <a:lnTo>
                  <a:pt x="1788066" y="223616"/>
                </a:lnTo>
                <a:lnTo>
                  <a:pt x="1790349" y="223616"/>
                </a:lnTo>
                <a:lnTo>
                  <a:pt x="1788066" y="223616"/>
                </a:lnTo>
                <a:lnTo>
                  <a:pt x="1790349" y="223616"/>
                </a:lnTo>
                <a:lnTo>
                  <a:pt x="1790349" y="221334"/>
                </a:lnTo>
                <a:lnTo>
                  <a:pt x="1792633" y="221334"/>
                </a:lnTo>
                <a:lnTo>
                  <a:pt x="1790349" y="221334"/>
                </a:lnTo>
                <a:lnTo>
                  <a:pt x="1792633" y="221334"/>
                </a:lnTo>
                <a:lnTo>
                  <a:pt x="1792633" y="223616"/>
                </a:lnTo>
                <a:lnTo>
                  <a:pt x="1792633" y="225898"/>
                </a:lnTo>
                <a:lnTo>
                  <a:pt x="1794916" y="225898"/>
                </a:lnTo>
                <a:lnTo>
                  <a:pt x="1794916" y="228180"/>
                </a:lnTo>
                <a:lnTo>
                  <a:pt x="1797200" y="228180"/>
                </a:lnTo>
                <a:lnTo>
                  <a:pt x="1797200" y="230462"/>
                </a:lnTo>
                <a:lnTo>
                  <a:pt x="1799483" y="230462"/>
                </a:lnTo>
                <a:lnTo>
                  <a:pt x="1799483" y="232744"/>
                </a:lnTo>
                <a:lnTo>
                  <a:pt x="1799483" y="230462"/>
                </a:lnTo>
                <a:lnTo>
                  <a:pt x="1801767" y="230462"/>
                </a:lnTo>
                <a:lnTo>
                  <a:pt x="1801767" y="228180"/>
                </a:lnTo>
                <a:lnTo>
                  <a:pt x="1801767" y="230462"/>
                </a:lnTo>
                <a:lnTo>
                  <a:pt x="1804051" y="230462"/>
                </a:lnTo>
                <a:lnTo>
                  <a:pt x="1804051" y="228180"/>
                </a:lnTo>
                <a:lnTo>
                  <a:pt x="1806334" y="228180"/>
                </a:lnTo>
                <a:lnTo>
                  <a:pt x="1806334" y="225898"/>
                </a:lnTo>
                <a:lnTo>
                  <a:pt x="1808618" y="225898"/>
                </a:lnTo>
                <a:lnTo>
                  <a:pt x="1808618" y="228180"/>
                </a:lnTo>
                <a:lnTo>
                  <a:pt x="1806334" y="228180"/>
                </a:lnTo>
                <a:lnTo>
                  <a:pt x="1808618" y="228180"/>
                </a:lnTo>
                <a:lnTo>
                  <a:pt x="1808618" y="230462"/>
                </a:lnTo>
                <a:lnTo>
                  <a:pt x="1808618" y="232744"/>
                </a:lnTo>
                <a:lnTo>
                  <a:pt x="1808618" y="230462"/>
                </a:lnTo>
                <a:lnTo>
                  <a:pt x="1808618" y="232744"/>
                </a:lnTo>
                <a:lnTo>
                  <a:pt x="1808618" y="235026"/>
                </a:lnTo>
                <a:lnTo>
                  <a:pt x="1810902" y="235026"/>
                </a:lnTo>
                <a:lnTo>
                  <a:pt x="1808618" y="235026"/>
                </a:lnTo>
                <a:lnTo>
                  <a:pt x="1808618" y="237298"/>
                </a:lnTo>
                <a:lnTo>
                  <a:pt x="1808618" y="239590"/>
                </a:lnTo>
                <a:lnTo>
                  <a:pt x="1810902" y="239590"/>
                </a:lnTo>
                <a:lnTo>
                  <a:pt x="1808618" y="239590"/>
                </a:lnTo>
                <a:lnTo>
                  <a:pt x="1808618" y="241871"/>
                </a:lnTo>
                <a:lnTo>
                  <a:pt x="1808618" y="244144"/>
                </a:lnTo>
                <a:lnTo>
                  <a:pt x="1806334" y="244144"/>
                </a:lnTo>
                <a:lnTo>
                  <a:pt x="1806334" y="246426"/>
                </a:lnTo>
                <a:lnTo>
                  <a:pt x="1804051" y="246426"/>
                </a:lnTo>
                <a:lnTo>
                  <a:pt x="1806334" y="246426"/>
                </a:lnTo>
                <a:lnTo>
                  <a:pt x="1806334" y="248708"/>
                </a:lnTo>
                <a:lnTo>
                  <a:pt x="1806334" y="250989"/>
                </a:lnTo>
                <a:lnTo>
                  <a:pt x="1808618" y="250989"/>
                </a:lnTo>
                <a:lnTo>
                  <a:pt x="1810902" y="250989"/>
                </a:lnTo>
                <a:lnTo>
                  <a:pt x="1810902" y="248708"/>
                </a:lnTo>
                <a:lnTo>
                  <a:pt x="1810902" y="246426"/>
                </a:lnTo>
                <a:lnTo>
                  <a:pt x="1810902" y="244144"/>
                </a:lnTo>
                <a:lnTo>
                  <a:pt x="1813185" y="244144"/>
                </a:lnTo>
                <a:lnTo>
                  <a:pt x="1813185" y="246426"/>
                </a:lnTo>
                <a:lnTo>
                  <a:pt x="1815469" y="246426"/>
                </a:lnTo>
                <a:lnTo>
                  <a:pt x="1817752" y="246426"/>
                </a:lnTo>
                <a:lnTo>
                  <a:pt x="1817752" y="244144"/>
                </a:lnTo>
                <a:lnTo>
                  <a:pt x="1820036" y="244144"/>
                </a:lnTo>
                <a:lnTo>
                  <a:pt x="1820036" y="246426"/>
                </a:lnTo>
                <a:lnTo>
                  <a:pt x="1822320" y="246426"/>
                </a:lnTo>
                <a:lnTo>
                  <a:pt x="1824603" y="246426"/>
                </a:lnTo>
                <a:lnTo>
                  <a:pt x="1824603" y="244144"/>
                </a:lnTo>
                <a:lnTo>
                  <a:pt x="1826887" y="244144"/>
                </a:lnTo>
                <a:lnTo>
                  <a:pt x="1826887" y="246426"/>
                </a:lnTo>
                <a:lnTo>
                  <a:pt x="1826887" y="244144"/>
                </a:lnTo>
                <a:lnTo>
                  <a:pt x="1829170" y="244144"/>
                </a:lnTo>
                <a:lnTo>
                  <a:pt x="1829170" y="246426"/>
                </a:lnTo>
                <a:lnTo>
                  <a:pt x="1826887" y="246426"/>
                </a:lnTo>
                <a:lnTo>
                  <a:pt x="1829170" y="246426"/>
                </a:lnTo>
                <a:lnTo>
                  <a:pt x="1829170" y="244144"/>
                </a:lnTo>
                <a:lnTo>
                  <a:pt x="1826887" y="244144"/>
                </a:lnTo>
                <a:lnTo>
                  <a:pt x="1829170" y="244144"/>
                </a:lnTo>
                <a:lnTo>
                  <a:pt x="1831454" y="244144"/>
                </a:lnTo>
                <a:lnTo>
                  <a:pt x="1833737" y="244144"/>
                </a:lnTo>
                <a:lnTo>
                  <a:pt x="1831454" y="244144"/>
                </a:lnTo>
                <a:lnTo>
                  <a:pt x="1833737" y="244144"/>
                </a:lnTo>
                <a:lnTo>
                  <a:pt x="1833737" y="246426"/>
                </a:lnTo>
                <a:lnTo>
                  <a:pt x="1836021" y="246426"/>
                </a:lnTo>
                <a:lnTo>
                  <a:pt x="1838305" y="246426"/>
                </a:lnTo>
                <a:lnTo>
                  <a:pt x="1838305" y="248708"/>
                </a:lnTo>
                <a:lnTo>
                  <a:pt x="1840588" y="248708"/>
                </a:lnTo>
                <a:lnTo>
                  <a:pt x="1842872" y="248708"/>
                </a:lnTo>
                <a:lnTo>
                  <a:pt x="1840588" y="248708"/>
                </a:lnTo>
                <a:lnTo>
                  <a:pt x="1842872" y="248708"/>
                </a:lnTo>
                <a:lnTo>
                  <a:pt x="1842872" y="250989"/>
                </a:lnTo>
                <a:lnTo>
                  <a:pt x="1845156" y="250989"/>
                </a:lnTo>
                <a:lnTo>
                  <a:pt x="1847439" y="250989"/>
                </a:lnTo>
                <a:lnTo>
                  <a:pt x="1847439" y="253271"/>
                </a:lnTo>
                <a:lnTo>
                  <a:pt x="1849723" y="253271"/>
                </a:lnTo>
                <a:lnTo>
                  <a:pt x="1849723" y="255553"/>
                </a:lnTo>
                <a:lnTo>
                  <a:pt x="1849723" y="257835"/>
                </a:lnTo>
                <a:lnTo>
                  <a:pt x="1849723" y="255553"/>
                </a:lnTo>
                <a:lnTo>
                  <a:pt x="1852006" y="257835"/>
                </a:lnTo>
                <a:lnTo>
                  <a:pt x="1849723" y="257835"/>
                </a:lnTo>
                <a:lnTo>
                  <a:pt x="1852006" y="257835"/>
                </a:lnTo>
                <a:lnTo>
                  <a:pt x="1852006" y="260117"/>
                </a:lnTo>
                <a:lnTo>
                  <a:pt x="1854290" y="260117"/>
                </a:lnTo>
                <a:lnTo>
                  <a:pt x="1852006" y="260117"/>
                </a:lnTo>
                <a:lnTo>
                  <a:pt x="1854290" y="260117"/>
                </a:lnTo>
                <a:lnTo>
                  <a:pt x="1854290" y="262399"/>
                </a:lnTo>
                <a:lnTo>
                  <a:pt x="1854290" y="260117"/>
                </a:lnTo>
                <a:lnTo>
                  <a:pt x="1854290" y="262399"/>
                </a:lnTo>
                <a:lnTo>
                  <a:pt x="1856573" y="262399"/>
                </a:lnTo>
                <a:lnTo>
                  <a:pt x="1856573" y="264681"/>
                </a:lnTo>
                <a:lnTo>
                  <a:pt x="1856573" y="266963"/>
                </a:lnTo>
                <a:lnTo>
                  <a:pt x="1858857" y="266963"/>
                </a:lnTo>
                <a:lnTo>
                  <a:pt x="1856573" y="266963"/>
                </a:lnTo>
                <a:lnTo>
                  <a:pt x="1858857" y="266963"/>
                </a:lnTo>
                <a:lnTo>
                  <a:pt x="1858857" y="269245"/>
                </a:lnTo>
                <a:lnTo>
                  <a:pt x="1858857" y="271527"/>
                </a:lnTo>
                <a:lnTo>
                  <a:pt x="1856573" y="271527"/>
                </a:lnTo>
                <a:lnTo>
                  <a:pt x="1856573" y="273809"/>
                </a:lnTo>
                <a:lnTo>
                  <a:pt x="1856573" y="276090"/>
                </a:lnTo>
                <a:lnTo>
                  <a:pt x="1858857" y="276090"/>
                </a:lnTo>
                <a:lnTo>
                  <a:pt x="1856573" y="276090"/>
                </a:lnTo>
                <a:lnTo>
                  <a:pt x="1856573" y="278372"/>
                </a:lnTo>
                <a:lnTo>
                  <a:pt x="1858857" y="278372"/>
                </a:lnTo>
                <a:lnTo>
                  <a:pt x="1861141" y="280654"/>
                </a:lnTo>
                <a:lnTo>
                  <a:pt x="1863424" y="280654"/>
                </a:lnTo>
                <a:lnTo>
                  <a:pt x="1861141" y="280654"/>
                </a:lnTo>
                <a:lnTo>
                  <a:pt x="1861141" y="278372"/>
                </a:lnTo>
                <a:lnTo>
                  <a:pt x="1863424" y="278372"/>
                </a:lnTo>
                <a:lnTo>
                  <a:pt x="1863424" y="280654"/>
                </a:lnTo>
                <a:lnTo>
                  <a:pt x="1863424" y="282936"/>
                </a:lnTo>
                <a:lnTo>
                  <a:pt x="1863424" y="285218"/>
                </a:lnTo>
                <a:lnTo>
                  <a:pt x="1863424" y="282936"/>
                </a:lnTo>
                <a:lnTo>
                  <a:pt x="1865708" y="282936"/>
                </a:lnTo>
                <a:lnTo>
                  <a:pt x="1865708" y="285218"/>
                </a:lnTo>
                <a:lnTo>
                  <a:pt x="1863424" y="285218"/>
                </a:lnTo>
                <a:lnTo>
                  <a:pt x="1863424" y="287500"/>
                </a:lnTo>
                <a:lnTo>
                  <a:pt x="1863424" y="289782"/>
                </a:lnTo>
                <a:lnTo>
                  <a:pt x="1861141" y="289782"/>
                </a:lnTo>
                <a:lnTo>
                  <a:pt x="1861141" y="292064"/>
                </a:lnTo>
                <a:lnTo>
                  <a:pt x="1863424" y="292064"/>
                </a:lnTo>
                <a:lnTo>
                  <a:pt x="1865708" y="292064"/>
                </a:lnTo>
                <a:lnTo>
                  <a:pt x="1867991" y="292064"/>
                </a:lnTo>
                <a:lnTo>
                  <a:pt x="1870275" y="292064"/>
                </a:lnTo>
                <a:lnTo>
                  <a:pt x="1870275" y="294345"/>
                </a:lnTo>
                <a:lnTo>
                  <a:pt x="1872559" y="294345"/>
                </a:lnTo>
                <a:lnTo>
                  <a:pt x="1872559" y="296627"/>
                </a:lnTo>
                <a:lnTo>
                  <a:pt x="1872559" y="298909"/>
                </a:lnTo>
                <a:lnTo>
                  <a:pt x="1872559" y="301191"/>
                </a:lnTo>
                <a:lnTo>
                  <a:pt x="1874842" y="301191"/>
                </a:lnTo>
                <a:lnTo>
                  <a:pt x="1877126" y="301191"/>
                </a:lnTo>
                <a:lnTo>
                  <a:pt x="1874842" y="301191"/>
                </a:lnTo>
                <a:lnTo>
                  <a:pt x="1874842" y="298909"/>
                </a:lnTo>
                <a:lnTo>
                  <a:pt x="1877126" y="298909"/>
                </a:lnTo>
                <a:lnTo>
                  <a:pt x="1879410" y="298909"/>
                </a:lnTo>
                <a:lnTo>
                  <a:pt x="1879410" y="301191"/>
                </a:lnTo>
                <a:lnTo>
                  <a:pt x="1879410" y="303473"/>
                </a:lnTo>
                <a:lnTo>
                  <a:pt x="1877126" y="303473"/>
                </a:lnTo>
                <a:lnTo>
                  <a:pt x="1877126" y="305755"/>
                </a:lnTo>
                <a:lnTo>
                  <a:pt x="1879410" y="305755"/>
                </a:lnTo>
                <a:lnTo>
                  <a:pt x="1879410" y="303473"/>
                </a:lnTo>
                <a:lnTo>
                  <a:pt x="1881693" y="303473"/>
                </a:lnTo>
                <a:lnTo>
                  <a:pt x="1883977" y="305755"/>
                </a:lnTo>
                <a:lnTo>
                  <a:pt x="1883977" y="308037"/>
                </a:lnTo>
                <a:lnTo>
                  <a:pt x="1886260" y="308037"/>
                </a:lnTo>
                <a:lnTo>
                  <a:pt x="1886260" y="310319"/>
                </a:lnTo>
                <a:lnTo>
                  <a:pt x="1886260" y="312601"/>
                </a:lnTo>
                <a:lnTo>
                  <a:pt x="1886260" y="314883"/>
                </a:lnTo>
                <a:lnTo>
                  <a:pt x="1883977" y="314883"/>
                </a:lnTo>
                <a:lnTo>
                  <a:pt x="1883977" y="317165"/>
                </a:lnTo>
                <a:lnTo>
                  <a:pt x="1886260" y="317165"/>
                </a:lnTo>
                <a:lnTo>
                  <a:pt x="1886260" y="319446"/>
                </a:lnTo>
                <a:lnTo>
                  <a:pt x="1883977" y="319446"/>
                </a:lnTo>
                <a:lnTo>
                  <a:pt x="1883977" y="321728"/>
                </a:lnTo>
                <a:lnTo>
                  <a:pt x="1886260" y="321728"/>
                </a:lnTo>
                <a:lnTo>
                  <a:pt x="1888544" y="321728"/>
                </a:lnTo>
                <a:lnTo>
                  <a:pt x="1890827" y="321728"/>
                </a:lnTo>
                <a:lnTo>
                  <a:pt x="1890827" y="324010"/>
                </a:lnTo>
                <a:lnTo>
                  <a:pt x="1890827" y="326292"/>
                </a:lnTo>
                <a:lnTo>
                  <a:pt x="1893111" y="326292"/>
                </a:lnTo>
                <a:lnTo>
                  <a:pt x="1893111" y="328574"/>
                </a:lnTo>
                <a:lnTo>
                  <a:pt x="1895395" y="328574"/>
                </a:lnTo>
                <a:lnTo>
                  <a:pt x="1895395" y="330856"/>
                </a:lnTo>
                <a:lnTo>
                  <a:pt x="1897678" y="330856"/>
                </a:lnTo>
                <a:lnTo>
                  <a:pt x="1895395" y="330856"/>
                </a:lnTo>
                <a:lnTo>
                  <a:pt x="1895395" y="333138"/>
                </a:lnTo>
                <a:lnTo>
                  <a:pt x="1897678" y="333138"/>
                </a:lnTo>
                <a:lnTo>
                  <a:pt x="1897678" y="335420"/>
                </a:lnTo>
                <a:lnTo>
                  <a:pt x="1899962" y="335420"/>
                </a:lnTo>
                <a:lnTo>
                  <a:pt x="1899962" y="337702"/>
                </a:lnTo>
                <a:lnTo>
                  <a:pt x="1902245" y="337702"/>
                </a:lnTo>
                <a:lnTo>
                  <a:pt x="1904529" y="337702"/>
                </a:lnTo>
                <a:lnTo>
                  <a:pt x="1904529" y="339983"/>
                </a:lnTo>
                <a:lnTo>
                  <a:pt x="1904529" y="337702"/>
                </a:lnTo>
                <a:lnTo>
                  <a:pt x="1904529" y="339983"/>
                </a:lnTo>
                <a:lnTo>
                  <a:pt x="1904529" y="342265"/>
                </a:lnTo>
                <a:lnTo>
                  <a:pt x="1904529" y="344547"/>
                </a:lnTo>
                <a:lnTo>
                  <a:pt x="1906812" y="344547"/>
                </a:lnTo>
                <a:lnTo>
                  <a:pt x="1904529" y="344547"/>
                </a:lnTo>
                <a:lnTo>
                  <a:pt x="1904529" y="346829"/>
                </a:lnTo>
                <a:lnTo>
                  <a:pt x="1906812" y="346829"/>
                </a:lnTo>
                <a:lnTo>
                  <a:pt x="1904529" y="346829"/>
                </a:lnTo>
                <a:lnTo>
                  <a:pt x="1906812" y="346829"/>
                </a:lnTo>
                <a:lnTo>
                  <a:pt x="1904529" y="346829"/>
                </a:lnTo>
                <a:lnTo>
                  <a:pt x="1904529" y="349111"/>
                </a:lnTo>
                <a:lnTo>
                  <a:pt x="1906812" y="349111"/>
                </a:lnTo>
                <a:lnTo>
                  <a:pt x="1909096" y="349111"/>
                </a:lnTo>
                <a:lnTo>
                  <a:pt x="1909096" y="351393"/>
                </a:lnTo>
                <a:lnTo>
                  <a:pt x="1911380" y="351393"/>
                </a:lnTo>
                <a:lnTo>
                  <a:pt x="1911380" y="353675"/>
                </a:lnTo>
                <a:lnTo>
                  <a:pt x="1913663" y="353675"/>
                </a:lnTo>
                <a:lnTo>
                  <a:pt x="1913663" y="351393"/>
                </a:lnTo>
                <a:lnTo>
                  <a:pt x="1915947" y="351393"/>
                </a:lnTo>
                <a:lnTo>
                  <a:pt x="1918231" y="351393"/>
                </a:lnTo>
                <a:lnTo>
                  <a:pt x="1918231" y="353675"/>
                </a:lnTo>
                <a:lnTo>
                  <a:pt x="1918231" y="351393"/>
                </a:lnTo>
                <a:lnTo>
                  <a:pt x="1918231" y="353675"/>
                </a:lnTo>
                <a:lnTo>
                  <a:pt x="1918231" y="351393"/>
                </a:lnTo>
                <a:lnTo>
                  <a:pt x="1920514" y="351393"/>
                </a:lnTo>
                <a:lnTo>
                  <a:pt x="1922798" y="351393"/>
                </a:lnTo>
                <a:lnTo>
                  <a:pt x="1922798" y="349111"/>
                </a:lnTo>
                <a:lnTo>
                  <a:pt x="1925081" y="349111"/>
                </a:lnTo>
                <a:lnTo>
                  <a:pt x="1927365" y="349111"/>
                </a:lnTo>
                <a:lnTo>
                  <a:pt x="1929649" y="349111"/>
                </a:lnTo>
                <a:lnTo>
                  <a:pt x="1931932" y="349111"/>
                </a:lnTo>
                <a:lnTo>
                  <a:pt x="1934216" y="349111"/>
                </a:lnTo>
                <a:lnTo>
                  <a:pt x="1934216" y="351393"/>
                </a:lnTo>
                <a:lnTo>
                  <a:pt x="1934216" y="349111"/>
                </a:lnTo>
                <a:lnTo>
                  <a:pt x="1936499" y="349111"/>
                </a:lnTo>
                <a:lnTo>
                  <a:pt x="1934216" y="349111"/>
                </a:lnTo>
                <a:lnTo>
                  <a:pt x="1936499" y="349111"/>
                </a:lnTo>
                <a:lnTo>
                  <a:pt x="1938783" y="349111"/>
                </a:lnTo>
                <a:lnTo>
                  <a:pt x="1938783" y="346829"/>
                </a:lnTo>
                <a:lnTo>
                  <a:pt x="1938783" y="349111"/>
                </a:lnTo>
                <a:lnTo>
                  <a:pt x="1941066" y="349111"/>
                </a:lnTo>
                <a:lnTo>
                  <a:pt x="1941066" y="346829"/>
                </a:lnTo>
                <a:lnTo>
                  <a:pt x="1943350" y="346829"/>
                </a:lnTo>
                <a:lnTo>
                  <a:pt x="1943350" y="344547"/>
                </a:lnTo>
                <a:lnTo>
                  <a:pt x="1943350" y="342265"/>
                </a:lnTo>
                <a:lnTo>
                  <a:pt x="1941066" y="342265"/>
                </a:lnTo>
                <a:lnTo>
                  <a:pt x="1941066" y="339983"/>
                </a:lnTo>
                <a:lnTo>
                  <a:pt x="1938783" y="339983"/>
                </a:lnTo>
                <a:lnTo>
                  <a:pt x="1941066" y="339983"/>
                </a:lnTo>
                <a:lnTo>
                  <a:pt x="1941066" y="337702"/>
                </a:lnTo>
                <a:lnTo>
                  <a:pt x="1941066" y="335420"/>
                </a:lnTo>
                <a:lnTo>
                  <a:pt x="1941066" y="333138"/>
                </a:lnTo>
                <a:lnTo>
                  <a:pt x="1941066" y="330856"/>
                </a:lnTo>
                <a:lnTo>
                  <a:pt x="1941066" y="328574"/>
                </a:lnTo>
                <a:lnTo>
                  <a:pt x="1943350" y="328574"/>
                </a:lnTo>
                <a:lnTo>
                  <a:pt x="1945634" y="328574"/>
                </a:lnTo>
                <a:lnTo>
                  <a:pt x="1945634" y="326292"/>
                </a:lnTo>
                <a:lnTo>
                  <a:pt x="1947917" y="326292"/>
                </a:lnTo>
                <a:lnTo>
                  <a:pt x="1947917" y="324010"/>
                </a:lnTo>
                <a:lnTo>
                  <a:pt x="1950201" y="324010"/>
                </a:lnTo>
                <a:lnTo>
                  <a:pt x="1952485" y="324010"/>
                </a:lnTo>
                <a:lnTo>
                  <a:pt x="1954768" y="324010"/>
                </a:lnTo>
                <a:lnTo>
                  <a:pt x="1957052" y="324010"/>
                </a:lnTo>
                <a:lnTo>
                  <a:pt x="1959335" y="324010"/>
                </a:lnTo>
                <a:lnTo>
                  <a:pt x="1959335" y="326292"/>
                </a:lnTo>
                <a:lnTo>
                  <a:pt x="1961619" y="326292"/>
                </a:lnTo>
                <a:lnTo>
                  <a:pt x="1961619" y="328574"/>
                </a:lnTo>
                <a:lnTo>
                  <a:pt x="1954768" y="330856"/>
                </a:lnTo>
                <a:lnTo>
                  <a:pt x="1950201" y="335420"/>
                </a:lnTo>
                <a:lnTo>
                  <a:pt x="1947917" y="335420"/>
                </a:lnTo>
                <a:lnTo>
                  <a:pt x="1947917" y="337702"/>
                </a:lnTo>
                <a:lnTo>
                  <a:pt x="1945634" y="335420"/>
                </a:lnTo>
                <a:lnTo>
                  <a:pt x="1943350" y="335420"/>
                </a:lnTo>
                <a:lnTo>
                  <a:pt x="1943350" y="337702"/>
                </a:lnTo>
                <a:lnTo>
                  <a:pt x="1941066" y="339983"/>
                </a:lnTo>
                <a:lnTo>
                  <a:pt x="1943350" y="339983"/>
                </a:lnTo>
                <a:lnTo>
                  <a:pt x="1943350" y="342265"/>
                </a:lnTo>
                <a:lnTo>
                  <a:pt x="1945634" y="342265"/>
                </a:lnTo>
                <a:lnTo>
                  <a:pt x="1947917" y="342265"/>
                </a:lnTo>
                <a:lnTo>
                  <a:pt x="1947917" y="344547"/>
                </a:lnTo>
                <a:lnTo>
                  <a:pt x="1952485" y="346829"/>
                </a:lnTo>
                <a:lnTo>
                  <a:pt x="1950201" y="346829"/>
                </a:lnTo>
                <a:lnTo>
                  <a:pt x="1947917" y="346829"/>
                </a:lnTo>
                <a:lnTo>
                  <a:pt x="1943350" y="351393"/>
                </a:lnTo>
                <a:lnTo>
                  <a:pt x="1943350" y="353675"/>
                </a:lnTo>
                <a:lnTo>
                  <a:pt x="1943350" y="355957"/>
                </a:lnTo>
                <a:lnTo>
                  <a:pt x="1943350" y="358239"/>
                </a:lnTo>
                <a:lnTo>
                  <a:pt x="1945634" y="358239"/>
                </a:lnTo>
                <a:lnTo>
                  <a:pt x="1945634" y="360521"/>
                </a:lnTo>
                <a:lnTo>
                  <a:pt x="1950201" y="360521"/>
                </a:lnTo>
                <a:lnTo>
                  <a:pt x="1952485" y="360521"/>
                </a:lnTo>
                <a:lnTo>
                  <a:pt x="1954768" y="360521"/>
                </a:lnTo>
                <a:lnTo>
                  <a:pt x="1957052" y="360521"/>
                </a:lnTo>
                <a:lnTo>
                  <a:pt x="1957052" y="362802"/>
                </a:lnTo>
                <a:lnTo>
                  <a:pt x="1959335" y="362802"/>
                </a:lnTo>
                <a:lnTo>
                  <a:pt x="1961619" y="362802"/>
                </a:lnTo>
                <a:lnTo>
                  <a:pt x="1963902" y="365084"/>
                </a:lnTo>
                <a:lnTo>
                  <a:pt x="1963902" y="367366"/>
                </a:lnTo>
                <a:lnTo>
                  <a:pt x="1963902" y="369648"/>
                </a:lnTo>
                <a:lnTo>
                  <a:pt x="1966186" y="369648"/>
                </a:lnTo>
                <a:lnTo>
                  <a:pt x="1966186" y="371930"/>
                </a:lnTo>
                <a:lnTo>
                  <a:pt x="1966186" y="374212"/>
                </a:lnTo>
                <a:lnTo>
                  <a:pt x="1968470" y="374212"/>
                </a:lnTo>
                <a:lnTo>
                  <a:pt x="1968470" y="376494"/>
                </a:lnTo>
                <a:lnTo>
                  <a:pt x="1970753" y="378776"/>
                </a:lnTo>
                <a:lnTo>
                  <a:pt x="1970753" y="381058"/>
                </a:lnTo>
                <a:lnTo>
                  <a:pt x="1970753" y="383339"/>
                </a:lnTo>
                <a:lnTo>
                  <a:pt x="1968470" y="383339"/>
                </a:lnTo>
                <a:lnTo>
                  <a:pt x="1968470" y="385621"/>
                </a:lnTo>
                <a:lnTo>
                  <a:pt x="1968470" y="387903"/>
                </a:lnTo>
                <a:lnTo>
                  <a:pt x="1970753" y="392467"/>
                </a:lnTo>
                <a:lnTo>
                  <a:pt x="1968470" y="392467"/>
                </a:lnTo>
                <a:lnTo>
                  <a:pt x="1966186" y="390185"/>
                </a:lnTo>
                <a:lnTo>
                  <a:pt x="1963902" y="392467"/>
                </a:lnTo>
                <a:lnTo>
                  <a:pt x="1961619" y="392467"/>
                </a:lnTo>
                <a:lnTo>
                  <a:pt x="1959335" y="394749"/>
                </a:lnTo>
                <a:lnTo>
                  <a:pt x="1959335" y="397021"/>
                </a:lnTo>
                <a:lnTo>
                  <a:pt x="1957052" y="397021"/>
                </a:lnTo>
                <a:lnTo>
                  <a:pt x="1957052" y="399303"/>
                </a:lnTo>
                <a:lnTo>
                  <a:pt x="1954768" y="394749"/>
                </a:lnTo>
                <a:lnTo>
                  <a:pt x="1952485" y="394749"/>
                </a:lnTo>
                <a:lnTo>
                  <a:pt x="1950201" y="397021"/>
                </a:lnTo>
                <a:lnTo>
                  <a:pt x="1950201" y="399303"/>
                </a:lnTo>
                <a:lnTo>
                  <a:pt x="1947917" y="399303"/>
                </a:lnTo>
                <a:lnTo>
                  <a:pt x="1947917" y="401585"/>
                </a:lnTo>
                <a:lnTo>
                  <a:pt x="1947917" y="403867"/>
                </a:lnTo>
                <a:lnTo>
                  <a:pt x="1945634" y="403867"/>
                </a:lnTo>
                <a:lnTo>
                  <a:pt x="1947917" y="403867"/>
                </a:lnTo>
                <a:lnTo>
                  <a:pt x="1945634" y="403867"/>
                </a:lnTo>
                <a:lnTo>
                  <a:pt x="1945634" y="406149"/>
                </a:lnTo>
                <a:lnTo>
                  <a:pt x="1943350" y="406149"/>
                </a:lnTo>
                <a:lnTo>
                  <a:pt x="1943350" y="403867"/>
                </a:lnTo>
                <a:lnTo>
                  <a:pt x="1943350" y="406149"/>
                </a:lnTo>
                <a:lnTo>
                  <a:pt x="1941066" y="406149"/>
                </a:lnTo>
                <a:lnTo>
                  <a:pt x="1943350" y="406149"/>
                </a:lnTo>
                <a:lnTo>
                  <a:pt x="1938783" y="408431"/>
                </a:lnTo>
                <a:lnTo>
                  <a:pt x="1936499" y="408431"/>
                </a:lnTo>
                <a:lnTo>
                  <a:pt x="1934216" y="408431"/>
                </a:lnTo>
                <a:lnTo>
                  <a:pt x="1931932" y="408431"/>
                </a:lnTo>
                <a:lnTo>
                  <a:pt x="1929649" y="408431"/>
                </a:lnTo>
                <a:lnTo>
                  <a:pt x="1929649" y="410713"/>
                </a:lnTo>
                <a:lnTo>
                  <a:pt x="1929649" y="412995"/>
                </a:lnTo>
                <a:lnTo>
                  <a:pt x="1929649" y="415277"/>
                </a:lnTo>
                <a:lnTo>
                  <a:pt x="1929649" y="417558"/>
                </a:lnTo>
                <a:lnTo>
                  <a:pt x="1927365" y="419840"/>
                </a:lnTo>
                <a:lnTo>
                  <a:pt x="1929649" y="422122"/>
                </a:lnTo>
                <a:lnTo>
                  <a:pt x="1929649" y="424404"/>
                </a:lnTo>
                <a:lnTo>
                  <a:pt x="1931932" y="424404"/>
                </a:lnTo>
                <a:lnTo>
                  <a:pt x="1934216" y="424404"/>
                </a:lnTo>
                <a:lnTo>
                  <a:pt x="1934216" y="426686"/>
                </a:lnTo>
                <a:lnTo>
                  <a:pt x="1934216" y="428968"/>
                </a:lnTo>
                <a:lnTo>
                  <a:pt x="1936499" y="428968"/>
                </a:lnTo>
                <a:lnTo>
                  <a:pt x="1936499" y="431250"/>
                </a:lnTo>
                <a:lnTo>
                  <a:pt x="1938783" y="431250"/>
                </a:lnTo>
                <a:lnTo>
                  <a:pt x="1938783" y="433532"/>
                </a:lnTo>
                <a:lnTo>
                  <a:pt x="1941066" y="433532"/>
                </a:lnTo>
                <a:lnTo>
                  <a:pt x="1941066" y="435814"/>
                </a:lnTo>
                <a:lnTo>
                  <a:pt x="1941066" y="438095"/>
                </a:lnTo>
                <a:lnTo>
                  <a:pt x="1941066" y="440377"/>
                </a:lnTo>
                <a:lnTo>
                  <a:pt x="1943350" y="442659"/>
                </a:lnTo>
                <a:lnTo>
                  <a:pt x="1941066" y="442659"/>
                </a:lnTo>
                <a:lnTo>
                  <a:pt x="1941066" y="444941"/>
                </a:lnTo>
                <a:lnTo>
                  <a:pt x="1943350" y="444941"/>
                </a:lnTo>
                <a:lnTo>
                  <a:pt x="1941066" y="449505"/>
                </a:lnTo>
                <a:lnTo>
                  <a:pt x="1941066" y="451787"/>
                </a:lnTo>
                <a:lnTo>
                  <a:pt x="1941066" y="454069"/>
                </a:lnTo>
                <a:lnTo>
                  <a:pt x="1941066" y="456351"/>
                </a:lnTo>
                <a:lnTo>
                  <a:pt x="1938783" y="458633"/>
                </a:lnTo>
                <a:lnTo>
                  <a:pt x="1938783" y="460915"/>
                </a:lnTo>
                <a:lnTo>
                  <a:pt x="1941066" y="460915"/>
                </a:lnTo>
                <a:lnTo>
                  <a:pt x="1941066" y="463196"/>
                </a:lnTo>
                <a:lnTo>
                  <a:pt x="1941066" y="465478"/>
                </a:lnTo>
                <a:lnTo>
                  <a:pt x="1943350" y="465478"/>
                </a:lnTo>
                <a:lnTo>
                  <a:pt x="1943350" y="467760"/>
                </a:lnTo>
                <a:lnTo>
                  <a:pt x="1943350" y="470042"/>
                </a:lnTo>
                <a:lnTo>
                  <a:pt x="1941066" y="472324"/>
                </a:lnTo>
                <a:lnTo>
                  <a:pt x="1943350" y="472324"/>
                </a:lnTo>
                <a:lnTo>
                  <a:pt x="1945634" y="472324"/>
                </a:lnTo>
                <a:lnTo>
                  <a:pt x="1947917" y="474606"/>
                </a:lnTo>
                <a:lnTo>
                  <a:pt x="1947917" y="476888"/>
                </a:lnTo>
                <a:lnTo>
                  <a:pt x="1950201" y="476888"/>
                </a:lnTo>
                <a:lnTo>
                  <a:pt x="1947917" y="479170"/>
                </a:lnTo>
                <a:lnTo>
                  <a:pt x="1945634" y="479170"/>
                </a:lnTo>
                <a:lnTo>
                  <a:pt x="1943350" y="481451"/>
                </a:lnTo>
                <a:lnTo>
                  <a:pt x="1941066" y="481451"/>
                </a:lnTo>
                <a:lnTo>
                  <a:pt x="1938783" y="481451"/>
                </a:lnTo>
                <a:lnTo>
                  <a:pt x="1938783" y="483733"/>
                </a:lnTo>
                <a:lnTo>
                  <a:pt x="1936499" y="483733"/>
                </a:lnTo>
                <a:lnTo>
                  <a:pt x="1936499" y="486015"/>
                </a:lnTo>
                <a:lnTo>
                  <a:pt x="1936499" y="488297"/>
                </a:lnTo>
                <a:lnTo>
                  <a:pt x="1934216" y="488297"/>
                </a:lnTo>
                <a:lnTo>
                  <a:pt x="1934216" y="490579"/>
                </a:lnTo>
                <a:lnTo>
                  <a:pt x="1936499" y="492861"/>
                </a:lnTo>
                <a:lnTo>
                  <a:pt x="1936499" y="495143"/>
                </a:lnTo>
                <a:lnTo>
                  <a:pt x="1936499" y="497425"/>
                </a:lnTo>
                <a:lnTo>
                  <a:pt x="1938783" y="497425"/>
                </a:lnTo>
                <a:lnTo>
                  <a:pt x="1936499" y="499707"/>
                </a:lnTo>
                <a:lnTo>
                  <a:pt x="1936499" y="497425"/>
                </a:lnTo>
                <a:lnTo>
                  <a:pt x="1934216" y="497425"/>
                </a:lnTo>
                <a:lnTo>
                  <a:pt x="1931932" y="497425"/>
                </a:lnTo>
                <a:lnTo>
                  <a:pt x="1931932" y="499707"/>
                </a:lnTo>
                <a:lnTo>
                  <a:pt x="1934216" y="499707"/>
                </a:lnTo>
                <a:lnTo>
                  <a:pt x="1931932" y="501989"/>
                </a:lnTo>
                <a:lnTo>
                  <a:pt x="1931932" y="504271"/>
                </a:lnTo>
                <a:lnTo>
                  <a:pt x="1931932" y="506552"/>
                </a:lnTo>
                <a:lnTo>
                  <a:pt x="1931932" y="508834"/>
                </a:lnTo>
                <a:lnTo>
                  <a:pt x="1929649" y="511116"/>
                </a:lnTo>
                <a:lnTo>
                  <a:pt x="1931932" y="511116"/>
                </a:lnTo>
                <a:lnTo>
                  <a:pt x="1934216" y="513398"/>
                </a:lnTo>
                <a:lnTo>
                  <a:pt x="1931932" y="515680"/>
                </a:lnTo>
                <a:lnTo>
                  <a:pt x="1929649" y="517962"/>
                </a:lnTo>
                <a:lnTo>
                  <a:pt x="1927365" y="522526"/>
                </a:lnTo>
                <a:lnTo>
                  <a:pt x="1925081" y="522526"/>
                </a:lnTo>
                <a:lnTo>
                  <a:pt x="1922798" y="524807"/>
                </a:lnTo>
                <a:lnTo>
                  <a:pt x="1922798" y="522526"/>
                </a:lnTo>
                <a:lnTo>
                  <a:pt x="1920514" y="522526"/>
                </a:lnTo>
                <a:lnTo>
                  <a:pt x="1920514" y="524807"/>
                </a:lnTo>
                <a:lnTo>
                  <a:pt x="1922798" y="527089"/>
                </a:lnTo>
                <a:lnTo>
                  <a:pt x="1922798" y="529371"/>
                </a:lnTo>
                <a:lnTo>
                  <a:pt x="1920514" y="529371"/>
                </a:lnTo>
                <a:lnTo>
                  <a:pt x="1920514" y="531653"/>
                </a:lnTo>
                <a:lnTo>
                  <a:pt x="1922798" y="531653"/>
                </a:lnTo>
                <a:lnTo>
                  <a:pt x="1925081" y="531653"/>
                </a:lnTo>
                <a:lnTo>
                  <a:pt x="1925081" y="533935"/>
                </a:lnTo>
                <a:lnTo>
                  <a:pt x="1927365" y="533935"/>
                </a:lnTo>
                <a:lnTo>
                  <a:pt x="1927365" y="536217"/>
                </a:lnTo>
                <a:lnTo>
                  <a:pt x="1927365" y="538499"/>
                </a:lnTo>
                <a:lnTo>
                  <a:pt x="1929649" y="538499"/>
                </a:lnTo>
                <a:lnTo>
                  <a:pt x="1927365" y="538499"/>
                </a:lnTo>
                <a:lnTo>
                  <a:pt x="1925081" y="538499"/>
                </a:lnTo>
                <a:lnTo>
                  <a:pt x="1922798" y="538499"/>
                </a:lnTo>
                <a:lnTo>
                  <a:pt x="1922798" y="540781"/>
                </a:lnTo>
                <a:lnTo>
                  <a:pt x="1920514" y="540781"/>
                </a:lnTo>
                <a:lnTo>
                  <a:pt x="1918231" y="540781"/>
                </a:lnTo>
                <a:lnTo>
                  <a:pt x="1918231" y="543063"/>
                </a:lnTo>
                <a:lnTo>
                  <a:pt x="1915947" y="549908"/>
                </a:lnTo>
                <a:lnTo>
                  <a:pt x="1913663" y="554463"/>
                </a:lnTo>
                <a:lnTo>
                  <a:pt x="1913663" y="556745"/>
                </a:lnTo>
                <a:lnTo>
                  <a:pt x="1913663" y="561308"/>
                </a:lnTo>
                <a:lnTo>
                  <a:pt x="1913663" y="563590"/>
                </a:lnTo>
                <a:lnTo>
                  <a:pt x="1906812" y="572718"/>
                </a:lnTo>
                <a:lnTo>
                  <a:pt x="1904529" y="575000"/>
                </a:lnTo>
                <a:lnTo>
                  <a:pt x="1911380" y="584127"/>
                </a:lnTo>
                <a:lnTo>
                  <a:pt x="1918231" y="593255"/>
                </a:lnTo>
                <a:lnTo>
                  <a:pt x="1918231" y="595537"/>
                </a:lnTo>
                <a:lnTo>
                  <a:pt x="1920514" y="604664"/>
                </a:lnTo>
                <a:lnTo>
                  <a:pt x="1920514" y="606946"/>
                </a:lnTo>
                <a:lnTo>
                  <a:pt x="1918231" y="613792"/>
                </a:lnTo>
                <a:lnTo>
                  <a:pt x="1920514" y="613792"/>
                </a:lnTo>
                <a:lnTo>
                  <a:pt x="1920514" y="616074"/>
                </a:lnTo>
                <a:lnTo>
                  <a:pt x="1920514" y="618356"/>
                </a:lnTo>
                <a:lnTo>
                  <a:pt x="1920514" y="620638"/>
                </a:lnTo>
                <a:lnTo>
                  <a:pt x="1920514" y="622919"/>
                </a:lnTo>
                <a:lnTo>
                  <a:pt x="1920514" y="625202"/>
                </a:lnTo>
                <a:lnTo>
                  <a:pt x="1920514" y="627483"/>
                </a:lnTo>
                <a:lnTo>
                  <a:pt x="1920514" y="629765"/>
                </a:lnTo>
                <a:lnTo>
                  <a:pt x="1918231" y="629765"/>
                </a:lnTo>
                <a:lnTo>
                  <a:pt x="1915947" y="629765"/>
                </a:lnTo>
                <a:lnTo>
                  <a:pt x="1913663" y="629765"/>
                </a:lnTo>
                <a:lnTo>
                  <a:pt x="1911380" y="632047"/>
                </a:lnTo>
                <a:lnTo>
                  <a:pt x="1909096" y="632047"/>
                </a:lnTo>
                <a:lnTo>
                  <a:pt x="1906812" y="632047"/>
                </a:lnTo>
                <a:lnTo>
                  <a:pt x="1906812" y="634329"/>
                </a:lnTo>
                <a:lnTo>
                  <a:pt x="1904529" y="636611"/>
                </a:lnTo>
                <a:lnTo>
                  <a:pt x="1904529" y="638893"/>
                </a:lnTo>
                <a:lnTo>
                  <a:pt x="1902245" y="641175"/>
                </a:lnTo>
                <a:lnTo>
                  <a:pt x="1902245" y="643457"/>
                </a:lnTo>
                <a:lnTo>
                  <a:pt x="1902245" y="645738"/>
                </a:lnTo>
                <a:lnTo>
                  <a:pt x="1904529" y="645738"/>
                </a:lnTo>
                <a:lnTo>
                  <a:pt x="1904529" y="648020"/>
                </a:lnTo>
                <a:lnTo>
                  <a:pt x="1906812" y="648020"/>
                </a:lnTo>
                <a:lnTo>
                  <a:pt x="1906812" y="650302"/>
                </a:lnTo>
                <a:lnTo>
                  <a:pt x="1904529" y="650302"/>
                </a:lnTo>
                <a:lnTo>
                  <a:pt x="1904529" y="652584"/>
                </a:lnTo>
                <a:lnTo>
                  <a:pt x="1904529" y="654866"/>
                </a:lnTo>
                <a:lnTo>
                  <a:pt x="1902245" y="654866"/>
                </a:lnTo>
                <a:lnTo>
                  <a:pt x="1899962" y="654866"/>
                </a:lnTo>
                <a:lnTo>
                  <a:pt x="1899962" y="657148"/>
                </a:lnTo>
                <a:lnTo>
                  <a:pt x="1897678" y="657148"/>
                </a:lnTo>
                <a:lnTo>
                  <a:pt x="1895395" y="657148"/>
                </a:lnTo>
                <a:lnTo>
                  <a:pt x="1881693" y="661712"/>
                </a:lnTo>
                <a:lnTo>
                  <a:pt x="1881693" y="659430"/>
                </a:lnTo>
                <a:lnTo>
                  <a:pt x="1879410" y="659430"/>
                </a:lnTo>
                <a:lnTo>
                  <a:pt x="1879410" y="657148"/>
                </a:lnTo>
                <a:lnTo>
                  <a:pt x="1874842" y="659430"/>
                </a:lnTo>
                <a:lnTo>
                  <a:pt x="1872559" y="659430"/>
                </a:lnTo>
                <a:lnTo>
                  <a:pt x="1870275" y="661712"/>
                </a:lnTo>
                <a:lnTo>
                  <a:pt x="1867991" y="661712"/>
                </a:lnTo>
                <a:lnTo>
                  <a:pt x="1865708" y="663994"/>
                </a:lnTo>
                <a:lnTo>
                  <a:pt x="1863424" y="663994"/>
                </a:lnTo>
                <a:lnTo>
                  <a:pt x="1861141" y="663994"/>
                </a:lnTo>
                <a:lnTo>
                  <a:pt x="1858857" y="666275"/>
                </a:lnTo>
                <a:lnTo>
                  <a:pt x="1856573" y="666275"/>
                </a:lnTo>
                <a:lnTo>
                  <a:pt x="1854290" y="666275"/>
                </a:lnTo>
                <a:lnTo>
                  <a:pt x="1854290" y="668558"/>
                </a:lnTo>
                <a:lnTo>
                  <a:pt x="1854290" y="670839"/>
                </a:lnTo>
                <a:lnTo>
                  <a:pt x="1854290" y="673121"/>
                </a:lnTo>
                <a:lnTo>
                  <a:pt x="1852006" y="673121"/>
                </a:lnTo>
                <a:lnTo>
                  <a:pt x="1852006" y="675403"/>
                </a:lnTo>
                <a:lnTo>
                  <a:pt x="1849723" y="677685"/>
                </a:lnTo>
                <a:lnTo>
                  <a:pt x="1847439" y="679967"/>
                </a:lnTo>
                <a:lnTo>
                  <a:pt x="1845156" y="682249"/>
                </a:lnTo>
                <a:lnTo>
                  <a:pt x="1842872" y="682249"/>
                </a:lnTo>
                <a:lnTo>
                  <a:pt x="1842872" y="684531"/>
                </a:lnTo>
                <a:lnTo>
                  <a:pt x="1840588" y="684531"/>
                </a:lnTo>
                <a:lnTo>
                  <a:pt x="1838305" y="684531"/>
                </a:lnTo>
                <a:lnTo>
                  <a:pt x="1838305" y="686813"/>
                </a:lnTo>
                <a:lnTo>
                  <a:pt x="1838305" y="689095"/>
                </a:lnTo>
                <a:lnTo>
                  <a:pt x="1838305" y="691376"/>
                </a:lnTo>
                <a:lnTo>
                  <a:pt x="1836021" y="691376"/>
                </a:lnTo>
                <a:lnTo>
                  <a:pt x="1836021" y="693658"/>
                </a:lnTo>
                <a:lnTo>
                  <a:pt x="1833737" y="693658"/>
                </a:lnTo>
                <a:lnTo>
                  <a:pt x="1833737" y="695940"/>
                </a:lnTo>
                <a:lnTo>
                  <a:pt x="1831454" y="698222"/>
                </a:lnTo>
                <a:lnTo>
                  <a:pt x="1831454" y="700504"/>
                </a:lnTo>
                <a:lnTo>
                  <a:pt x="1831454" y="702786"/>
                </a:lnTo>
                <a:lnTo>
                  <a:pt x="1829170" y="705068"/>
                </a:lnTo>
                <a:lnTo>
                  <a:pt x="1829170" y="707340"/>
                </a:lnTo>
                <a:lnTo>
                  <a:pt x="1829170" y="709622"/>
                </a:lnTo>
                <a:lnTo>
                  <a:pt x="1829170" y="707340"/>
                </a:lnTo>
                <a:lnTo>
                  <a:pt x="1826887" y="707340"/>
                </a:lnTo>
                <a:lnTo>
                  <a:pt x="1824603" y="707340"/>
                </a:lnTo>
                <a:lnTo>
                  <a:pt x="1822320" y="707340"/>
                </a:lnTo>
                <a:lnTo>
                  <a:pt x="1820036" y="707340"/>
                </a:lnTo>
                <a:lnTo>
                  <a:pt x="1817752" y="707340"/>
                </a:lnTo>
                <a:lnTo>
                  <a:pt x="1815469" y="707340"/>
                </a:lnTo>
                <a:lnTo>
                  <a:pt x="1813185" y="707340"/>
                </a:lnTo>
                <a:lnTo>
                  <a:pt x="1810902" y="709622"/>
                </a:lnTo>
                <a:lnTo>
                  <a:pt x="1810902" y="711904"/>
                </a:lnTo>
                <a:lnTo>
                  <a:pt x="1808618" y="711904"/>
                </a:lnTo>
                <a:lnTo>
                  <a:pt x="1808618" y="714186"/>
                </a:lnTo>
                <a:lnTo>
                  <a:pt x="1806334" y="714186"/>
                </a:lnTo>
                <a:lnTo>
                  <a:pt x="1801767" y="716468"/>
                </a:lnTo>
                <a:lnTo>
                  <a:pt x="1797200" y="718750"/>
                </a:lnTo>
                <a:lnTo>
                  <a:pt x="1794916" y="721032"/>
                </a:lnTo>
                <a:lnTo>
                  <a:pt x="1794916" y="725595"/>
                </a:lnTo>
                <a:lnTo>
                  <a:pt x="1794916" y="727877"/>
                </a:lnTo>
                <a:lnTo>
                  <a:pt x="1792633" y="727877"/>
                </a:lnTo>
                <a:lnTo>
                  <a:pt x="1792633" y="730159"/>
                </a:lnTo>
                <a:lnTo>
                  <a:pt x="1790349" y="730159"/>
                </a:lnTo>
                <a:lnTo>
                  <a:pt x="1788066" y="730159"/>
                </a:lnTo>
                <a:lnTo>
                  <a:pt x="1785782" y="732441"/>
                </a:lnTo>
                <a:lnTo>
                  <a:pt x="1783498" y="732441"/>
                </a:lnTo>
                <a:lnTo>
                  <a:pt x="1781215" y="732441"/>
                </a:lnTo>
                <a:lnTo>
                  <a:pt x="1778931" y="732441"/>
                </a:lnTo>
                <a:lnTo>
                  <a:pt x="1776648" y="730159"/>
                </a:lnTo>
                <a:lnTo>
                  <a:pt x="1774364" y="730159"/>
                </a:lnTo>
                <a:lnTo>
                  <a:pt x="1772081" y="730159"/>
                </a:lnTo>
                <a:lnTo>
                  <a:pt x="1769797" y="730159"/>
                </a:lnTo>
                <a:lnTo>
                  <a:pt x="1769797" y="727877"/>
                </a:lnTo>
                <a:lnTo>
                  <a:pt x="1767513" y="727877"/>
                </a:lnTo>
                <a:lnTo>
                  <a:pt x="1765230" y="732441"/>
                </a:lnTo>
                <a:lnTo>
                  <a:pt x="1765230" y="734723"/>
                </a:lnTo>
                <a:lnTo>
                  <a:pt x="1762946" y="737005"/>
                </a:lnTo>
                <a:lnTo>
                  <a:pt x="1760662" y="739287"/>
                </a:lnTo>
                <a:lnTo>
                  <a:pt x="1758379" y="741569"/>
                </a:lnTo>
                <a:lnTo>
                  <a:pt x="1756095" y="743850"/>
                </a:lnTo>
                <a:lnTo>
                  <a:pt x="1751528" y="748414"/>
                </a:lnTo>
                <a:lnTo>
                  <a:pt x="1751528" y="750696"/>
                </a:lnTo>
                <a:lnTo>
                  <a:pt x="1749244" y="750696"/>
                </a:lnTo>
                <a:lnTo>
                  <a:pt x="1746961" y="755260"/>
                </a:lnTo>
                <a:lnTo>
                  <a:pt x="1749244" y="757542"/>
                </a:lnTo>
                <a:lnTo>
                  <a:pt x="1749244" y="759824"/>
                </a:lnTo>
                <a:lnTo>
                  <a:pt x="1751528" y="759824"/>
                </a:lnTo>
                <a:lnTo>
                  <a:pt x="1751528" y="762106"/>
                </a:lnTo>
                <a:lnTo>
                  <a:pt x="1753812" y="762106"/>
                </a:lnTo>
                <a:lnTo>
                  <a:pt x="1753812" y="764388"/>
                </a:lnTo>
                <a:lnTo>
                  <a:pt x="1756095" y="764388"/>
                </a:lnTo>
                <a:lnTo>
                  <a:pt x="1756095" y="766670"/>
                </a:lnTo>
                <a:lnTo>
                  <a:pt x="1753812" y="768951"/>
                </a:lnTo>
                <a:lnTo>
                  <a:pt x="1751528" y="771233"/>
                </a:lnTo>
                <a:lnTo>
                  <a:pt x="1749244" y="773515"/>
                </a:lnTo>
                <a:lnTo>
                  <a:pt x="1749244" y="775797"/>
                </a:lnTo>
                <a:lnTo>
                  <a:pt x="1746961" y="775797"/>
                </a:lnTo>
                <a:lnTo>
                  <a:pt x="1744677" y="775797"/>
                </a:lnTo>
                <a:lnTo>
                  <a:pt x="1742394" y="775797"/>
                </a:lnTo>
                <a:lnTo>
                  <a:pt x="1740110" y="771233"/>
                </a:lnTo>
                <a:lnTo>
                  <a:pt x="1737827" y="771233"/>
                </a:lnTo>
                <a:lnTo>
                  <a:pt x="1735543" y="775797"/>
                </a:lnTo>
                <a:lnTo>
                  <a:pt x="1733259" y="778079"/>
                </a:lnTo>
                <a:lnTo>
                  <a:pt x="1730976" y="780361"/>
                </a:lnTo>
                <a:lnTo>
                  <a:pt x="1726408" y="784925"/>
                </a:lnTo>
                <a:lnTo>
                  <a:pt x="1719558" y="780361"/>
                </a:lnTo>
                <a:lnTo>
                  <a:pt x="1717274" y="780361"/>
                </a:lnTo>
                <a:lnTo>
                  <a:pt x="1717274" y="778079"/>
                </a:lnTo>
                <a:lnTo>
                  <a:pt x="1714991" y="778079"/>
                </a:lnTo>
                <a:lnTo>
                  <a:pt x="1712707" y="778079"/>
                </a:lnTo>
                <a:lnTo>
                  <a:pt x="1712707" y="775797"/>
                </a:lnTo>
                <a:lnTo>
                  <a:pt x="1710423" y="775797"/>
                </a:lnTo>
                <a:lnTo>
                  <a:pt x="1705856" y="778079"/>
                </a:lnTo>
                <a:lnTo>
                  <a:pt x="1703573" y="778079"/>
                </a:lnTo>
                <a:lnTo>
                  <a:pt x="1701289" y="778079"/>
                </a:lnTo>
                <a:lnTo>
                  <a:pt x="1694438" y="780361"/>
                </a:lnTo>
                <a:lnTo>
                  <a:pt x="1692154" y="780361"/>
                </a:lnTo>
                <a:lnTo>
                  <a:pt x="1689871" y="780361"/>
                </a:lnTo>
                <a:lnTo>
                  <a:pt x="1687587" y="782643"/>
                </a:lnTo>
                <a:lnTo>
                  <a:pt x="1683020" y="782643"/>
                </a:lnTo>
                <a:lnTo>
                  <a:pt x="1680737" y="784925"/>
                </a:lnTo>
                <a:lnTo>
                  <a:pt x="1676169" y="784925"/>
                </a:lnTo>
                <a:lnTo>
                  <a:pt x="1669319" y="787207"/>
                </a:lnTo>
                <a:lnTo>
                  <a:pt x="1667035" y="787207"/>
                </a:lnTo>
                <a:lnTo>
                  <a:pt x="1662468" y="796334"/>
                </a:lnTo>
                <a:lnTo>
                  <a:pt x="1664751" y="798616"/>
                </a:lnTo>
                <a:lnTo>
                  <a:pt x="1660184" y="800898"/>
                </a:lnTo>
                <a:lnTo>
                  <a:pt x="1657901" y="803180"/>
                </a:lnTo>
                <a:lnTo>
                  <a:pt x="1657901" y="805462"/>
                </a:lnTo>
                <a:lnTo>
                  <a:pt x="1655617" y="807744"/>
                </a:lnTo>
                <a:lnTo>
                  <a:pt x="1655617" y="810026"/>
                </a:lnTo>
                <a:lnTo>
                  <a:pt x="1655617" y="812307"/>
                </a:lnTo>
                <a:lnTo>
                  <a:pt x="1655617" y="814589"/>
                </a:lnTo>
                <a:lnTo>
                  <a:pt x="1655617" y="816871"/>
                </a:lnTo>
                <a:lnTo>
                  <a:pt x="1655617" y="819153"/>
                </a:lnTo>
                <a:lnTo>
                  <a:pt x="1653333" y="819153"/>
                </a:lnTo>
                <a:lnTo>
                  <a:pt x="1653333" y="821435"/>
                </a:lnTo>
                <a:lnTo>
                  <a:pt x="1651050" y="821435"/>
                </a:lnTo>
                <a:lnTo>
                  <a:pt x="1648766" y="823717"/>
                </a:lnTo>
                <a:lnTo>
                  <a:pt x="1646483" y="823717"/>
                </a:lnTo>
                <a:lnTo>
                  <a:pt x="1644199" y="825999"/>
                </a:lnTo>
                <a:lnTo>
                  <a:pt x="1644199" y="828281"/>
                </a:lnTo>
                <a:lnTo>
                  <a:pt x="1644199" y="830563"/>
                </a:lnTo>
                <a:lnTo>
                  <a:pt x="1641915" y="830563"/>
                </a:lnTo>
                <a:lnTo>
                  <a:pt x="1641915" y="832844"/>
                </a:lnTo>
                <a:lnTo>
                  <a:pt x="1639632" y="832844"/>
                </a:lnTo>
                <a:lnTo>
                  <a:pt x="1639632" y="835126"/>
                </a:lnTo>
                <a:lnTo>
                  <a:pt x="1637348" y="835126"/>
                </a:lnTo>
                <a:lnTo>
                  <a:pt x="1639632" y="837408"/>
                </a:lnTo>
                <a:lnTo>
                  <a:pt x="1639632" y="839690"/>
                </a:lnTo>
                <a:lnTo>
                  <a:pt x="1639632" y="841972"/>
                </a:lnTo>
                <a:lnTo>
                  <a:pt x="1637348" y="846536"/>
                </a:lnTo>
                <a:lnTo>
                  <a:pt x="1637348" y="848818"/>
                </a:lnTo>
                <a:lnTo>
                  <a:pt x="1637348" y="853382"/>
                </a:lnTo>
                <a:lnTo>
                  <a:pt x="1637348" y="855663"/>
                </a:lnTo>
                <a:lnTo>
                  <a:pt x="1637348" y="857945"/>
                </a:lnTo>
                <a:lnTo>
                  <a:pt x="1635064" y="857945"/>
                </a:lnTo>
                <a:lnTo>
                  <a:pt x="1632781" y="857945"/>
                </a:lnTo>
                <a:lnTo>
                  <a:pt x="1632781" y="860227"/>
                </a:lnTo>
                <a:lnTo>
                  <a:pt x="1632781" y="862509"/>
                </a:lnTo>
                <a:lnTo>
                  <a:pt x="1630497" y="862509"/>
                </a:lnTo>
                <a:lnTo>
                  <a:pt x="1630497" y="864782"/>
                </a:lnTo>
                <a:lnTo>
                  <a:pt x="1630497" y="862509"/>
                </a:lnTo>
                <a:lnTo>
                  <a:pt x="1628214" y="862509"/>
                </a:lnTo>
                <a:lnTo>
                  <a:pt x="1625930" y="862509"/>
                </a:lnTo>
                <a:lnTo>
                  <a:pt x="1623647" y="860227"/>
                </a:lnTo>
                <a:lnTo>
                  <a:pt x="1616796" y="862509"/>
                </a:lnTo>
                <a:lnTo>
                  <a:pt x="1614512" y="862509"/>
                </a:lnTo>
                <a:lnTo>
                  <a:pt x="1612229" y="860227"/>
                </a:lnTo>
                <a:lnTo>
                  <a:pt x="1609945" y="857945"/>
                </a:lnTo>
                <a:lnTo>
                  <a:pt x="1609945" y="853382"/>
                </a:lnTo>
                <a:lnTo>
                  <a:pt x="1609945" y="846536"/>
                </a:lnTo>
                <a:lnTo>
                  <a:pt x="1607662" y="844254"/>
                </a:lnTo>
                <a:lnTo>
                  <a:pt x="1607662" y="841972"/>
                </a:lnTo>
                <a:lnTo>
                  <a:pt x="1607662" y="839690"/>
                </a:lnTo>
                <a:lnTo>
                  <a:pt x="1605378" y="837408"/>
                </a:lnTo>
                <a:lnTo>
                  <a:pt x="1603094" y="837408"/>
                </a:lnTo>
                <a:lnTo>
                  <a:pt x="1600811" y="835126"/>
                </a:lnTo>
                <a:lnTo>
                  <a:pt x="1598527" y="835126"/>
                </a:lnTo>
                <a:lnTo>
                  <a:pt x="1591676" y="832844"/>
                </a:lnTo>
                <a:lnTo>
                  <a:pt x="1589393" y="832844"/>
                </a:lnTo>
                <a:lnTo>
                  <a:pt x="1587109" y="832844"/>
                </a:lnTo>
                <a:lnTo>
                  <a:pt x="1582542" y="832844"/>
                </a:lnTo>
                <a:lnTo>
                  <a:pt x="1580258" y="832844"/>
                </a:lnTo>
                <a:lnTo>
                  <a:pt x="1577975" y="830563"/>
                </a:lnTo>
                <a:lnTo>
                  <a:pt x="1575691" y="828281"/>
                </a:lnTo>
                <a:lnTo>
                  <a:pt x="1573408" y="823717"/>
                </a:lnTo>
                <a:lnTo>
                  <a:pt x="1571124" y="819153"/>
                </a:lnTo>
                <a:lnTo>
                  <a:pt x="1571124" y="812307"/>
                </a:lnTo>
                <a:lnTo>
                  <a:pt x="1571124" y="810026"/>
                </a:lnTo>
                <a:lnTo>
                  <a:pt x="1571124" y="805462"/>
                </a:lnTo>
                <a:lnTo>
                  <a:pt x="1568840" y="803180"/>
                </a:lnTo>
                <a:lnTo>
                  <a:pt x="1568840" y="800898"/>
                </a:lnTo>
                <a:lnTo>
                  <a:pt x="1568840" y="796334"/>
                </a:lnTo>
                <a:lnTo>
                  <a:pt x="1564273" y="791770"/>
                </a:lnTo>
                <a:lnTo>
                  <a:pt x="1561989" y="789488"/>
                </a:lnTo>
                <a:lnTo>
                  <a:pt x="1559706" y="787207"/>
                </a:lnTo>
                <a:lnTo>
                  <a:pt x="1557422" y="784925"/>
                </a:lnTo>
                <a:lnTo>
                  <a:pt x="1550572" y="784925"/>
                </a:lnTo>
                <a:lnTo>
                  <a:pt x="1548288" y="784925"/>
                </a:lnTo>
                <a:lnTo>
                  <a:pt x="1546004" y="787207"/>
                </a:lnTo>
                <a:lnTo>
                  <a:pt x="1543721" y="787207"/>
                </a:lnTo>
                <a:lnTo>
                  <a:pt x="1541437" y="787207"/>
                </a:lnTo>
                <a:lnTo>
                  <a:pt x="1541437" y="789488"/>
                </a:lnTo>
                <a:lnTo>
                  <a:pt x="1539154" y="791770"/>
                </a:lnTo>
                <a:lnTo>
                  <a:pt x="1536870" y="794052"/>
                </a:lnTo>
                <a:lnTo>
                  <a:pt x="1534586" y="794052"/>
                </a:lnTo>
                <a:lnTo>
                  <a:pt x="1532303" y="794052"/>
                </a:lnTo>
                <a:lnTo>
                  <a:pt x="1530019" y="794052"/>
                </a:lnTo>
                <a:lnTo>
                  <a:pt x="1527735" y="796334"/>
                </a:lnTo>
                <a:lnTo>
                  <a:pt x="1525452" y="796334"/>
                </a:lnTo>
                <a:lnTo>
                  <a:pt x="1523168" y="796334"/>
                </a:lnTo>
                <a:lnTo>
                  <a:pt x="1520885" y="796334"/>
                </a:lnTo>
                <a:lnTo>
                  <a:pt x="1516318" y="796334"/>
                </a:lnTo>
                <a:lnTo>
                  <a:pt x="1514034" y="796334"/>
                </a:lnTo>
                <a:lnTo>
                  <a:pt x="1511750" y="796334"/>
                </a:lnTo>
                <a:lnTo>
                  <a:pt x="1509467" y="796334"/>
                </a:lnTo>
                <a:lnTo>
                  <a:pt x="1507183" y="794052"/>
                </a:lnTo>
                <a:lnTo>
                  <a:pt x="1504900" y="794052"/>
                </a:lnTo>
                <a:lnTo>
                  <a:pt x="1504900" y="796334"/>
                </a:lnTo>
                <a:lnTo>
                  <a:pt x="1502616" y="796334"/>
                </a:lnTo>
                <a:lnTo>
                  <a:pt x="1500332" y="798616"/>
                </a:lnTo>
                <a:lnTo>
                  <a:pt x="1498049" y="798616"/>
                </a:lnTo>
                <a:lnTo>
                  <a:pt x="1498049" y="796334"/>
                </a:lnTo>
                <a:lnTo>
                  <a:pt x="1493482" y="796334"/>
                </a:lnTo>
                <a:lnTo>
                  <a:pt x="1491198" y="796334"/>
                </a:lnTo>
                <a:lnTo>
                  <a:pt x="1488914" y="796334"/>
                </a:lnTo>
                <a:lnTo>
                  <a:pt x="1486631" y="796334"/>
                </a:lnTo>
                <a:lnTo>
                  <a:pt x="1484347" y="796334"/>
                </a:lnTo>
                <a:lnTo>
                  <a:pt x="1479780" y="798616"/>
                </a:lnTo>
                <a:lnTo>
                  <a:pt x="1470646" y="800898"/>
                </a:lnTo>
                <a:lnTo>
                  <a:pt x="1468362" y="803180"/>
                </a:lnTo>
                <a:lnTo>
                  <a:pt x="1466079" y="803180"/>
                </a:lnTo>
                <a:lnTo>
                  <a:pt x="1463795" y="803180"/>
                </a:lnTo>
                <a:lnTo>
                  <a:pt x="1461511" y="805462"/>
                </a:lnTo>
                <a:lnTo>
                  <a:pt x="1459228" y="810026"/>
                </a:lnTo>
                <a:lnTo>
                  <a:pt x="1456944" y="812307"/>
                </a:lnTo>
                <a:lnTo>
                  <a:pt x="1454660" y="814589"/>
                </a:lnTo>
                <a:lnTo>
                  <a:pt x="1452377" y="816871"/>
                </a:lnTo>
                <a:lnTo>
                  <a:pt x="1450093" y="819153"/>
                </a:lnTo>
                <a:lnTo>
                  <a:pt x="1447810" y="821435"/>
                </a:lnTo>
                <a:lnTo>
                  <a:pt x="1447810" y="823717"/>
                </a:lnTo>
                <a:lnTo>
                  <a:pt x="1447810" y="825999"/>
                </a:lnTo>
                <a:lnTo>
                  <a:pt x="1447810" y="828281"/>
                </a:lnTo>
                <a:lnTo>
                  <a:pt x="1447810" y="830563"/>
                </a:lnTo>
                <a:lnTo>
                  <a:pt x="1450093" y="832844"/>
                </a:lnTo>
                <a:lnTo>
                  <a:pt x="1447810" y="832844"/>
                </a:lnTo>
                <a:lnTo>
                  <a:pt x="1445526" y="835126"/>
                </a:lnTo>
                <a:lnTo>
                  <a:pt x="1443242" y="835126"/>
                </a:lnTo>
                <a:lnTo>
                  <a:pt x="1440959" y="832844"/>
                </a:lnTo>
                <a:lnTo>
                  <a:pt x="1438675" y="832844"/>
                </a:lnTo>
                <a:lnTo>
                  <a:pt x="1436392" y="832844"/>
                </a:lnTo>
                <a:lnTo>
                  <a:pt x="1434108" y="835126"/>
                </a:lnTo>
                <a:lnTo>
                  <a:pt x="1429541" y="835126"/>
                </a:lnTo>
                <a:lnTo>
                  <a:pt x="1427257" y="835126"/>
                </a:lnTo>
                <a:lnTo>
                  <a:pt x="1424974" y="835126"/>
                </a:lnTo>
                <a:lnTo>
                  <a:pt x="1422690" y="837408"/>
                </a:lnTo>
                <a:lnTo>
                  <a:pt x="1420406" y="837408"/>
                </a:lnTo>
                <a:lnTo>
                  <a:pt x="1415839" y="837408"/>
                </a:lnTo>
                <a:lnTo>
                  <a:pt x="1408989" y="835126"/>
                </a:lnTo>
                <a:lnTo>
                  <a:pt x="1406705" y="832844"/>
                </a:lnTo>
                <a:lnTo>
                  <a:pt x="1404421" y="832844"/>
                </a:lnTo>
                <a:lnTo>
                  <a:pt x="1399854" y="832844"/>
                </a:lnTo>
                <a:lnTo>
                  <a:pt x="1397571" y="835126"/>
                </a:lnTo>
                <a:lnTo>
                  <a:pt x="1395287" y="835126"/>
                </a:lnTo>
                <a:lnTo>
                  <a:pt x="1393003" y="837408"/>
                </a:lnTo>
                <a:lnTo>
                  <a:pt x="1390720" y="837408"/>
                </a:lnTo>
                <a:lnTo>
                  <a:pt x="1388436" y="837408"/>
                </a:lnTo>
                <a:lnTo>
                  <a:pt x="1386152" y="837408"/>
                </a:lnTo>
                <a:lnTo>
                  <a:pt x="1386152" y="835126"/>
                </a:lnTo>
                <a:lnTo>
                  <a:pt x="1383869" y="832844"/>
                </a:lnTo>
                <a:lnTo>
                  <a:pt x="1383869" y="830563"/>
                </a:lnTo>
                <a:lnTo>
                  <a:pt x="1381585" y="830563"/>
                </a:lnTo>
                <a:lnTo>
                  <a:pt x="1381585" y="832844"/>
                </a:lnTo>
                <a:lnTo>
                  <a:pt x="1379302" y="835126"/>
                </a:lnTo>
                <a:lnTo>
                  <a:pt x="1377018" y="835126"/>
                </a:lnTo>
                <a:lnTo>
                  <a:pt x="1374735" y="837408"/>
                </a:lnTo>
                <a:lnTo>
                  <a:pt x="1372451" y="839690"/>
                </a:lnTo>
                <a:lnTo>
                  <a:pt x="1372451" y="841972"/>
                </a:lnTo>
                <a:lnTo>
                  <a:pt x="1370167" y="841972"/>
                </a:lnTo>
                <a:lnTo>
                  <a:pt x="1367884" y="844254"/>
                </a:lnTo>
                <a:lnTo>
                  <a:pt x="1365600" y="846536"/>
                </a:lnTo>
                <a:lnTo>
                  <a:pt x="1363317" y="848818"/>
                </a:lnTo>
                <a:lnTo>
                  <a:pt x="1363317" y="851100"/>
                </a:lnTo>
                <a:lnTo>
                  <a:pt x="1361033" y="851100"/>
                </a:lnTo>
                <a:lnTo>
                  <a:pt x="1358750" y="851100"/>
                </a:lnTo>
                <a:lnTo>
                  <a:pt x="1356466" y="853382"/>
                </a:lnTo>
                <a:lnTo>
                  <a:pt x="1356466" y="855663"/>
                </a:lnTo>
                <a:lnTo>
                  <a:pt x="1356466" y="857945"/>
                </a:lnTo>
                <a:lnTo>
                  <a:pt x="1354182" y="860227"/>
                </a:lnTo>
                <a:lnTo>
                  <a:pt x="1351899" y="860227"/>
                </a:lnTo>
                <a:lnTo>
                  <a:pt x="1351899" y="862509"/>
                </a:lnTo>
                <a:lnTo>
                  <a:pt x="1349615" y="864782"/>
                </a:lnTo>
                <a:lnTo>
                  <a:pt x="1349615" y="867063"/>
                </a:lnTo>
                <a:lnTo>
                  <a:pt x="1349615" y="869345"/>
                </a:lnTo>
                <a:lnTo>
                  <a:pt x="1347331" y="869345"/>
                </a:lnTo>
                <a:lnTo>
                  <a:pt x="1345048" y="871627"/>
                </a:lnTo>
                <a:lnTo>
                  <a:pt x="1345048" y="873909"/>
                </a:lnTo>
                <a:lnTo>
                  <a:pt x="1345048" y="876191"/>
                </a:lnTo>
                <a:lnTo>
                  <a:pt x="1342764" y="878473"/>
                </a:lnTo>
                <a:lnTo>
                  <a:pt x="1342764" y="880755"/>
                </a:lnTo>
                <a:lnTo>
                  <a:pt x="1335913" y="880755"/>
                </a:lnTo>
                <a:lnTo>
                  <a:pt x="1333630" y="883037"/>
                </a:lnTo>
                <a:lnTo>
                  <a:pt x="1335913" y="883037"/>
                </a:lnTo>
                <a:lnTo>
                  <a:pt x="1335913" y="885318"/>
                </a:lnTo>
                <a:lnTo>
                  <a:pt x="1335913" y="887601"/>
                </a:lnTo>
                <a:lnTo>
                  <a:pt x="1335913" y="889882"/>
                </a:lnTo>
                <a:lnTo>
                  <a:pt x="1335913" y="892164"/>
                </a:lnTo>
                <a:lnTo>
                  <a:pt x="1333630" y="892164"/>
                </a:lnTo>
                <a:lnTo>
                  <a:pt x="1333630" y="894446"/>
                </a:lnTo>
                <a:lnTo>
                  <a:pt x="1331346" y="894446"/>
                </a:lnTo>
                <a:lnTo>
                  <a:pt x="1324496" y="899010"/>
                </a:lnTo>
                <a:lnTo>
                  <a:pt x="1326779" y="901292"/>
                </a:lnTo>
                <a:lnTo>
                  <a:pt x="1326779" y="903574"/>
                </a:lnTo>
                <a:lnTo>
                  <a:pt x="1326779" y="905856"/>
                </a:lnTo>
                <a:lnTo>
                  <a:pt x="1326779" y="908138"/>
                </a:lnTo>
                <a:lnTo>
                  <a:pt x="1324496" y="908138"/>
                </a:lnTo>
                <a:lnTo>
                  <a:pt x="1322212" y="908138"/>
                </a:lnTo>
                <a:lnTo>
                  <a:pt x="1319928" y="905856"/>
                </a:lnTo>
                <a:lnTo>
                  <a:pt x="1315361" y="905856"/>
                </a:lnTo>
                <a:lnTo>
                  <a:pt x="1313077" y="905856"/>
                </a:lnTo>
                <a:lnTo>
                  <a:pt x="1310794" y="905856"/>
                </a:lnTo>
                <a:lnTo>
                  <a:pt x="1308510" y="905856"/>
                </a:lnTo>
                <a:lnTo>
                  <a:pt x="1308510" y="908138"/>
                </a:lnTo>
                <a:lnTo>
                  <a:pt x="1306227" y="908138"/>
                </a:lnTo>
                <a:lnTo>
                  <a:pt x="1306227" y="905856"/>
                </a:lnTo>
                <a:lnTo>
                  <a:pt x="1303943" y="903574"/>
                </a:lnTo>
                <a:lnTo>
                  <a:pt x="1301660" y="899010"/>
                </a:lnTo>
                <a:lnTo>
                  <a:pt x="1297092" y="896728"/>
                </a:lnTo>
                <a:lnTo>
                  <a:pt x="1294809" y="896728"/>
                </a:lnTo>
                <a:lnTo>
                  <a:pt x="1292525" y="896728"/>
                </a:lnTo>
                <a:lnTo>
                  <a:pt x="1290242" y="899010"/>
                </a:lnTo>
                <a:lnTo>
                  <a:pt x="1285674" y="903574"/>
                </a:lnTo>
                <a:lnTo>
                  <a:pt x="1283391" y="903574"/>
                </a:lnTo>
                <a:lnTo>
                  <a:pt x="1283391" y="908138"/>
                </a:lnTo>
                <a:lnTo>
                  <a:pt x="1281107" y="908138"/>
                </a:lnTo>
                <a:lnTo>
                  <a:pt x="1278823" y="908138"/>
                </a:lnTo>
                <a:lnTo>
                  <a:pt x="1276540" y="908138"/>
                </a:lnTo>
                <a:lnTo>
                  <a:pt x="1276540" y="910419"/>
                </a:lnTo>
                <a:lnTo>
                  <a:pt x="1276540" y="912701"/>
                </a:lnTo>
                <a:lnTo>
                  <a:pt x="1278823" y="914983"/>
                </a:lnTo>
                <a:lnTo>
                  <a:pt x="1278823" y="917265"/>
                </a:lnTo>
                <a:lnTo>
                  <a:pt x="1278823" y="919547"/>
                </a:lnTo>
                <a:lnTo>
                  <a:pt x="1276540" y="919547"/>
                </a:lnTo>
                <a:lnTo>
                  <a:pt x="1276540" y="921829"/>
                </a:lnTo>
                <a:lnTo>
                  <a:pt x="1274256" y="921829"/>
                </a:lnTo>
                <a:lnTo>
                  <a:pt x="1271973" y="921829"/>
                </a:lnTo>
                <a:lnTo>
                  <a:pt x="1269689" y="921829"/>
                </a:lnTo>
                <a:lnTo>
                  <a:pt x="1267406" y="921829"/>
                </a:lnTo>
                <a:lnTo>
                  <a:pt x="1265122" y="921829"/>
                </a:lnTo>
                <a:lnTo>
                  <a:pt x="1265122" y="919547"/>
                </a:lnTo>
                <a:lnTo>
                  <a:pt x="1262838" y="917265"/>
                </a:lnTo>
                <a:lnTo>
                  <a:pt x="1260555" y="917265"/>
                </a:lnTo>
                <a:lnTo>
                  <a:pt x="1258271" y="917265"/>
                </a:lnTo>
                <a:lnTo>
                  <a:pt x="1255988" y="917265"/>
                </a:lnTo>
                <a:lnTo>
                  <a:pt x="1253704" y="914983"/>
                </a:lnTo>
                <a:lnTo>
                  <a:pt x="1251421" y="917265"/>
                </a:lnTo>
                <a:lnTo>
                  <a:pt x="1251421" y="919547"/>
                </a:lnTo>
                <a:lnTo>
                  <a:pt x="1251421" y="921829"/>
                </a:lnTo>
                <a:lnTo>
                  <a:pt x="1249137" y="921829"/>
                </a:lnTo>
                <a:lnTo>
                  <a:pt x="1244570" y="921829"/>
                </a:lnTo>
                <a:lnTo>
                  <a:pt x="1240002" y="919547"/>
                </a:lnTo>
                <a:lnTo>
                  <a:pt x="1237719" y="919547"/>
                </a:lnTo>
                <a:lnTo>
                  <a:pt x="1237719" y="917265"/>
                </a:lnTo>
                <a:lnTo>
                  <a:pt x="1233152" y="917265"/>
                </a:lnTo>
                <a:lnTo>
                  <a:pt x="1228584" y="914983"/>
                </a:lnTo>
                <a:lnTo>
                  <a:pt x="1228584" y="912701"/>
                </a:lnTo>
                <a:lnTo>
                  <a:pt x="1226301" y="912701"/>
                </a:lnTo>
                <a:lnTo>
                  <a:pt x="1226301" y="914983"/>
                </a:lnTo>
                <a:lnTo>
                  <a:pt x="1224017" y="917265"/>
                </a:lnTo>
                <a:lnTo>
                  <a:pt x="1228584" y="917265"/>
                </a:lnTo>
                <a:lnTo>
                  <a:pt x="1230868" y="919547"/>
                </a:lnTo>
                <a:lnTo>
                  <a:pt x="1230868" y="921829"/>
                </a:lnTo>
                <a:lnTo>
                  <a:pt x="1230868" y="924111"/>
                </a:lnTo>
                <a:lnTo>
                  <a:pt x="1228584" y="928675"/>
                </a:lnTo>
                <a:lnTo>
                  <a:pt x="1228584" y="930957"/>
                </a:lnTo>
                <a:lnTo>
                  <a:pt x="1226301" y="933238"/>
                </a:lnTo>
                <a:lnTo>
                  <a:pt x="1224017" y="933238"/>
                </a:lnTo>
                <a:lnTo>
                  <a:pt x="1221734" y="930957"/>
                </a:lnTo>
                <a:lnTo>
                  <a:pt x="1221734" y="933238"/>
                </a:lnTo>
                <a:lnTo>
                  <a:pt x="1219450" y="933238"/>
                </a:lnTo>
                <a:lnTo>
                  <a:pt x="1217167" y="933238"/>
                </a:lnTo>
                <a:lnTo>
                  <a:pt x="1217167" y="935520"/>
                </a:lnTo>
                <a:lnTo>
                  <a:pt x="1214883" y="937802"/>
                </a:lnTo>
                <a:lnTo>
                  <a:pt x="1214883" y="940084"/>
                </a:lnTo>
                <a:lnTo>
                  <a:pt x="1214883" y="942366"/>
                </a:lnTo>
                <a:lnTo>
                  <a:pt x="1214883" y="946930"/>
                </a:lnTo>
                <a:lnTo>
                  <a:pt x="1214883" y="949212"/>
                </a:lnTo>
                <a:lnTo>
                  <a:pt x="1212599" y="949212"/>
                </a:lnTo>
                <a:lnTo>
                  <a:pt x="1210316" y="951494"/>
                </a:lnTo>
                <a:lnTo>
                  <a:pt x="1212599" y="953775"/>
                </a:lnTo>
                <a:lnTo>
                  <a:pt x="1214883" y="956057"/>
                </a:lnTo>
                <a:lnTo>
                  <a:pt x="1212599" y="958339"/>
                </a:lnTo>
                <a:lnTo>
                  <a:pt x="1210316" y="958339"/>
                </a:lnTo>
                <a:lnTo>
                  <a:pt x="1208032" y="958339"/>
                </a:lnTo>
                <a:lnTo>
                  <a:pt x="1205748" y="958339"/>
                </a:lnTo>
                <a:lnTo>
                  <a:pt x="1203465" y="958339"/>
                </a:lnTo>
                <a:lnTo>
                  <a:pt x="1201181" y="958339"/>
                </a:lnTo>
                <a:lnTo>
                  <a:pt x="1201181" y="960621"/>
                </a:lnTo>
                <a:lnTo>
                  <a:pt x="1203465" y="962903"/>
                </a:lnTo>
                <a:lnTo>
                  <a:pt x="1203465" y="965185"/>
                </a:lnTo>
                <a:lnTo>
                  <a:pt x="1201181" y="965185"/>
                </a:lnTo>
                <a:lnTo>
                  <a:pt x="1198898" y="967467"/>
                </a:lnTo>
                <a:lnTo>
                  <a:pt x="1198898" y="969749"/>
                </a:lnTo>
                <a:lnTo>
                  <a:pt x="1198898" y="972031"/>
                </a:lnTo>
                <a:lnTo>
                  <a:pt x="1196614" y="974313"/>
                </a:lnTo>
                <a:lnTo>
                  <a:pt x="1194331" y="974313"/>
                </a:lnTo>
                <a:lnTo>
                  <a:pt x="1189763" y="974313"/>
                </a:lnTo>
                <a:lnTo>
                  <a:pt x="1187480" y="974313"/>
                </a:lnTo>
                <a:lnTo>
                  <a:pt x="1185196" y="974313"/>
                </a:lnTo>
                <a:lnTo>
                  <a:pt x="1185196" y="976594"/>
                </a:lnTo>
                <a:lnTo>
                  <a:pt x="1187480" y="976594"/>
                </a:lnTo>
                <a:lnTo>
                  <a:pt x="1187480" y="978876"/>
                </a:lnTo>
                <a:lnTo>
                  <a:pt x="1194331" y="978876"/>
                </a:lnTo>
                <a:lnTo>
                  <a:pt x="1196614" y="983440"/>
                </a:lnTo>
                <a:lnTo>
                  <a:pt x="1198898" y="988004"/>
                </a:lnTo>
                <a:lnTo>
                  <a:pt x="1196614" y="988004"/>
                </a:lnTo>
                <a:lnTo>
                  <a:pt x="1196614" y="990286"/>
                </a:lnTo>
                <a:lnTo>
                  <a:pt x="1194331" y="990286"/>
                </a:lnTo>
                <a:lnTo>
                  <a:pt x="1194331" y="988004"/>
                </a:lnTo>
                <a:lnTo>
                  <a:pt x="1192047" y="988004"/>
                </a:lnTo>
                <a:lnTo>
                  <a:pt x="1187480" y="988004"/>
                </a:lnTo>
                <a:lnTo>
                  <a:pt x="1185196" y="988004"/>
                </a:lnTo>
                <a:lnTo>
                  <a:pt x="1185196" y="990286"/>
                </a:lnTo>
                <a:lnTo>
                  <a:pt x="1187480" y="990286"/>
                </a:lnTo>
                <a:lnTo>
                  <a:pt x="1189763" y="990286"/>
                </a:lnTo>
                <a:lnTo>
                  <a:pt x="1189763" y="992568"/>
                </a:lnTo>
                <a:lnTo>
                  <a:pt x="1189763" y="997131"/>
                </a:lnTo>
                <a:lnTo>
                  <a:pt x="1189763" y="999413"/>
                </a:lnTo>
                <a:lnTo>
                  <a:pt x="1189763" y="1001695"/>
                </a:lnTo>
                <a:lnTo>
                  <a:pt x="1187480" y="1001695"/>
                </a:lnTo>
                <a:lnTo>
                  <a:pt x="1185196" y="1001695"/>
                </a:lnTo>
                <a:lnTo>
                  <a:pt x="1182913" y="1003977"/>
                </a:lnTo>
                <a:lnTo>
                  <a:pt x="1182913" y="1006259"/>
                </a:lnTo>
                <a:lnTo>
                  <a:pt x="1180629" y="1008541"/>
                </a:lnTo>
                <a:lnTo>
                  <a:pt x="1178345" y="1008541"/>
                </a:lnTo>
                <a:lnTo>
                  <a:pt x="1176062" y="1008541"/>
                </a:lnTo>
                <a:lnTo>
                  <a:pt x="1173778" y="1008541"/>
                </a:lnTo>
                <a:lnTo>
                  <a:pt x="1173778" y="1010823"/>
                </a:lnTo>
                <a:lnTo>
                  <a:pt x="1176062" y="1013105"/>
                </a:lnTo>
                <a:lnTo>
                  <a:pt x="1176062" y="1015387"/>
                </a:lnTo>
                <a:lnTo>
                  <a:pt x="1176062" y="1019950"/>
                </a:lnTo>
                <a:lnTo>
                  <a:pt x="1176062" y="1022223"/>
                </a:lnTo>
                <a:lnTo>
                  <a:pt x="1173778" y="1022223"/>
                </a:lnTo>
                <a:lnTo>
                  <a:pt x="1171494" y="1022223"/>
                </a:lnTo>
                <a:lnTo>
                  <a:pt x="1169211" y="1024505"/>
                </a:lnTo>
                <a:lnTo>
                  <a:pt x="1166927" y="1024505"/>
                </a:lnTo>
                <a:lnTo>
                  <a:pt x="1164644" y="1024505"/>
                </a:lnTo>
                <a:lnTo>
                  <a:pt x="1160077" y="1029069"/>
                </a:lnTo>
                <a:lnTo>
                  <a:pt x="1155509" y="1033632"/>
                </a:lnTo>
                <a:lnTo>
                  <a:pt x="1153226" y="1033632"/>
                </a:lnTo>
                <a:lnTo>
                  <a:pt x="1153226" y="1035914"/>
                </a:lnTo>
                <a:lnTo>
                  <a:pt x="1150942" y="1035914"/>
                </a:lnTo>
                <a:lnTo>
                  <a:pt x="1148659" y="1040478"/>
                </a:lnTo>
                <a:lnTo>
                  <a:pt x="1146375" y="1042760"/>
                </a:lnTo>
                <a:lnTo>
                  <a:pt x="1144092" y="1045042"/>
                </a:lnTo>
                <a:lnTo>
                  <a:pt x="1141808" y="1045042"/>
                </a:lnTo>
                <a:lnTo>
                  <a:pt x="1141808" y="1047324"/>
                </a:lnTo>
                <a:lnTo>
                  <a:pt x="1144092" y="1051887"/>
                </a:lnTo>
                <a:lnTo>
                  <a:pt x="1148659" y="1054169"/>
                </a:lnTo>
                <a:lnTo>
                  <a:pt x="1150942" y="1056451"/>
                </a:lnTo>
                <a:lnTo>
                  <a:pt x="1148659" y="1058733"/>
                </a:lnTo>
                <a:lnTo>
                  <a:pt x="1148659" y="1061015"/>
                </a:lnTo>
                <a:lnTo>
                  <a:pt x="1146375" y="1061015"/>
                </a:lnTo>
                <a:lnTo>
                  <a:pt x="1144092" y="1063297"/>
                </a:lnTo>
                <a:lnTo>
                  <a:pt x="1144092" y="1065579"/>
                </a:lnTo>
                <a:lnTo>
                  <a:pt x="1141808" y="1067861"/>
                </a:lnTo>
                <a:lnTo>
                  <a:pt x="1139524" y="1067861"/>
                </a:lnTo>
                <a:lnTo>
                  <a:pt x="1134957" y="1070143"/>
                </a:lnTo>
                <a:lnTo>
                  <a:pt x="1132673" y="1070143"/>
                </a:lnTo>
                <a:lnTo>
                  <a:pt x="1132673" y="1072425"/>
                </a:lnTo>
                <a:lnTo>
                  <a:pt x="1132673" y="1074706"/>
                </a:lnTo>
                <a:lnTo>
                  <a:pt x="1130390" y="1074706"/>
                </a:lnTo>
                <a:lnTo>
                  <a:pt x="1125823" y="1074706"/>
                </a:lnTo>
                <a:lnTo>
                  <a:pt x="1121255" y="1074706"/>
                </a:lnTo>
                <a:lnTo>
                  <a:pt x="1118972" y="1074706"/>
                </a:lnTo>
                <a:lnTo>
                  <a:pt x="1116688" y="1076988"/>
                </a:lnTo>
                <a:lnTo>
                  <a:pt x="1118972" y="1076988"/>
                </a:lnTo>
                <a:lnTo>
                  <a:pt x="1118972" y="1079270"/>
                </a:lnTo>
                <a:lnTo>
                  <a:pt x="1121255" y="1081552"/>
                </a:lnTo>
                <a:lnTo>
                  <a:pt x="1123539" y="1081552"/>
                </a:lnTo>
                <a:lnTo>
                  <a:pt x="1123539" y="1083834"/>
                </a:lnTo>
                <a:lnTo>
                  <a:pt x="1123539" y="1086116"/>
                </a:lnTo>
                <a:lnTo>
                  <a:pt x="1121255" y="1086116"/>
                </a:lnTo>
                <a:lnTo>
                  <a:pt x="1116688" y="1088398"/>
                </a:lnTo>
                <a:lnTo>
                  <a:pt x="1114405" y="1090680"/>
                </a:lnTo>
                <a:lnTo>
                  <a:pt x="1112121" y="1095243"/>
                </a:lnTo>
                <a:lnTo>
                  <a:pt x="1112121" y="1104371"/>
                </a:lnTo>
                <a:lnTo>
                  <a:pt x="1112121" y="1106653"/>
                </a:lnTo>
                <a:lnTo>
                  <a:pt x="1109838" y="1106653"/>
                </a:lnTo>
                <a:lnTo>
                  <a:pt x="1107554" y="1106653"/>
                </a:lnTo>
                <a:lnTo>
                  <a:pt x="1105270" y="1106653"/>
                </a:lnTo>
                <a:lnTo>
                  <a:pt x="1102987" y="1104371"/>
                </a:lnTo>
                <a:lnTo>
                  <a:pt x="1100703" y="1106653"/>
                </a:lnTo>
                <a:lnTo>
                  <a:pt x="1105270" y="1115781"/>
                </a:lnTo>
                <a:lnTo>
                  <a:pt x="1107554" y="1115781"/>
                </a:lnTo>
                <a:lnTo>
                  <a:pt x="1107554" y="1120344"/>
                </a:lnTo>
                <a:lnTo>
                  <a:pt x="1107554" y="1122626"/>
                </a:lnTo>
                <a:lnTo>
                  <a:pt x="1105270" y="1122626"/>
                </a:lnTo>
                <a:lnTo>
                  <a:pt x="1102987" y="1122626"/>
                </a:lnTo>
                <a:lnTo>
                  <a:pt x="1100703" y="1124908"/>
                </a:lnTo>
                <a:lnTo>
                  <a:pt x="1098419" y="1124908"/>
                </a:lnTo>
                <a:lnTo>
                  <a:pt x="1093843" y="1134036"/>
                </a:lnTo>
                <a:lnTo>
                  <a:pt x="1091569" y="1136318"/>
                </a:lnTo>
                <a:lnTo>
                  <a:pt x="1089285" y="1140882"/>
                </a:lnTo>
                <a:lnTo>
                  <a:pt x="1087002" y="1140882"/>
                </a:lnTo>
                <a:lnTo>
                  <a:pt x="1084718" y="1143163"/>
                </a:lnTo>
                <a:lnTo>
                  <a:pt x="1084718" y="1145445"/>
                </a:lnTo>
                <a:lnTo>
                  <a:pt x="1084718" y="1147727"/>
                </a:lnTo>
                <a:lnTo>
                  <a:pt x="1084718" y="1150009"/>
                </a:lnTo>
                <a:lnTo>
                  <a:pt x="1084718" y="1152291"/>
                </a:lnTo>
                <a:lnTo>
                  <a:pt x="1082434" y="1152291"/>
                </a:lnTo>
                <a:lnTo>
                  <a:pt x="1080141" y="1154573"/>
                </a:lnTo>
                <a:lnTo>
                  <a:pt x="1077867" y="1154573"/>
                </a:lnTo>
                <a:lnTo>
                  <a:pt x="1077867" y="1152291"/>
                </a:lnTo>
                <a:lnTo>
                  <a:pt x="1075584" y="1152291"/>
                </a:lnTo>
                <a:lnTo>
                  <a:pt x="1073300" y="1152291"/>
                </a:lnTo>
                <a:lnTo>
                  <a:pt x="1071016" y="1154573"/>
                </a:lnTo>
                <a:lnTo>
                  <a:pt x="1068733" y="1154573"/>
                </a:lnTo>
                <a:lnTo>
                  <a:pt x="1066449" y="1156855"/>
                </a:lnTo>
                <a:lnTo>
                  <a:pt x="1064165" y="1159137"/>
                </a:lnTo>
                <a:lnTo>
                  <a:pt x="1064165" y="1163700"/>
                </a:lnTo>
                <a:lnTo>
                  <a:pt x="1064165" y="1168264"/>
                </a:lnTo>
                <a:lnTo>
                  <a:pt x="1064165" y="1170546"/>
                </a:lnTo>
                <a:lnTo>
                  <a:pt x="1064165" y="1172828"/>
                </a:lnTo>
                <a:lnTo>
                  <a:pt x="1061882" y="1172828"/>
                </a:lnTo>
                <a:lnTo>
                  <a:pt x="1059598" y="1172828"/>
                </a:lnTo>
                <a:lnTo>
                  <a:pt x="1059598" y="1170546"/>
                </a:lnTo>
                <a:lnTo>
                  <a:pt x="1057305" y="1170546"/>
                </a:lnTo>
                <a:lnTo>
                  <a:pt x="1052738" y="1170546"/>
                </a:lnTo>
                <a:lnTo>
                  <a:pt x="1050455" y="1172828"/>
                </a:lnTo>
                <a:lnTo>
                  <a:pt x="1048180" y="1172828"/>
                </a:lnTo>
                <a:lnTo>
                  <a:pt x="1048180" y="1175110"/>
                </a:lnTo>
                <a:lnTo>
                  <a:pt x="1045887" y="1177382"/>
                </a:lnTo>
                <a:lnTo>
                  <a:pt x="1043613" y="1179664"/>
                </a:lnTo>
                <a:lnTo>
                  <a:pt x="1041320" y="1181946"/>
                </a:lnTo>
                <a:lnTo>
                  <a:pt x="1041320" y="1179664"/>
                </a:lnTo>
                <a:lnTo>
                  <a:pt x="1039036" y="1179664"/>
                </a:lnTo>
                <a:lnTo>
                  <a:pt x="1036753" y="1177382"/>
                </a:lnTo>
                <a:lnTo>
                  <a:pt x="1034469" y="1177382"/>
                </a:lnTo>
                <a:lnTo>
                  <a:pt x="1034469" y="1179664"/>
                </a:lnTo>
                <a:lnTo>
                  <a:pt x="1032186" y="1179664"/>
                </a:lnTo>
                <a:lnTo>
                  <a:pt x="1029902" y="1181946"/>
                </a:lnTo>
                <a:lnTo>
                  <a:pt x="1029902" y="1184228"/>
                </a:lnTo>
                <a:lnTo>
                  <a:pt x="1027618" y="1184228"/>
                </a:lnTo>
                <a:lnTo>
                  <a:pt x="1025335" y="1186510"/>
                </a:lnTo>
                <a:lnTo>
                  <a:pt x="1020768" y="1184228"/>
                </a:lnTo>
                <a:lnTo>
                  <a:pt x="1016201" y="1184228"/>
                </a:lnTo>
                <a:lnTo>
                  <a:pt x="1013917" y="1184228"/>
                </a:lnTo>
                <a:lnTo>
                  <a:pt x="1011633" y="1184228"/>
                </a:lnTo>
                <a:lnTo>
                  <a:pt x="1009350" y="1184228"/>
                </a:lnTo>
                <a:lnTo>
                  <a:pt x="1009350" y="1186510"/>
                </a:lnTo>
                <a:lnTo>
                  <a:pt x="1007066" y="1186510"/>
                </a:lnTo>
                <a:lnTo>
                  <a:pt x="1007066" y="1188792"/>
                </a:lnTo>
                <a:lnTo>
                  <a:pt x="1004782" y="1188792"/>
                </a:lnTo>
                <a:lnTo>
                  <a:pt x="1000215" y="1188792"/>
                </a:lnTo>
                <a:lnTo>
                  <a:pt x="997932" y="1188792"/>
                </a:lnTo>
                <a:lnTo>
                  <a:pt x="997932" y="1191074"/>
                </a:lnTo>
                <a:lnTo>
                  <a:pt x="997932" y="1193355"/>
                </a:lnTo>
                <a:lnTo>
                  <a:pt x="995648" y="1193355"/>
                </a:lnTo>
                <a:lnTo>
                  <a:pt x="995648" y="1195637"/>
                </a:lnTo>
                <a:lnTo>
                  <a:pt x="993365" y="1200201"/>
                </a:lnTo>
                <a:lnTo>
                  <a:pt x="988797" y="1202483"/>
                </a:lnTo>
                <a:lnTo>
                  <a:pt x="986514" y="1204765"/>
                </a:lnTo>
                <a:lnTo>
                  <a:pt x="984230" y="1204765"/>
                </a:lnTo>
                <a:lnTo>
                  <a:pt x="984230" y="1202483"/>
                </a:lnTo>
                <a:lnTo>
                  <a:pt x="981947" y="1200201"/>
                </a:lnTo>
                <a:lnTo>
                  <a:pt x="979663" y="1200201"/>
                </a:lnTo>
                <a:lnTo>
                  <a:pt x="977379" y="1202483"/>
                </a:lnTo>
                <a:lnTo>
                  <a:pt x="977379" y="1207047"/>
                </a:lnTo>
                <a:lnTo>
                  <a:pt x="977379" y="1209329"/>
                </a:lnTo>
                <a:lnTo>
                  <a:pt x="977379" y="1211611"/>
                </a:lnTo>
                <a:lnTo>
                  <a:pt x="977379" y="1213893"/>
                </a:lnTo>
                <a:lnTo>
                  <a:pt x="975096" y="1213893"/>
                </a:lnTo>
                <a:lnTo>
                  <a:pt x="972812" y="1213893"/>
                </a:lnTo>
                <a:lnTo>
                  <a:pt x="970528" y="1211611"/>
                </a:lnTo>
                <a:lnTo>
                  <a:pt x="970528" y="1209329"/>
                </a:lnTo>
                <a:lnTo>
                  <a:pt x="965961" y="1207047"/>
                </a:lnTo>
                <a:lnTo>
                  <a:pt x="963678" y="1207047"/>
                </a:lnTo>
                <a:lnTo>
                  <a:pt x="961394" y="1209329"/>
                </a:lnTo>
                <a:lnTo>
                  <a:pt x="963678" y="1211611"/>
                </a:lnTo>
                <a:lnTo>
                  <a:pt x="965961" y="1216174"/>
                </a:lnTo>
                <a:lnTo>
                  <a:pt x="965961" y="1218456"/>
                </a:lnTo>
                <a:lnTo>
                  <a:pt x="961394" y="1220738"/>
                </a:lnTo>
                <a:lnTo>
                  <a:pt x="970528" y="1234430"/>
                </a:lnTo>
                <a:lnTo>
                  <a:pt x="970528" y="1236711"/>
                </a:lnTo>
                <a:lnTo>
                  <a:pt x="972812" y="1238994"/>
                </a:lnTo>
                <a:lnTo>
                  <a:pt x="975096" y="1241275"/>
                </a:lnTo>
                <a:lnTo>
                  <a:pt x="979663" y="1243557"/>
                </a:lnTo>
                <a:lnTo>
                  <a:pt x="981947" y="1245839"/>
                </a:lnTo>
                <a:lnTo>
                  <a:pt x="986514" y="1250403"/>
                </a:lnTo>
                <a:lnTo>
                  <a:pt x="986514" y="1252685"/>
                </a:lnTo>
                <a:lnTo>
                  <a:pt x="986514" y="1254967"/>
                </a:lnTo>
                <a:lnTo>
                  <a:pt x="988797" y="1257249"/>
                </a:lnTo>
                <a:lnTo>
                  <a:pt x="993365" y="1259530"/>
                </a:lnTo>
                <a:lnTo>
                  <a:pt x="993365" y="1264094"/>
                </a:lnTo>
                <a:lnTo>
                  <a:pt x="995648" y="1266376"/>
                </a:lnTo>
                <a:lnTo>
                  <a:pt x="1002499" y="1282350"/>
                </a:lnTo>
                <a:lnTo>
                  <a:pt x="1004782" y="1289195"/>
                </a:lnTo>
                <a:lnTo>
                  <a:pt x="1007066" y="1293759"/>
                </a:lnTo>
                <a:lnTo>
                  <a:pt x="1009350" y="1300605"/>
                </a:lnTo>
                <a:lnTo>
                  <a:pt x="1013917" y="1309732"/>
                </a:lnTo>
                <a:lnTo>
                  <a:pt x="1018484" y="1321142"/>
                </a:lnTo>
                <a:lnTo>
                  <a:pt x="1020768" y="1325706"/>
                </a:lnTo>
                <a:lnTo>
                  <a:pt x="1025335" y="1341669"/>
                </a:lnTo>
                <a:lnTo>
                  <a:pt x="1027618" y="1343951"/>
                </a:lnTo>
                <a:lnTo>
                  <a:pt x="1027618" y="1346233"/>
                </a:lnTo>
                <a:lnTo>
                  <a:pt x="1032186" y="1355361"/>
                </a:lnTo>
                <a:lnTo>
                  <a:pt x="1029902" y="1355361"/>
                </a:lnTo>
                <a:lnTo>
                  <a:pt x="1032186" y="1357642"/>
                </a:lnTo>
                <a:lnTo>
                  <a:pt x="1036753" y="1366770"/>
                </a:lnTo>
                <a:lnTo>
                  <a:pt x="1036753" y="1369052"/>
                </a:lnTo>
                <a:lnTo>
                  <a:pt x="1039036" y="1371334"/>
                </a:lnTo>
                <a:lnTo>
                  <a:pt x="1041320" y="1371334"/>
                </a:lnTo>
                <a:lnTo>
                  <a:pt x="1048180" y="1378179"/>
                </a:lnTo>
                <a:lnTo>
                  <a:pt x="1050455" y="1380462"/>
                </a:lnTo>
                <a:lnTo>
                  <a:pt x="1055031" y="1385025"/>
                </a:lnTo>
                <a:lnTo>
                  <a:pt x="1057305" y="1387307"/>
                </a:lnTo>
                <a:lnTo>
                  <a:pt x="1059598" y="1389589"/>
                </a:lnTo>
                <a:lnTo>
                  <a:pt x="1064165" y="1394153"/>
                </a:lnTo>
                <a:lnTo>
                  <a:pt x="1064165" y="1403280"/>
                </a:lnTo>
                <a:lnTo>
                  <a:pt x="1066449" y="1407844"/>
                </a:lnTo>
                <a:lnTo>
                  <a:pt x="1066449" y="1412408"/>
                </a:lnTo>
                <a:lnTo>
                  <a:pt x="1068733" y="1421535"/>
                </a:lnTo>
                <a:lnTo>
                  <a:pt x="1071016" y="1426099"/>
                </a:lnTo>
                <a:lnTo>
                  <a:pt x="1071016" y="1428381"/>
                </a:lnTo>
                <a:lnTo>
                  <a:pt x="1082434" y="1426099"/>
                </a:lnTo>
                <a:lnTo>
                  <a:pt x="1093843" y="1426099"/>
                </a:lnTo>
                <a:lnTo>
                  <a:pt x="1096136" y="1423818"/>
                </a:lnTo>
                <a:lnTo>
                  <a:pt x="1098419" y="1426099"/>
                </a:lnTo>
                <a:lnTo>
                  <a:pt x="1100703" y="1428381"/>
                </a:lnTo>
                <a:lnTo>
                  <a:pt x="1100703" y="1430663"/>
                </a:lnTo>
                <a:lnTo>
                  <a:pt x="1098419" y="1432945"/>
                </a:lnTo>
                <a:lnTo>
                  <a:pt x="1098419" y="1437509"/>
                </a:lnTo>
                <a:lnTo>
                  <a:pt x="1096136" y="1437509"/>
                </a:lnTo>
                <a:lnTo>
                  <a:pt x="1096136" y="1439791"/>
                </a:lnTo>
                <a:lnTo>
                  <a:pt x="1093843" y="1437509"/>
                </a:lnTo>
                <a:lnTo>
                  <a:pt x="1093843" y="1439791"/>
                </a:lnTo>
                <a:lnTo>
                  <a:pt x="1091569" y="1439791"/>
                </a:lnTo>
                <a:lnTo>
                  <a:pt x="1093843" y="1442073"/>
                </a:lnTo>
                <a:lnTo>
                  <a:pt x="1093843" y="1444355"/>
                </a:lnTo>
                <a:lnTo>
                  <a:pt x="1091569" y="1446636"/>
                </a:lnTo>
                <a:lnTo>
                  <a:pt x="1089285" y="1446636"/>
                </a:lnTo>
                <a:lnTo>
                  <a:pt x="1087002" y="1446636"/>
                </a:lnTo>
                <a:lnTo>
                  <a:pt x="1087002" y="1448918"/>
                </a:lnTo>
                <a:lnTo>
                  <a:pt x="1084718" y="1458046"/>
                </a:lnTo>
                <a:lnTo>
                  <a:pt x="1084718" y="1464891"/>
                </a:lnTo>
                <a:lnTo>
                  <a:pt x="1084718" y="1474019"/>
                </a:lnTo>
                <a:lnTo>
                  <a:pt x="1084718" y="1476301"/>
                </a:lnTo>
                <a:lnTo>
                  <a:pt x="1091569" y="1480865"/>
                </a:lnTo>
                <a:lnTo>
                  <a:pt x="1093843" y="1483147"/>
                </a:lnTo>
                <a:lnTo>
                  <a:pt x="1093843" y="1485429"/>
                </a:lnTo>
                <a:lnTo>
                  <a:pt x="1091569" y="1487701"/>
                </a:lnTo>
                <a:lnTo>
                  <a:pt x="1096136" y="1492265"/>
                </a:lnTo>
                <a:lnTo>
                  <a:pt x="1093843" y="1496829"/>
                </a:lnTo>
                <a:lnTo>
                  <a:pt x="1091569" y="1496829"/>
                </a:lnTo>
                <a:lnTo>
                  <a:pt x="1091569" y="1499111"/>
                </a:lnTo>
                <a:lnTo>
                  <a:pt x="1091569" y="1501393"/>
                </a:lnTo>
                <a:lnTo>
                  <a:pt x="1087002" y="1501393"/>
                </a:lnTo>
                <a:lnTo>
                  <a:pt x="1084718" y="1501393"/>
                </a:lnTo>
                <a:lnTo>
                  <a:pt x="1082434" y="1499111"/>
                </a:lnTo>
                <a:lnTo>
                  <a:pt x="1080141" y="1499111"/>
                </a:lnTo>
                <a:lnTo>
                  <a:pt x="1080141" y="1501393"/>
                </a:lnTo>
                <a:lnTo>
                  <a:pt x="1077867" y="1501393"/>
                </a:lnTo>
                <a:lnTo>
                  <a:pt x="1075584" y="1501393"/>
                </a:lnTo>
                <a:lnTo>
                  <a:pt x="1075584" y="1503674"/>
                </a:lnTo>
                <a:lnTo>
                  <a:pt x="1077867" y="1503674"/>
                </a:lnTo>
                <a:lnTo>
                  <a:pt x="1080141" y="1503674"/>
                </a:lnTo>
                <a:lnTo>
                  <a:pt x="1080141" y="1505956"/>
                </a:lnTo>
                <a:lnTo>
                  <a:pt x="1082434" y="1505956"/>
                </a:lnTo>
                <a:lnTo>
                  <a:pt x="1082434" y="1508238"/>
                </a:lnTo>
                <a:lnTo>
                  <a:pt x="1082434" y="1510520"/>
                </a:lnTo>
                <a:lnTo>
                  <a:pt x="1080141" y="1512802"/>
                </a:lnTo>
                <a:lnTo>
                  <a:pt x="1082434" y="1515084"/>
                </a:lnTo>
                <a:lnTo>
                  <a:pt x="1082434" y="1517366"/>
                </a:lnTo>
                <a:lnTo>
                  <a:pt x="1082434" y="1519648"/>
                </a:lnTo>
                <a:lnTo>
                  <a:pt x="1084718" y="1519648"/>
                </a:lnTo>
                <a:lnTo>
                  <a:pt x="1087002" y="1519648"/>
                </a:lnTo>
                <a:lnTo>
                  <a:pt x="1087002" y="1517366"/>
                </a:lnTo>
                <a:lnTo>
                  <a:pt x="1087002" y="1515084"/>
                </a:lnTo>
                <a:lnTo>
                  <a:pt x="1089285" y="1512802"/>
                </a:lnTo>
                <a:lnTo>
                  <a:pt x="1091569" y="1512802"/>
                </a:lnTo>
                <a:lnTo>
                  <a:pt x="1091569" y="1515084"/>
                </a:lnTo>
                <a:lnTo>
                  <a:pt x="1093843" y="1515084"/>
                </a:lnTo>
                <a:lnTo>
                  <a:pt x="1093843" y="1517366"/>
                </a:lnTo>
                <a:lnTo>
                  <a:pt x="1091569" y="1519648"/>
                </a:lnTo>
                <a:lnTo>
                  <a:pt x="1093843" y="1519648"/>
                </a:lnTo>
                <a:lnTo>
                  <a:pt x="1093843" y="1521930"/>
                </a:lnTo>
                <a:lnTo>
                  <a:pt x="1096136" y="1521930"/>
                </a:lnTo>
                <a:lnTo>
                  <a:pt x="1096136" y="1524211"/>
                </a:lnTo>
                <a:lnTo>
                  <a:pt x="1093843" y="1524211"/>
                </a:lnTo>
                <a:lnTo>
                  <a:pt x="1096136" y="1526493"/>
                </a:lnTo>
                <a:lnTo>
                  <a:pt x="1096136" y="1528775"/>
                </a:lnTo>
                <a:lnTo>
                  <a:pt x="1093843" y="1528775"/>
                </a:lnTo>
                <a:lnTo>
                  <a:pt x="1091569" y="1528775"/>
                </a:lnTo>
                <a:lnTo>
                  <a:pt x="1089285" y="1531057"/>
                </a:lnTo>
                <a:lnTo>
                  <a:pt x="1087002" y="1531057"/>
                </a:lnTo>
                <a:lnTo>
                  <a:pt x="1087002" y="1533339"/>
                </a:lnTo>
                <a:lnTo>
                  <a:pt x="1084718" y="1533339"/>
                </a:lnTo>
                <a:lnTo>
                  <a:pt x="1082434" y="1533339"/>
                </a:lnTo>
                <a:lnTo>
                  <a:pt x="1082434" y="1531057"/>
                </a:lnTo>
                <a:lnTo>
                  <a:pt x="1080141" y="1531057"/>
                </a:lnTo>
                <a:lnTo>
                  <a:pt x="1077867" y="1531057"/>
                </a:lnTo>
                <a:lnTo>
                  <a:pt x="1075584" y="1531057"/>
                </a:lnTo>
                <a:lnTo>
                  <a:pt x="1075584" y="1528775"/>
                </a:lnTo>
                <a:lnTo>
                  <a:pt x="1073300" y="1528775"/>
                </a:lnTo>
                <a:lnTo>
                  <a:pt x="1073300" y="1531057"/>
                </a:lnTo>
                <a:lnTo>
                  <a:pt x="1073300" y="1533339"/>
                </a:lnTo>
                <a:lnTo>
                  <a:pt x="1071016" y="1533339"/>
                </a:lnTo>
                <a:lnTo>
                  <a:pt x="1071016" y="1535621"/>
                </a:lnTo>
                <a:lnTo>
                  <a:pt x="1071016" y="1537903"/>
                </a:lnTo>
                <a:lnTo>
                  <a:pt x="1068733" y="1537903"/>
                </a:lnTo>
                <a:lnTo>
                  <a:pt x="1066449" y="1537903"/>
                </a:lnTo>
                <a:lnTo>
                  <a:pt x="1066449" y="1540185"/>
                </a:lnTo>
                <a:lnTo>
                  <a:pt x="1068733" y="1540185"/>
                </a:lnTo>
                <a:lnTo>
                  <a:pt x="1068733" y="1542467"/>
                </a:lnTo>
                <a:lnTo>
                  <a:pt x="1071016" y="1542467"/>
                </a:lnTo>
                <a:lnTo>
                  <a:pt x="1073300" y="1542467"/>
                </a:lnTo>
                <a:lnTo>
                  <a:pt x="1075584" y="1542467"/>
                </a:lnTo>
                <a:lnTo>
                  <a:pt x="1077867" y="1542467"/>
                </a:lnTo>
                <a:lnTo>
                  <a:pt x="1080141" y="1540185"/>
                </a:lnTo>
                <a:lnTo>
                  <a:pt x="1080141" y="1542467"/>
                </a:lnTo>
                <a:lnTo>
                  <a:pt x="1082434" y="1542467"/>
                </a:lnTo>
                <a:lnTo>
                  <a:pt x="1082434" y="1544748"/>
                </a:lnTo>
                <a:lnTo>
                  <a:pt x="1082434" y="1547030"/>
                </a:lnTo>
                <a:lnTo>
                  <a:pt x="1080141" y="1547030"/>
                </a:lnTo>
                <a:lnTo>
                  <a:pt x="1077867" y="1547030"/>
                </a:lnTo>
                <a:lnTo>
                  <a:pt x="1077867" y="1549312"/>
                </a:lnTo>
                <a:lnTo>
                  <a:pt x="1075584" y="1549312"/>
                </a:lnTo>
                <a:lnTo>
                  <a:pt x="1075584" y="1551594"/>
                </a:lnTo>
                <a:lnTo>
                  <a:pt x="1073300" y="1551594"/>
                </a:lnTo>
                <a:lnTo>
                  <a:pt x="1071016" y="1551594"/>
                </a:lnTo>
                <a:lnTo>
                  <a:pt x="1068733" y="1549312"/>
                </a:lnTo>
                <a:lnTo>
                  <a:pt x="1066449" y="1549312"/>
                </a:lnTo>
                <a:lnTo>
                  <a:pt x="1064165" y="1549312"/>
                </a:lnTo>
                <a:lnTo>
                  <a:pt x="1064165" y="1547030"/>
                </a:lnTo>
                <a:lnTo>
                  <a:pt x="1061882" y="1547030"/>
                </a:lnTo>
                <a:lnTo>
                  <a:pt x="1059598" y="1547030"/>
                </a:lnTo>
                <a:lnTo>
                  <a:pt x="1059598" y="1549312"/>
                </a:lnTo>
                <a:lnTo>
                  <a:pt x="1057305" y="1549312"/>
                </a:lnTo>
                <a:lnTo>
                  <a:pt x="1057305" y="1551594"/>
                </a:lnTo>
                <a:lnTo>
                  <a:pt x="1057305" y="1553876"/>
                </a:lnTo>
                <a:lnTo>
                  <a:pt x="1055031" y="1553876"/>
                </a:lnTo>
                <a:lnTo>
                  <a:pt x="1057305" y="1553876"/>
                </a:lnTo>
                <a:lnTo>
                  <a:pt x="1055031" y="1553876"/>
                </a:lnTo>
                <a:lnTo>
                  <a:pt x="1057305" y="1553876"/>
                </a:lnTo>
                <a:lnTo>
                  <a:pt x="1057305" y="1556158"/>
                </a:lnTo>
                <a:lnTo>
                  <a:pt x="1059598" y="1556158"/>
                </a:lnTo>
                <a:lnTo>
                  <a:pt x="1059598" y="1558440"/>
                </a:lnTo>
                <a:lnTo>
                  <a:pt x="1061882" y="1558440"/>
                </a:lnTo>
                <a:lnTo>
                  <a:pt x="1064165" y="1558440"/>
                </a:lnTo>
                <a:lnTo>
                  <a:pt x="1064165" y="1560722"/>
                </a:lnTo>
                <a:lnTo>
                  <a:pt x="1066449" y="1560722"/>
                </a:lnTo>
                <a:lnTo>
                  <a:pt x="1066449" y="1563004"/>
                </a:lnTo>
                <a:lnTo>
                  <a:pt x="1068733" y="1563004"/>
                </a:lnTo>
                <a:lnTo>
                  <a:pt x="1068733" y="1565286"/>
                </a:lnTo>
                <a:lnTo>
                  <a:pt x="1066449" y="1565286"/>
                </a:lnTo>
                <a:lnTo>
                  <a:pt x="1066449" y="1567567"/>
                </a:lnTo>
                <a:lnTo>
                  <a:pt x="1064165" y="1567567"/>
                </a:lnTo>
                <a:lnTo>
                  <a:pt x="1061882" y="1567567"/>
                </a:lnTo>
                <a:lnTo>
                  <a:pt x="1059598" y="1567567"/>
                </a:lnTo>
                <a:lnTo>
                  <a:pt x="1059598" y="1569849"/>
                </a:lnTo>
                <a:lnTo>
                  <a:pt x="1057305" y="1569849"/>
                </a:lnTo>
                <a:lnTo>
                  <a:pt x="1057305" y="1572131"/>
                </a:lnTo>
                <a:lnTo>
                  <a:pt x="1059598" y="1572131"/>
                </a:lnTo>
                <a:lnTo>
                  <a:pt x="1059598" y="1574413"/>
                </a:lnTo>
                <a:lnTo>
                  <a:pt x="1057305" y="1576695"/>
                </a:lnTo>
                <a:lnTo>
                  <a:pt x="1055031" y="1576695"/>
                </a:lnTo>
                <a:lnTo>
                  <a:pt x="1055031" y="1574413"/>
                </a:lnTo>
                <a:lnTo>
                  <a:pt x="1052738" y="1574413"/>
                </a:lnTo>
                <a:lnTo>
                  <a:pt x="1052738" y="1572131"/>
                </a:lnTo>
                <a:lnTo>
                  <a:pt x="1050455" y="1572131"/>
                </a:lnTo>
                <a:lnTo>
                  <a:pt x="1048180" y="1572131"/>
                </a:lnTo>
                <a:lnTo>
                  <a:pt x="1048180" y="1574413"/>
                </a:lnTo>
                <a:lnTo>
                  <a:pt x="1045887" y="1574413"/>
                </a:lnTo>
                <a:lnTo>
                  <a:pt x="1045887" y="1572131"/>
                </a:lnTo>
                <a:lnTo>
                  <a:pt x="1043613" y="1572131"/>
                </a:lnTo>
                <a:lnTo>
                  <a:pt x="1041320" y="1572131"/>
                </a:lnTo>
                <a:lnTo>
                  <a:pt x="1041320" y="1569849"/>
                </a:lnTo>
                <a:lnTo>
                  <a:pt x="1039036" y="1569849"/>
                </a:lnTo>
                <a:lnTo>
                  <a:pt x="1039036" y="1567567"/>
                </a:lnTo>
                <a:lnTo>
                  <a:pt x="1039036" y="1565286"/>
                </a:lnTo>
                <a:lnTo>
                  <a:pt x="1039036" y="1563004"/>
                </a:lnTo>
                <a:lnTo>
                  <a:pt x="1036753" y="1563004"/>
                </a:lnTo>
                <a:lnTo>
                  <a:pt x="1034469" y="1565286"/>
                </a:lnTo>
                <a:lnTo>
                  <a:pt x="1034469" y="1567567"/>
                </a:lnTo>
                <a:lnTo>
                  <a:pt x="1034469" y="1569849"/>
                </a:lnTo>
                <a:lnTo>
                  <a:pt x="1032186" y="1572131"/>
                </a:lnTo>
                <a:lnTo>
                  <a:pt x="1034469" y="1574413"/>
                </a:lnTo>
                <a:lnTo>
                  <a:pt x="1032186" y="1576695"/>
                </a:lnTo>
                <a:lnTo>
                  <a:pt x="1029902" y="1576695"/>
                </a:lnTo>
                <a:lnTo>
                  <a:pt x="1029902" y="1574413"/>
                </a:lnTo>
                <a:lnTo>
                  <a:pt x="1029902" y="1572131"/>
                </a:lnTo>
                <a:lnTo>
                  <a:pt x="1029902" y="1569849"/>
                </a:lnTo>
                <a:lnTo>
                  <a:pt x="1029902" y="1567567"/>
                </a:lnTo>
                <a:lnTo>
                  <a:pt x="1027618" y="1567567"/>
                </a:lnTo>
                <a:lnTo>
                  <a:pt x="1027618" y="1565286"/>
                </a:lnTo>
                <a:lnTo>
                  <a:pt x="1027618" y="1567567"/>
                </a:lnTo>
                <a:lnTo>
                  <a:pt x="1025335" y="1567567"/>
                </a:lnTo>
                <a:lnTo>
                  <a:pt x="1025335" y="1569849"/>
                </a:lnTo>
                <a:lnTo>
                  <a:pt x="1025335" y="1572131"/>
                </a:lnTo>
                <a:lnTo>
                  <a:pt x="1025335" y="1574413"/>
                </a:lnTo>
                <a:lnTo>
                  <a:pt x="1023051" y="1574413"/>
                </a:lnTo>
                <a:lnTo>
                  <a:pt x="1023051" y="1576695"/>
                </a:lnTo>
                <a:lnTo>
                  <a:pt x="1020768" y="1578977"/>
                </a:lnTo>
                <a:lnTo>
                  <a:pt x="1018484" y="1581259"/>
                </a:lnTo>
                <a:lnTo>
                  <a:pt x="1016201" y="1581259"/>
                </a:lnTo>
                <a:lnTo>
                  <a:pt x="1016201" y="1578977"/>
                </a:lnTo>
                <a:lnTo>
                  <a:pt x="1013917" y="1578977"/>
                </a:lnTo>
                <a:lnTo>
                  <a:pt x="1013917" y="1576695"/>
                </a:lnTo>
                <a:lnTo>
                  <a:pt x="1011633" y="1576695"/>
                </a:lnTo>
                <a:lnTo>
                  <a:pt x="1009350" y="1576695"/>
                </a:lnTo>
                <a:lnTo>
                  <a:pt x="1007066" y="1576695"/>
                </a:lnTo>
                <a:lnTo>
                  <a:pt x="1004782" y="1576695"/>
                </a:lnTo>
                <a:lnTo>
                  <a:pt x="1002499" y="1576695"/>
                </a:lnTo>
                <a:lnTo>
                  <a:pt x="1000215" y="1574413"/>
                </a:lnTo>
                <a:lnTo>
                  <a:pt x="997932" y="1574413"/>
                </a:lnTo>
                <a:lnTo>
                  <a:pt x="997932" y="1576695"/>
                </a:lnTo>
                <a:lnTo>
                  <a:pt x="997932" y="1578977"/>
                </a:lnTo>
                <a:lnTo>
                  <a:pt x="997932" y="1581259"/>
                </a:lnTo>
                <a:lnTo>
                  <a:pt x="1000215" y="1581259"/>
                </a:lnTo>
                <a:lnTo>
                  <a:pt x="1000215" y="1583541"/>
                </a:lnTo>
                <a:lnTo>
                  <a:pt x="1000215" y="1585823"/>
                </a:lnTo>
                <a:lnTo>
                  <a:pt x="997932" y="1588104"/>
                </a:lnTo>
                <a:lnTo>
                  <a:pt x="995648" y="1588104"/>
                </a:lnTo>
                <a:lnTo>
                  <a:pt x="993365" y="1588104"/>
                </a:lnTo>
                <a:lnTo>
                  <a:pt x="993365" y="1590386"/>
                </a:lnTo>
                <a:lnTo>
                  <a:pt x="993365" y="1592668"/>
                </a:lnTo>
                <a:lnTo>
                  <a:pt x="991081" y="1592668"/>
                </a:lnTo>
                <a:lnTo>
                  <a:pt x="991081" y="1594950"/>
                </a:lnTo>
                <a:lnTo>
                  <a:pt x="988797" y="1594950"/>
                </a:lnTo>
                <a:lnTo>
                  <a:pt x="986514" y="1594950"/>
                </a:lnTo>
                <a:lnTo>
                  <a:pt x="986514" y="1592668"/>
                </a:lnTo>
                <a:lnTo>
                  <a:pt x="984230" y="1592668"/>
                </a:lnTo>
                <a:lnTo>
                  <a:pt x="984230" y="1590386"/>
                </a:lnTo>
                <a:lnTo>
                  <a:pt x="981947" y="1588104"/>
                </a:lnTo>
                <a:lnTo>
                  <a:pt x="981947" y="1585823"/>
                </a:lnTo>
                <a:lnTo>
                  <a:pt x="984230" y="1585823"/>
                </a:lnTo>
                <a:lnTo>
                  <a:pt x="984230" y="1583541"/>
                </a:lnTo>
                <a:lnTo>
                  <a:pt x="981947" y="1583541"/>
                </a:lnTo>
                <a:lnTo>
                  <a:pt x="979663" y="1583541"/>
                </a:lnTo>
                <a:lnTo>
                  <a:pt x="977379" y="1583541"/>
                </a:lnTo>
                <a:lnTo>
                  <a:pt x="975096" y="1583541"/>
                </a:lnTo>
                <a:lnTo>
                  <a:pt x="972812" y="1583541"/>
                </a:lnTo>
                <a:lnTo>
                  <a:pt x="972812" y="1585823"/>
                </a:lnTo>
                <a:lnTo>
                  <a:pt x="970528" y="1585823"/>
                </a:lnTo>
                <a:lnTo>
                  <a:pt x="968245" y="1585823"/>
                </a:lnTo>
                <a:lnTo>
                  <a:pt x="965961" y="1585823"/>
                </a:lnTo>
                <a:lnTo>
                  <a:pt x="963678" y="1585823"/>
                </a:lnTo>
                <a:lnTo>
                  <a:pt x="961394" y="1585823"/>
                </a:lnTo>
                <a:lnTo>
                  <a:pt x="959111" y="1585823"/>
                </a:lnTo>
                <a:lnTo>
                  <a:pt x="956827" y="1585823"/>
                </a:lnTo>
                <a:lnTo>
                  <a:pt x="954543" y="1585823"/>
                </a:lnTo>
                <a:lnTo>
                  <a:pt x="952260" y="1588104"/>
                </a:lnTo>
                <a:lnTo>
                  <a:pt x="952260" y="1590386"/>
                </a:lnTo>
                <a:lnTo>
                  <a:pt x="949976" y="1590386"/>
                </a:lnTo>
                <a:lnTo>
                  <a:pt x="949976" y="1592668"/>
                </a:lnTo>
                <a:lnTo>
                  <a:pt x="952260" y="1592668"/>
                </a:lnTo>
                <a:lnTo>
                  <a:pt x="952260" y="1594950"/>
                </a:lnTo>
                <a:lnTo>
                  <a:pt x="954543" y="1594950"/>
                </a:lnTo>
                <a:lnTo>
                  <a:pt x="956827" y="1594950"/>
                </a:lnTo>
                <a:lnTo>
                  <a:pt x="956827" y="1597232"/>
                </a:lnTo>
                <a:lnTo>
                  <a:pt x="959111" y="1597232"/>
                </a:lnTo>
                <a:lnTo>
                  <a:pt x="959111" y="1599514"/>
                </a:lnTo>
                <a:lnTo>
                  <a:pt x="959111" y="1601796"/>
                </a:lnTo>
                <a:lnTo>
                  <a:pt x="961394" y="1601796"/>
                </a:lnTo>
                <a:lnTo>
                  <a:pt x="961394" y="1604078"/>
                </a:lnTo>
                <a:lnTo>
                  <a:pt x="963678" y="1604078"/>
                </a:lnTo>
                <a:lnTo>
                  <a:pt x="965961" y="1604078"/>
                </a:lnTo>
                <a:lnTo>
                  <a:pt x="965961" y="1606360"/>
                </a:lnTo>
                <a:lnTo>
                  <a:pt x="965961" y="1608642"/>
                </a:lnTo>
                <a:lnTo>
                  <a:pt x="965961" y="1610923"/>
                </a:lnTo>
                <a:lnTo>
                  <a:pt x="963678" y="1610923"/>
                </a:lnTo>
                <a:lnTo>
                  <a:pt x="963678" y="1613205"/>
                </a:lnTo>
                <a:lnTo>
                  <a:pt x="961394" y="1613205"/>
                </a:lnTo>
                <a:lnTo>
                  <a:pt x="961394" y="1615487"/>
                </a:lnTo>
                <a:lnTo>
                  <a:pt x="959111" y="1615487"/>
                </a:lnTo>
                <a:lnTo>
                  <a:pt x="956827" y="1615487"/>
                </a:lnTo>
                <a:lnTo>
                  <a:pt x="954543" y="1615487"/>
                </a:lnTo>
                <a:lnTo>
                  <a:pt x="954543" y="1613205"/>
                </a:lnTo>
                <a:lnTo>
                  <a:pt x="954543" y="1610923"/>
                </a:lnTo>
                <a:lnTo>
                  <a:pt x="952260" y="1610923"/>
                </a:lnTo>
                <a:lnTo>
                  <a:pt x="949976" y="1610923"/>
                </a:lnTo>
                <a:lnTo>
                  <a:pt x="947693" y="1610923"/>
                </a:lnTo>
                <a:lnTo>
                  <a:pt x="945409" y="1610923"/>
                </a:lnTo>
                <a:lnTo>
                  <a:pt x="943126" y="1610923"/>
                </a:lnTo>
                <a:lnTo>
                  <a:pt x="943126" y="1613205"/>
                </a:lnTo>
                <a:lnTo>
                  <a:pt x="940842" y="1613205"/>
                </a:lnTo>
                <a:lnTo>
                  <a:pt x="938558" y="1613205"/>
                </a:lnTo>
                <a:lnTo>
                  <a:pt x="936275" y="1613205"/>
                </a:lnTo>
                <a:lnTo>
                  <a:pt x="936275" y="1615487"/>
                </a:lnTo>
                <a:lnTo>
                  <a:pt x="933991" y="1615487"/>
                </a:lnTo>
                <a:lnTo>
                  <a:pt x="931707" y="1615487"/>
                </a:lnTo>
                <a:lnTo>
                  <a:pt x="931707" y="1617769"/>
                </a:lnTo>
                <a:lnTo>
                  <a:pt x="931707" y="1620051"/>
                </a:lnTo>
                <a:lnTo>
                  <a:pt x="929424" y="1620051"/>
                </a:lnTo>
                <a:lnTo>
                  <a:pt x="927140" y="1620051"/>
                </a:lnTo>
                <a:lnTo>
                  <a:pt x="927140" y="1622333"/>
                </a:lnTo>
                <a:lnTo>
                  <a:pt x="927140" y="1624615"/>
                </a:lnTo>
                <a:lnTo>
                  <a:pt x="929424" y="1624615"/>
                </a:lnTo>
                <a:lnTo>
                  <a:pt x="929424" y="1626897"/>
                </a:lnTo>
                <a:lnTo>
                  <a:pt x="929424" y="1629179"/>
                </a:lnTo>
                <a:lnTo>
                  <a:pt x="931707" y="1629179"/>
                </a:lnTo>
                <a:lnTo>
                  <a:pt x="931707" y="1631460"/>
                </a:lnTo>
                <a:lnTo>
                  <a:pt x="931707" y="1633742"/>
                </a:lnTo>
                <a:lnTo>
                  <a:pt x="933991" y="1633742"/>
                </a:lnTo>
                <a:lnTo>
                  <a:pt x="933991" y="1636024"/>
                </a:lnTo>
                <a:lnTo>
                  <a:pt x="931707" y="1636024"/>
                </a:lnTo>
                <a:lnTo>
                  <a:pt x="931707" y="1638306"/>
                </a:lnTo>
                <a:lnTo>
                  <a:pt x="929424" y="1638306"/>
                </a:lnTo>
                <a:lnTo>
                  <a:pt x="927140" y="1638306"/>
                </a:lnTo>
                <a:lnTo>
                  <a:pt x="927140" y="1640588"/>
                </a:lnTo>
                <a:lnTo>
                  <a:pt x="924857" y="1640588"/>
                </a:lnTo>
                <a:lnTo>
                  <a:pt x="924857" y="1638306"/>
                </a:lnTo>
                <a:lnTo>
                  <a:pt x="922573" y="1638306"/>
                </a:lnTo>
                <a:lnTo>
                  <a:pt x="920289" y="1640588"/>
                </a:lnTo>
                <a:lnTo>
                  <a:pt x="918006" y="1640588"/>
                </a:lnTo>
                <a:lnTo>
                  <a:pt x="915722" y="1640588"/>
                </a:lnTo>
                <a:lnTo>
                  <a:pt x="913439" y="1640588"/>
                </a:lnTo>
                <a:lnTo>
                  <a:pt x="913439" y="1638306"/>
                </a:lnTo>
                <a:lnTo>
                  <a:pt x="911155" y="1638306"/>
                </a:lnTo>
                <a:lnTo>
                  <a:pt x="911155" y="1636024"/>
                </a:lnTo>
                <a:lnTo>
                  <a:pt x="908872" y="1636024"/>
                </a:lnTo>
                <a:lnTo>
                  <a:pt x="908872" y="1638306"/>
                </a:lnTo>
                <a:lnTo>
                  <a:pt x="906588" y="1638306"/>
                </a:lnTo>
                <a:lnTo>
                  <a:pt x="906588" y="1640588"/>
                </a:lnTo>
                <a:lnTo>
                  <a:pt x="908872" y="1640588"/>
                </a:lnTo>
                <a:lnTo>
                  <a:pt x="908872" y="1642870"/>
                </a:lnTo>
                <a:lnTo>
                  <a:pt x="908872" y="1645142"/>
                </a:lnTo>
                <a:lnTo>
                  <a:pt x="906588" y="1645142"/>
                </a:lnTo>
                <a:lnTo>
                  <a:pt x="906588" y="1647424"/>
                </a:lnTo>
                <a:lnTo>
                  <a:pt x="904304" y="1647424"/>
                </a:lnTo>
                <a:lnTo>
                  <a:pt x="902021" y="1647424"/>
                </a:lnTo>
                <a:lnTo>
                  <a:pt x="899737" y="1647424"/>
                </a:lnTo>
                <a:lnTo>
                  <a:pt x="897453" y="1647424"/>
                </a:lnTo>
                <a:lnTo>
                  <a:pt x="895170" y="1647424"/>
                </a:lnTo>
                <a:lnTo>
                  <a:pt x="895170" y="1645142"/>
                </a:lnTo>
                <a:lnTo>
                  <a:pt x="895170" y="1642870"/>
                </a:lnTo>
                <a:lnTo>
                  <a:pt x="895170" y="1640588"/>
                </a:lnTo>
                <a:lnTo>
                  <a:pt x="892886" y="1640588"/>
                </a:lnTo>
                <a:lnTo>
                  <a:pt x="892886" y="1638306"/>
                </a:lnTo>
                <a:lnTo>
                  <a:pt x="890603" y="1638306"/>
                </a:lnTo>
                <a:lnTo>
                  <a:pt x="890603" y="1636024"/>
                </a:lnTo>
                <a:lnTo>
                  <a:pt x="888319" y="1633742"/>
                </a:lnTo>
                <a:lnTo>
                  <a:pt x="888319" y="1631460"/>
                </a:lnTo>
                <a:lnTo>
                  <a:pt x="886036" y="1631460"/>
                </a:lnTo>
                <a:lnTo>
                  <a:pt x="886036" y="1629179"/>
                </a:lnTo>
                <a:lnTo>
                  <a:pt x="883752" y="1629179"/>
                </a:lnTo>
                <a:lnTo>
                  <a:pt x="881468" y="1629179"/>
                </a:lnTo>
                <a:lnTo>
                  <a:pt x="879185" y="1629179"/>
                </a:lnTo>
                <a:lnTo>
                  <a:pt x="876901" y="1629179"/>
                </a:lnTo>
                <a:lnTo>
                  <a:pt x="876901" y="1631460"/>
                </a:lnTo>
                <a:lnTo>
                  <a:pt x="874618" y="1631460"/>
                </a:lnTo>
                <a:lnTo>
                  <a:pt x="872334" y="1631460"/>
                </a:lnTo>
                <a:lnTo>
                  <a:pt x="872334" y="1633742"/>
                </a:lnTo>
                <a:lnTo>
                  <a:pt x="870050" y="1633742"/>
                </a:lnTo>
                <a:lnTo>
                  <a:pt x="870050" y="1636024"/>
                </a:lnTo>
                <a:lnTo>
                  <a:pt x="867767" y="1636024"/>
                </a:lnTo>
                <a:lnTo>
                  <a:pt x="865483" y="1636024"/>
                </a:lnTo>
                <a:lnTo>
                  <a:pt x="865483" y="1638306"/>
                </a:lnTo>
                <a:lnTo>
                  <a:pt x="863199" y="1638306"/>
                </a:lnTo>
                <a:lnTo>
                  <a:pt x="863199" y="1640588"/>
                </a:lnTo>
                <a:lnTo>
                  <a:pt x="860916" y="1640588"/>
                </a:lnTo>
                <a:lnTo>
                  <a:pt x="860916" y="1638306"/>
                </a:lnTo>
                <a:lnTo>
                  <a:pt x="858632" y="1638306"/>
                </a:lnTo>
                <a:lnTo>
                  <a:pt x="856349" y="1638306"/>
                </a:lnTo>
                <a:lnTo>
                  <a:pt x="856349" y="1640588"/>
                </a:lnTo>
                <a:lnTo>
                  <a:pt x="854065" y="1640588"/>
                </a:lnTo>
                <a:lnTo>
                  <a:pt x="851782" y="1640588"/>
                </a:lnTo>
                <a:lnTo>
                  <a:pt x="851782" y="1642870"/>
                </a:lnTo>
                <a:lnTo>
                  <a:pt x="851782" y="1645142"/>
                </a:lnTo>
                <a:lnTo>
                  <a:pt x="849498" y="1645142"/>
                </a:lnTo>
                <a:lnTo>
                  <a:pt x="849498" y="1647424"/>
                </a:lnTo>
                <a:lnTo>
                  <a:pt x="847214" y="1647424"/>
                </a:lnTo>
                <a:lnTo>
                  <a:pt x="844931" y="1647424"/>
                </a:lnTo>
                <a:lnTo>
                  <a:pt x="844931" y="1649706"/>
                </a:lnTo>
                <a:lnTo>
                  <a:pt x="842647" y="1649706"/>
                </a:lnTo>
                <a:lnTo>
                  <a:pt x="840364" y="1649706"/>
                </a:lnTo>
                <a:lnTo>
                  <a:pt x="840364" y="1647424"/>
                </a:lnTo>
                <a:lnTo>
                  <a:pt x="838080" y="1647424"/>
                </a:lnTo>
                <a:lnTo>
                  <a:pt x="838080" y="1645142"/>
                </a:lnTo>
                <a:lnTo>
                  <a:pt x="838080" y="1642870"/>
                </a:lnTo>
                <a:lnTo>
                  <a:pt x="838080" y="1640588"/>
                </a:lnTo>
                <a:lnTo>
                  <a:pt x="835797" y="1640588"/>
                </a:lnTo>
                <a:lnTo>
                  <a:pt x="833513" y="1640588"/>
                </a:lnTo>
                <a:lnTo>
                  <a:pt x="833513" y="1642870"/>
                </a:lnTo>
                <a:lnTo>
                  <a:pt x="833513" y="1645142"/>
                </a:lnTo>
                <a:lnTo>
                  <a:pt x="831229" y="1645142"/>
                </a:lnTo>
                <a:lnTo>
                  <a:pt x="831229" y="1647424"/>
                </a:lnTo>
                <a:lnTo>
                  <a:pt x="828946" y="1649706"/>
                </a:lnTo>
                <a:lnTo>
                  <a:pt x="826662" y="1649706"/>
                </a:lnTo>
                <a:lnTo>
                  <a:pt x="824378" y="1649706"/>
                </a:lnTo>
                <a:lnTo>
                  <a:pt x="824378" y="1651988"/>
                </a:lnTo>
                <a:lnTo>
                  <a:pt x="822095" y="1651988"/>
                </a:lnTo>
                <a:lnTo>
                  <a:pt x="819811" y="1651988"/>
                </a:lnTo>
                <a:lnTo>
                  <a:pt x="819811" y="1649706"/>
                </a:lnTo>
                <a:lnTo>
                  <a:pt x="817528" y="1649706"/>
                </a:lnTo>
                <a:lnTo>
                  <a:pt x="817528" y="1647424"/>
                </a:lnTo>
                <a:lnTo>
                  <a:pt x="819811" y="1647424"/>
                </a:lnTo>
                <a:lnTo>
                  <a:pt x="819811" y="1645142"/>
                </a:lnTo>
                <a:lnTo>
                  <a:pt x="822095" y="1645142"/>
                </a:lnTo>
                <a:lnTo>
                  <a:pt x="822095" y="1642870"/>
                </a:lnTo>
                <a:lnTo>
                  <a:pt x="822095" y="1640588"/>
                </a:lnTo>
                <a:lnTo>
                  <a:pt x="822095" y="1638306"/>
                </a:lnTo>
                <a:lnTo>
                  <a:pt x="819811" y="1638306"/>
                </a:lnTo>
                <a:lnTo>
                  <a:pt x="817528" y="1638306"/>
                </a:lnTo>
                <a:lnTo>
                  <a:pt x="815244" y="1638306"/>
                </a:lnTo>
                <a:lnTo>
                  <a:pt x="812960" y="1638306"/>
                </a:lnTo>
                <a:lnTo>
                  <a:pt x="810677" y="1638306"/>
                </a:lnTo>
                <a:lnTo>
                  <a:pt x="808393" y="1638306"/>
                </a:lnTo>
                <a:lnTo>
                  <a:pt x="806110" y="1638306"/>
                </a:lnTo>
                <a:lnTo>
                  <a:pt x="803826" y="1638306"/>
                </a:lnTo>
                <a:lnTo>
                  <a:pt x="803826" y="1640588"/>
                </a:lnTo>
                <a:lnTo>
                  <a:pt x="801542" y="1640588"/>
                </a:lnTo>
                <a:lnTo>
                  <a:pt x="799259" y="1640588"/>
                </a:lnTo>
                <a:lnTo>
                  <a:pt x="796975" y="1640588"/>
                </a:lnTo>
                <a:lnTo>
                  <a:pt x="796975" y="1638306"/>
                </a:lnTo>
                <a:lnTo>
                  <a:pt x="794692" y="1638306"/>
                </a:lnTo>
                <a:lnTo>
                  <a:pt x="792408" y="1638306"/>
                </a:lnTo>
                <a:lnTo>
                  <a:pt x="790124" y="1636024"/>
                </a:lnTo>
                <a:lnTo>
                  <a:pt x="787841" y="1636024"/>
                </a:lnTo>
                <a:lnTo>
                  <a:pt x="787841" y="1633742"/>
                </a:lnTo>
                <a:lnTo>
                  <a:pt x="785557" y="1633742"/>
                </a:lnTo>
                <a:lnTo>
                  <a:pt x="785557" y="1631460"/>
                </a:lnTo>
                <a:lnTo>
                  <a:pt x="783274" y="1631460"/>
                </a:lnTo>
                <a:lnTo>
                  <a:pt x="783274" y="1629179"/>
                </a:lnTo>
                <a:lnTo>
                  <a:pt x="780990" y="1629179"/>
                </a:lnTo>
                <a:lnTo>
                  <a:pt x="778707" y="1629179"/>
                </a:lnTo>
                <a:lnTo>
                  <a:pt x="778707" y="1626897"/>
                </a:lnTo>
                <a:lnTo>
                  <a:pt x="776423" y="1626897"/>
                </a:lnTo>
                <a:lnTo>
                  <a:pt x="774139" y="1626897"/>
                </a:lnTo>
                <a:lnTo>
                  <a:pt x="774139" y="1624615"/>
                </a:lnTo>
                <a:lnTo>
                  <a:pt x="771856" y="1624615"/>
                </a:lnTo>
                <a:lnTo>
                  <a:pt x="769572" y="1624615"/>
                </a:lnTo>
                <a:lnTo>
                  <a:pt x="767288" y="1624615"/>
                </a:lnTo>
                <a:lnTo>
                  <a:pt x="767288" y="1622333"/>
                </a:lnTo>
                <a:lnTo>
                  <a:pt x="767288" y="1620051"/>
                </a:lnTo>
                <a:lnTo>
                  <a:pt x="769572" y="1620051"/>
                </a:lnTo>
                <a:lnTo>
                  <a:pt x="769572" y="1617769"/>
                </a:lnTo>
                <a:lnTo>
                  <a:pt x="769572" y="1615487"/>
                </a:lnTo>
                <a:lnTo>
                  <a:pt x="769572" y="1613205"/>
                </a:lnTo>
                <a:lnTo>
                  <a:pt x="769572" y="1610923"/>
                </a:lnTo>
                <a:lnTo>
                  <a:pt x="769572" y="1608642"/>
                </a:lnTo>
                <a:lnTo>
                  <a:pt x="767288" y="1608642"/>
                </a:lnTo>
                <a:lnTo>
                  <a:pt x="765005" y="1608642"/>
                </a:lnTo>
                <a:lnTo>
                  <a:pt x="765005" y="1606360"/>
                </a:lnTo>
                <a:lnTo>
                  <a:pt x="762721" y="1606360"/>
                </a:lnTo>
                <a:lnTo>
                  <a:pt x="762721" y="1604078"/>
                </a:lnTo>
                <a:lnTo>
                  <a:pt x="760438" y="1604078"/>
                </a:lnTo>
                <a:lnTo>
                  <a:pt x="758154" y="1604078"/>
                </a:lnTo>
                <a:lnTo>
                  <a:pt x="758154" y="1601796"/>
                </a:lnTo>
                <a:lnTo>
                  <a:pt x="755870" y="1601796"/>
                </a:lnTo>
                <a:lnTo>
                  <a:pt x="755870" y="1599514"/>
                </a:lnTo>
                <a:lnTo>
                  <a:pt x="753587" y="1599514"/>
                </a:lnTo>
                <a:lnTo>
                  <a:pt x="751303" y="1599514"/>
                </a:lnTo>
                <a:lnTo>
                  <a:pt x="749020" y="1599514"/>
                </a:lnTo>
                <a:lnTo>
                  <a:pt x="746736" y="1599514"/>
                </a:lnTo>
                <a:lnTo>
                  <a:pt x="744453" y="1599514"/>
                </a:lnTo>
                <a:lnTo>
                  <a:pt x="742169" y="1599514"/>
                </a:lnTo>
                <a:lnTo>
                  <a:pt x="739885" y="1599514"/>
                </a:lnTo>
                <a:lnTo>
                  <a:pt x="739885" y="1601796"/>
                </a:lnTo>
                <a:lnTo>
                  <a:pt x="737602" y="1601796"/>
                </a:lnTo>
                <a:lnTo>
                  <a:pt x="737602" y="1604078"/>
                </a:lnTo>
                <a:lnTo>
                  <a:pt x="735318" y="1604078"/>
                </a:lnTo>
                <a:lnTo>
                  <a:pt x="735318" y="1606360"/>
                </a:lnTo>
                <a:lnTo>
                  <a:pt x="733034" y="1606360"/>
                </a:lnTo>
                <a:lnTo>
                  <a:pt x="730751" y="1606360"/>
                </a:lnTo>
                <a:lnTo>
                  <a:pt x="728467" y="1606360"/>
                </a:lnTo>
                <a:lnTo>
                  <a:pt x="726184" y="1606360"/>
                </a:lnTo>
                <a:lnTo>
                  <a:pt x="726184" y="1608642"/>
                </a:lnTo>
                <a:lnTo>
                  <a:pt x="726184" y="1610923"/>
                </a:lnTo>
                <a:lnTo>
                  <a:pt x="723900" y="1610923"/>
                </a:lnTo>
                <a:lnTo>
                  <a:pt x="721617" y="1610923"/>
                </a:lnTo>
                <a:lnTo>
                  <a:pt x="719333" y="1610923"/>
                </a:lnTo>
                <a:lnTo>
                  <a:pt x="717049" y="1610923"/>
                </a:lnTo>
                <a:lnTo>
                  <a:pt x="717049" y="1608642"/>
                </a:lnTo>
                <a:lnTo>
                  <a:pt x="714766" y="1608642"/>
                </a:lnTo>
                <a:lnTo>
                  <a:pt x="712482" y="1608642"/>
                </a:lnTo>
                <a:lnTo>
                  <a:pt x="712482" y="1606360"/>
                </a:lnTo>
                <a:lnTo>
                  <a:pt x="710199" y="1606360"/>
                </a:lnTo>
                <a:lnTo>
                  <a:pt x="707915" y="1606360"/>
                </a:lnTo>
                <a:lnTo>
                  <a:pt x="705631" y="1606360"/>
                </a:lnTo>
                <a:lnTo>
                  <a:pt x="703348" y="1608642"/>
                </a:lnTo>
                <a:lnTo>
                  <a:pt x="701064" y="1608642"/>
                </a:lnTo>
                <a:lnTo>
                  <a:pt x="701064" y="1610923"/>
                </a:lnTo>
                <a:lnTo>
                  <a:pt x="698780" y="1610923"/>
                </a:lnTo>
                <a:lnTo>
                  <a:pt x="698780" y="1608642"/>
                </a:lnTo>
                <a:lnTo>
                  <a:pt x="696497" y="1608642"/>
                </a:lnTo>
                <a:lnTo>
                  <a:pt x="694213" y="1608642"/>
                </a:lnTo>
                <a:lnTo>
                  <a:pt x="694213" y="1606360"/>
                </a:lnTo>
                <a:lnTo>
                  <a:pt x="696497" y="1606360"/>
                </a:lnTo>
                <a:lnTo>
                  <a:pt x="696497" y="1604078"/>
                </a:lnTo>
                <a:lnTo>
                  <a:pt x="694213" y="1604078"/>
                </a:lnTo>
                <a:lnTo>
                  <a:pt x="694213" y="1601796"/>
                </a:lnTo>
                <a:lnTo>
                  <a:pt x="691930" y="1601796"/>
                </a:lnTo>
                <a:lnTo>
                  <a:pt x="691930" y="1599514"/>
                </a:lnTo>
                <a:lnTo>
                  <a:pt x="689646" y="1599514"/>
                </a:lnTo>
                <a:lnTo>
                  <a:pt x="689646" y="1597232"/>
                </a:lnTo>
                <a:lnTo>
                  <a:pt x="689646" y="1594950"/>
                </a:lnTo>
                <a:lnTo>
                  <a:pt x="689646" y="1592668"/>
                </a:lnTo>
                <a:lnTo>
                  <a:pt x="689646" y="1590386"/>
                </a:lnTo>
                <a:lnTo>
                  <a:pt x="689646" y="1588104"/>
                </a:lnTo>
                <a:lnTo>
                  <a:pt x="687363" y="1588104"/>
                </a:lnTo>
                <a:lnTo>
                  <a:pt x="685079" y="1588104"/>
                </a:lnTo>
                <a:lnTo>
                  <a:pt x="682795" y="1588104"/>
                </a:lnTo>
                <a:lnTo>
                  <a:pt x="680512" y="1588104"/>
                </a:lnTo>
                <a:lnTo>
                  <a:pt x="678228" y="1588104"/>
                </a:lnTo>
                <a:lnTo>
                  <a:pt x="678228" y="1585823"/>
                </a:lnTo>
                <a:lnTo>
                  <a:pt x="675945" y="1585823"/>
                </a:lnTo>
                <a:lnTo>
                  <a:pt x="673661" y="1585823"/>
                </a:lnTo>
                <a:lnTo>
                  <a:pt x="671378" y="1585823"/>
                </a:lnTo>
                <a:lnTo>
                  <a:pt x="669094" y="1585823"/>
                </a:lnTo>
                <a:lnTo>
                  <a:pt x="666810" y="1585823"/>
                </a:lnTo>
                <a:lnTo>
                  <a:pt x="664527" y="1585823"/>
                </a:lnTo>
                <a:lnTo>
                  <a:pt x="664527" y="1583541"/>
                </a:lnTo>
                <a:lnTo>
                  <a:pt x="664527" y="1581259"/>
                </a:lnTo>
                <a:lnTo>
                  <a:pt x="666810" y="1581259"/>
                </a:lnTo>
                <a:lnTo>
                  <a:pt x="666810" y="1578977"/>
                </a:lnTo>
                <a:lnTo>
                  <a:pt x="666810" y="1576695"/>
                </a:lnTo>
                <a:lnTo>
                  <a:pt x="664527" y="1576695"/>
                </a:lnTo>
                <a:lnTo>
                  <a:pt x="664527" y="1574413"/>
                </a:lnTo>
                <a:lnTo>
                  <a:pt x="664527" y="1572131"/>
                </a:lnTo>
                <a:lnTo>
                  <a:pt x="662243" y="1572131"/>
                </a:lnTo>
                <a:lnTo>
                  <a:pt x="662243" y="1569849"/>
                </a:lnTo>
                <a:lnTo>
                  <a:pt x="659959" y="1569849"/>
                </a:lnTo>
                <a:lnTo>
                  <a:pt x="659959" y="1567567"/>
                </a:lnTo>
                <a:lnTo>
                  <a:pt x="657676" y="1567567"/>
                </a:lnTo>
                <a:lnTo>
                  <a:pt x="655392" y="1567567"/>
                </a:lnTo>
                <a:lnTo>
                  <a:pt x="655392" y="1565286"/>
                </a:lnTo>
                <a:lnTo>
                  <a:pt x="653109" y="1565286"/>
                </a:lnTo>
                <a:lnTo>
                  <a:pt x="650825" y="1565286"/>
                </a:lnTo>
                <a:lnTo>
                  <a:pt x="648541" y="1565286"/>
                </a:lnTo>
                <a:lnTo>
                  <a:pt x="648541" y="1567567"/>
                </a:lnTo>
                <a:lnTo>
                  <a:pt x="646258" y="1567567"/>
                </a:lnTo>
                <a:lnTo>
                  <a:pt x="643974" y="1567567"/>
                </a:lnTo>
                <a:lnTo>
                  <a:pt x="643974" y="1569849"/>
                </a:lnTo>
                <a:lnTo>
                  <a:pt x="643974" y="1572131"/>
                </a:lnTo>
                <a:lnTo>
                  <a:pt x="641691" y="1572131"/>
                </a:lnTo>
                <a:lnTo>
                  <a:pt x="641691" y="1574413"/>
                </a:lnTo>
                <a:lnTo>
                  <a:pt x="643974" y="1576695"/>
                </a:lnTo>
                <a:lnTo>
                  <a:pt x="646258" y="1576695"/>
                </a:lnTo>
                <a:lnTo>
                  <a:pt x="648541" y="1576695"/>
                </a:lnTo>
                <a:lnTo>
                  <a:pt x="648541" y="1578977"/>
                </a:lnTo>
                <a:lnTo>
                  <a:pt x="648541" y="1581259"/>
                </a:lnTo>
                <a:lnTo>
                  <a:pt x="648541" y="1583541"/>
                </a:lnTo>
                <a:lnTo>
                  <a:pt x="648541" y="1585823"/>
                </a:lnTo>
                <a:lnTo>
                  <a:pt x="648541" y="1588104"/>
                </a:lnTo>
                <a:lnTo>
                  <a:pt x="646258" y="1588104"/>
                </a:lnTo>
                <a:lnTo>
                  <a:pt x="646258" y="1590386"/>
                </a:lnTo>
                <a:lnTo>
                  <a:pt x="643974" y="1590386"/>
                </a:lnTo>
                <a:lnTo>
                  <a:pt x="643974" y="1588104"/>
                </a:lnTo>
                <a:lnTo>
                  <a:pt x="641691" y="1588104"/>
                </a:lnTo>
                <a:lnTo>
                  <a:pt x="639407" y="1588104"/>
                </a:lnTo>
                <a:lnTo>
                  <a:pt x="637124" y="1588104"/>
                </a:lnTo>
                <a:lnTo>
                  <a:pt x="637124" y="1585823"/>
                </a:lnTo>
                <a:lnTo>
                  <a:pt x="637124" y="1583541"/>
                </a:lnTo>
                <a:lnTo>
                  <a:pt x="634840" y="1583541"/>
                </a:lnTo>
                <a:lnTo>
                  <a:pt x="634840" y="1581259"/>
                </a:lnTo>
                <a:lnTo>
                  <a:pt x="632556" y="1581259"/>
                </a:lnTo>
                <a:lnTo>
                  <a:pt x="632556" y="1578977"/>
                </a:lnTo>
                <a:lnTo>
                  <a:pt x="630273" y="1578977"/>
                </a:lnTo>
                <a:lnTo>
                  <a:pt x="627989" y="1578977"/>
                </a:lnTo>
                <a:lnTo>
                  <a:pt x="627989" y="1581259"/>
                </a:lnTo>
                <a:lnTo>
                  <a:pt x="625705" y="1581259"/>
                </a:lnTo>
                <a:lnTo>
                  <a:pt x="623422" y="1581259"/>
                </a:lnTo>
                <a:lnTo>
                  <a:pt x="621138" y="1581259"/>
                </a:lnTo>
                <a:lnTo>
                  <a:pt x="621138" y="1583541"/>
                </a:lnTo>
                <a:lnTo>
                  <a:pt x="618855" y="1583541"/>
                </a:lnTo>
                <a:lnTo>
                  <a:pt x="618855" y="1581259"/>
                </a:lnTo>
                <a:lnTo>
                  <a:pt x="616571" y="1581259"/>
                </a:lnTo>
                <a:lnTo>
                  <a:pt x="614288" y="1581259"/>
                </a:lnTo>
                <a:lnTo>
                  <a:pt x="614288" y="1583541"/>
                </a:lnTo>
                <a:lnTo>
                  <a:pt x="612004" y="1583541"/>
                </a:lnTo>
                <a:lnTo>
                  <a:pt x="609720" y="1583541"/>
                </a:lnTo>
                <a:lnTo>
                  <a:pt x="609720" y="1585823"/>
                </a:lnTo>
                <a:lnTo>
                  <a:pt x="607437" y="1585823"/>
                </a:lnTo>
                <a:lnTo>
                  <a:pt x="605153" y="1585823"/>
                </a:lnTo>
                <a:lnTo>
                  <a:pt x="602870" y="1585823"/>
                </a:lnTo>
                <a:lnTo>
                  <a:pt x="600586" y="1585823"/>
                </a:lnTo>
                <a:lnTo>
                  <a:pt x="600586" y="1588104"/>
                </a:lnTo>
                <a:lnTo>
                  <a:pt x="598302" y="1588104"/>
                </a:lnTo>
                <a:lnTo>
                  <a:pt x="596019" y="1588104"/>
                </a:lnTo>
                <a:lnTo>
                  <a:pt x="593735" y="1588104"/>
                </a:lnTo>
                <a:lnTo>
                  <a:pt x="591451" y="1588104"/>
                </a:lnTo>
                <a:lnTo>
                  <a:pt x="589168" y="1588104"/>
                </a:lnTo>
                <a:lnTo>
                  <a:pt x="586884" y="1588104"/>
                </a:lnTo>
                <a:lnTo>
                  <a:pt x="586884" y="1590386"/>
                </a:lnTo>
                <a:lnTo>
                  <a:pt x="584601" y="1590386"/>
                </a:lnTo>
                <a:lnTo>
                  <a:pt x="582317" y="1590386"/>
                </a:lnTo>
                <a:lnTo>
                  <a:pt x="582317" y="1592668"/>
                </a:lnTo>
                <a:lnTo>
                  <a:pt x="580034" y="1592668"/>
                </a:lnTo>
                <a:lnTo>
                  <a:pt x="577750" y="1592668"/>
                </a:lnTo>
                <a:lnTo>
                  <a:pt x="577750" y="1594950"/>
                </a:lnTo>
                <a:lnTo>
                  <a:pt x="575466" y="1597232"/>
                </a:lnTo>
                <a:lnTo>
                  <a:pt x="575466" y="1599514"/>
                </a:lnTo>
                <a:lnTo>
                  <a:pt x="575466" y="1601796"/>
                </a:lnTo>
                <a:lnTo>
                  <a:pt x="575466" y="1604078"/>
                </a:lnTo>
                <a:lnTo>
                  <a:pt x="575466" y="1606360"/>
                </a:lnTo>
                <a:lnTo>
                  <a:pt x="573183" y="1608642"/>
                </a:lnTo>
                <a:lnTo>
                  <a:pt x="570899" y="1608642"/>
                </a:lnTo>
                <a:lnTo>
                  <a:pt x="568616" y="1608642"/>
                </a:lnTo>
                <a:lnTo>
                  <a:pt x="568616" y="1606360"/>
                </a:lnTo>
                <a:lnTo>
                  <a:pt x="568616" y="1604078"/>
                </a:lnTo>
                <a:lnTo>
                  <a:pt x="570899" y="1604078"/>
                </a:lnTo>
                <a:lnTo>
                  <a:pt x="570899" y="1601796"/>
                </a:lnTo>
                <a:lnTo>
                  <a:pt x="568616" y="1601796"/>
                </a:lnTo>
                <a:lnTo>
                  <a:pt x="568616" y="1599514"/>
                </a:lnTo>
                <a:lnTo>
                  <a:pt x="568616" y="1597232"/>
                </a:lnTo>
                <a:lnTo>
                  <a:pt x="566332" y="1597232"/>
                </a:lnTo>
                <a:lnTo>
                  <a:pt x="566332" y="1594950"/>
                </a:lnTo>
                <a:lnTo>
                  <a:pt x="564049" y="1594950"/>
                </a:lnTo>
                <a:lnTo>
                  <a:pt x="564049" y="1592668"/>
                </a:lnTo>
                <a:lnTo>
                  <a:pt x="561765" y="1592668"/>
                </a:lnTo>
                <a:lnTo>
                  <a:pt x="561765" y="1590386"/>
                </a:lnTo>
                <a:lnTo>
                  <a:pt x="559481" y="1590386"/>
                </a:lnTo>
                <a:lnTo>
                  <a:pt x="557198" y="1590386"/>
                </a:lnTo>
                <a:lnTo>
                  <a:pt x="554914" y="1590386"/>
                </a:lnTo>
                <a:lnTo>
                  <a:pt x="554914" y="1592668"/>
                </a:lnTo>
                <a:lnTo>
                  <a:pt x="552630" y="1592668"/>
                </a:lnTo>
                <a:lnTo>
                  <a:pt x="552630" y="1594950"/>
                </a:lnTo>
                <a:lnTo>
                  <a:pt x="552630" y="1597232"/>
                </a:lnTo>
                <a:lnTo>
                  <a:pt x="550347" y="1597232"/>
                </a:lnTo>
                <a:lnTo>
                  <a:pt x="550347" y="1599514"/>
                </a:lnTo>
                <a:lnTo>
                  <a:pt x="550347" y="1601796"/>
                </a:lnTo>
                <a:lnTo>
                  <a:pt x="552630" y="1601796"/>
                </a:lnTo>
                <a:lnTo>
                  <a:pt x="552630" y="1604078"/>
                </a:lnTo>
                <a:lnTo>
                  <a:pt x="552630" y="1606360"/>
                </a:lnTo>
                <a:lnTo>
                  <a:pt x="554914" y="1606360"/>
                </a:lnTo>
                <a:lnTo>
                  <a:pt x="554914" y="1608642"/>
                </a:lnTo>
                <a:lnTo>
                  <a:pt x="554914" y="1610923"/>
                </a:lnTo>
                <a:lnTo>
                  <a:pt x="557198" y="1610923"/>
                </a:lnTo>
                <a:lnTo>
                  <a:pt x="557198" y="1613205"/>
                </a:lnTo>
                <a:lnTo>
                  <a:pt x="557198" y="1615487"/>
                </a:lnTo>
                <a:lnTo>
                  <a:pt x="559481" y="1615487"/>
                </a:lnTo>
                <a:lnTo>
                  <a:pt x="557198" y="1615487"/>
                </a:lnTo>
                <a:lnTo>
                  <a:pt x="557198" y="1617769"/>
                </a:lnTo>
                <a:lnTo>
                  <a:pt x="557198" y="1620051"/>
                </a:lnTo>
                <a:lnTo>
                  <a:pt x="554914" y="1620051"/>
                </a:lnTo>
                <a:lnTo>
                  <a:pt x="552630" y="1620051"/>
                </a:lnTo>
                <a:lnTo>
                  <a:pt x="550347" y="1620051"/>
                </a:lnTo>
                <a:lnTo>
                  <a:pt x="548063" y="1620051"/>
                </a:lnTo>
                <a:lnTo>
                  <a:pt x="545780" y="1620051"/>
                </a:lnTo>
                <a:lnTo>
                  <a:pt x="545780" y="1622333"/>
                </a:lnTo>
                <a:lnTo>
                  <a:pt x="545780" y="1624615"/>
                </a:lnTo>
                <a:lnTo>
                  <a:pt x="543496" y="1624615"/>
                </a:lnTo>
                <a:lnTo>
                  <a:pt x="543496" y="1626897"/>
                </a:lnTo>
                <a:lnTo>
                  <a:pt x="543496" y="1629179"/>
                </a:lnTo>
                <a:lnTo>
                  <a:pt x="541212" y="1629179"/>
                </a:lnTo>
                <a:lnTo>
                  <a:pt x="538929" y="1629179"/>
                </a:lnTo>
                <a:lnTo>
                  <a:pt x="538929" y="1626897"/>
                </a:lnTo>
                <a:lnTo>
                  <a:pt x="536645" y="1626897"/>
                </a:lnTo>
                <a:lnTo>
                  <a:pt x="536645" y="1629179"/>
                </a:lnTo>
                <a:lnTo>
                  <a:pt x="534362" y="1629179"/>
                </a:lnTo>
                <a:lnTo>
                  <a:pt x="532078" y="1629179"/>
                </a:lnTo>
                <a:lnTo>
                  <a:pt x="529795" y="1629179"/>
                </a:lnTo>
                <a:lnTo>
                  <a:pt x="527511" y="1629179"/>
                </a:lnTo>
                <a:lnTo>
                  <a:pt x="525227" y="1629179"/>
                </a:lnTo>
                <a:lnTo>
                  <a:pt x="522944" y="1629179"/>
                </a:lnTo>
                <a:lnTo>
                  <a:pt x="522944" y="1631460"/>
                </a:lnTo>
                <a:lnTo>
                  <a:pt x="520660" y="1631460"/>
                </a:lnTo>
                <a:lnTo>
                  <a:pt x="520660" y="1633742"/>
                </a:lnTo>
                <a:lnTo>
                  <a:pt x="518376" y="1633742"/>
                </a:lnTo>
                <a:lnTo>
                  <a:pt x="518376" y="1636024"/>
                </a:lnTo>
                <a:lnTo>
                  <a:pt x="518376" y="1638306"/>
                </a:lnTo>
                <a:lnTo>
                  <a:pt x="518376" y="1640588"/>
                </a:lnTo>
                <a:lnTo>
                  <a:pt x="518376" y="1642870"/>
                </a:lnTo>
                <a:lnTo>
                  <a:pt x="518376" y="1645142"/>
                </a:lnTo>
                <a:lnTo>
                  <a:pt x="518376" y="1647424"/>
                </a:lnTo>
                <a:lnTo>
                  <a:pt x="516093" y="1649706"/>
                </a:lnTo>
                <a:lnTo>
                  <a:pt x="513809" y="1649706"/>
                </a:lnTo>
                <a:lnTo>
                  <a:pt x="513809" y="1651988"/>
                </a:lnTo>
                <a:lnTo>
                  <a:pt x="511526" y="1651988"/>
                </a:lnTo>
                <a:lnTo>
                  <a:pt x="509242" y="1651988"/>
                </a:lnTo>
                <a:lnTo>
                  <a:pt x="509242" y="1649706"/>
                </a:lnTo>
                <a:lnTo>
                  <a:pt x="506959" y="1649706"/>
                </a:lnTo>
                <a:lnTo>
                  <a:pt x="504675" y="1649706"/>
                </a:lnTo>
                <a:lnTo>
                  <a:pt x="502391" y="1649706"/>
                </a:lnTo>
                <a:lnTo>
                  <a:pt x="500108" y="1649706"/>
                </a:lnTo>
                <a:lnTo>
                  <a:pt x="497824" y="1649706"/>
                </a:lnTo>
                <a:lnTo>
                  <a:pt x="495541" y="1649706"/>
                </a:lnTo>
                <a:lnTo>
                  <a:pt x="493257" y="1649706"/>
                </a:lnTo>
                <a:lnTo>
                  <a:pt x="493257" y="1647424"/>
                </a:lnTo>
                <a:lnTo>
                  <a:pt x="490973" y="1647424"/>
                </a:lnTo>
                <a:lnTo>
                  <a:pt x="488690" y="1647424"/>
                </a:lnTo>
                <a:lnTo>
                  <a:pt x="486406" y="1645142"/>
                </a:lnTo>
                <a:lnTo>
                  <a:pt x="484122" y="1645142"/>
                </a:lnTo>
                <a:lnTo>
                  <a:pt x="484122" y="1642870"/>
                </a:lnTo>
                <a:lnTo>
                  <a:pt x="481839" y="1642870"/>
                </a:lnTo>
                <a:lnTo>
                  <a:pt x="481839" y="1640588"/>
                </a:lnTo>
                <a:lnTo>
                  <a:pt x="484122" y="1640588"/>
                </a:lnTo>
                <a:lnTo>
                  <a:pt x="484122" y="1638306"/>
                </a:lnTo>
                <a:lnTo>
                  <a:pt x="484122" y="1636024"/>
                </a:lnTo>
                <a:lnTo>
                  <a:pt x="484122" y="1633742"/>
                </a:lnTo>
                <a:lnTo>
                  <a:pt x="481839" y="1633742"/>
                </a:lnTo>
                <a:lnTo>
                  <a:pt x="481839" y="1631460"/>
                </a:lnTo>
                <a:lnTo>
                  <a:pt x="479555" y="1631460"/>
                </a:lnTo>
                <a:lnTo>
                  <a:pt x="479555" y="1633742"/>
                </a:lnTo>
                <a:lnTo>
                  <a:pt x="477272" y="1633742"/>
                </a:lnTo>
                <a:lnTo>
                  <a:pt x="474988" y="1633742"/>
                </a:lnTo>
                <a:lnTo>
                  <a:pt x="474988" y="1636024"/>
                </a:lnTo>
                <a:lnTo>
                  <a:pt x="472705" y="1636024"/>
                </a:lnTo>
                <a:lnTo>
                  <a:pt x="472705" y="1638306"/>
                </a:lnTo>
                <a:lnTo>
                  <a:pt x="470421" y="1638306"/>
                </a:lnTo>
                <a:lnTo>
                  <a:pt x="468137" y="1638306"/>
                </a:lnTo>
                <a:lnTo>
                  <a:pt x="468137" y="1640588"/>
                </a:lnTo>
                <a:lnTo>
                  <a:pt x="465854" y="1640588"/>
                </a:lnTo>
                <a:lnTo>
                  <a:pt x="463570" y="1640588"/>
                </a:lnTo>
                <a:lnTo>
                  <a:pt x="461287" y="1640588"/>
                </a:lnTo>
                <a:lnTo>
                  <a:pt x="461287" y="1638306"/>
                </a:lnTo>
                <a:lnTo>
                  <a:pt x="459003" y="1638306"/>
                </a:lnTo>
                <a:lnTo>
                  <a:pt x="456719" y="1636024"/>
                </a:lnTo>
                <a:lnTo>
                  <a:pt x="459003" y="1636024"/>
                </a:lnTo>
                <a:lnTo>
                  <a:pt x="459003" y="1633742"/>
                </a:lnTo>
                <a:lnTo>
                  <a:pt x="461287" y="1631460"/>
                </a:lnTo>
                <a:lnTo>
                  <a:pt x="461287" y="1629179"/>
                </a:lnTo>
                <a:lnTo>
                  <a:pt x="463570" y="1629179"/>
                </a:lnTo>
                <a:lnTo>
                  <a:pt x="463570" y="1626897"/>
                </a:lnTo>
                <a:lnTo>
                  <a:pt x="463570" y="1624615"/>
                </a:lnTo>
                <a:lnTo>
                  <a:pt x="461287" y="1624615"/>
                </a:lnTo>
                <a:lnTo>
                  <a:pt x="461287" y="1622333"/>
                </a:lnTo>
                <a:lnTo>
                  <a:pt x="459003" y="1622333"/>
                </a:lnTo>
                <a:lnTo>
                  <a:pt x="459003" y="1620051"/>
                </a:lnTo>
                <a:lnTo>
                  <a:pt x="456719" y="1620051"/>
                </a:lnTo>
                <a:lnTo>
                  <a:pt x="456719" y="1617769"/>
                </a:lnTo>
                <a:lnTo>
                  <a:pt x="456719" y="1615487"/>
                </a:lnTo>
                <a:lnTo>
                  <a:pt x="456719" y="1613205"/>
                </a:lnTo>
                <a:lnTo>
                  <a:pt x="454436" y="1613205"/>
                </a:lnTo>
                <a:lnTo>
                  <a:pt x="454436" y="1610923"/>
                </a:lnTo>
                <a:lnTo>
                  <a:pt x="452152" y="1610923"/>
                </a:lnTo>
                <a:lnTo>
                  <a:pt x="449869" y="1610923"/>
                </a:lnTo>
                <a:lnTo>
                  <a:pt x="449869" y="1613205"/>
                </a:lnTo>
                <a:lnTo>
                  <a:pt x="449869" y="1615487"/>
                </a:lnTo>
                <a:lnTo>
                  <a:pt x="447585" y="1615487"/>
                </a:lnTo>
                <a:lnTo>
                  <a:pt x="447585" y="1617769"/>
                </a:lnTo>
                <a:lnTo>
                  <a:pt x="445301" y="1617769"/>
                </a:lnTo>
                <a:lnTo>
                  <a:pt x="445301" y="1620051"/>
                </a:lnTo>
                <a:lnTo>
                  <a:pt x="443018" y="1620051"/>
                </a:lnTo>
                <a:lnTo>
                  <a:pt x="443018" y="1622333"/>
                </a:lnTo>
                <a:lnTo>
                  <a:pt x="440734" y="1622333"/>
                </a:lnTo>
                <a:lnTo>
                  <a:pt x="438451" y="1622333"/>
                </a:lnTo>
                <a:lnTo>
                  <a:pt x="436167" y="1622333"/>
                </a:lnTo>
                <a:lnTo>
                  <a:pt x="433883" y="1622333"/>
                </a:lnTo>
                <a:lnTo>
                  <a:pt x="431600" y="1622333"/>
                </a:lnTo>
                <a:lnTo>
                  <a:pt x="429316" y="1622333"/>
                </a:lnTo>
                <a:lnTo>
                  <a:pt x="427033" y="1622333"/>
                </a:lnTo>
                <a:lnTo>
                  <a:pt x="424749" y="1622333"/>
                </a:lnTo>
                <a:lnTo>
                  <a:pt x="424749" y="1624615"/>
                </a:lnTo>
                <a:lnTo>
                  <a:pt x="422466" y="1624615"/>
                </a:lnTo>
                <a:lnTo>
                  <a:pt x="420182" y="1624615"/>
                </a:lnTo>
                <a:lnTo>
                  <a:pt x="420182" y="1626897"/>
                </a:lnTo>
                <a:lnTo>
                  <a:pt x="417898" y="1626897"/>
                </a:lnTo>
                <a:lnTo>
                  <a:pt x="415615" y="1626897"/>
                </a:lnTo>
                <a:lnTo>
                  <a:pt x="415615" y="1629179"/>
                </a:lnTo>
                <a:lnTo>
                  <a:pt x="413331" y="1629179"/>
                </a:lnTo>
                <a:lnTo>
                  <a:pt x="411047" y="1629179"/>
                </a:lnTo>
                <a:lnTo>
                  <a:pt x="411047" y="1631460"/>
                </a:lnTo>
                <a:lnTo>
                  <a:pt x="408764" y="1631460"/>
                </a:lnTo>
                <a:lnTo>
                  <a:pt x="408764" y="1629179"/>
                </a:lnTo>
                <a:lnTo>
                  <a:pt x="406480" y="1629179"/>
                </a:lnTo>
                <a:lnTo>
                  <a:pt x="406480" y="1626897"/>
                </a:lnTo>
                <a:lnTo>
                  <a:pt x="406480" y="1624615"/>
                </a:lnTo>
                <a:lnTo>
                  <a:pt x="404197" y="1624615"/>
                </a:lnTo>
                <a:lnTo>
                  <a:pt x="404197" y="1622333"/>
                </a:lnTo>
                <a:lnTo>
                  <a:pt x="404197" y="1620051"/>
                </a:lnTo>
                <a:lnTo>
                  <a:pt x="401913" y="1620051"/>
                </a:lnTo>
                <a:lnTo>
                  <a:pt x="399629" y="1620051"/>
                </a:lnTo>
                <a:lnTo>
                  <a:pt x="399629" y="1617769"/>
                </a:lnTo>
                <a:lnTo>
                  <a:pt x="397346" y="1617769"/>
                </a:lnTo>
                <a:lnTo>
                  <a:pt x="397346" y="1615487"/>
                </a:lnTo>
                <a:lnTo>
                  <a:pt x="395062" y="1615487"/>
                </a:lnTo>
                <a:lnTo>
                  <a:pt x="395062" y="1613205"/>
                </a:lnTo>
                <a:lnTo>
                  <a:pt x="392779" y="1613205"/>
                </a:lnTo>
                <a:lnTo>
                  <a:pt x="390495" y="1613205"/>
                </a:lnTo>
                <a:lnTo>
                  <a:pt x="390495" y="1610923"/>
                </a:lnTo>
                <a:lnTo>
                  <a:pt x="390495" y="1608642"/>
                </a:lnTo>
                <a:lnTo>
                  <a:pt x="390495" y="1606360"/>
                </a:lnTo>
                <a:lnTo>
                  <a:pt x="388212" y="1606360"/>
                </a:lnTo>
                <a:lnTo>
                  <a:pt x="385928" y="1606360"/>
                </a:lnTo>
                <a:lnTo>
                  <a:pt x="385928" y="1604078"/>
                </a:lnTo>
                <a:lnTo>
                  <a:pt x="383644" y="1604078"/>
                </a:lnTo>
                <a:lnTo>
                  <a:pt x="383644" y="1606360"/>
                </a:lnTo>
                <a:lnTo>
                  <a:pt x="381361" y="1606360"/>
                </a:lnTo>
                <a:lnTo>
                  <a:pt x="381361" y="1604078"/>
                </a:lnTo>
                <a:lnTo>
                  <a:pt x="379077" y="1604078"/>
                </a:lnTo>
                <a:lnTo>
                  <a:pt x="379077" y="1601796"/>
                </a:lnTo>
                <a:lnTo>
                  <a:pt x="376793" y="1601796"/>
                </a:lnTo>
                <a:lnTo>
                  <a:pt x="374510" y="1601796"/>
                </a:lnTo>
                <a:lnTo>
                  <a:pt x="374510" y="1599514"/>
                </a:lnTo>
                <a:lnTo>
                  <a:pt x="372226" y="1599514"/>
                </a:lnTo>
                <a:lnTo>
                  <a:pt x="369943" y="1599514"/>
                </a:lnTo>
                <a:lnTo>
                  <a:pt x="367659" y="1599514"/>
                </a:lnTo>
                <a:lnTo>
                  <a:pt x="367659" y="1601796"/>
                </a:lnTo>
                <a:lnTo>
                  <a:pt x="365376" y="1601796"/>
                </a:lnTo>
                <a:lnTo>
                  <a:pt x="363092" y="1601796"/>
                </a:lnTo>
                <a:lnTo>
                  <a:pt x="363092" y="1599514"/>
                </a:lnTo>
                <a:lnTo>
                  <a:pt x="360808" y="1599514"/>
                </a:lnTo>
                <a:lnTo>
                  <a:pt x="358525" y="1599514"/>
                </a:lnTo>
                <a:lnTo>
                  <a:pt x="358525" y="1601796"/>
                </a:lnTo>
                <a:lnTo>
                  <a:pt x="356241" y="1601796"/>
                </a:lnTo>
                <a:lnTo>
                  <a:pt x="356241" y="1604078"/>
                </a:lnTo>
                <a:lnTo>
                  <a:pt x="356241" y="1606360"/>
                </a:lnTo>
                <a:lnTo>
                  <a:pt x="353958" y="1606360"/>
                </a:lnTo>
                <a:lnTo>
                  <a:pt x="351674" y="1606360"/>
                </a:lnTo>
                <a:lnTo>
                  <a:pt x="351674" y="1608642"/>
                </a:lnTo>
                <a:lnTo>
                  <a:pt x="349390" y="1608642"/>
                </a:lnTo>
                <a:lnTo>
                  <a:pt x="349390" y="1606360"/>
                </a:lnTo>
                <a:lnTo>
                  <a:pt x="347107" y="1606360"/>
                </a:lnTo>
                <a:lnTo>
                  <a:pt x="347107" y="1604078"/>
                </a:lnTo>
                <a:lnTo>
                  <a:pt x="344823" y="1604078"/>
                </a:lnTo>
                <a:lnTo>
                  <a:pt x="344823" y="1601796"/>
                </a:lnTo>
                <a:lnTo>
                  <a:pt x="342539" y="1601796"/>
                </a:lnTo>
                <a:lnTo>
                  <a:pt x="342539" y="1599514"/>
                </a:lnTo>
                <a:lnTo>
                  <a:pt x="340256" y="1599514"/>
                </a:lnTo>
                <a:lnTo>
                  <a:pt x="340256" y="1597232"/>
                </a:lnTo>
                <a:lnTo>
                  <a:pt x="340256" y="1594950"/>
                </a:lnTo>
                <a:lnTo>
                  <a:pt x="340256" y="1592668"/>
                </a:lnTo>
                <a:lnTo>
                  <a:pt x="337972" y="1592668"/>
                </a:lnTo>
                <a:lnTo>
                  <a:pt x="335689" y="1592668"/>
                </a:lnTo>
                <a:lnTo>
                  <a:pt x="335689" y="1590386"/>
                </a:lnTo>
                <a:lnTo>
                  <a:pt x="335689" y="1588104"/>
                </a:lnTo>
                <a:lnTo>
                  <a:pt x="333405" y="1588104"/>
                </a:lnTo>
                <a:lnTo>
                  <a:pt x="333405" y="1585823"/>
                </a:lnTo>
                <a:lnTo>
                  <a:pt x="331122" y="1585823"/>
                </a:lnTo>
                <a:lnTo>
                  <a:pt x="331122" y="1583541"/>
                </a:lnTo>
                <a:lnTo>
                  <a:pt x="328838" y="1583541"/>
                </a:lnTo>
                <a:lnTo>
                  <a:pt x="326554" y="1583541"/>
                </a:lnTo>
                <a:lnTo>
                  <a:pt x="326554" y="1581259"/>
                </a:lnTo>
                <a:lnTo>
                  <a:pt x="326554" y="1578977"/>
                </a:lnTo>
                <a:lnTo>
                  <a:pt x="324271" y="1578977"/>
                </a:lnTo>
                <a:lnTo>
                  <a:pt x="324271" y="1576695"/>
                </a:lnTo>
                <a:lnTo>
                  <a:pt x="321987" y="1576695"/>
                </a:lnTo>
                <a:lnTo>
                  <a:pt x="319704" y="1576695"/>
                </a:lnTo>
                <a:lnTo>
                  <a:pt x="319704" y="1578977"/>
                </a:lnTo>
                <a:lnTo>
                  <a:pt x="317420" y="1578977"/>
                </a:lnTo>
                <a:lnTo>
                  <a:pt x="315137" y="1578977"/>
                </a:lnTo>
                <a:lnTo>
                  <a:pt x="312853" y="1578977"/>
                </a:lnTo>
                <a:lnTo>
                  <a:pt x="310569" y="1576695"/>
                </a:lnTo>
                <a:lnTo>
                  <a:pt x="308286" y="1576695"/>
                </a:lnTo>
                <a:lnTo>
                  <a:pt x="308286" y="1574413"/>
                </a:lnTo>
                <a:lnTo>
                  <a:pt x="306002" y="1574413"/>
                </a:lnTo>
                <a:lnTo>
                  <a:pt x="306002" y="1572131"/>
                </a:lnTo>
                <a:lnTo>
                  <a:pt x="306002" y="1569849"/>
                </a:lnTo>
                <a:lnTo>
                  <a:pt x="303718" y="1569849"/>
                </a:lnTo>
                <a:lnTo>
                  <a:pt x="303718" y="1567567"/>
                </a:lnTo>
                <a:lnTo>
                  <a:pt x="301435" y="1567567"/>
                </a:lnTo>
                <a:lnTo>
                  <a:pt x="299151" y="1567567"/>
                </a:lnTo>
                <a:lnTo>
                  <a:pt x="299151" y="1565286"/>
                </a:lnTo>
                <a:lnTo>
                  <a:pt x="296868" y="1563004"/>
                </a:lnTo>
                <a:lnTo>
                  <a:pt x="296868" y="1560722"/>
                </a:lnTo>
                <a:lnTo>
                  <a:pt x="294584" y="1560722"/>
                </a:lnTo>
                <a:lnTo>
                  <a:pt x="294584" y="1558440"/>
                </a:lnTo>
                <a:lnTo>
                  <a:pt x="294584" y="1556158"/>
                </a:lnTo>
                <a:lnTo>
                  <a:pt x="296868" y="1556158"/>
                </a:lnTo>
                <a:lnTo>
                  <a:pt x="296868" y="1553876"/>
                </a:lnTo>
                <a:lnTo>
                  <a:pt x="294584" y="1553876"/>
                </a:lnTo>
                <a:lnTo>
                  <a:pt x="294584" y="1551594"/>
                </a:lnTo>
                <a:lnTo>
                  <a:pt x="292300" y="1551594"/>
                </a:lnTo>
                <a:lnTo>
                  <a:pt x="292300" y="1549312"/>
                </a:lnTo>
                <a:lnTo>
                  <a:pt x="292300" y="1547030"/>
                </a:lnTo>
                <a:lnTo>
                  <a:pt x="290017" y="1547030"/>
                </a:lnTo>
                <a:lnTo>
                  <a:pt x="290017" y="1544748"/>
                </a:lnTo>
                <a:lnTo>
                  <a:pt x="287733" y="1544748"/>
                </a:lnTo>
                <a:lnTo>
                  <a:pt x="285450" y="1544748"/>
                </a:lnTo>
                <a:lnTo>
                  <a:pt x="283166" y="1544748"/>
                </a:lnTo>
                <a:lnTo>
                  <a:pt x="283166" y="1542467"/>
                </a:lnTo>
                <a:lnTo>
                  <a:pt x="280883" y="1542467"/>
                </a:lnTo>
                <a:lnTo>
                  <a:pt x="280883" y="1540185"/>
                </a:lnTo>
                <a:lnTo>
                  <a:pt x="278599" y="1540185"/>
                </a:lnTo>
                <a:lnTo>
                  <a:pt x="278599" y="1537903"/>
                </a:lnTo>
                <a:lnTo>
                  <a:pt x="278599" y="1535621"/>
                </a:lnTo>
                <a:lnTo>
                  <a:pt x="276315" y="1535621"/>
                </a:lnTo>
                <a:lnTo>
                  <a:pt x="276315" y="1533339"/>
                </a:lnTo>
                <a:lnTo>
                  <a:pt x="276315" y="1531057"/>
                </a:lnTo>
                <a:lnTo>
                  <a:pt x="274032" y="1528775"/>
                </a:lnTo>
                <a:lnTo>
                  <a:pt x="274032" y="1526493"/>
                </a:lnTo>
                <a:lnTo>
                  <a:pt x="274032" y="1524211"/>
                </a:lnTo>
                <a:lnTo>
                  <a:pt x="271748" y="1524211"/>
                </a:lnTo>
                <a:lnTo>
                  <a:pt x="269464" y="1524211"/>
                </a:lnTo>
                <a:lnTo>
                  <a:pt x="269464" y="1521930"/>
                </a:lnTo>
                <a:lnTo>
                  <a:pt x="267181" y="1521930"/>
                </a:lnTo>
                <a:lnTo>
                  <a:pt x="264897" y="1521930"/>
                </a:lnTo>
                <a:lnTo>
                  <a:pt x="264897" y="1519648"/>
                </a:lnTo>
                <a:lnTo>
                  <a:pt x="262614" y="1519648"/>
                </a:lnTo>
                <a:lnTo>
                  <a:pt x="260330" y="1519648"/>
                </a:lnTo>
                <a:lnTo>
                  <a:pt x="258047" y="1519648"/>
                </a:lnTo>
                <a:lnTo>
                  <a:pt x="255763" y="1519648"/>
                </a:lnTo>
                <a:lnTo>
                  <a:pt x="255763" y="1521930"/>
                </a:lnTo>
                <a:lnTo>
                  <a:pt x="253479" y="1521930"/>
                </a:lnTo>
                <a:lnTo>
                  <a:pt x="253479" y="1519648"/>
                </a:lnTo>
                <a:lnTo>
                  <a:pt x="253479" y="1517366"/>
                </a:lnTo>
                <a:lnTo>
                  <a:pt x="251196" y="1515084"/>
                </a:lnTo>
                <a:lnTo>
                  <a:pt x="251196" y="1512802"/>
                </a:lnTo>
                <a:lnTo>
                  <a:pt x="253479" y="1512802"/>
                </a:lnTo>
                <a:lnTo>
                  <a:pt x="253479" y="1510520"/>
                </a:lnTo>
                <a:lnTo>
                  <a:pt x="253479" y="1508238"/>
                </a:lnTo>
                <a:lnTo>
                  <a:pt x="255763" y="1508238"/>
                </a:lnTo>
                <a:lnTo>
                  <a:pt x="255763" y="1505956"/>
                </a:lnTo>
                <a:lnTo>
                  <a:pt x="255763" y="1503674"/>
                </a:lnTo>
                <a:lnTo>
                  <a:pt x="255763" y="1501393"/>
                </a:lnTo>
                <a:lnTo>
                  <a:pt x="255763" y="1499111"/>
                </a:lnTo>
                <a:lnTo>
                  <a:pt x="253479" y="1499111"/>
                </a:lnTo>
                <a:lnTo>
                  <a:pt x="253479" y="1496829"/>
                </a:lnTo>
                <a:lnTo>
                  <a:pt x="253479" y="1494547"/>
                </a:lnTo>
                <a:lnTo>
                  <a:pt x="251196" y="1494547"/>
                </a:lnTo>
                <a:lnTo>
                  <a:pt x="251196" y="1492265"/>
                </a:lnTo>
                <a:lnTo>
                  <a:pt x="251196" y="1489983"/>
                </a:lnTo>
                <a:lnTo>
                  <a:pt x="248912" y="1489983"/>
                </a:lnTo>
                <a:lnTo>
                  <a:pt x="248912" y="1487701"/>
                </a:lnTo>
                <a:lnTo>
                  <a:pt x="246629" y="1487701"/>
                </a:lnTo>
                <a:lnTo>
                  <a:pt x="246629" y="1489983"/>
                </a:lnTo>
                <a:lnTo>
                  <a:pt x="244345" y="1489983"/>
                </a:lnTo>
                <a:lnTo>
                  <a:pt x="242061" y="1492265"/>
                </a:lnTo>
                <a:lnTo>
                  <a:pt x="239778" y="1492265"/>
                </a:lnTo>
                <a:lnTo>
                  <a:pt x="237494" y="1492265"/>
                </a:lnTo>
                <a:lnTo>
                  <a:pt x="235210" y="1492265"/>
                </a:lnTo>
                <a:lnTo>
                  <a:pt x="232927" y="1492265"/>
                </a:lnTo>
                <a:lnTo>
                  <a:pt x="232927" y="1489983"/>
                </a:lnTo>
                <a:lnTo>
                  <a:pt x="230643" y="1489983"/>
                </a:lnTo>
                <a:lnTo>
                  <a:pt x="230643" y="1487701"/>
                </a:lnTo>
                <a:lnTo>
                  <a:pt x="230643" y="1485429"/>
                </a:lnTo>
                <a:lnTo>
                  <a:pt x="228360" y="1485429"/>
                </a:lnTo>
                <a:lnTo>
                  <a:pt x="228360" y="1483147"/>
                </a:lnTo>
                <a:lnTo>
                  <a:pt x="226076" y="1483147"/>
                </a:lnTo>
                <a:lnTo>
                  <a:pt x="223793" y="1483147"/>
                </a:lnTo>
                <a:lnTo>
                  <a:pt x="223793" y="1480865"/>
                </a:lnTo>
                <a:lnTo>
                  <a:pt x="223793" y="1478583"/>
                </a:lnTo>
                <a:lnTo>
                  <a:pt x="221509" y="1478583"/>
                </a:lnTo>
                <a:lnTo>
                  <a:pt x="219225" y="1478583"/>
                </a:lnTo>
                <a:lnTo>
                  <a:pt x="219225" y="1476301"/>
                </a:lnTo>
                <a:lnTo>
                  <a:pt x="219225" y="1474019"/>
                </a:lnTo>
                <a:lnTo>
                  <a:pt x="221509" y="1474019"/>
                </a:lnTo>
                <a:lnTo>
                  <a:pt x="221509" y="1471737"/>
                </a:lnTo>
                <a:lnTo>
                  <a:pt x="221509" y="1469455"/>
                </a:lnTo>
                <a:lnTo>
                  <a:pt x="221509" y="1467174"/>
                </a:lnTo>
                <a:lnTo>
                  <a:pt x="221509" y="1464891"/>
                </a:lnTo>
                <a:lnTo>
                  <a:pt x="219225" y="1464891"/>
                </a:lnTo>
                <a:lnTo>
                  <a:pt x="216942" y="1464891"/>
                </a:lnTo>
                <a:lnTo>
                  <a:pt x="216942" y="1462610"/>
                </a:lnTo>
                <a:lnTo>
                  <a:pt x="214658" y="1462610"/>
                </a:lnTo>
                <a:lnTo>
                  <a:pt x="214658" y="1460328"/>
                </a:lnTo>
                <a:lnTo>
                  <a:pt x="212375" y="1460328"/>
                </a:lnTo>
                <a:lnTo>
                  <a:pt x="212375" y="1458046"/>
                </a:lnTo>
                <a:lnTo>
                  <a:pt x="212375" y="1455764"/>
                </a:lnTo>
                <a:lnTo>
                  <a:pt x="210091" y="1455764"/>
                </a:lnTo>
                <a:lnTo>
                  <a:pt x="207808" y="1455764"/>
                </a:lnTo>
                <a:lnTo>
                  <a:pt x="207808" y="1458046"/>
                </a:lnTo>
                <a:lnTo>
                  <a:pt x="205524" y="1458046"/>
                </a:lnTo>
                <a:lnTo>
                  <a:pt x="205524" y="1460328"/>
                </a:lnTo>
                <a:lnTo>
                  <a:pt x="205524" y="1458046"/>
                </a:lnTo>
                <a:lnTo>
                  <a:pt x="203240" y="1458046"/>
                </a:lnTo>
                <a:lnTo>
                  <a:pt x="200957" y="1458046"/>
                </a:lnTo>
                <a:lnTo>
                  <a:pt x="200957" y="1455764"/>
                </a:lnTo>
                <a:lnTo>
                  <a:pt x="200957" y="1453482"/>
                </a:lnTo>
                <a:lnTo>
                  <a:pt x="200957" y="1451200"/>
                </a:lnTo>
                <a:lnTo>
                  <a:pt x="200957" y="1448918"/>
                </a:lnTo>
                <a:lnTo>
                  <a:pt x="198673" y="1448918"/>
                </a:lnTo>
                <a:lnTo>
                  <a:pt x="198673" y="1446636"/>
                </a:lnTo>
                <a:lnTo>
                  <a:pt x="196389" y="1446636"/>
                </a:lnTo>
                <a:lnTo>
                  <a:pt x="196389" y="1444355"/>
                </a:lnTo>
                <a:lnTo>
                  <a:pt x="196389" y="1442073"/>
                </a:lnTo>
                <a:lnTo>
                  <a:pt x="196389" y="1439791"/>
                </a:lnTo>
                <a:lnTo>
                  <a:pt x="194106" y="1439791"/>
                </a:lnTo>
                <a:lnTo>
                  <a:pt x="194106" y="1437509"/>
                </a:lnTo>
                <a:lnTo>
                  <a:pt x="194106" y="1435227"/>
                </a:lnTo>
                <a:lnTo>
                  <a:pt x="194106" y="1432945"/>
                </a:lnTo>
                <a:lnTo>
                  <a:pt x="191822" y="1430663"/>
                </a:lnTo>
                <a:lnTo>
                  <a:pt x="191822" y="1428381"/>
                </a:lnTo>
                <a:lnTo>
                  <a:pt x="189539" y="1428381"/>
                </a:lnTo>
                <a:lnTo>
                  <a:pt x="189539" y="1426099"/>
                </a:lnTo>
                <a:lnTo>
                  <a:pt x="187255" y="1426099"/>
                </a:lnTo>
                <a:lnTo>
                  <a:pt x="184971" y="1426099"/>
                </a:lnTo>
                <a:lnTo>
                  <a:pt x="184971" y="1423818"/>
                </a:lnTo>
                <a:lnTo>
                  <a:pt x="182688" y="1423818"/>
                </a:lnTo>
                <a:lnTo>
                  <a:pt x="180404" y="1423818"/>
                </a:lnTo>
                <a:lnTo>
                  <a:pt x="180404" y="1421535"/>
                </a:lnTo>
                <a:lnTo>
                  <a:pt x="178121" y="1421535"/>
                </a:lnTo>
                <a:lnTo>
                  <a:pt x="178121" y="1419254"/>
                </a:lnTo>
                <a:lnTo>
                  <a:pt x="180404" y="1419254"/>
                </a:lnTo>
                <a:lnTo>
                  <a:pt x="180404" y="1416972"/>
                </a:lnTo>
                <a:lnTo>
                  <a:pt x="180404" y="1414690"/>
                </a:lnTo>
                <a:lnTo>
                  <a:pt x="180404" y="1412408"/>
                </a:lnTo>
                <a:lnTo>
                  <a:pt x="178121" y="1412408"/>
                </a:lnTo>
                <a:lnTo>
                  <a:pt x="178121" y="1410126"/>
                </a:lnTo>
                <a:lnTo>
                  <a:pt x="175837" y="1410126"/>
                </a:lnTo>
                <a:lnTo>
                  <a:pt x="175837" y="1407844"/>
                </a:lnTo>
                <a:lnTo>
                  <a:pt x="173554" y="1407844"/>
                </a:lnTo>
                <a:lnTo>
                  <a:pt x="171270" y="1407844"/>
                </a:lnTo>
                <a:lnTo>
                  <a:pt x="171270" y="1405562"/>
                </a:lnTo>
                <a:lnTo>
                  <a:pt x="171270" y="1403280"/>
                </a:lnTo>
                <a:lnTo>
                  <a:pt x="171270" y="1400999"/>
                </a:lnTo>
                <a:lnTo>
                  <a:pt x="168986" y="1400999"/>
                </a:lnTo>
                <a:lnTo>
                  <a:pt x="168986" y="1398717"/>
                </a:lnTo>
                <a:lnTo>
                  <a:pt x="166703" y="1398717"/>
                </a:lnTo>
                <a:lnTo>
                  <a:pt x="166703" y="1396435"/>
                </a:lnTo>
                <a:lnTo>
                  <a:pt x="164419" y="1396435"/>
                </a:lnTo>
                <a:lnTo>
                  <a:pt x="164419" y="1394153"/>
                </a:lnTo>
                <a:lnTo>
                  <a:pt x="164419" y="1391871"/>
                </a:lnTo>
                <a:lnTo>
                  <a:pt x="164419" y="1389589"/>
                </a:lnTo>
                <a:lnTo>
                  <a:pt x="164419" y="1387307"/>
                </a:lnTo>
                <a:lnTo>
                  <a:pt x="166703" y="1387307"/>
                </a:lnTo>
                <a:lnTo>
                  <a:pt x="166703" y="1385025"/>
                </a:lnTo>
                <a:lnTo>
                  <a:pt x="168986" y="1385025"/>
                </a:lnTo>
                <a:lnTo>
                  <a:pt x="168986" y="1382743"/>
                </a:lnTo>
                <a:lnTo>
                  <a:pt x="166703" y="1382743"/>
                </a:lnTo>
                <a:lnTo>
                  <a:pt x="166703" y="1380462"/>
                </a:lnTo>
                <a:lnTo>
                  <a:pt x="166703" y="1378179"/>
                </a:lnTo>
                <a:lnTo>
                  <a:pt x="164419" y="1378179"/>
                </a:lnTo>
                <a:lnTo>
                  <a:pt x="164419" y="1375898"/>
                </a:lnTo>
                <a:lnTo>
                  <a:pt x="164419" y="1373616"/>
                </a:lnTo>
                <a:lnTo>
                  <a:pt x="162135" y="1373616"/>
                </a:lnTo>
                <a:lnTo>
                  <a:pt x="159852" y="1373616"/>
                </a:lnTo>
                <a:lnTo>
                  <a:pt x="159852" y="1371334"/>
                </a:lnTo>
                <a:lnTo>
                  <a:pt x="157568" y="1371334"/>
                </a:lnTo>
                <a:lnTo>
                  <a:pt x="155285" y="1371334"/>
                </a:lnTo>
                <a:lnTo>
                  <a:pt x="153001" y="1371334"/>
                </a:lnTo>
                <a:lnTo>
                  <a:pt x="150718" y="1371334"/>
                </a:lnTo>
                <a:lnTo>
                  <a:pt x="148434" y="1371334"/>
                </a:lnTo>
                <a:lnTo>
                  <a:pt x="148434" y="1369052"/>
                </a:lnTo>
                <a:lnTo>
                  <a:pt x="146150" y="1369052"/>
                </a:lnTo>
                <a:lnTo>
                  <a:pt x="146150" y="1371334"/>
                </a:lnTo>
                <a:lnTo>
                  <a:pt x="143867" y="1371334"/>
                </a:lnTo>
                <a:lnTo>
                  <a:pt x="143867" y="1369052"/>
                </a:lnTo>
                <a:lnTo>
                  <a:pt x="141583" y="1371334"/>
                </a:lnTo>
                <a:lnTo>
                  <a:pt x="139300" y="1371334"/>
                </a:lnTo>
                <a:lnTo>
                  <a:pt x="137016" y="1371334"/>
                </a:lnTo>
                <a:lnTo>
                  <a:pt x="134732" y="1371334"/>
                </a:lnTo>
                <a:lnTo>
                  <a:pt x="134732" y="1369052"/>
                </a:lnTo>
                <a:lnTo>
                  <a:pt x="132449" y="1369052"/>
                </a:lnTo>
                <a:lnTo>
                  <a:pt x="130165" y="1369052"/>
                </a:lnTo>
                <a:lnTo>
                  <a:pt x="130165" y="1366770"/>
                </a:lnTo>
                <a:lnTo>
                  <a:pt x="127881" y="1366770"/>
                </a:lnTo>
                <a:lnTo>
                  <a:pt x="125598" y="1366770"/>
                </a:lnTo>
                <a:lnTo>
                  <a:pt x="123314" y="1366770"/>
                </a:lnTo>
                <a:lnTo>
                  <a:pt x="121031" y="1366770"/>
                </a:lnTo>
                <a:lnTo>
                  <a:pt x="121031" y="1364488"/>
                </a:lnTo>
                <a:lnTo>
                  <a:pt x="118747" y="1364488"/>
                </a:lnTo>
                <a:lnTo>
                  <a:pt x="118747" y="1362206"/>
                </a:lnTo>
                <a:lnTo>
                  <a:pt x="118747" y="1359924"/>
                </a:lnTo>
                <a:lnTo>
                  <a:pt x="118747" y="1357642"/>
                </a:lnTo>
                <a:lnTo>
                  <a:pt x="116464" y="1357642"/>
                </a:lnTo>
                <a:lnTo>
                  <a:pt x="116464" y="1355361"/>
                </a:lnTo>
                <a:lnTo>
                  <a:pt x="116464" y="1353079"/>
                </a:lnTo>
                <a:lnTo>
                  <a:pt x="116464" y="1350797"/>
                </a:lnTo>
                <a:lnTo>
                  <a:pt x="116464" y="1348515"/>
                </a:lnTo>
                <a:lnTo>
                  <a:pt x="116464" y="1346233"/>
                </a:lnTo>
                <a:lnTo>
                  <a:pt x="116464" y="1343951"/>
                </a:lnTo>
                <a:lnTo>
                  <a:pt x="116464" y="1341669"/>
                </a:lnTo>
                <a:lnTo>
                  <a:pt x="116464" y="1339387"/>
                </a:lnTo>
                <a:lnTo>
                  <a:pt x="116464" y="1337115"/>
                </a:lnTo>
                <a:lnTo>
                  <a:pt x="116464" y="1334823"/>
                </a:lnTo>
                <a:lnTo>
                  <a:pt x="114180" y="1334823"/>
                </a:lnTo>
                <a:lnTo>
                  <a:pt x="114180" y="1332542"/>
                </a:lnTo>
                <a:lnTo>
                  <a:pt x="111896" y="1332542"/>
                </a:lnTo>
                <a:lnTo>
                  <a:pt x="111896" y="1334823"/>
                </a:lnTo>
                <a:lnTo>
                  <a:pt x="109613" y="1334823"/>
                </a:lnTo>
                <a:lnTo>
                  <a:pt x="109613" y="1337115"/>
                </a:lnTo>
                <a:lnTo>
                  <a:pt x="109613" y="1339387"/>
                </a:lnTo>
                <a:lnTo>
                  <a:pt x="107329" y="1339387"/>
                </a:lnTo>
                <a:lnTo>
                  <a:pt x="105046" y="1339387"/>
                </a:lnTo>
                <a:lnTo>
                  <a:pt x="102762" y="1339387"/>
                </a:lnTo>
                <a:lnTo>
                  <a:pt x="100479" y="1339387"/>
                </a:lnTo>
                <a:lnTo>
                  <a:pt x="98195" y="1339387"/>
                </a:lnTo>
                <a:lnTo>
                  <a:pt x="95911" y="1339387"/>
                </a:lnTo>
                <a:lnTo>
                  <a:pt x="93628" y="1339387"/>
                </a:lnTo>
                <a:lnTo>
                  <a:pt x="93628" y="1337115"/>
                </a:lnTo>
                <a:lnTo>
                  <a:pt x="91344" y="1337115"/>
                </a:lnTo>
                <a:lnTo>
                  <a:pt x="91344" y="1334823"/>
                </a:lnTo>
                <a:lnTo>
                  <a:pt x="89060" y="1334823"/>
                </a:lnTo>
                <a:lnTo>
                  <a:pt x="89060" y="1332542"/>
                </a:lnTo>
                <a:lnTo>
                  <a:pt x="86777" y="1332542"/>
                </a:lnTo>
                <a:lnTo>
                  <a:pt x="84493" y="1332542"/>
                </a:lnTo>
                <a:lnTo>
                  <a:pt x="84493" y="1330269"/>
                </a:lnTo>
                <a:lnTo>
                  <a:pt x="82210" y="1330269"/>
                </a:lnTo>
                <a:lnTo>
                  <a:pt x="82210" y="1327987"/>
                </a:lnTo>
                <a:lnTo>
                  <a:pt x="79926" y="1327987"/>
                </a:lnTo>
                <a:lnTo>
                  <a:pt x="79926" y="1325706"/>
                </a:lnTo>
                <a:lnTo>
                  <a:pt x="79926" y="1323423"/>
                </a:lnTo>
                <a:lnTo>
                  <a:pt x="77642" y="1323423"/>
                </a:lnTo>
                <a:lnTo>
                  <a:pt x="77642" y="1321142"/>
                </a:lnTo>
                <a:lnTo>
                  <a:pt x="77642" y="1318860"/>
                </a:lnTo>
                <a:lnTo>
                  <a:pt x="75359" y="1318860"/>
                </a:lnTo>
                <a:lnTo>
                  <a:pt x="75359" y="1316578"/>
                </a:lnTo>
                <a:lnTo>
                  <a:pt x="75359" y="1314296"/>
                </a:lnTo>
                <a:lnTo>
                  <a:pt x="73075" y="1312014"/>
                </a:lnTo>
                <a:lnTo>
                  <a:pt x="70792" y="1312014"/>
                </a:lnTo>
                <a:lnTo>
                  <a:pt x="68508" y="1312014"/>
                </a:lnTo>
                <a:lnTo>
                  <a:pt x="66225" y="1312014"/>
                </a:lnTo>
                <a:lnTo>
                  <a:pt x="63941" y="1312014"/>
                </a:lnTo>
                <a:lnTo>
                  <a:pt x="61657" y="1312014"/>
                </a:lnTo>
                <a:lnTo>
                  <a:pt x="59374" y="1312014"/>
                </a:lnTo>
                <a:lnTo>
                  <a:pt x="59374" y="1309732"/>
                </a:lnTo>
                <a:lnTo>
                  <a:pt x="57090" y="1309732"/>
                </a:lnTo>
                <a:lnTo>
                  <a:pt x="57090" y="1307450"/>
                </a:lnTo>
                <a:lnTo>
                  <a:pt x="57090" y="1305168"/>
                </a:lnTo>
                <a:lnTo>
                  <a:pt x="57090" y="1302887"/>
                </a:lnTo>
                <a:lnTo>
                  <a:pt x="57090" y="1300605"/>
                </a:lnTo>
                <a:lnTo>
                  <a:pt x="54806" y="1300605"/>
                </a:lnTo>
                <a:lnTo>
                  <a:pt x="52523" y="1300605"/>
                </a:lnTo>
                <a:lnTo>
                  <a:pt x="52523" y="1298323"/>
                </a:lnTo>
                <a:lnTo>
                  <a:pt x="50239" y="1298323"/>
                </a:lnTo>
                <a:lnTo>
                  <a:pt x="47956" y="1298323"/>
                </a:lnTo>
                <a:lnTo>
                  <a:pt x="45672" y="1298323"/>
                </a:lnTo>
                <a:lnTo>
                  <a:pt x="43389" y="1298323"/>
                </a:lnTo>
                <a:lnTo>
                  <a:pt x="41105" y="1298323"/>
                </a:lnTo>
                <a:lnTo>
                  <a:pt x="38821" y="1298323"/>
                </a:lnTo>
                <a:lnTo>
                  <a:pt x="38821" y="1300605"/>
                </a:lnTo>
                <a:lnTo>
                  <a:pt x="36538" y="1300605"/>
                </a:lnTo>
                <a:lnTo>
                  <a:pt x="34254" y="1300605"/>
                </a:lnTo>
                <a:lnTo>
                  <a:pt x="34254" y="1298323"/>
                </a:lnTo>
                <a:lnTo>
                  <a:pt x="31970" y="1298323"/>
                </a:lnTo>
                <a:lnTo>
                  <a:pt x="31970" y="1296041"/>
                </a:lnTo>
                <a:lnTo>
                  <a:pt x="29687" y="1296041"/>
                </a:lnTo>
                <a:lnTo>
                  <a:pt x="29687" y="1293759"/>
                </a:lnTo>
                <a:lnTo>
                  <a:pt x="27403" y="1293759"/>
                </a:lnTo>
                <a:lnTo>
                  <a:pt x="25120" y="1291477"/>
                </a:lnTo>
                <a:lnTo>
                  <a:pt x="22836" y="1291477"/>
                </a:lnTo>
                <a:lnTo>
                  <a:pt x="22836" y="1289195"/>
                </a:lnTo>
                <a:lnTo>
                  <a:pt x="22836" y="1286913"/>
                </a:lnTo>
                <a:lnTo>
                  <a:pt x="20552" y="1286913"/>
                </a:lnTo>
                <a:lnTo>
                  <a:pt x="20552" y="1284631"/>
                </a:lnTo>
                <a:lnTo>
                  <a:pt x="20552" y="1282350"/>
                </a:lnTo>
                <a:lnTo>
                  <a:pt x="18269" y="1282350"/>
                </a:lnTo>
                <a:lnTo>
                  <a:pt x="18269" y="1280067"/>
                </a:lnTo>
                <a:lnTo>
                  <a:pt x="15985" y="1277786"/>
                </a:lnTo>
                <a:lnTo>
                  <a:pt x="15985" y="1275504"/>
                </a:lnTo>
                <a:lnTo>
                  <a:pt x="13702" y="1275504"/>
                </a:lnTo>
                <a:lnTo>
                  <a:pt x="13702" y="1273222"/>
                </a:lnTo>
                <a:lnTo>
                  <a:pt x="13702" y="1270940"/>
                </a:lnTo>
                <a:lnTo>
                  <a:pt x="13702" y="1268658"/>
                </a:lnTo>
                <a:lnTo>
                  <a:pt x="11418" y="1268658"/>
                </a:lnTo>
                <a:lnTo>
                  <a:pt x="11418" y="1266376"/>
                </a:lnTo>
                <a:lnTo>
                  <a:pt x="11418" y="1264094"/>
                </a:lnTo>
                <a:lnTo>
                  <a:pt x="9135" y="1264094"/>
                </a:lnTo>
                <a:lnTo>
                  <a:pt x="9135" y="1261812"/>
                </a:lnTo>
                <a:lnTo>
                  <a:pt x="6851" y="1261812"/>
                </a:lnTo>
                <a:lnTo>
                  <a:pt x="4567" y="1261812"/>
                </a:lnTo>
                <a:lnTo>
                  <a:pt x="4567" y="1259530"/>
                </a:lnTo>
                <a:lnTo>
                  <a:pt x="2284" y="1259530"/>
                </a:lnTo>
                <a:lnTo>
                  <a:pt x="2284" y="1257249"/>
                </a:lnTo>
                <a:lnTo>
                  <a:pt x="0" y="1257249"/>
                </a:lnTo>
                <a:lnTo>
                  <a:pt x="0" y="1254967"/>
                </a:lnTo>
                <a:lnTo>
                  <a:pt x="0" y="1252685"/>
                </a:lnTo>
                <a:lnTo>
                  <a:pt x="2284" y="1252685"/>
                </a:lnTo>
                <a:lnTo>
                  <a:pt x="2284" y="1250403"/>
                </a:lnTo>
                <a:lnTo>
                  <a:pt x="2284" y="1248121"/>
                </a:lnTo>
                <a:lnTo>
                  <a:pt x="2284" y="1245839"/>
                </a:lnTo>
                <a:lnTo>
                  <a:pt x="2284" y="1243557"/>
                </a:lnTo>
                <a:lnTo>
                  <a:pt x="2284" y="1241275"/>
                </a:lnTo>
                <a:lnTo>
                  <a:pt x="2284" y="1238994"/>
                </a:lnTo>
                <a:lnTo>
                  <a:pt x="2284" y="1236711"/>
                </a:lnTo>
                <a:lnTo>
                  <a:pt x="0" y="1236711"/>
                </a:lnTo>
                <a:lnTo>
                  <a:pt x="0" y="1234430"/>
                </a:lnTo>
                <a:lnTo>
                  <a:pt x="2284" y="1229866"/>
                </a:lnTo>
                <a:lnTo>
                  <a:pt x="4567" y="1225302"/>
                </a:lnTo>
                <a:lnTo>
                  <a:pt x="6851" y="1220738"/>
                </a:lnTo>
                <a:lnTo>
                  <a:pt x="9135" y="1216174"/>
                </a:lnTo>
                <a:lnTo>
                  <a:pt x="11418" y="1211611"/>
                </a:lnTo>
                <a:lnTo>
                  <a:pt x="13702" y="1207047"/>
                </a:lnTo>
                <a:lnTo>
                  <a:pt x="15985" y="1200201"/>
                </a:lnTo>
                <a:lnTo>
                  <a:pt x="18269" y="1195637"/>
                </a:lnTo>
                <a:lnTo>
                  <a:pt x="20552" y="1191074"/>
                </a:lnTo>
                <a:lnTo>
                  <a:pt x="22836" y="1186510"/>
                </a:lnTo>
                <a:lnTo>
                  <a:pt x="22836" y="1184228"/>
                </a:lnTo>
                <a:lnTo>
                  <a:pt x="27403" y="1172828"/>
                </a:lnTo>
                <a:lnTo>
                  <a:pt x="34254" y="1159137"/>
                </a:lnTo>
                <a:lnTo>
                  <a:pt x="43389" y="1140882"/>
                </a:lnTo>
                <a:lnTo>
                  <a:pt x="45672" y="1136318"/>
                </a:lnTo>
                <a:lnTo>
                  <a:pt x="50239" y="1124908"/>
                </a:lnTo>
                <a:lnTo>
                  <a:pt x="57090" y="1111217"/>
                </a:lnTo>
                <a:lnTo>
                  <a:pt x="57090" y="1106653"/>
                </a:lnTo>
                <a:lnTo>
                  <a:pt x="61657" y="1102089"/>
                </a:lnTo>
                <a:lnTo>
                  <a:pt x="63941" y="1092962"/>
                </a:lnTo>
                <a:lnTo>
                  <a:pt x="68508" y="1083834"/>
                </a:lnTo>
                <a:lnTo>
                  <a:pt x="70792" y="1076988"/>
                </a:lnTo>
                <a:lnTo>
                  <a:pt x="73075" y="1076988"/>
                </a:lnTo>
                <a:lnTo>
                  <a:pt x="73075" y="1074706"/>
                </a:lnTo>
                <a:lnTo>
                  <a:pt x="77642" y="1061015"/>
                </a:lnTo>
                <a:lnTo>
                  <a:pt x="79926" y="1058733"/>
                </a:lnTo>
                <a:lnTo>
                  <a:pt x="79926" y="1056451"/>
                </a:lnTo>
                <a:lnTo>
                  <a:pt x="82210" y="1056451"/>
                </a:lnTo>
                <a:lnTo>
                  <a:pt x="82210" y="1051887"/>
                </a:lnTo>
                <a:lnTo>
                  <a:pt x="84493" y="1051887"/>
                </a:lnTo>
                <a:lnTo>
                  <a:pt x="84493" y="1047324"/>
                </a:lnTo>
                <a:lnTo>
                  <a:pt x="86777" y="1042760"/>
                </a:lnTo>
                <a:lnTo>
                  <a:pt x="89060" y="1040478"/>
                </a:lnTo>
                <a:lnTo>
                  <a:pt x="93628" y="1031350"/>
                </a:lnTo>
                <a:lnTo>
                  <a:pt x="95911" y="1022223"/>
                </a:lnTo>
                <a:lnTo>
                  <a:pt x="98195" y="1019950"/>
                </a:lnTo>
                <a:lnTo>
                  <a:pt x="98195" y="1015387"/>
                </a:lnTo>
                <a:lnTo>
                  <a:pt x="100479" y="1013105"/>
                </a:lnTo>
                <a:lnTo>
                  <a:pt x="102762" y="1008541"/>
                </a:lnTo>
                <a:lnTo>
                  <a:pt x="105046" y="1001695"/>
                </a:lnTo>
                <a:lnTo>
                  <a:pt x="107329" y="999413"/>
                </a:lnTo>
                <a:lnTo>
                  <a:pt x="107329" y="997131"/>
                </a:lnTo>
                <a:lnTo>
                  <a:pt x="107329" y="994850"/>
                </a:lnTo>
                <a:lnTo>
                  <a:pt x="109613" y="994850"/>
                </a:lnTo>
                <a:lnTo>
                  <a:pt x="109613" y="992568"/>
                </a:lnTo>
                <a:lnTo>
                  <a:pt x="111896" y="988004"/>
                </a:lnTo>
                <a:lnTo>
                  <a:pt x="116464" y="981158"/>
                </a:lnTo>
                <a:lnTo>
                  <a:pt x="116464" y="978876"/>
                </a:lnTo>
                <a:lnTo>
                  <a:pt x="116464" y="976594"/>
                </a:lnTo>
                <a:lnTo>
                  <a:pt x="118747" y="974313"/>
                </a:lnTo>
                <a:lnTo>
                  <a:pt x="118747" y="972031"/>
                </a:lnTo>
                <a:lnTo>
                  <a:pt x="123314" y="965185"/>
                </a:lnTo>
                <a:lnTo>
                  <a:pt x="125598" y="960621"/>
                </a:lnTo>
                <a:lnTo>
                  <a:pt x="125598" y="956057"/>
                </a:lnTo>
                <a:lnTo>
                  <a:pt x="127881" y="951494"/>
                </a:lnTo>
                <a:lnTo>
                  <a:pt x="130165" y="946930"/>
                </a:lnTo>
                <a:lnTo>
                  <a:pt x="132449" y="944648"/>
                </a:lnTo>
                <a:lnTo>
                  <a:pt x="132449" y="942366"/>
                </a:lnTo>
                <a:lnTo>
                  <a:pt x="139300" y="930957"/>
                </a:lnTo>
                <a:lnTo>
                  <a:pt x="146150" y="917265"/>
                </a:lnTo>
                <a:lnTo>
                  <a:pt x="146150" y="914983"/>
                </a:lnTo>
                <a:lnTo>
                  <a:pt x="153001" y="901292"/>
                </a:lnTo>
                <a:lnTo>
                  <a:pt x="153001" y="899010"/>
                </a:lnTo>
                <a:lnTo>
                  <a:pt x="155285" y="894446"/>
                </a:lnTo>
                <a:lnTo>
                  <a:pt x="157568" y="892164"/>
                </a:lnTo>
                <a:lnTo>
                  <a:pt x="157568" y="889882"/>
                </a:lnTo>
                <a:lnTo>
                  <a:pt x="157568" y="887601"/>
                </a:lnTo>
                <a:lnTo>
                  <a:pt x="159852" y="887601"/>
                </a:lnTo>
                <a:lnTo>
                  <a:pt x="159852" y="885318"/>
                </a:lnTo>
                <a:lnTo>
                  <a:pt x="162135" y="883037"/>
                </a:lnTo>
                <a:lnTo>
                  <a:pt x="162135" y="880755"/>
                </a:lnTo>
                <a:lnTo>
                  <a:pt x="162135" y="878473"/>
                </a:lnTo>
                <a:lnTo>
                  <a:pt x="164419" y="878473"/>
                </a:lnTo>
                <a:lnTo>
                  <a:pt x="164419" y="873909"/>
                </a:lnTo>
                <a:lnTo>
                  <a:pt x="166703" y="869345"/>
                </a:lnTo>
                <a:lnTo>
                  <a:pt x="168986" y="869345"/>
                </a:lnTo>
                <a:lnTo>
                  <a:pt x="168986" y="867063"/>
                </a:lnTo>
                <a:lnTo>
                  <a:pt x="168986" y="864782"/>
                </a:lnTo>
                <a:lnTo>
                  <a:pt x="171270" y="862509"/>
                </a:lnTo>
                <a:lnTo>
                  <a:pt x="171270" y="860227"/>
                </a:lnTo>
                <a:lnTo>
                  <a:pt x="171270" y="857945"/>
                </a:lnTo>
                <a:lnTo>
                  <a:pt x="173554" y="857945"/>
                </a:lnTo>
                <a:lnTo>
                  <a:pt x="173554" y="855663"/>
                </a:lnTo>
                <a:lnTo>
                  <a:pt x="173554" y="853382"/>
                </a:lnTo>
                <a:lnTo>
                  <a:pt x="175837" y="853382"/>
                </a:lnTo>
                <a:lnTo>
                  <a:pt x="175837" y="851100"/>
                </a:lnTo>
                <a:lnTo>
                  <a:pt x="175837" y="848818"/>
                </a:lnTo>
                <a:lnTo>
                  <a:pt x="178121" y="848818"/>
                </a:lnTo>
                <a:lnTo>
                  <a:pt x="178121" y="846536"/>
                </a:lnTo>
                <a:lnTo>
                  <a:pt x="178121" y="844254"/>
                </a:lnTo>
                <a:lnTo>
                  <a:pt x="180404" y="844254"/>
                </a:lnTo>
                <a:lnTo>
                  <a:pt x="180404" y="841972"/>
                </a:lnTo>
                <a:lnTo>
                  <a:pt x="184971" y="832844"/>
                </a:lnTo>
                <a:lnTo>
                  <a:pt x="184971" y="830563"/>
                </a:lnTo>
                <a:lnTo>
                  <a:pt x="187255" y="828281"/>
                </a:lnTo>
                <a:lnTo>
                  <a:pt x="189539" y="823717"/>
                </a:lnTo>
                <a:lnTo>
                  <a:pt x="189539" y="821435"/>
                </a:lnTo>
                <a:lnTo>
                  <a:pt x="191822" y="819153"/>
                </a:lnTo>
                <a:lnTo>
                  <a:pt x="189539" y="816871"/>
                </a:lnTo>
                <a:lnTo>
                  <a:pt x="187255" y="816871"/>
                </a:lnTo>
                <a:lnTo>
                  <a:pt x="182688" y="816871"/>
                </a:lnTo>
                <a:lnTo>
                  <a:pt x="182688" y="814589"/>
                </a:lnTo>
                <a:lnTo>
                  <a:pt x="180404" y="814589"/>
                </a:lnTo>
                <a:lnTo>
                  <a:pt x="178121" y="814589"/>
                </a:lnTo>
                <a:lnTo>
                  <a:pt x="175837" y="814589"/>
                </a:lnTo>
                <a:lnTo>
                  <a:pt x="173554" y="812307"/>
                </a:lnTo>
                <a:lnTo>
                  <a:pt x="171270" y="812307"/>
                </a:lnTo>
                <a:lnTo>
                  <a:pt x="168986" y="812307"/>
                </a:lnTo>
                <a:lnTo>
                  <a:pt x="166703" y="810026"/>
                </a:lnTo>
                <a:lnTo>
                  <a:pt x="164419" y="810026"/>
                </a:lnTo>
                <a:lnTo>
                  <a:pt x="164419" y="807744"/>
                </a:lnTo>
                <a:lnTo>
                  <a:pt x="166703" y="805462"/>
                </a:lnTo>
                <a:lnTo>
                  <a:pt x="166703" y="803180"/>
                </a:lnTo>
                <a:lnTo>
                  <a:pt x="166703" y="800898"/>
                </a:lnTo>
                <a:lnTo>
                  <a:pt x="168986" y="798616"/>
                </a:lnTo>
                <a:lnTo>
                  <a:pt x="171270" y="789488"/>
                </a:lnTo>
                <a:lnTo>
                  <a:pt x="173554" y="780361"/>
                </a:lnTo>
                <a:lnTo>
                  <a:pt x="175837" y="773515"/>
                </a:lnTo>
                <a:lnTo>
                  <a:pt x="178121" y="764388"/>
                </a:lnTo>
                <a:lnTo>
                  <a:pt x="171270" y="759824"/>
                </a:lnTo>
                <a:lnTo>
                  <a:pt x="173554" y="755260"/>
                </a:lnTo>
                <a:lnTo>
                  <a:pt x="175837" y="750696"/>
                </a:lnTo>
                <a:lnTo>
                  <a:pt x="180404" y="746132"/>
                </a:lnTo>
                <a:lnTo>
                  <a:pt x="182688" y="741569"/>
                </a:lnTo>
                <a:lnTo>
                  <a:pt x="184971" y="743850"/>
                </a:lnTo>
                <a:lnTo>
                  <a:pt x="187255" y="737005"/>
                </a:lnTo>
                <a:lnTo>
                  <a:pt x="187255" y="732441"/>
                </a:lnTo>
                <a:lnTo>
                  <a:pt x="189539" y="730159"/>
                </a:lnTo>
                <a:lnTo>
                  <a:pt x="189539" y="727877"/>
                </a:lnTo>
                <a:lnTo>
                  <a:pt x="191822" y="723314"/>
                </a:lnTo>
                <a:lnTo>
                  <a:pt x="196389" y="707340"/>
                </a:lnTo>
                <a:lnTo>
                  <a:pt x="196389" y="702786"/>
                </a:lnTo>
                <a:lnTo>
                  <a:pt x="198673" y="693658"/>
                </a:lnTo>
                <a:lnTo>
                  <a:pt x="200957" y="691376"/>
                </a:lnTo>
                <a:lnTo>
                  <a:pt x="203240" y="684531"/>
                </a:lnTo>
                <a:lnTo>
                  <a:pt x="200957" y="684531"/>
                </a:lnTo>
                <a:lnTo>
                  <a:pt x="198673" y="684531"/>
                </a:lnTo>
                <a:lnTo>
                  <a:pt x="196389" y="684531"/>
                </a:lnTo>
                <a:lnTo>
                  <a:pt x="191822" y="682249"/>
                </a:lnTo>
                <a:lnTo>
                  <a:pt x="189539" y="679967"/>
                </a:lnTo>
                <a:lnTo>
                  <a:pt x="184971" y="679967"/>
                </a:lnTo>
                <a:lnTo>
                  <a:pt x="184971" y="677685"/>
                </a:lnTo>
                <a:lnTo>
                  <a:pt x="182688" y="673121"/>
                </a:lnTo>
                <a:lnTo>
                  <a:pt x="180404" y="670839"/>
                </a:lnTo>
                <a:lnTo>
                  <a:pt x="180404" y="668558"/>
                </a:lnTo>
                <a:lnTo>
                  <a:pt x="178121" y="666275"/>
                </a:lnTo>
                <a:lnTo>
                  <a:pt x="178121" y="663994"/>
                </a:lnTo>
                <a:lnTo>
                  <a:pt x="180404" y="663994"/>
                </a:lnTo>
                <a:lnTo>
                  <a:pt x="182688" y="663994"/>
                </a:lnTo>
                <a:lnTo>
                  <a:pt x="189539" y="663994"/>
                </a:lnTo>
                <a:lnTo>
                  <a:pt x="191822" y="663994"/>
                </a:lnTo>
                <a:lnTo>
                  <a:pt x="194106" y="659430"/>
                </a:lnTo>
                <a:lnTo>
                  <a:pt x="196389" y="654866"/>
                </a:lnTo>
                <a:lnTo>
                  <a:pt x="198673" y="652584"/>
                </a:lnTo>
                <a:lnTo>
                  <a:pt x="200957" y="652584"/>
                </a:lnTo>
                <a:lnTo>
                  <a:pt x="203240" y="654866"/>
                </a:lnTo>
                <a:lnTo>
                  <a:pt x="205524" y="654866"/>
                </a:lnTo>
                <a:lnTo>
                  <a:pt x="207808" y="654866"/>
                </a:lnTo>
                <a:lnTo>
                  <a:pt x="210091" y="654866"/>
                </a:lnTo>
                <a:lnTo>
                  <a:pt x="212375" y="654866"/>
                </a:lnTo>
                <a:lnTo>
                  <a:pt x="212375" y="652584"/>
                </a:lnTo>
                <a:lnTo>
                  <a:pt x="212375" y="650302"/>
                </a:lnTo>
                <a:lnTo>
                  <a:pt x="214658" y="641175"/>
                </a:lnTo>
                <a:lnTo>
                  <a:pt x="216942" y="634329"/>
                </a:lnTo>
                <a:lnTo>
                  <a:pt x="221509" y="622919"/>
                </a:lnTo>
                <a:lnTo>
                  <a:pt x="221509" y="618356"/>
                </a:lnTo>
                <a:lnTo>
                  <a:pt x="223793" y="611510"/>
                </a:lnTo>
                <a:lnTo>
                  <a:pt x="228360" y="602382"/>
                </a:lnTo>
                <a:lnTo>
                  <a:pt x="230643" y="588691"/>
                </a:lnTo>
                <a:lnTo>
                  <a:pt x="232927" y="581845"/>
                </a:lnTo>
                <a:lnTo>
                  <a:pt x="235210" y="581845"/>
                </a:lnTo>
                <a:lnTo>
                  <a:pt x="235210" y="579563"/>
                </a:lnTo>
                <a:lnTo>
                  <a:pt x="237494" y="579563"/>
                </a:lnTo>
                <a:lnTo>
                  <a:pt x="239778" y="579563"/>
                </a:lnTo>
                <a:lnTo>
                  <a:pt x="242061" y="579563"/>
                </a:lnTo>
                <a:lnTo>
                  <a:pt x="244345" y="579563"/>
                </a:lnTo>
                <a:lnTo>
                  <a:pt x="246629" y="579563"/>
                </a:lnTo>
                <a:lnTo>
                  <a:pt x="248912" y="579563"/>
                </a:lnTo>
                <a:lnTo>
                  <a:pt x="248912" y="577282"/>
                </a:lnTo>
                <a:lnTo>
                  <a:pt x="251196" y="577282"/>
                </a:lnTo>
                <a:lnTo>
                  <a:pt x="251196" y="575000"/>
                </a:lnTo>
                <a:lnTo>
                  <a:pt x="251196" y="572718"/>
                </a:lnTo>
                <a:lnTo>
                  <a:pt x="251196" y="570436"/>
                </a:lnTo>
                <a:lnTo>
                  <a:pt x="251196" y="568154"/>
                </a:lnTo>
                <a:lnTo>
                  <a:pt x="253479" y="568154"/>
                </a:lnTo>
                <a:lnTo>
                  <a:pt x="253479" y="565872"/>
                </a:lnTo>
                <a:lnTo>
                  <a:pt x="255763" y="565872"/>
                </a:lnTo>
                <a:lnTo>
                  <a:pt x="255763" y="563590"/>
                </a:lnTo>
                <a:lnTo>
                  <a:pt x="258047" y="563590"/>
                </a:lnTo>
                <a:lnTo>
                  <a:pt x="258047" y="561308"/>
                </a:lnTo>
                <a:lnTo>
                  <a:pt x="258047" y="559027"/>
                </a:lnTo>
                <a:lnTo>
                  <a:pt x="260330" y="559027"/>
                </a:lnTo>
                <a:lnTo>
                  <a:pt x="260330" y="556745"/>
                </a:lnTo>
                <a:lnTo>
                  <a:pt x="262614" y="556745"/>
                </a:lnTo>
                <a:lnTo>
                  <a:pt x="262614" y="554463"/>
                </a:lnTo>
                <a:lnTo>
                  <a:pt x="260330" y="554463"/>
                </a:lnTo>
                <a:lnTo>
                  <a:pt x="260330" y="552181"/>
                </a:lnTo>
                <a:lnTo>
                  <a:pt x="260330" y="549908"/>
                </a:lnTo>
                <a:lnTo>
                  <a:pt x="258047" y="549908"/>
                </a:lnTo>
                <a:lnTo>
                  <a:pt x="258047" y="547627"/>
                </a:lnTo>
                <a:lnTo>
                  <a:pt x="255763" y="547627"/>
                </a:lnTo>
                <a:lnTo>
                  <a:pt x="255763" y="545345"/>
                </a:lnTo>
                <a:lnTo>
                  <a:pt x="255763" y="543063"/>
                </a:lnTo>
                <a:lnTo>
                  <a:pt x="258047" y="543063"/>
                </a:lnTo>
                <a:lnTo>
                  <a:pt x="258047" y="540781"/>
                </a:lnTo>
                <a:lnTo>
                  <a:pt x="260330" y="540781"/>
                </a:lnTo>
                <a:lnTo>
                  <a:pt x="260330" y="538499"/>
                </a:lnTo>
                <a:lnTo>
                  <a:pt x="262614" y="538499"/>
                </a:lnTo>
                <a:lnTo>
                  <a:pt x="264897" y="538499"/>
                </a:lnTo>
                <a:lnTo>
                  <a:pt x="264897" y="536217"/>
                </a:lnTo>
                <a:lnTo>
                  <a:pt x="264897" y="533935"/>
                </a:lnTo>
                <a:lnTo>
                  <a:pt x="267181" y="533935"/>
                </a:lnTo>
                <a:lnTo>
                  <a:pt x="267181" y="531653"/>
                </a:lnTo>
                <a:lnTo>
                  <a:pt x="269464" y="531653"/>
                </a:lnTo>
                <a:lnTo>
                  <a:pt x="269464" y="529371"/>
                </a:lnTo>
                <a:lnTo>
                  <a:pt x="271748" y="529371"/>
                </a:lnTo>
                <a:lnTo>
                  <a:pt x="271748" y="527089"/>
                </a:lnTo>
                <a:lnTo>
                  <a:pt x="271748" y="524807"/>
                </a:lnTo>
                <a:lnTo>
                  <a:pt x="269464" y="524807"/>
                </a:lnTo>
                <a:lnTo>
                  <a:pt x="271748" y="524807"/>
                </a:lnTo>
                <a:lnTo>
                  <a:pt x="269464" y="524807"/>
                </a:lnTo>
                <a:lnTo>
                  <a:pt x="269464" y="522526"/>
                </a:lnTo>
                <a:lnTo>
                  <a:pt x="269464" y="520244"/>
                </a:lnTo>
                <a:lnTo>
                  <a:pt x="271748" y="520244"/>
                </a:lnTo>
                <a:lnTo>
                  <a:pt x="274032" y="520244"/>
                </a:lnTo>
                <a:lnTo>
                  <a:pt x="276315" y="520244"/>
                </a:lnTo>
                <a:lnTo>
                  <a:pt x="278599" y="520244"/>
                </a:lnTo>
                <a:lnTo>
                  <a:pt x="280883" y="520244"/>
                </a:lnTo>
                <a:lnTo>
                  <a:pt x="280883" y="517962"/>
                </a:lnTo>
                <a:lnTo>
                  <a:pt x="283166" y="517962"/>
                </a:lnTo>
                <a:lnTo>
                  <a:pt x="285450" y="517962"/>
                </a:lnTo>
                <a:lnTo>
                  <a:pt x="285450" y="515680"/>
                </a:lnTo>
                <a:lnTo>
                  <a:pt x="287733" y="515680"/>
                </a:lnTo>
                <a:lnTo>
                  <a:pt x="287733" y="513398"/>
                </a:lnTo>
                <a:lnTo>
                  <a:pt x="290017" y="513398"/>
                </a:lnTo>
                <a:lnTo>
                  <a:pt x="290017" y="511116"/>
                </a:lnTo>
                <a:lnTo>
                  <a:pt x="290017" y="508834"/>
                </a:lnTo>
                <a:lnTo>
                  <a:pt x="292300" y="508834"/>
                </a:lnTo>
                <a:lnTo>
                  <a:pt x="292300" y="506552"/>
                </a:lnTo>
                <a:lnTo>
                  <a:pt x="292300" y="504271"/>
                </a:lnTo>
                <a:lnTo>
                  <a:pt x="294584" y="504271"/>
                </a:lnTo>
                <a:lnTo>
                  <a:pt x="296868" y="504271"/>
                </a:lnTo>
                <a:lnTo>
                  <a:pt x="296868" y="501989"/>
                </a:lnTo>
                <a:lnTo>
                  <a:pt x="299151" y="501989"/>
                </a:lnTo>
                <a:lnTo>
                  <a:pt x="301435" y="501989"/>
                </a:lnTo>
                <a:lnTo>
                  <a:pt x="303718" y="501989"/>
                </a:lnTo>
                <a:lnTo>
                  <a:pt x="303718" y="499707"/>
                </a:lnTo>
                <a:lnTo>
                  <a:pt x="306002" y="499707"/>
                </a:lnTo>
                <a:lnTo>
                  <a:pt x="308286" y="499707"/>
                </a:lnTo>
                <a:lnTo>
                  <a:pt x="308286" y="497425"/>
                </a:lnTo>
                <a:lnTo>
                  <a:pt x="310569" y="497425"/>
                </a:lnTo>
                <a:lnTo>
                  <a:pt x="312853" y="497425"/>
                </a:lnTo>
                <a:lnTo>
                  <a:pt x="312853" y="495143"/>
                </a:lnTo>
                <a:lnTo>
                  <a:pt x="315137" y="495143"/>
                </a:lnTo>
                <a:lnTo>
                  <a:pt x="315137" y="492861"/>
                </a:lnTo>
                <a:lnTo>
                  <a:pt x="315137" y="490579"/>
                </a:lnTo>
                <a:lnTo>
                  <a:pt x="315137" y="488297"/>
                </a:lnTo>
                <a:lnTo>
                  <a:pt x="312853" y="488297"/>
                </a:lnTo>
                <a:lnTo>
                  <a:pt x="310569" y="488297"/>
                </a:lnTo>
                <a:lnTo>
                  <a:pt x="310569" y="486015"/>
                </a:lnTo>
                <a:lnTo>
                  <a:pt x="308286" y="486015"/>
                </a:lnTo>
                <a:lnTo>
                  <a:pt x="308286" y="483733"/>
                </a:lnTo>
                <a:lnTo>
                  <a:pt x="308286" y="481451"/>
                </a:lnTo>
                <a:lnTo>
                  <a:pt x="310569" y="481451"/>
                </a:lnTo>
                <a:lnTo>
                  <a:pt x="310569" y="479170"/>
                </a:lnTo>
                <a:lnTo>
                  <a:pt x="312853" y="479170"/>
                </a:lnTo>
                <a:lnTo>
                  <a:pt x="315137" y="479170"/>
                </a:lnTo>
                <a:lnTo>
                  <a:pt x="315137" y="476888"/>
                </a:lnTo>
                <a:lnTo>
                  <a:pt x="317420" y="476888"/>
                </a:lnTo>
                <a:lnTo>
                  <a:pt x="317420" y="474606"/>
                </a:lnTo>
                <a:lnTo>
                  <a:pt x="317420" y="472324"/>
                </a:lnTo>
                <a:lnTo>
                  <a:pt x="319704" y="472324"/>
                </a:lnTo>
                <a:lnTo>
                  <a:pt x="319704" y="470042"/>
                </a:lnTo>
                <a:lnTo>
                  <a:pt x="319704" y="467760"/>
                </a:lnTo>
                <a:lnTo>
                  <a:pt x="321987" y="467760"/>
                </a:lnTo>
                <a:lnTo>
                  <a:pt x="321987" y="465478"/>
                </a:lnTo>
                <a:lnTo>
                  <a:pt x="324271" y="465478"/>
                </a:lnTo>
                <a:lnTo>
                  <a:pt x="326554" y="465478"/>
                </a:lnTo>
                <a:lnTo>
                  <a:pt x="328838" y="465478"/>
                </a:lnTo>
                <a:lnTo>
                  <a:pt x="331122" y="465478"/>
                </a:lnTo>
                <a:lnTo>
                  <a:pt x="333405" y="465478"/>
                </a:lnTo>
                <a:lnTo>
                  <a:pt x="335689" y="465478"/>
                </a:lnTo>
                <a:lnTo>
                  <a:pt x="337972" y="465478"/>
                </a:lnTo>
                <a:lnTo>
                  <a:pt x="340256" y="465478"/>
                </a:lnTo>
                <a:lnTo>
                  <a:pt x="340256" y="463196"/>
                </a:lnTo>
                <a:lnTo>
                  <a:pt x="342539" y="463196"/>
                </a:lnTo>
                <a:lnTo>
                  <a:pt x="344823" y="463196"/>
                </a:lnTo>
                <a:lnTo>
                  <a:pt x="344823" y="465478"/>
                </a:lnTo>
                <a:lnTo>
                  <a:pt x="344823" y="463196"/>
                </a:lnTo>
                <a:lnTo>
                  <a:pt x="347107" y="463196"/>
                </a:lnTo>
                <a:lnTo>
                  <a:pt x="347107" y="460915"/>
                </a:lnTo>
                <a:lnTo>
                  <a:pt x="347107" y="458633"/>
                </a:lnTo>
                <a:lnTo>
                  <a:pt x="347107" y="456351"/>
                </a:lnTo>
                <a:lnTo>
                  <a:pt x="349390" y="456351"/>
                </a:lnTo>
                <a:lnTo>
                  <a:pt x="349390" y="454069"/>
                </a:lnTo>
                <a:lnTo>
                  <a:pt x="351674" y="451787"/>
                </a:lnTo>
                <a:lnTo>
                  <a:pt x="351674" y="449505"/>
                </a:lnTo>
                <a:lnTo>
                  <a:pt x="353958" y="449505"/>
                </a:lnTo>
                <a:lnTo>
                  <a:pt x="353958" y="447223"/>
                </a:lnTo>
                <a:lnTo>
                  <a:pt x="356241" y="447223"/>
                </a:lnTo>
                <a:lnTo>
                  <a:pt x="356241" y="444941"/>
                </a:lnTo>
                <a:lnTo>
                  <a:pt x="358525" y="444941"/>
                </a:lnTo>
                <a:lnTo>
                  <a:pt x="358525" y="442659"/>
                </a:lnTo>
                <a:lnTo>
                  <a:pt x="360808" y="442659"/>
                </a:lnTo>
                <a:lnTo>
                  <a:pt x="360808" y="440377"/>
                </a:lnTo>
                <a:lnTo>
                  <a:pt x="363092" y="440377"/>
                </a:lnTo>
                <a:lnTo>
                  <a:pt x="363092" y="438095"/>
                </a:lnTo>
                <a:lnTo>
                  <a:pt x="365376" y="438095"/>
                </a:lnTo>
                <a:lnTo>
                  <a:pt x="367659" y="438095"/>
                </a:lnTo>
                <a:lnTo>
                  <a:pt x="367659" y="435814"/>
                </a:lnTo>
                <a:lnTo>
                  <a:pt x="369943" y="435814"/>
                </a:lnTo>
                <a:lnTo>
                  <a:pt x="372226" y="435814"/>
                </a:lnTo>
                <a:lnTo>
                  <a:pt x="372226" y="433532"/>
                </a:lnTo>
                <a:lnTo>
                  <a:pt x="374510" y="433532"/>
                </a:lnTo>
                <a:lnTo>
                  <a:pt x="376793" y="433532"/>
                </a:lnTo>
                <a:lnTo>
                  <a:pt x="379077" y="433532"/>
                </a:lnTo>
                <a:lnTo>
                  <a:pt x="381361" y="433532"/>
                </a:lnTo>
                <a:lnTo>
                  <a:pt x="383644" y="433532"/>
                </a:lnTo>
                <a:lnTo>
                  <a:pt x="383644" y="431250"/>
                </a:lnTo>
                <a:lnTo>
                  <a:pt x="385928" y="431250"/>
                </a:lnTo>
                <a:lnTo>
                  <a:pt x="388212" y="431250"/>
                </a:lnTo>
                <a:lnTo>
                  <a:pt x="388212" y="428968"/>
                </a:lnTo>
                <a:lnTo>
                  <a:pt x="390495" y="428968"/>
                </a:lnTo>
                <a:lnTo>
                  <a:pt x="390495" y="431250"/>
                </a:lnTo>
                <a:lnTo>
                  <a:pt x="392779" y="431250"/>
                </a:lnTo>
                <a:lnTo>
                  <a:pt x="392779" y="428968"/>
                </a:lnTo>
                <a:lnTo>
                  <a:pt x="392779" y="426686"/>
                </a:lnTo>
                <a:lnTo>
                  <a:pt x="395062" y="426686"/>
                </a:lnTo>
                <a:lnTo>
                  <a:pt x="395062" y="424404"/>
                </a:lnTo>
                <a:lnTo>
                  <a:pt x="395062" y="422122"/>
                </a:lnTo>
                <a:lnTo>
                  <a:pt x="397346" y="422122"/>
                </a:lnTo>
                <a:lnTo>
                  <a:pt x="399629" y="422122"/>
                </a:lnTo>
                <a:lnTo>
                  <a:pt x="401913" y="422122"/>
                </a:lnTo>
                <a:lnTo>
                  <a:pt x="401913" y="424404"/>
                </a:lnTo>
                <a:lnTo>
                  <a:pt x="404197" y="424404"/>
                </a:lnTo>
                <a:lnTo>
                  <a:pt x="406480" y="424404"/>
                </a:lnTo>
                <a:lnTo>
                  <a:pt x="408764" y="424404"/>
                </a:lnTo>
                <a:lnTo>
                  <a:pt x="408764" y="422122"/>
                </a:lnTo>
                <a:lnTo>
                  <a:pt x="411047" y="422122"/>
                </a:lnTo>
                <a:lnTo>
                  <a:pt x="413331" y="422122"/>
                </a:lnTo>
                <a:lnTo>
                  <a:pt x="415615" y="422122"/>
                </a:lnTo>
                <a:lnTo>
                  <a:pt x="417898" y="422122"/>
                </a:lnTo>
                <a:lnTo>
                  <a:pt x="420182" y="422122"/>
                </a:lnTo>
                <a:lnTo>
                  <a:pt x="420182" y="419840"/>
                </a:lnTo>
                <a:lnTo>
                  <a:pt x="422466" y="419840"/>
                </a:lnTo>
                <a:lnTo>
                  <a:pt x="424749" y="419840"/>
                </a:lnTo>
                <a:lnTo>
                  <a:pt x="427033" y="419840"/>
                </a:lnTo>
                <a:lnTo>
                  <a:pt x="427033" y="417558"/>
                </a:lnTo>
                <a:lnTo>
                  <a:pt x="429316" y="417558"/>
                </a:lnTo>
                <a:lnTo>
                  <a:pt x="429316" y="415277"/>
                </a:lnTo>
                <a:lnTo>
                  <a:pt x="431600" y="415277"/>
                </a:lnTo>
                <a:lnTo>
                  <a:pt x="431600" y="412995"/>
                </a:lnTo>
                <a:lnTo>
                  <a:pt x="431600" y="410713"/>
                </a:lnTo>
                <a:lnTo>
                  <a:pt x="433883" y="410713"/>
                </a:lnTo>
                <a:lnTo>
                  <a:pt x="433883" y="408431"/>
                </a:lnTo>
                <a:lnTo>
                  <a:pt x="436167" y="408431"/>
                </a:lnTo>
                <a:lnTo>
                  <a:pt x="436167" y="406149"/>
                </a:lnTo>
                <a:lnTo>
                  <a:pt x="438451" y="406149"/>
                </a:lnTo>
                <a:lnTo>
                  <a:pt x="438451" y="408431"/>
                </a:lnTo>
                <a:lnTo>
                  <a:pt x="440734" y="408431"/>
                </a:lnTo>
                <a:lnTo>
                  <a:pt x="443018" y="408431"/>
                </a:lnTo>
                <a:lnTo>
                  <a:pt x="445301" y="410713"/>
                </a:lnTo>
                <a:lnTo>
                  <a:pt x="445301" y="412995"/>
                </a:lnTo>
                <a:lnTo>
                  <a:pt x="447585" y="412995"/>
                </a:lnTo>
                <a:lnTo>
                  <a:pt x="449869" y="412995"/>
                </a:lnTo>
                <a:lnTo>
                  <a:pt x="449869" y="410713"/>
                </a:lnTo>
                <a:lnTo>
                  <a:pt x="449869" y="412995"/>
                </a:lnTo>
                <a:lnTo>
                  <a:pt x="452152" y="412995"/>
                </a:lnTo>
                <a:lnTo>
                  <a:pt x="452152" y="415277"/>
                </a:lnTo>
                <a:lnTo>
                  <a:pt x="452152" y="417558"/>
                </a:lnTo>
                <a:lnTo>
                  <a:pt x="454436" y="417558"/>
                </a:lnTo>
                <a:lnTo>
                  <a:pt x="454436" y="419840"/>
                </a:lnTo>
                <a:lnTo>
                  <a:pt x="456719" y="419840"/>
                </a:lnTo>
                <a:lnTo>
                  <a:pt x="456719" y="422122"/>
                </a:lnTo>
                <a:lnTo>
                  <a:pt x="459003" y="422122"/>
                </a:lnTo>
                <a:lnTo>
                  <a:pt x="461287" y="422122"/>
                </a:lnTo>
                <a:lnTo>
                  <a:pt x="463570" y="422122"/>
                </a:lnTo>
                <a:lnTo>
                  <a:pt x="465854" y="422122"/>
                </a:lnTo>
                <a:lnTo>
                  <a:pt x="465854" y="419840"/>
                </a:lnTo>
                <a:lnTo>
                  <a:pt x="468137" y="419840"/>
                </a:lnTo>
                <a:lnTo>
                  <a:pt x="468137" y="417558"/>
                </a:lnTo>
                <a:lnTo>
                  <a:pt x="468137" y="415277"/>
                </a:lnTo>
                <a:lnTo>
                  <a:pt x="468137" y="412995"/>
                </a:lnTo>
                <a:lnTo>
                  <a:pt x="468137" y="410713"/>
                </a:lnTo>
                <a:lnTo>
                  <a:pt x="468137" y="408431"/>
                </a:lnTo>
                <a:lnTo>
                  <a:pt x="468137" y="406149"/>
                </a:lnTo>
                <a:lnTo>
                  <a:pt x="468137" y="403867"/>
                </a:lnTo>
                <a:lnTo>
                  <a:pt x="468137" y="401585"/>
                </a:lnTo>
                <a:lnTo>
                  <a:pt x="468137" y="399303"/>
                </a:lnTo>
                <a:lnTo>
                  <a:pt x="468137" y="397021"/>
                </a:lnTo>
                <a:lnTo>
                  <a:pt x="468137" y="394749"/>
                </a:lnTo>
                <a:lnTo>
                  <a:pt x="470421" y="394749"/>
                </a:lnTo>
                <a:lnTo>
                  <a:pt x="472705" y="394749"/>
                </a:lnTo>
                <a:lnTo>
                  <a:pt x="474988" y="394749"/>
                </a:lnTo>
                <a:lnTo>
                  <a:pt x="477272" y="394749"/>
                </a:lnTo>
                <a:lnTo>
                  <a:pt x="479555" y="394749"/>
                </a:lnTo>
                <a:lnTo>
                  <a:pt x="479555" y="392467"/>
                </a:lnTo>
                <a:lnTo>
                  <a:pt x="481839" y="392467"/>
                </a:lnTo>
                <a:lnTo>
                  <a:pt x="481839" y="390185"/>
                </a:lnTo>
                <a:lnTo>
                  <a:pt x="484122" y="390185"/>
                </a:lnTo>
                <a:lnTo>
                  <a:pt x="484122" y="387903"/>
                </a:lnTo>
                <a:lnTo>
                  <a:pt x="486406" y="387903"/>
                </a:lnTo>
                <a:lnTo>
                  <a:pt x="488690" y="387903"/>
                </a:lnTo>
                <a:lnTo>
                  <a:pt x="490973" y="387903"/>
                </a:lnTo>
                <a:lnTo>
                  <a:pt x="490973" y="385621"/>
                </a:lnTo>
                <a:lnTo>
                  <a:pt x="493257" y="385621"/>
                </a:lnTo>
                <a:lnTo>
                  <a:pt x="493257" y="383339"/>
                </a:lnTo>
                <a:lnTo>
                  <a:pt x="495541" y="383339"/>
                </a:lnTo>
                <a:lnTo>
                  <a:pt x="497824" y="383339"/>
                </a:lnTo>
                <a:lnTo>
                  <a:pt x="500108" y="381058"/>
                </a:lnTo>
                <a:lnTo>
                  <a:pt x="502391" y="381058"/>
                </a:lnTo>
                <a:lnTo>
                  <a:pt x="502391" y="378776"/>
                </a:lnTo>
                <a:lnTo>
                  <a:pt x="504675" y="378776"/>
                </a:lnTo>
                <a:lnTo>
                  <a:pt x="504675" y="376494"/>
                </a:lnTo>
                <a:lnTo>
                  <a:pt x="506959" y="376494"/>
                </a:lnTo>
                <a:lnTo>
                  <a:pt x="509242" y="376494"/>
                </a:lnTo>
                <a:lnTo>
                  <a:pt x="511526" y="376494"/>
                </a:lnTo>
                <a:lnTo>
                  <a:pt x="513809" y="376494"/>
                </a:lnTo>
                <a:lnTo>
                  <a:pt x="516093" y="376494"/>
                </a:lnTo>
                <a:lnTo>
                  <a:pt x="516093" y="374212"/>
                </a:lnTo>
                <a:lnTo>
                  <a:pt x="516093" y="371930"/>
                </a:lnTo>
                <a:lnTo>
                  <a:pt x="518376" y="371930"/>
                </a:lnTo>
                <a:lnTo>
                  <a:pt x="520660" y="371930"/>
                </a:lnTo>
                <a:lnTo>
                  <a:pt x="520660" y="369648"/>
                </a:lnTo>
                <a:lnTo>
                  <a:pt x="522944" y="369648"/>
                </a:lnTo>
                <a:lnTo>
                  <a:pt x="525227" y="369648"/>
                </a:lnTo>
                <a:lnTo>
                  <a:pt x="525227" y="371930"/>
                </a:lnTo>
                <a:lnTo>
                  <a:pt x="525227" y="374212"/>
                </a:lnTo>
                <a:lnTo>
                  <a:pt x="525227" y="376494"/>
                </a:lnTo>
                <a:lnTo>
                  <a:pt x="527511" y="376494"/>
                </a:lnTo>
                <a:lnTo>
                  <a:pt x="527511" y="378776"/>
                </a:lnTo>
                <a:lnTo>
                  <a:pt x="529795" y="378776"/>
                </a:lnTo>
                <a:lnTo>
                  <a:pt x="529795" y="381058"/>
                </a:lnTo>
                <a:lnTo>
                  <a:pt x="529795" y="383339"/>
                </a:lnTo>
                <a:lnTo>
                  <a:pt x="527511" y="383339"/>
                </a:lnTo>
                <a:lnTo>
                  <a:pt x="527511" y="385621"/>
                </a:lnTo>
                <a:lnTo>
                  <a:pt x="529795" y="385621"/>
                </a:lnTo>
                <a:lnTo>
                  <a:pt x="529795" y="387903"/>
                </a:lnTo>
                <a:lnTo>
                  <a:pt x="529795" y="390185"/>
                </a:lnTo>
                <a:lnTo>
                  <a:pt x="532078" y="390185"/>
                </a:lnTo>
                <a:lnTo>
                  <a:pt x="532078" y="392467"/>
                </a:lnTo>
                <a:lnTo>
                  <a:pt x="534362" y="392467"/>
                </a:lnTo>
                <a:lnTo>
                  <a:pt x="536645" y="394749"/>
                </a:lnTo>
                <a:lnTo>
                  <a:pt x="538929" y="394749"/>
                </a:lnTo>
                <a:lnTo>
                  <a:pt x="541212" y="394749"/>
                </a:lnTo>
                <a:lnTo>
                  <a:pt x="543496" y="394749"/>
                </a:lnTo>
                <a:lnTo>
                  <a:pt x="545780" y="394749"/>
                </a:lnTo>
                <a:lnTo>
                  <a:pt x="545780" y="392467"/>
                </a:lnTo>
                <a:lnTo>
                  <a:pt x="548063" y="392467"/>
                </a:lnTo>
                <a:lnTo>
                  <a:pt x="548063" y="390185"/>
                </a:lnTo>
                <a:lnTo>
                  <a:pt x="548063" y="387903"/>
                </a:lnTo>
                <a:lnTo>
                  <a:pt x="550347" y="387903"/>
                </a:lnTo>
                <a:lnTo>
                  <a:pt x="552630" y="387903"/>
                </a:lnTo>
                <a:lnTo>
                  <a:pt x="552630" y="385621"/>
                </a:lnTo>
                <a:lnTo>
                  <a:pt x="554914" y="385621"/>
                </a:lnTo>
                <a:lnTo>
                  <a:pt x="557198" y="385621"/>
                </a:lnTo>
                <a:lnTo>
                  <a:pt x="559481" y="385621"/>
                </a:lnTo>
                <a:lnTo>
                  <a:pt x="561765" y="385621"/>
                </a:lnTo>
                <a:lnTo>
                  <a:pt x="561765" y="387903"/>
                </a:lnTo>
                <a:lnTo>
                  <a:pt x="564049" y="387903"/>
                </a:lnTo>
                <a:lnTo>
                  <a:pt x="564049" y="390185"/>
                </a:lnTo>
                <a:lnTo>
                  <a:pt x="564049" y="392467"/>
                </a:lnTo>
                <a:lnTo>
                  <a:pt x="566332" y="392467"/>
                </a:lnTo>
                <a:lnTo>
                  <a:pt x="566332" y="394749"/>
                </a:lnTo>
                <a:lnTo>
                  <a:pt x="566332" y="397021"/>
                </a:lnTo>
                <a:lnTo>
                  <a:pt x="568616" y="397021"/>
                </a:lnTo>
                <a:lnTo>
                  <a:pt x="568616" y="394749"/>
                </a:lnTo>
                <a:lnTo>
                  <a:pt x="570899" y="394749"/>
                </a:lnTo>
                <a:lnTo>
                  <a:pt x="573183" y="394749"/>
                </a:lnTo>
                <a:lnTo>
                  <a:pt x="573183" y="392467"/>
                </a:lnTo>
                <a:lnTo>
                  <a:pt x="575466" y="392467"/>
                </a:lnTo>
                <a:lnTo>
                  <a:pt x="577750" y="392467"/>
                </a:lnTo>
                <a:lnTo>
                  <a:pt x="577750" y="394749"/>
                </a:lnTo>
                <a:lnTo>
                  <a:pt x="580034" y="394749"/>
                </a:lnTo>
                <a:lnTo>
                  <a:pt x="580034" y="397021"/>
                </a:lnTo>
                <a:lnTo>
                  <a:pt x="577750" y="397021"/>
                </a:lnTo>
                <a:lnTo>
                  <a:pt x="580034" y="399303"/>
                </a:lnTo>
                <a:lnTo>
                  <a:pt x="582317" y="399303"/>
                </a:lnTo>
                <a:lnTo>
                  <a:pt x="584601" y="399303"/>
                </a:lnTo>
                <a:lnTo>
                  <a:pt x="584601" y="401585"/>
                </a:lnTo>
                <a:lnTo>
                  <a:pt x="586884" y="401585"/>
                </a:lnTo>
                <a:lnTo>
                  <a:pt x="586884" y="403867"/>
                </a:lnTo>
                <a:lnTo>
                  <a:pt x="589168" y="403867"/>
                </a:lnTo>
                <a:lnTo>
                  <a:pt x="589168" y="406149"/>
                </a:lnTo>
                <a:lnTo>
                  <a:pt x="589168" y="408431"/>
                </a:lnTo>
                <a:lnTo>
                  <a:pt x="589168" y="410713"/>
                </a:lnTo>
                <a:lnTo>
                  <a:pt x="589168" y="412995"/>
                </a:lnTo>
                <a:lnTo>
                  <a:pt x="589168" y="415277"/>
                </a:lnTo>
                <a:lnTo>
                  <a:pt x="589168" y="417558"/>
                </a:lnTo>
                <a:lnTo>
                  <a:pt x="589168" y="419840"/>
                </a:lnTo>
                <a:lnTo>
                  <a:pt x="589168" y="422122"/>
                </a:lnTo>
                <a:lnTo>
                  <a:pt x="589168" y="424404"/>
                </a:lnTo>
                <a:lnTo>
                  <a:pt x="586884" y="424404"/>
                </a:lnTo>
                <a:lnTo>
                  <a:pt x="586884" y="426686"/>
                </a:lnTo>
                <a:lnTo>
                  <a:pt x="586884" y="428968"/>
                </a:lnTo>
                <a:lnTo>
                  <a:pt x="589168" y="428968"/>
                </a:lnTo>
                <a:lnTo>
                  <a:pt x="589168" y="431250"/>
                </a:lnTo>
                <a:lnTo>
                  <a:pt x="591451" y="431250"/>
                </a:lnTo>
                <a:lnTo>
                  <a:pt x="591451" y="433532"/>
                </a:lnTo>
                <a:lnTo>
                  <a:pt x="593735" y="435814"/>
                </a:lnTo>
                <a:lnTo>
                  <a:pt x="596019" y="438095"/>
                </a:lnTo>
                <a:lnTo>
                  <a:pt x="598302" y="438095"/>
                </a:lnTo>
                <a:lnTo>
                  <a:pt x="600586" y="438095"/>
                </a:lnTo>
                <a:lnTo>
                  <a:pt x="600586" y="435814"/>
                </a:lnTo>
                <a:lnTo>
                  <a:pt x="602870" y="435814"/>
                </a:lnTo>
                <a:lnTo>
                  <a:pt x="602870" y="433532"/>
                </a:lnTo>
                <a:lnTo>
                  <a:pt x="605153" y="433532"/>
                </a:lnTo>
                <a:lnTo>
                  <a:pt x="607437" y="433532"/>
                </a:lnTo>
                <a:lnTo>
                  <a:pt x="609720" y="433532"/>
                </a:lnTo>
                <a:lnTo>
                  <a:pt x="609720" y="431250"/>
                </a:lnTo>
                <a:lnTo>
                  <a:pt x="612004" y="431250"/>
                </a:lnTo>
                <a:lnTo>
                  <a:pt x="612004" y="428968"/>
                </a:lnTo>
                <a:lnTo>
                  <a:pt x="614288" y="428968"/>
                </a:lnTo>
                <a:lnTo>
                  <a:pt x="614288" y="426686"/>
                </a:lnTo>
                <a:lnTo>
                  <a:pt x="616571" y="426686"/>
                </a:lnTo>
                <a:lnTo>
                  <a:pt x="616571" y="424404"/>
                </a:lnTo>
                <a:lnTo>
                  <a:pt x="618855" y="424404"/>
                </a:lnTo>
                <a:lnTo>
                  <a:pt x="618855" y="422122"/>
                </a:lnTo>
                <a:lnTo>
                  <a:pt x="621138" y="422122"/>
                </a:lnTo>
                <a:lnTo>
                  <a:pt x="621138" y="419840"/>
                </a:lnTo>
                <a:lnTo>
                  <a:pt x="621138" y="417558"/>
                </a:lnTo>
                <a:lnTo>
                  <a:pt x="621138" y="415277"/>
                </a:lnTo>
                <a:lnTo>
                  <a:pt x="618855" y="415277"/>
                </a:lnTo>
                <a:lnTo>
                  <a:pt x="616571" y="415277"/>
                </a:lnTo>
                <a:lnTo>
                  <a:pt x="614288" y="415277"/>
                </a:lnTo>
                <a:lnTo>
                  <a:pt x="612004" y="415277"/>
                </a:lnTo>
                <a:lnTo>
                  <a:pt x="609720" y="415277"/>
                </a:lnTo>
                <a:lnTo>
                  <a:pt x="607437" y="412995"/>
                </a:lnTo>
                <a:lnTo>
                  <a:pt x="607437" y="410713"/>
                </a:lnTo>
                <a:lnTo>
                  <a:pt x="605153" y="410713"/>
                </a:lnTo>
                <a:lnTo>
                  <a:pt x="607437" y="410713"/>
                </a:lnTo>
                <a:lnTo>
                  <a:pt x="607437" y="408431"/>
                </a:lnTo>
                <a:lnTo>
                  <a:pt x="609720" y="408431"/>
                </a:lnTo>
                <a:lnTo>
                  <a:pt x="609720" y="406149"/>
                </a:lnTo>
                <a:lnTo>
                  <a:pt x="612004" y="406149"/>
                </a:lnTo>
                <a:lnTo>
                  <a:pt x="614288" y="406149"/>
                </a:lnTo>
                <a:lnTo>
                  <a:pt x="614288" y="403867"/>
                </a:lnTo>
                <a:lnTo>
                  <a:pt x="616571" y="403867"/>
                </a:lnTo>
                <a:lnTo>
                  <a:pt x="616571" y="401585"/>
                </a:lnTo>
                <a:lnTo>
                  <a:pt x="616571" y="399303"/>
                </a:lnTo>
                <a:lnTo>
                  <a:pt x="616571" y="397021"/>
                </a:lnTo>
                <a:lnTo>
                  <a:pt x="614288" y="394749"/>
                </a:lnTo>
                <a:lnTo>
                  <a:pt x="614288" y="392467"/>
                </a:lnTo>
                <a:lnTo>
                  <a:pt x="614288" y="390185"/>
                </a:lnTo>
                <a:lnTo>
                  <a:pt x="614288" y="387903"/>
                </a:lnTo>
                <a:lnTo>
                  <a:pt x="614288" y="385621"/>
                </a:lnTo>
                <a:lnTo>
                  <a:pt x="616571" y="385621"/>
                </a:lnTo>
                <a:lnTo>
                  <a:pt x="616571" y="383339"/>
                </a:lnTo>
                <a:lnTo>
                  <a:pt x="616571" y="381058"/>
                </a:lnTo>
                <a:lnTo>
                  <a:pt x="618855" y="381058"/>
                </a:lnTo>
                <a:lnTo>
                  <a:pt x="621138" y="381058"/>
                </a:lnTo>
                <a:lnTo>
                  <a:pt x="623422" y="381058"/>
                </a:lnTo>
                <a:lnTo>
                  <a:pt x="625705" y="381058"/>
                </a:lnTo>
                <a:lnTo>
                  <a:pt x="627989" y="381058"/>
                </a:lnTo>
                <a:lnTo>
                  <a:pt x="627989" y="378776"/>
                </a:lnTo>
                <a:lnTo>
                  <a:pt x="630273" y="376494"/>
                </a:lnTo>
                <a:lnTo>
                  <a:pt x="630273" y="374212"/>
                </a:lnTo>
                <a:lnTo>
                  <a:pt x="632556" y="374212"/>
                </a:lnTo>
                <a:lnTo>
                  <a:pt x="630273" y="374212"/>
                </a:lnTo>
                <a:lnTo>
                  <a:pt x="630273" y="371930"/>
                </a:lnTo>
                <a:lnTo>
                  <a:pt x="630273" y="369648"/>
                </a:lnTo>
                <a:lnTo>
                  <a:pt x="632556" y="367366"/>
                </a:lnTo>
                <a:lnTo>
                  <a:pt x="634840" y="367366"/>
                </a:lnTo>
                <a:lnTo>
                  <a:pt x="634840" y="365084"/>
                </a:lnTo>
                <a:lnTo>
                  <a:pt x="637124" y="365084"/>
                </a:lnTo>
                <a:lnTo>
                  <a:pt x="637124" y="367366"/>
                </a:lnTo>
                <a:lnTo>
                  <a:pt x="639407" y="367366"/>
                </a:lnTo>
                <a:lnTo>
                  <a:pt x="641691" y="367366"/>
                </a:lnTo>
                <a:lnTo>
                  <a:pt x="643974" y="367366"/>
                </a:lnTo>
                <a:lnTo>
                  <a:pt x="643974" y="365084"/>
                </a:lnTo>
                <a:lnTo>
                  <a:pt x="643974" y="362802"/>
                </a:lnTo>
                <a:lnTo>
                  <a:pt x="646258" y="362802"/>
                </a:lnTo>
                <a:lnTo>
                  <a:pt x="646258" y="360521"/>
                </a:lnTo>
                <a:lnTo>
                  <a:pt x="646258" y="358239"/>
                </a:lnTo>
                <a:lnTo>
                  <a:pt x="646258" y="355957"/>
                </a:lnTo>
                <a:lnTo>
                  <a:pt x="648541" y="355957"/>
                </a:lnTo>
                <a:lnTo>
                  <a:pt x="650825" y="355957"/>
                </a:lnTo>
                <a:lnTo>
                  <a:pt x="653109" y="355957"/>
                </a:lnTo>
                <a:lnTo>
                  <a:pt x="653109" y="353675"/>
                </a:lnTo>
                <a:lnTo>
                  <a:pt x="655392" y="353675"/>
                </a:lnTo>
                <a:lnTo>
                  <a:pt x="655392" y="351393"/>
                </a:lnTo>
                <a:lnTo>
                  <a:pt x="657676" y="351393"/>
                </a:lnTo>
                <a:lnTo>
                  <a:pt x="657676" y="349111"/>
                </a:lnTo>
                <a:lnTo>
                  <a:pt x="659959" y="349111"/>
                </a:lnTo>
                <a:lnTo>
                  <a:pt x="659959" y="346829"/>
                </a:lnTo>
                <a:lnTo>
                  <a:pt x="662243" y="346829"/>
                </a:lnTo>
                <a:lnTo>
                  <a:pt x="664527" y="346829"/>
                </a:lnTo>
                <a:lnTo>
                  <a:pt x="666810" y="346829"/>
                </a:lnTo>
                <a:lnTo>
                  <a:pt x="669094" y="346829"/>
                </a:lnTo>
                <a:lnTo>
                  <a:pt x="669094" y="344547"/>
                </a:lnTo>
                <a:lnTo>
                  <a:pt x="669094" y="342265"/>
                </a:lnTo>
                <a:lnTo>
                  <a:pt x="669094" y="339983"/>
                </a:lnTo>
                <a:lnTo>
                  <a:pt x="669094" y="337702"/>
                </a:lnTo>
                <a:lnTo>
                  <a:pt x="666810" y="335420"/>
                </a:lnTo>
                <a:lnTo>
                  <a:pt x="666810" y="333138"/>
                </a:lnTo>
                <a:lnTo>
                  <a:pt x="666810" y="330856"/>
                </a:lnTo>
                <a:lnTo>
                  <a:pt x="666810" y="328574"/>
                </a:lnTo>
                <a:lnTo>
                  <a:pt x="669094" y="326292"/>
                </a:lnTo>
                <a:lnTo>
                  <a:pt x="669094" y="324010"/>
                </a:lnTo>
                <a:lnTo>
                  <a:pt x="671378" y="324010"/>
                </a:lnTo>
                <a:lnTo>
                  <a:pt x="671378" y="321728"/>
                </a:lnTo>
                <a:lnTo>
                  <a:pt x="671378" y="319446"/>
                </a:lnTo>
                <a:lnTo>
                  <a:pt x="671378" y="317165"/>
                </a:lnTo>
                <a:lnTo>
                  <a:pt x="673661" y="317165"/>
                </a:lnTo>
                <a:lnTo>
                  <a:pt x="673661" y="314883"/>
                </a:lnTo>
                <a:lnTo>
                  <a:pt x="673661" y="312601"/>
                </a:lnTo>
                <a:lnTo>
                  <a:pt x="675945" y="312601"/>
                </a:lnTo>
                <a:lnTo>
                  <a:pt x="678228" y="312601"/>
                </a:lnTo>
                <a:lnTo>
                  <a:pt x="678228" y="310319"/>
                </a:lnTo>
                <a:lnTo>
                  <a:pt x="680512" y="310319"/>
                </a:lnTo>
                <a:lnTo>
                  <a:pt x="680512" y="308037"/>
                </a:lnTo>
                <a:lnTo>
                  <a:pt x="682795" y="308037"/>
                </a:lnTo>
                <a:lnTo>
                  <a:pt x="682795" y="305755"/>
                </a:lnTo>
                <a:lnTo>
                  <a:pt x="682795" y="308037"/>
                </a:lnTo>
                <a:lnTo>
                  <a:pt x="685079" y="308037"/>
                </a:lnTo>
                <a:lnTo>
                  <a:pt x="687363" y="308037"/>
                </a:lnTo>
                <a:lnTo>
                  <a:pt x="689646" y="308037"/>
                </a:lnTo>
                <a:lnTo>
                  <a:pt x="689646" y="310319"/>
                </a:lnTo>
                <a:lnTo>
                  <a:pt x="689646" y="308037"/>
                </a:lnTo>
                <a:lnTo>
                  <a:pt x="691930" y="308037"/>
                </a:lnTo>
                <a:lnTo>
                  <a:pt x="691930" y="305755"/>
                </a:lnTo>
                <a:lnTo>
                  <a:pt x="694213" y="305755"/>
                </a:lnTo>
                <a:lnTo>
                  <a:pt x="694213" y="308037"/>
                </a:lnTo>
                <a:lnTo>
                  <a:pt x="696497" y="308037"/>
                </a:lnTo>
                <a:lnTo>
                  <a:pt x="698780" y="308037"/>
                </a:lnTo>
                <a:lnTo>
                  <a:pt x="701064" y="308037"/>
                </a:lnTo>
                <a:lnTo>
                  <a:pt x="701064" y="310319"/>
                </a:lnTo>
                <a:lnTo>
                  <a:pt x="701064" y="312601"/>
                </a:lnTo>
                <a:lnTo>
                  <a:pt x="703348" y="312601"/>
                </a:lnTo>
                <a:lnTo>
                  <a:pt x="705631" y="312601"/>
                </a:lnTo>
                <a:lnTo>
                  <a:pt x="705631" y="310319"/>
                </a:lnTo>
                <a:lnTo>
                  <a:pt x="705631" y="308037"/>
                </a:lnTo>
                <a:lnTo>
                  <a:pt x="705631" y="305755"/>
                </a:lnTo>
                <a:lnTo>
                  <a:pt x="705631" y="303473"/>
                </a:lnTo>
                <a:lnTo>
                  <a:pt x="705631" y="301191"/>
                </a:lnTo>
                <a:lnTo>
                  <a:pt x="707915" y="301191"/>
                </a:lnTo>
                <a:lnTo>
                  <a:pt x="707915" y="298909"/>
                </a:lnTo>
                <a:lnTo>
                  <a:pt x="707915" y="296627"/>
                </a:lnTo>
                <a:lnTo>
                  <a:pt x="710199" y="296627"/>
                </a:lnTo>
                <a:lnTo>
                  <a:pt x="710199" y="294345"/>
                </a:lnTo>
                <a:lnTo>
                  <a:pt x="712482" y="294345"/>
                </a:lnTo>
                <a:lnTo>
                  <a:pt x="714766" y="294345"/>
                </a:lnTo>
                <a:lnTo>
                  <a:pt x="717049" y="294345"/>
                </a:lnTo>
                <a:lnTo>
                  <a:pt x="717049" y="296627"/>
                </a:lnTo>
                <a:lnTo>
                  <a:pt x="717049" y="294345"/>
                </a:lnTo>
                <a:lnTo>
                  <a:pt x="719333" y="294345"/>
                </a:lnTo>
                <a:lnTo>
                  <a:pt x="721617" y="294345"/>
                </a:lnTo>
                <a:lnTo>
                  <a:pt x="723900" y="294345"/>
                </a:lnTo>
                <a:lnTo>
                  <a:pt x="726184" y="294345"/>
                </a:lnTo>
                <a:lnTo>
                  <a:pt x="726184" y="296627"/>
                </a:lnTo>
                <a:lnTo>
                  <a:pt x="728467" y="296627"/>
                </a:lnTo>
                <a:lnTo>
                  <a:pt x="730751" y="296627"/>
                </a:lnTo>
                <a:lnTo>
                  <a:pt x="730751" y="298909"/>
                </a:lnTo>
                <a:lnTo>
                  <a:pt x="733034" y="298909"/>
                </a:lnTo>
                <a:lnTo>
                  <a:pt x="735318" y="298909"/>
                </a:lnTo>
                <a:lnTo>
                  <a:pt x="735318" y="301191"/>
                </a:lnTo>
                <a:lnTo>
                  <a:pt x="737602" y="301191"/>
                </a:lnTo>
                <a:lnTo>
                  <a:pt x="739885" y="301191"/>
                </a:lnTo>
                <a:lnTo>
                  <a:pt x="739885" y="303473"/>
                </a:lnTo>
                <a:lnTo>
                  <a:pt x="742169" y="301191"/>
                </a:lnTo>
                <a:lnTo>
                  <a:pt x="744453" y="301191"/>
                </a:lnTo>
                <a:lnTo>
                  <a:pt x="744453" y="298909"/>
                </a:lnTo>
                <a:lnTo>
                  <a:pt x="746736" y="298909"/>
                </a:lnTo>
                <a:lnTo>
                  <a:pt x="746736" y="296627"/>
                </a:lnTo>
                <a:lnTo>
                  <a:pt x="749020" y="294345"/>
                </a:lnTo>
                <a:lnTo>
                  <a:pt x="751303" y="294345"/>
                </a:lnTo>
                <a:lnTo>
                  <a:pt x="753587" y="294345"/>
                </a:lnTo>
                <a:lnTo>
                  <a:pt x="755870" y="294345"/>
                </a:lnTo>
                <a:lnTo>
                  <a:pt x="755870" y="296627"/>
                </a:lnTo>
                <a:lnTo>
                  <a:pt x="758154" y="296627"/>
                </a:lnTo>
                <a:lnTo>
                  <a:pt x="760438" y="296627"/>
                </a:lnTo>
                <a:lnTo>
                  <a:pt x="762721" y="296627"/>
                </a:lnTo>
                <a:lnTo>
                  <a:pt x="765005" y="296627"/>
                </a:lnTo>
                <a:lnTo>
                  <a:pt x="767288" y="296627"/>
                </a:lnTo>
                <a:lnTo>
                  <a:pt x="767288" y="298909"/>
                </a:lnTo>
                <a:lnTo>
                  <a:pt x="769572" y="298909"/>
                </a:lnTo>
                <a:lnTo>
                  <a:pt x="771856" y="298909"/>
                </a:lnTo>
                <a:lnTo>
                  <a:pt x="771856" y="296627"/>
                </a:lnTo>
                <a:lnTo>
                  <a:pt x="774139" y="296627"/>
                </a:lnTo>
                <a:lnTo>
                  <a:pt x="774139" y="294345"/>
                </a:lnTo>
                <a:lnTo>
                  <a:pt x="771856" y="294345"/>
                </a:lnTo>
                <a:lnTo>
                  <a:pt x="771856" y="292064"/>
                </a:lnTo>
                <a:lnTo>
                  <a:pt x="769572" y="292064"/>
                </a:lnTo>
                <a:lnTo>
                  <a:pt x="767288" y="292064"/>
                </a:lnTo>
                <a:lnTo>
                  <a:pt x="765005" y="292064"/>
                </a:lnTo>
                <a:lnTo>
                  <a:pt x="762721" y="292064"/>
                </a:lnTo>
                <a:lnTo>
                  <a:pt x="762721" y="289782"/>
                </a:lnTo>
                <a:lnTo>
                  <a:pt x="760438" y="289782"/>
                </a:lnTo>
                <a:lnTo>
                  <a:pt x="760438" y="287500"/>
                </a:lnTo>
                <a:lnTo>
                  <a:pt x="758154" y="287500"/>
                </a:lnTo>
                <a:lnTo>
                  <a:pt x="755870" y="287500"/>
                </a:lnTo>
                <a:lnTo>
                  <a:pt x="755870" y="285218"/>
                </a:lnTo>
                <a:lnTo>
                  <a:pt x="753587" y="285218"/>
                </a:lnTo>
                <a:lnTo>
                  <a:pt x="751303" y="282936"/>
                </a:lnTo>
                <a:lnTo>
                  <a:pt x="751303" y="280654"/>
                </a:lnTo>
                <a:lnTo>
                  <a:pt x="749020" y="280654"/>
                </a:lnTo>
                <a:lnTo>
                  <a:pt x="749020" y="278372"/>
                </a:lnTo>
                <a:lnTo>
                  <a:pt x="749020" y="276090"/>
                </a:lnTo>
                <a:lnTo>
                  <a:pt x="751303" y="276090"/>
                </a:lnTo>
                <a:lnTo>
                  <a:pt x="751303" y="273809"/>
                </a:lnTo>
                <a:lnTo>
                  <a:pt x="751303" y="271527"/>
                </a:lnTo>
                <a:lnTo>
                  <a:pt x="753587" y="271527"/>
                </a:lnTo>
                <a:lnTo>
                  <a:pt x="753587" y="269245"/>
                </a:lnTo>
                <a:lnTo>
                  <a:pt x="753587" y="266963"/>
                </a:lnTo>
                <a:lnTo>
                  <a:pt x="755870" y="266963"/>
                </a:lnTo>
                <a:lnTo>
                  <a:pt x="755870" y="264681"/>
                </a:lnTo>
                <a:lnTo>
                  <a:pt x="758154" y="264681"/>
                </a:lnTo>
                <a:lnTo>
                  <a:pt x="758154" y="262399"/>
                </a:lnTo>
                <a:lnTo>
                  <a:pt x="760438" y="262399"/>
                </a:lnTo>
                <a:lnTo>
                  <a:pt x="762721" y="262399"/>
                </a:lnTo>
                <a:lnTo>
                  <a:pt x="762721" y="264681"/>
                </a:lnTo>
                <a:lnTo>
                  <a:pt x="760438" y="266963"/>
                </a:lnTo>
                <a:lnTo>
                  <a:pt x="760438" y="269245"/>
                </a:lnTo>
                <a:lnTo>
                  <a:pt x="762721" y="269245"/>
                </a:lnTo>
                <a:lnTo>
                  <a:pt x="762721" y="266963"/>
                </a:lnTo>
                <a:lnTo>
                  <a:pt x="765005" y="266963"/>
                </a:lnTo>
                <a:lnTo>
                  <a:pt x="765005" y="264681"/>
                </a:lnTo>
                <a:lnTo>
                  <a:pt x="765005" y="262399"/>
                </a:lnTo>
                <a:lnTo>
                  <a:pt x="765005" y="260117"/>
                </a:lnTo>
                <a:lnTo>
                  <a:pt x="765005" y="257835"/>
                </a:lnTo>
                <a:lnTo>
                  <a:pt x="765005" y="255553"/>
                </a:lnTo>
                <a:lnTo>
                  <a:pt x="765005" y="253271"/>
                </a:lnTo>
                <a:lnTo>
                  <a:pt x="765005" y="250989"/>
                </a:lnTo>
                <a:lnTo>
                  <a:pt x="765005" y="248708"/>
                </a:lnTo>
                <a:lnTo>
                  <a:pt x="767288" y="248708"/>
                </a:lnTo>
                <a:lnTo>
                  <a:pt x="767288" y="246426"/>
                </a:lnTo>
                <a:lnTo>
                  <a:pt x="767288" y="244144"/>
                </a:lnTo>
                <a:lnTo>
                  <a:pt x="767288" y="241871"/>
                </a:lnTo>
                <a:lnTo>
                  <a:pt x="765005" y="241871"/>
                </a:lnTo>
                <a:lnTo>
                  <a:pt x="765005" y="239590"/>
                </a:lnTo>
                <a:lnTo>
                  <a:pt x="765005" y="237298"/>
                </a:lnTo>
                <a:lnTo>
                  <a:pt x="762721" y="237298"/>
                </a:lnTo>
                <a:lnTo>
                  <a:pt x="760438" y="237298"/>
                </a:lnTo>
                <a:lnTo>
                  <a:pt x="760438" y="235026"/>
                </a:lnTo>
                <a:lnTo>
                  <a:pt x="758154" y="235026"/>
                </a:lnTo>
                <a:lnTo>
                  <a:pt x="758154" y="232744"/>
                </a:lnTo>
                <a:lnTo>
                  <a:pt x="755870" y="232744"/>
                </a:lnTo>
                <a:lnTo>
                  <a:pt x="755870" y="230462"/>
                </a:lnTo>
                <a:lnTo>
                  <a:pt x="753587" y="230462"/>
                </a:lnTo>
                <a:lnTo>
                  <a:pt x="753587" y="228180"/>
                </a:lnTo>
                <a:lnTo>
                  <a:pt x="751303" y="228180"/>
                </a:lnTo>
                <a:lnTo>
                  <a:pt x="751303" y="225898"/>
                </a:lnTo>
                <a:lnTo>
                  <a:pt x="749020" y="225898"/>
                </a:lnTo>
                <a:lnTo>
                  <a:pt x="746736" y="225898"/>
                </a:lnTo>
                <a:lnTo>
                  <a:pt x="746736" y="223616"/>
                </a:lnTo>
                <a:lnTo>
                  <a:pt x="746736" y="221334"/>
                </a:lnTo>
                <a:lnTo>
                  <a:pt x="744453" y="221334"/>
                </a:lnTo>
                <a:lnTo>
                  <a:pt x="744453" y="219053"/>
                </a:lnTo>
                <a:lnTo>
                  <a:pt x="744453" y="216771"/>
                </a:lnTo>
                <a:lnTo>
                  <a:pt x="744453" y="214489"/>
                </a:lnTo>
                <a:lnTo>
                  <a:pt x="742169" y="212207"/>
                </a:lnTo>
                <a:lnTo>
                  <a:pt x="742169" y="209925"/>
                </a:lnTo>
                <a:lnTo>
                  <a:pt x="739885" y="209925"/>
                </a:lnTo>
                <a:lnTo>
                  <a:pt x="739885" y="207643"/>
                </a:lnTo>
                <a:lnTo>
                  <a:pt x="737602" y="207643"/>
                </a:lnTo>
                <a:lnTo>
                  <a:pt x="737602" y="205361"/>
                </a:lnTo>
                <a:lnTo>
                  <a:pt x="739885" y="205361"/>
                </a:lnTo>
                <a:lnTo>
                  <a:pt x="739885" y="203079"/>
                </a:lnTo>
                <a:lnTo>
                  <a:pt x="739885" y="200797"/>
                </a:lnTo>
                <a:lnTo>
                  <a:pt x="739885" y="198515"/>
                </a:lnTo>
                <a:lnTo>
                  <a:pt x="742169" y="198515"/>
                </a:lnTo>
                <a:lnTo>
                  <a:pt x="742169" y="196233"/>
                </a:lnTo>
                <a:lnTo>
                  <a:pt x="744453" y="196233"/>
                </a:lnTo>
                <a:lnTo>
                  <a:pt x="746736" y="196233"/>
                </a:lnTo>
                <a:lnTo>
                  <a:pt x="746736" y="198515"/>
                </a:lnTo>
                <a:lnTo>
                  <a:pt x="749020" y="198515"/>
                </a:lnTo>
                <a:lnTo>
                  <a:pt x="751303" y="198515"/>
                </a:lnTo>
                <a:lnTo>
                  <a:pt x="751303" y="200797"/>
                </a:lnTo>
                <a:lnTo>
                  <a:pt x="753587" y="200797"/>
                </a:lnTo>
                <a:lnTo>
                  <a:pt x="755870" y="200797"/>
                </a:lnTo>
                <a:lnTo>
                  <a:pt x="755870" y="198515"/>
                </a:lnTo>
                <a:lnTo>
                  <a:pt x="758154" y="198515"/>
                </a:lnTo>
                <a:lnTo>
                  <a:pt x="758154" y="196233"/>
                </a:lnTo>
                <a:lnTo>
                  <a:pt x="760438" y="196233"/>
                </a:lnTo>
                <a:lnTo>
                  <a:pt x="760438" y="193952"/>
                </a:lnTo>
                <a:lnTo>
                  <a:pt x="760438" y="191670"/>
                </a:lnTo>
                <a:lnTo>
                  <a:pt x="760438" y="189388"/>
                </a:lnTo>
                <a:lnTo>
                  <a:pt x="762721" y="189388"/>
                </a:lnTo>
                <a:lnTo>
                  <a:pt x="765005" y="189388"/>
                </a:lnTo>
                <a:lnTo>
                  <a:pt x="767288" y="189388"/>
                </a:lnTo>
                <a:lnTo>
                  <a:pt x="769572" y="189388"/>
                </a:lnTo>
                <a:lnTo>
                  <a:pt x="769572" y="187106"/>
                </a:lnTo>
                <a:lnTo>
                  <a:pt x="771856" y="187106"/>
                </a:lnTo>
                <a:lnTo>
                  <a:pt x="771856" y="184824"/>
                </a:lnTo>
                <a:lnTo>
                  <a:pt x="774139" y="184824"/>
                </a:lnTo>
                <a:lnTo>
                  <a:pt x="774139" y="182542"/>
                </a:lnTo>
                <a:lnTo>
                  <a:pt x="774139" y="180260"/>
                </a:lnTo>
                <a:lnTo>
                  <a:pt x="776423" y="180260"/>
                </a:lnTo>
                <a:lnTo>
                  <a:pt x="776423" y="177978"/>
                </a:lnTo>
                <a:lnTo>
                  <a:pt x="776423" y="175697"/>
                </a:lnTo>
                <a:lnTo>
                  <a:pt x="776423" y="173415"/>
                </a:lnTo>
                <a:lnTo>
                  <a:pt x="778707" y="173415"/>
                </a:lnTo>
                <a:lnTo>
                  <a:pt x="780990" y="173415"/>
                </a:lnTo>
                <a:lnTo>
                  <a:pt x="783274" y="173415"/>
                </a:lnTo>
                <a:lnTo>
                  <a:pt x="785557" y="173415"/>
                </a:lnTo>
                <a:lnTo>
                  <a:pt x="785557" y="175697"/>
                </a:lnTo>
                <a:lnTo>
                  <a:pt x="787841" y="175697"/>
                </a:lnTo>
                <a:lnTo>
                  <a:pt x="790124" y="175697"/>
                </a:lnTo>
                <a:lnTo>
                  <a:pt x="790124" y="177978"/>
                </a:lnTo>
                <a:lnTo>
                  <a:pt x="792408" y="177978"/>
                </a:lnTo>
                <a:lnTo>
                  <a:pt x="794692" y="177978"/>
                </a:lnTo>
                <a:lnTo>
                  <a:pt x="796975" y="177978"/>
                </a:lnTo>
                <a:lnTo>
                  <a:pt x="796975" y="180260"/>
                </a:lnTo>
                <a:lnTo>
                  <a:pt x="799259" y="180260"/>
                </a:lnTo>
                <a:lnTo>
                  <a:pt x="799259" y="177978"/>
                </a:lnTo>
                <a:lnTo>
                  <a:pt x="799259" y="175697"/>
                </a:lnTo>
                <a:lnTo>
                  <a:pt x="799259" y="173415"/>
                </a:lnTo>
                <a:lnTo>
                  <a:pt x="801542" y="173415"/>
                </a:lnTo>
                <a:lnTo>
                  <a:pt x="801542" y="171133"/>
                </a:lnTo>
                <a:lnTo>
                  <a:pt x="801542" y="168851"/>
                </a:lnTo>
                <a:lnTo>
                  <a:pt x="801542" y="166569"/>
                </a:lnTo>
                <a:lnTo>
                  <a:pt x="801542" y="164287"/>
                </a:lnTo>
                <a:lnTo>
                  <a:pt x="801542" y="162005"/>
                </a:lnTo>
                <a:lnTo>
                  <a:pt x="799259" y="162005"/>
                </a:lnTo>
                <a:lnTo>
                  <a:pt x="799259" y="159723"/>
                </a:lnTo>
                <a:lnTo>
                  <a:pt x="796975" y="159723"/>
                </a:lnTo>
                <a:lnTo>
                  <a:pt x="796975" y="157441"/>
                </a:lnTo>
                <a:lnTo>
                  <a:pt x="799259" y="157441"/>
                </a:lnTo>
                <a:lnTo>
                  <a:pt x="799259" y="155159"/>
                </a:lnTo>
                <a:lnTo>
                  <a:pt x="799259" y="152877"/>
                </a:lnTo>
                <a:lnTo>
                  <a:pt x="801542" y="152877"/>
                </a:lnTo>
                <a:lnTo>
                  <a:pt x="801542" y="150596"/>
                </a:lnTo>
                <a:lnTo>
                  <a:pt x="803826" y="150596"/>
                </a:lnTo>
                <a:lnTo>
                  <a:pt x="803826" y="148314"/>
                </a:lnTo>
                <a:lnTo>
                  <a:pt x="806110" y="148314"/>
                </a:lnTo>
                <a:lnTo>
                  <a:pt x="808393" y="148314"/>
                </a:lnTo>
                <a:lnTo>
                  <a:pt x="808393" y="146032"/>
                </a:lnTo>
                <a:lnTo>
                  <a:pt x="810677" y="146032"/>
                </a:lnTo>
                <a:lnTo>
                  <a:pt x="810677" y="143750"/>
                </a:lnTo>
                <a:lnTo>
                  <a:pt x="810677" y="141468"/>
                </a:lnTo>
                <a:lnTo>
                  <a:pt x="810677" y="139186"/>
                </a:lnTo>
                <a:lnTo>
                  <a:pt x="810677" y="136904"/>
                </a:lnTo>
                <a:lnTo>
                  <a:pt x="812960" y="136904"/>
                </a:lnTo>
                <a:lnTo>
                  <a:pt x="815244" y="136904"/>
                </a:lnTo>
                <a:lnTo>
                  <a:pt x="817528" y="136904"/>
                </a:lnTo>
                <a:lnTo>
                  <a:pt x="819811" y="136904"/>
                </a:lnTo>
                <a:lnTo>
                  <a:pt x="819811" y="134622"/>
                </a:lnTo>
                <a:lnTo>
                  <a:pt x="822095" y="134622"/>
                </a:lnTo>
                <a:lnTo>
                  <a:pt x="824378" y="134622"/>
                </a:lnTo>
                <a:lnTo>
                  <a:pt x="824378" y="132340"/>
                </a:lnTo>
                <a:lnTo>
                  <a:pt x="826662" y="132340"/>
                </a:lnTo>
                <a:lnTo>
                  <a:pt x="828946" y="132340"/>
                </a:lnTo>
                <a:lnTo>
                  <a:pt x="831229" y="132340"/>
                </a:lnTo>
                <a:lnTo>
                  <a:pt x="831229" y="134622"/>
                </a:lnTo>
                <a:lnTo>
                  <a:pt x="833513" y="134622"/>
                </a:lnTo>
                <a:lnTo>
                  <a:pt x="833513" y="136904"/>
                </a:lnTo>
                <a:lnTo>
                  <a:pt x="833513" y="139186"/>
                </a:lnTo>
                <a:lnTo>
                  <a:pt x="833513" y="141468"/>
                </a:lnTo>
                <a:lnTo>
                  <a:pt x="835797" y="141468"/>
                </a:lnTo>
                <a:lnTo>
                  <a:pt x="835797" y="143750"/>
                </a:lnTo>
                <a:lnTo>
                  <a:pt x="838080" y="143750"/>
                </a:lnTo>
                <a:lnTo>
                  <a:pt x="838080" y="141468"/>
                </a:lnTo>
                <a:lnTo>
                  <a:pt x="840364" y="141468"/>
                </a:lnTo>
                <a:lnTo>
                  <a:pt x="840364" y="139186"/>
                </a:lnTo>
                <a:lnTo>
                  <a:pt x="842647" y="139186"/>
                </a:lnTo>
                <a:lnTo>
                  <a:pt x="842647" y="136904"/>
                </a:lnTo>
                <a:lnTo>
                  <a:pt x="842647" y="134622"/>
                </a:lnTo>
                <a:lnTo>
                  <a:pt x="842647" y="132340"/>
                </a:lnTo>
                <a:lnTo>
                  <a:pt x="842647" y="130059"/>
                </a:lnTo>
                <a:lnTo>
                  <a:pt x="844931" y="130059"/>
                </a:lnTo>
                <a:lnTo>
                  <a:pt x="844931" y="127777"/>
                </a:lnTo>
                <a:lnTo>
                  <a:pt x="844931" y="125495"/>
                </a:lnTo>
                <a:lnTo>
                  <a:pt x="847214" y="125495"/>
                </a:lnTo>
                <a:lnTo>
                  <a:pt x="847214" y="123213"/>
                </a:lnTo>
                <a:lnTo>
                  <a:pt x="849498" y="123213"/>
                </a:lnTo>
                <a:lnTo>
                  <a:pt x="851782" y="123213"/>
                </a:lnTo>
                <a:lnTo>
                  <a:pt x="854065" y="123213"/>
                </a:lnTo>
                <a:lnTo>
                  <a:pt x="854065" y="120931"/>
                </a:lnTo>
                <a:lnTo>
                  <a:pt x="856349" y="120931"/>
                </a:lnTo>
                <a:lnTo>
                  <a:pt x="858632" y="120931"/>
                </a:lnTo>
                <a:lnTo>
                  <a:pt x="860916" y="120931"/>
                </a:lnTo>
                <a:lnTo>
                  <a:pt x="860916" y="118649"/>
                </a:lnTo>
                <a:lnTo>
                  <a:pt x="863199" y="118649"/>
                </a:lnTo>
                <a:lnTo>
                  <a:pt x="863199" y="116367"/>
                </a:lnTo>
                <a:lnTo>
                  <a:pt x="865483" y="116367"/>
                </a:lnTo>
                <a:lnTo>
                  <a:pt x="865483" y="114085"/>
                </a:lnTo>
                <a:lnTo>
                  <a:pt x="867767" y="114085"/>
                </a:lnTo>
                <a:lnTo>
                  <a:pt x="870050" y="114085"/>
                </a:lnTo>
                <a:lnTo>
                  <a:pt x="872334" y="114085"/>
                </a:lnTo>
                <a:lnTo>
                  <a:pt x="872334" y="111803"/>
                </a:lnTo>
                <a:lnTo>
                  <a:pt x="874618" y="111803"/>
                </a:lnTo>
                <a:lnTo>
                  <a:pt x="876901" y="109521"/>
                </a:lnTo>
                <a:lnTo>
                  <a:pt x="879185" y="109521"/>
                </a:lnTo>
                <a:lnTo>
                  <a:pt x="879185" y="107240"/>
                </a:lnTo>
                <a:lnTo>
                  <a:pt x="881468" y="107240"/>
                </a:lnTo>
                <a:lnTo>
                  <a:pt x="881468" y="109521"/>
                </a:lnTo>
                <a:lnTo>
                  <a:pt x="881468" y="111803"/>
                </a:lnTo>
                <a:lnTo>
                  <a:pt x="881468" y="114085"/>
                </a:lnTo>
                <a:lnTo>
                  <a:pt x="881468" y="116367"/>
                </a:lnTo>
                <a:lnTo>
                  <a:pt x="883752" y="116367"/>
                </a:lnTo>
                <a:lnTo>
                  <a:pt x="886036" y="116367"/>
                </a:lnTo>
                <a:lnTo>
                  <a:pt x="886036" y="114085"/>
                </a:lnTo>
                <a:lnTo>
                  <a:pt x="888319" y="114085"/>
                </a:lnTo>
                <a:lnTo>
                  <a:pt x="890603" y="114085"/>
                </a:lnTo>
                <a:lnTo>
                  <a:pt x="892886" y="111803"/>
                </a:lnTo>
                <a:lnTo>
                  <a:pt x="895170" y="111803"/>
                </a:lnTo>
                <a:lnTo>
                  <a:pt x="895170" y="109521"/>
                </a:lnTo>
                <a:lnTo>
                  <a:pt x="897453" y="109521"/>
                </a:lnTo>
                <a:lnTo>
                  <a:pt x="897453" y="107240"/>
                </a:lnTo>
                <a:lnTo>
                  <a:pt x="897453" y="104958"/>
                </a:lnTo>
                <a:lnTo>
                  <a:pt x="899737" y="104958"/>
                </a:lnTo>
                <a:lnTo>
                  <a:pt x="899737" y="102676"/>
                </a:lnTo>
                <a:lnTo>
                  <a:pt x="902021" y="102676"/>
                </a:lnTo>
                <a:lnTo>
                  <a:pt x="904304" y="102676"/>
                </a:lnTo>
                <a:lnTo>
                  <a:pt x="904304" y="104958"/>
                </a:lnTo>
                <a:lnTo>
                  <a:pt x="906588" y="104958"/>
                </a:lnTo>
                <a:lnTo>
                  <a:pt x="906588" y="107240"/>
                </a:lnTo>
                <a:lnTo>
                  <a:pt x="906588" y="109521"/>
                </a:lnTo>
                <a:lnTo>
                  <a:pt x="908872" y="109521"/>
                </a:lnTo>
                <a:lnTo>
                  <a:pt x="911155" y="109521"/>
                </a:lnTo>
                <a:lnTo>
                  <a:pt x="913439" y="109521"/>
                </a:lnTo>
                <a:lnTo>
                  <a:pt x="915722" y="109521"/>
                </a:lnTo>
                <a:lnTo>
                  <a:pt x="915722" y="111803"/>
                </a:lnTo>
                <a:lnTo>
                  <a:pt x="918006" y="111803"/>
                </a:lnTo>
                <a:lnTo>
                  <a:pt x="918006" y="114085"/>
                </a:lnTo>
                <a:lnTo>
                  <a:pt x="918006" y="116367"/>
                </a:lnTo>
                <a:lnTo>
                  <a:pt x="918006" y="118649"/>
                </a:lnTo>
                <a:lnTo>
                  <a:pt x="918006" y="120931"/>
                </a:lnTo>
                <a:lnTo>
                  <a:pt x="920289" y="120931"/>
                </a:lnTo>
                <a:lnTo>
                  <a:pt x="920289" y="123213"/>
                </a:lnTo>
                <a:lnTo>
                  <a:pt x="922573" y="123213"/>
                </a:lnTo>
                <a:lnTo>
                  <a:pt x="922573" y="125495"/>
                </a:lnTo>
                <a:lnTo>
                  <a:pt x="922573" y="123213"/>
                </a:lnTo>
                <a:lnTo>
                  <a:pt x="922573" y="120931"/>
                </a:lnTo>
                <a:lnTo>
                  <a:pt x="924857" y="120931"/>
                </a:lnTo>
                <a:lnTo>
                  <a:pt x="924857" y="118649"/>
                </a:lnTo>
                <a:lnTo>
                  <a:pt x="924857" y="116367"/>
                </a:lnTo>
                <a:lnTo>
                  <a:pt x="924857" y="114085"/>
                </a:lnTo>
                <a:lnTo>
                  <a:pt x="922573" y="114085"/>
                </a:lnTo>
                <a:lnTo>
                  <a:pt x="922573" y="111803"/>
                </a:lnTo>
                <a:lnTo>
                  <a:pt x="922573" y="109521"/>
                </a:lnTo>
                <a:lnTo>
                  <a:pt x="924857" y="109521"/>
                </a:lnTo>
                <a:lnTo>
                  <a:pt x="924857" y="107240"/>
                </a:lnTo>
                <a:lnTo>
                  <a:pt x="924857" y="104958"/>
                </a:lnTo>
                <a:lnTo>
                  <a:pt x="922573" y="104958"/>
                </a:lnTo>
                <a:lnTo>
                  <a:pt x="922573" y="102676"/>
                </a:lnTo>
                <a:lnTo>
                  <a:pt x="922573" y="100394"/>
                </a:lnTo>
                <a:lnTo>
                  <a:pt x="922573" y="98112"/>
                </a:lnTo>
                <a:lnTo>
                  <a:pt x="922573" y="95830"/>
                </a:lnTo>
                <a:lnTo>
                  <a:pt x="922573" y="93548"/>
                </a:lnTo>
                <a:lnTo>
                  <a:pt x="924857" y="91266"/>
                </a:lnTo>
                <a:lnTo>
                  <a:pt x="924857" y="88984"/>
                </a:lnTo>
                <a:lnTo>
                  <a:pt x="924857" y="86712"/>
                </a:lnTo>
                <a:lnTo>
                  <a:pt x="927140" y="86712"/>
                </a:lnTo>
                <a:lnTo>
                  <a:pt x="927140" y="84421"/>
                </a:lnTo>
                <a:lnTo>
                  <a:pt x="929424" y="84421"/>
                </a:lnTo>
                <a:lnTo>
                  <a:pt x="929424" y="82139"/>
                </a:lnTo>
                <a:lnTo>
                  <a:pt x="931707" y="82139"/>
                </a:lnTo>
                <a:lnTo>
                  <a:pt x="931707" y="84421"/>
                </a:lnTo>
                <a:lnTo>
                  <a:pt x="933991" y="84421"/>
                </a:lnTo>
                <a:lnTo>
                  <a:pt x="933991" y="86712"/>
                </a:lnTo>
                <a:lnTo>
                  <a:pt x="933991" y="88984"/>
                </a:lnTo>
                <a:lnTo>
                  <a:pt x="931707" y="88984"/>
                </a:lnTo>
                <a:lnTo>
                  <a:pt x="931707" y="91266"/>
                </a:lnTo>
                <a:lnTo>
                  <a:pt x="933991" y="91266"/>
                </a:lnTo>
                <a:lnTo>
                  <a:pt x="933991" y="93548"/>
                </a:lnTo>
                <a:lnTo>
                  <a:pt x="936275" y="93548"/>
                </a:lnTo>
                <a:lnTo>
                  <a:pt x="936275" y="95830"/>
                </a:lnTo>
                <a:lnTo>
                  <a:pt x="938558" y="95830"/>
                </a:lnTo>
                <a:lnTo>
                  <a:pt x="938558" y="98112"/>
                </a:lnTo>
                <a:lnTo>
                  <a:pt x="940842" y="98112"/>
                </a:lnTo>
                <a:lnTo>
                  <a:pt x="943126" y="98112"/>
                </a:lnTo>
                <a:lnTo>
                  <a:pt x="943126" y="100394"/>
                </a:lnTo>
                <a:lnTo>
                  <a:pt x="945409" y="100394"/>
                </a:lnTo>
                <a:lnTo>
                  <a:pt x="947693" y="100394"/>
                </a:lnTo>
                <a:lnTo>
                  <a:pt x="947693" y="102676"/>
                </a:lnTo>
                <a:lnTo>
                  <a:pt x="949976" y="102676"/>
                </a:lnTo>
                <a:lnTo>
                  <a:pt x="952260" y="102676"/>
                </a:lnTo>
                <a:lnTo>
                  <a:pt x="952260" y="104958"/>
                </a:lnTo>
                <a:lnTo>
                  <a:pt x="954543" y="104958"/>
                </a:lnTo>
                <a:lnTo>
                  <a:pt x="954543" y="107240"/>
                </a:lnTo>
                <a:lnTo>
                  <a:pt x="956827" y="107240"/>
                </a:lnTo>
                <a:lnTo>
                  <a:pt x="959111" y="107240"/>
                </a:lnTo>
                <a:lnTo>
                  <a:pt x="961394" y="107240"/>
                </a:lnTo>
                <a:lnTo>
                  <a:pt x="961394" y="109521"/>
                </a:lnTo>
                <a:lnTo>
                  <a:pt x="963678" y="109521"/>
                </a:lnTo>
                <a:lnTo>
                  <a:pt x="965961" y="109521"/>
                </a:lnTo>
                <a:lnTo>
                  <a:pt x="968245" y="109521"/>
                </a:lnTo>
                <a:lnTo>
                  <a:pt x="970528" y="109521"/>
                </a:lnTo>
                <a:lnTo>
                  <a:pt x="972812" y="109521"/>
                </a:lnTo>
                <a:lnTo>
                  <a:pt x="975096" y="109521"/>
                </a:lnTo>
                <a:lnTo>
                  <a:pt x="977379" y="109521"/>
                </a:lnTo>
                <a:lnTo>
                  <a:pt x="979663" y="109521"/>
                </a:lnTo>
                <a:lnTo>
                  <a:pt x="981947" y="109521"/>
                </a:lnTo>
                <a:lnTo>
                  <a:pt x="984230" y="109521"/>
                </a:lnTo>
                <a:lnTo>
                  <a:pt x="986514" y="107240"/>
                </a:lnTo>
                <a:lnTo>
                  <a:pt x="988797" y="107240"/>
                </a:lnTo>
                <a:lnTo>
                  <a:pt x="988797" y="104958"/>
                </a:lnTo>
                <a:lnTo>
                  <a:pt x="991081" y="104958"/>
                </a:lnTo>
                <a:lnTo>
                  <a:pt x="993365" y="104958"/>
                </a:lnTo>
                <a:lnTo>
                  <a:pt x="995648" y="104958"/>
                </a:lnTo>
                <a:lnTo>
                  <a:pt x="995648" y="107240"/>
                </a:lnTo>
                <a:lnTo>
                  <a:pt x="997932" y="107240"/>
                </a:lnTo>
                <a:lnTo>
                  <a:pt x="1000215" y="109521"/>
                </a:lnTo>
                <a:lnTo>
                  <a:pt x="1002499" y="109521"/>
                </a:lnTo>
                <a:lnTo>
                  <a:pt x="1002499" y="111803"/>
                </a:lnTo>
                <a:lnTo>
                  <a:pt x="1004782" y="111803"/>
                </a:lnTo>
                <a:lnTo>
                  <a:pt x="1007066" y="109521"/>
                </a:lnTo>
                <a:lnTo>
                  <a:pt x="1009350" y="109521"/>
                </a:lnTo>
                <a:lnTo>
                  <a:pt x="1009350" y="107240"/>
                </a:lnTo>
                <a:lnTo>
                  <a:pt x="1011633" y="104958"/>
                </a:lnTo>
                <a:lnTo>
                  <a:pt x="1013917" y="104958"/>
                </a:lnTo>
                <a:lnTo>
                  <a:pt x="1013917" y="102676"/>
                </a:lnTo>
                <a:lnTo>
                  <a:pt x="1016201" y="104958"/>
                </a:lnTo>
                <a:lnTo>
                  <a:pt x="1018484" y="104958"/>
                </a:lnTo>
                <a:lnTo>
                  <a:pt x="1018484" y="107240"/>
                </a:lnTo>
                <a:lnTo>
                  <a:pt x="1018484" y="109521"/>
                </a:lnTo>
                <a:lnTo>
                  <a:pt x="1018484" y="111803"/>
                </a:lnTo>
                <a:lnTo>
                  <a:pt x="1018484" y="114085"/>
                </a:lnTo>
                <a:lnTo>
                  <a:pt x="1018484" y="116367"/>
                </a:lnTo>
                <a:lnTo>
                  <a:pt x="1018484" y="118649"/>
                </a:lnTo>
                <a:lnTo>
                  <a:pt x="1016201" y="118649"/>
                </a:lnTo>
                <a:lnTo>
                  <a:pt x="1016201" y="120931"/>
                </a:lnTo>
                <a:lnTo>
                  <a:pt x="1016201" y="123213"/>
                </a:lnTo>
                <a:lnTo>
                  <a:pt x="1018484" y="123213"/>
                </a:lnTo>
                <a:lnTo>
                  <a:pt x="1018484" y="125495"/>
                </a:lnTo>
                <a:lnTo>
                  <a:pt x="1020768" y="125495"/>
                </a:lnTo>
                <a:lnTo>
                  <a:pt x="1023051" y="125495"/>
                </a:lnTo>
                <a:lnTo>
                  <a:pt x="1025335" y="125495"/>
                </a:lnTo>
                <a:lnTo>
                  <a:pt x="1025335" y="127777"/>
                </a:lnTo>
                <a:lnTo>
                  <a:pt x="1027618" y="127777"/>
                </a:lnTo>
                <a:lnTo>
                  <a:pt x="1027618" y="125495"/>
                </a:lnTo>
                <a:lnTo>
                  <a:pt x="1029902" y="125495"/>
                </a:lnTo>
                <a:lnTo>
                  <a:pt x="1029902" y="123213"/>
                </a:lnTo>
                <a:lnTo>
                  <a:pt x="1029902" y="120931"/>
                </a:lnTo>
                <a:lnTo>
                  <a:pt x="1029902" y="118649"/>
                </a:lnTo>
                <a:lnTo>
                  <a:pt x="1029902" y="116367"/>
                </a:lnTo>
                <a:lnTo>
                  <a:pt x="1029902" y="114085"/>
                </a:lnTo>
                <a:lnTo>
                  <a:pt x="1032186" y="114085"/>
                </a:lnTo>
                <a:lnTo>
                  <a:pt x="1032186" y="111803"/>
                </a:lnTo>
                <a:lnTo>
                  <a:pt x="1034469" y="111803"/>
                </a:lnTo>
                <a:lnTo>
                  <a:pt x="1036753" y="109521"/>
                </a:lnTo>
                <a:lnTo>
                  <a:pt x="1036753" y="107240"/>
                </a:lnTo>
                <a:lnTo>
                  <a:pt x="1036753" y="104958"/>
                </a:lnTo>
                <a:lnTo>
                  <a:pt x="1039036" y="104958"/>
                </a:lnTo>
                <a:lnTo>
                  <a:pt x="1039036" y="102676"/>
                </a:lnTo>
                <a:lnTo>
                  <a:pt x="1041320" y="102676"/>
                </a:lnTo>
                <a:lnTo>
                  <a:pt x="1041320" y="100394"/>
                </a:lnTo>
                <a:lnTo>
                  <a:pt x="1043613" y="100394"/>
                </a:lnTo>
                <a:lnTo>
                  <a:pt x="1045887" y="100394"/>
                </a:lnTo>
                <a:lnTo>
                  <a:pt x="1045887" y="98112"/>
                </a:lnTo>
                <a:lnTo>
                  <a:pt x="1048180" y="98112"/>
                </a:lnTo>
                <a:lnTo>
                  <a:pt x="1048180" y="95830"/>
                </a:lnTo>
                <a:lnTo>
                  <a:pt x="1050455" y="95830"/>
                </a:lnTo>
                <a:lnTo>
                  <a:pt x="1050455" y="93548"/>
                </a:lnTo>
                <a:lnTo>
                  <a:pt x="1050455" y="91266"/>
                </a:lnTo>
                <a:lnTo>
                  <a:pt x="1052738" y="91266"/>
                </a:lnTo>
                <a:lnTo>
                  <a:pt x="1052738" y="88984"/>
                </a:lnTo>
                <a:lnTo>
                  <a:pt x="1055031" y="88984"/>
                </a:lnTo>
                <a:lnTo>
                  <a:pt x="1055031" y="86712"/>
                </a:lnTo>
                <a:lnTo>
                  <a:pt x="1057305" y="86712"/>
                </a:lnTo>
                <a:lnTo>
                  <a:pt x="1059598" y="86712"/>
                </a:lnTo>
                <a:lnTo>
                  <a:pt x="1059598" y="84421"/>
                </a:lnTo>
                <a:lnTo>
                  <a:pt x="1059598" y="82139"/>
                </a:lnTo>
                <a:lnTo>
                  <a:pt x="1059598" y="79866"/>
                </a:lnTo>
                <a:lnTo>
                  <a:pt x="1061882" y="79866"/>
                </a:lnTo>
                <a:lnTo>
                  <a:pt x="1061882" y="77584"/>
                </a:lnTo>
                <a:lnTo>
                  <a:pt x="1061882" y="75303"/>
                </a:lnTo>
                <a:lnTo>
                  <a:pt x="1064165" y="75303"/>
                </a:lnTo>
                <a:lnTo>
                  <a:pt x="1066449" y="75303"/>
                </a:lnTo>
                <a:lnTo>
                  <a:pt x="1068733" y="75303"/>
                </a:lnTo>
                <a:lnTo>
                  <a:pt x="1071016" y="75303"/>
                </a:lnTo>
                <a:lnTo>
                  <a:pt x="1073300" y="75303"/>
                </a:lnTo>
                <a:lnTo>
                  <a:pt x="1075584" y="75303"/>
                </a:lnTo>
                <a:lnTo>
                  <a:pt x="1075584" y="77584"/>
                </a:lnTo>
                <a:lnTo>
                  <a:pt x="1077867" y="77584"/>
                </a:lnTo>
                <a:lnTo>
                  <a:pt x="1077867" y="79866"/>
                </a:lnTo>
                <a:lnTo>
                  <a:pt x="1077867" y="82139"/>
                </a:lnTo>
                <a:lnTo>
                  <a:pt x="1075584" y="82139"/>
                </a:lnTo>
                <a:lnTo>
                  <a:pt x="1077867" y="82139"/>
                </a:lnTo>
                <a:lnTo>
                  <a:pt x="1077867" y="84421"/>
                </a:lnTo>
                <a:lnTo>
                  <a:pt x="1080141" y="84421"/>
                </a:lnTo>
                <a:lnTo>
                  <a:pt x="1080141" y="86712"/>
                </a:lnTo>
                <a:lnTo>
                  <a:pt x="1082434" y="86712"/>
                </a:lnTo>
                <a:lnTo>
                  <a:pt x="1084718" y="86712"/>
                </a:lnTo>
                <a:lnTo>
                  <a:pt x="1084718" y="88984"/>
                </a:lnTo>
                <a:lnTo>
                  <a:pt x="1087002" y="91266"/>
                </a:lnTo>
                <a:lnTo>
                  <a:pt x="1087002" y="93548"/>
                </a:lnTo>
                <a:lnTo>
                  <a:pt x="1087002" y="95830"/>
                </a:lnTo>
                <a:lnTo>
                  <a:pt x="1089285" y="95830"/>
                </a:lnTo>
                <a:lnTo>
                  <a:pt x="1091569" y="95830"/>
                </a:lnTo>
                <a:lnTo>
                  <a:pt x="1091569" y="93548"/>
                </a:lnTo>
                <a:lnTo>
                  <a:pt x="1093843" y="93548"/>
                </a:lnTo>
                <a:lnTo>
                  <a:pt x="1093843" y="95830"/>
                </a:lnTo>
                <a:lnTo>
                  <a:pt x="1096136" y="95830"/>
                </a:lnTo>
                <a:lnTo>
                  <a:pt x="1096136" y="98112"/>
                </a:lnTo>
                <a:lnTo>
                  <a:pt x="1096136" y="100394"/>
                </a:lnTo>
                <a:lnTo>
                  <a:pt x="1098419" y="100394"/>
                </a:lnTo>
                <a:lnTo>
                  <a:pt x="1098419" y="102676"/>
                </a:lnTo>
                <a:lnTo>
                  <a:pt x="1098419" y="104958"/>
                </a:lnTo>
                <a:lnTo>
                  <a:pt x="1100703" y="104958"/>
                </a:lnTo>
                <a:lnTo>
                  <a:pt x="1105270" y="104958"/>
                </a:lnTo>
                <a:lnTo>
                  <a:pt x="1107554" y="102676"/>
                </a:lnTo>
                <a:lnTo>
                  <a:pt x="1107554" y="100394"/>
                </a:lnTo>
                <a:lnTo>
                  <a:pt x="1109838" y="100394"/>
                </a:lnTo>
                <a:lnTo>
                  <a:pt x="1109838" y="98112"/>
                </a:lnTo>
                <a:lnTo>
                  <a:pt x="1112121" y="95830"/>
                </a:lnTo>
                <a:lnTo>
                  <a:pt x="1114405" y="93548"/>
                </a:lnTo>
                <a:lnTo>
                  <a:pt x="1114405" y="95830"/>
                </a:lnTo>
                <a:lnTo>
                  <a:pt x="1114405" y="93548"/>
                </a:lnTo>
                <a:lnTo>
                  <a:pt x="1116688" y="93548"/>
                </a:lnTo>
                <a:lnTo>
                  <a:pt x="1116688" y="91266"/>
                </a:lnTo>
                <a:lnTo>
                  <a:pt x="1118972" y="91266"/>
                </a:lnTo>
                <a:lnTo>
                  <a:pt x="1121255" y="91266"/>
                </a:lnTo>
                <a:lnTo>
                  <a:pt x="1121255" y="88984"/>
                </a:lnTo>
                <a:lnTo>
                  <a:pt x="1125823" y="88984"/>
                </a:lnTo>
                <a:lnTo>
                  <a:pt x="1125823" y="86712"/>
                </a:lnTo>
                <a:lnTo>
                  <a:pt x="1128106" y="86712"/>
                </a:lnTo>
                <a:lnTo>
                  <a:pt x="1128106" y="84421"/>
                </a:lnTo>
                <a:lnTo>
                  <a:pt x="1128106" y="82139"/>
                </a:lnTo>
                <a:lnTo>
                  <a:pt x="1128106" y="79866"/>
                </a:lnTo>
                <a:lnTo>
                  <a:pt x="1128106" y="77584"/>
                </a:lnTo>
                <a:lnTo>
                  <a:pt x="1130390" y="77584"/>
                </a:lnTo>
                <a:lnTo>
                  <a:pt x="1130390" y="75303"/>
                </a:lnTo>
                <a:lnTo>
                  <a:pt x="1130390" y="73021"/>
                </a:lnTo>
                <a:lnTo>
                  <a:pt x="1132673" y="73021"/>
                </a:lnTo>
                <a:lnTo>
                  <a:pt x="1134957" y="73021"/>
                </a:lnTo>
                <a:lnTo>
                  <a:pt x="1134957" y="70739"/>
                </a:lnTo>
                <a:lnTo>
                  <a:pt x="1137241" y="70739"/>
                </a:lnTo>
                <a:lnTo>
                  <a:pt x="1139524" y="70739"/>
                </a:lnTo>
                <a:lnTo>
                  <a:pt x="1139524" y="68457"/>
                </a:lnTo>
                <a:lnTo>
                  <a:pt x="1139524" y="66175"/>
                </a:lnTo>
                <a:lnTo>
                  <a:pt x="1139524" y="63893"/>
                </a:lnTo>
                <a:lnTo>
                  <a:pt x="1139524" y="61611"/>
                </a:lnTo>
                <a:lnTo>
                  <a:pt x="1141808" y="61611"/>
                </a:lnTo>
                <a:lnTo>
                  <a:pt x="1141808" y="59329"/>
                </a:lnTo>
                <a:lnTo>
                  <a:pt x="1141808" y="57047"/>
                </a:lnTo>
                <a:lnTo>
                  <a:pt x="1141808" y="54765"/>
                </a:lnTo>
                <a:lnTo>
                  <a:pt x="1139524" y="54765"/>
                </a:lnTo>
                <a:lnTo>
                  <a:pt x="1139524" y="52484"/>
                </a:lnTo>
                <a:lnTo>
                  <a:pt x="1137241" y="52484"/>
                </a:lnTo>
                <a:lnTo>
                  <a:pt x="1137241" y="50202"/>
                </a:lnTo>
                <a:lnTo>
                  <a:pt x="1139524" y="50202"/>
                </a:lnTo>
                <a:lnTo>
                  <a:pt x="1139524" y="47920"/>
                </a:lnTo>
                <a:lnTo>
                  <a:pt x="1141808" y="47920"/>
                </a:lnTo>
                <a:lnTo>
                  <a:pt x="1141808" y="45638"/>
                </a:lnTo>
                <a:lnTo>
                  <a:pt x="1144092" y="45638"/>
                </a:lnTo>
                <a:lnTo>
                  <a:pt x="1146375" y="45638"/>
                </a:lnTo>
                <a:lnTo>
                  <a:pt x="1146375" y="47920"/>
                </a:lnTo>
                <a:lnTo>
                  <a:pt x="1148659" y="47920"/>
                </a:lnTo>
                <a:lnTo>
                  <a:pt x="1150942" y="47920"/>
                </a:lnTo>
                <a:lnTo>
                  <a:pt x="1150942" y="45638"/>
                </a:lnTo>
                <a:lnTo>
                  <a:pt x="1153226" y="45638"/>
                </a:lnTo>
                <a:lnTo>
                  <a:pt x="1153226" y="43356"/>
                </a:lnTo>
                <a:lnTo>
                  <a:pt x="1155509" y="43356"/>
                </a:lnTo>
                <a:lnTo>
                  <a:pt x="1157793" y="43356"/>
                </a:lnTo>
                <a:lnTo>
                  <a:pt x="1160077" y="43356"/>
                </a:lnTo>
                <a:lnTo>
                  <a:pt x="1160077" y="45638"/>
                </a:lnTo>
                <a:lnTo>
                  <a:pt x="1162360" y="45638"/>
                </a:lnTo>
                <a:lnTo>
                  <a:pt x="1164644" y="45638"/>
                </a:lnTo>
                <a:lnTo>
                  <a:pt x="1164644" y="43356"/>
                </a:lnTo>
                <a:lnTo>
                  <a:pt x="1166927" y="43356"/>
                </a:lnTo>
                <a:lnTo>
                  <a:pt x="1166927" y="41074"/>
                </a:lnTo>
                <a:lnTo>
                  <a:pt x="1166927" y="38792"/>
                </a:lnTo>
                <a:lnTo>
                  <a:pt x="1164644" y="38792"/>
                </a:lnTo>
                <a:lnTo>
                  <a:pt x="1164644" y="36510"/>
                </a:lnTo>
                <a:lnTo>
                  <a:pt x="1162360" y="36510"/>
                </a:lnTo>
                <a:lnTo>
                  <a:pt x="1162360" y="34228"/>
                </a:lnTo>
                <a:lnTo>
                  <a:pt x="1162360" y="31947"/>
                </a:lnTo>
                <a:lnTo>
                  <a:pt x="1164644" y="31947"/>
                </a:lnTo>
                <a:lnTo>
                  <a:pt x="1164644" y="29665"/>
                </a:lnTo>
                <a:lnTo>
                  <a:pt x="1166927" y="29665"/>
                </a:lnTo>
                <a:lnTo>
                  <a:pt x="1169211" y="29665"/>
                </a:lnTo>
                <a:lnTo>
                  <a:pt x="1169211" y="27383"/>
                </a:lnTo>
                <a:lnTo>
                  <a:pt x="1171494" y="27383"/>
                </a:lnTo>
                <a:lnTo>
                  <a:pt x="1171494" y="29665"/>
                </a:lnTo>
                <a:lnTo>
                  <a:pt x="1173778" y="29665"/>
                </a:lnTo>
                <a:lnTo>
                  <a:pt x="1176062" y="29665"/>
                </a:lnTo>
                <a:lnTo>
                  <a:pt x="1176062" y="27383"/>
                </a:lnTo>
                <a:lnTo>
                  <a:pt x="1176062" y="25101"/>
                </a:lnTo>
                <a:lnTo>
                  <a:pt x="1178345" y="25101"/>
                </a:lnTo>
                <a:lnTo>
                  <a:pt x="1180629" y="25101"/>
                </a:lnTo>
                <a:lnTo>
                  <a:pt x="1182913" y="25101"/>
                </a:lnTo>
                <a:lnTo>
                  <a:pt x="1185196" y="25101"/>
                </a:lnTo>
                <a:lnTo>
                  <a:pt x="1185196" y="27383"/>
                </a:lnTo>
                <a:lnTo>
                  <a:pt x="1185196" y="29665"/>
                </a:lnTo>
                <a:lnTo>
                  <a:pt x="1185196" y="31947"/>
                </a:lnTo>
                <a:lnTo>
                  <a:pt x="1185196" y="34228"/>
                </a:lnTo>
                <a:lnTo>
                  <a:pt x="1185196" y="36510"/>
                </a:lnTo>
                <a:lnTo>
                  <a:pt x="1182913" y="38792"/>
                </a:lnTo>
                <a:lnTo>
                  <a:pt x="1182913" y="41074"/>
                </a:lnTo>
                <a:lnTo>
                  <a:pt x="1185196" y="41074"/>
                </a:lnTo>
                <a:lnTo>
                  <a:pt x="1185196" y="43356"/>
                </a:lnTo>
                <a:lnTo>
                  <a:pt x="1185196" y="41074"/>
                </a:lnTo>
                <a:lnTo>
                  <a:pt x="1187480" y="41074"/>
                </a:lnTo>
                <a:lnTo>
                  <a:pt x="1189763" y="41074"/>
                </a:lnTo>
                <a:lnTo>
                  <a:pt x="1192047" y="41074"/>
                </a:lnTo>
                <a:lnTo>
                  <a:pt x="1194331" y="41074"/>
                </a:lnTo>
                <a:lnTo>
                  <a:pt x="1194331" y="43356"/>
                </a:lnTo>
                <a:lnTo>
                  <a:pt x="1196614" y="43356"/>
                </a:lnTo>
                <a:lnTo>
                  <a:pt x="1198898" y="43356"/>
                </a:lnTo>
                <a:lnTo>
                  <a:pt x="1201181" y="43356"/>
                </a:lnTo>
                <a:lnTo>
                  <a:pt x="1201181" y="41074"/>
                </a:lnTo>
                <a:lnTo>
                  <a:pt x="1203465" y="41074"/>
                </a:lnTo>
                <a:lnTo>
                  <a:pt x="1203465" y="38792"/>
                </a:lnTo>
                <a:lnTo>
                  <a:pt x="1205748" y="38792"/>
                </a:lnTo>
                <a:lnTo>
                  <a:pt x="1208032" y="38792"/>
                </a:lnTo>
                <a:lnTo>
                  <a:pt x="1210316" y="38792"/>
                </a:lnTo>
                <a:lnTo>
                  <a:pt x="1212599" y="38792"/>
                </a:lnTo>
                <a:lnTo>
                  <a:pt x="1214883" y="38792"/>
                </a:lnTo>
                <a:lnTo>
                  <a:pt x="1217167" y="38792"/>
                </a:lnTo>
                <a:lnTo>
                  <a:pt x="1219450" y="38792"/>
                </a:lnTo>
                <a:lnTo>
                  <a:pt x="1219450" y="36510"/>
                </a:lnTo>
                <a:lnTo>
                  <a:pt x="1219450" y="38792"/>
                </a:lnTo>
                <a:lnTo>
                  <a:pt x="1221734" y="38792"/>
                </a:lnTo>
                <a:lnTo>
                  <a:pt x="1224017" y="38792"/>
                </a:lnTo>
                <a:lnTo>
                  <a:pt x="1224017" y="41074"/>
                </a:lnTo>
                <a:lnTo>
                  <a:pt x="1226301" y="41074"/>
                </a:lnTo>
                <a:lnTo>
                  <a:pt x="1226301" y="43356"/>
                </a:lnTo>
                <a:lnTo>
                  <a:pt x="1226301" y="45638"/>
                </a:lnTo>
                <a:lnTo>
                  <a:pt x="1226301" y="47920"/>
                </a:lnTo>
                <a:lnTo>
                  <a:pt x="1228584" y="47920"/>
                </a:lnTo>
                <a:lnTo>
                  <a:pt x="1228584" y="50202"/>
                </a:lnTo>
                <a:lnTo>
                  <a:pt x="1230868" y="50202"/>
                </a:lnTo>
                <a:lnTo>
                  <a:pt x="1230868" y="52484"/>
                </a:lnTo>
                <a:lnTo>
                  <a:pt x="1233152" y="52484"/>
                </a:lnTo>
                <a:lnTo>
                  <a:pt x="1235435" y="54765"/>
                </a:lnTo>
                <a:lnTo>
                  <a:pt x="1235435" y="52484"/>
                </a:lnTo>
                <a:lnTo>
                  <a:pt x="1235435" y="50202"/>
                </a:lnTo>
                <a:lnTo>
                  <a:pt x="1235435" y="47920"/>
                </a:lnTo>
                <a:lnTo>
                  <a:pt x="1235435" y="45638"/>
                </a:lnTo>
                <a:lnTo>
                  <a:pt x="1235435" y="43356"/>
                </a:lnTo>
                <a:lnTo>
                  <a:pt x="1235435" y="41074"/>
                </a:lnTo>
                <a:lnTo>
                  <a:pt x="1235435" y="38792"/>
                </a:lnTo>
                <a:lnTo>
                  <a:pt x="1235435" y="36510"/>
                </a:lnTo>
                <a:lnTo>
                  <a:pt x="1237719" y="36510"/>
                </a:lnTo>
                <a:lnTo>
                  <a:pt x="1237719" y="34228"/>
                </a:lnTo>
                <a:lnTo>
                  <a:pt x="1240002" y="34228"/>
                </a:lnTo>
                <a:lnTo>
                  <a:pt x="1242286" y="34228"/>
                </a:lnTo>
                <a:lnTo>
                  <a:pt x="1244570" y="34228"/>
                </a:lnTo>
                <a:lnTo>
                  <a:pt x="1246853" y="34228"/>
                </a:lnTo>
                <a:lnTo>
                  <a:pt x="1249137" y="34228"/>
                </a:lnTo>
                <a:lnTo>
                  <a:pt x="1251421" y="34228"/>
                </a:lnTo>
                <a:lnTo>
                  <a:pt x="1253704" y="34228"/>
                </a:lnTo>
                <a:lnTo>
                  <a:pt x="1255988" y="34228"/>
                </a:lnTo>
                <a:lnTo>
                  <a:pt x="1258271" y="34228"/>
                </a:lnTo>
                <a:lnTo>
                  <a:pt x="1260555" y="34228"/>
                </a:lnTo>
                <a:lnTo>
                  <a:pt x="1260555" y="31947"/>
                </a:lnTo>
                <a:lnTo>
                  <a:pt x="1262838" y="31947"/>
                </a:lnTo>
                <a:lnTo>
                  <a:pt x="1265122" y="31947"/>
                </a:lnTo>
                <a:lnTo>
                  <a:pt x="1267406" y="31947"/>
                </a:lnTo>
                <a:lnTo>
                  <a:pt x="1269689" y="31947"/>
                </a:lnTo>
                <a:lnTo>
                  <a:pt x="1271973" y="31947"/>
                </a:lnTo>
                <a:lnTo>
                  <a:pt x="1274256" y="31947"/>
                </a:lnTo>
                <a:lnTo>
                  <a:pt x="1276540" y="31947"/>
                </a:lnTo>
                <a:lnTo>
                  <a:pt x="1276540" y="29665"/>
                </a:lnTo>
                <a:lnTo>
                  <a:pt x="1276540" y="27383"/>
                </a:lnTo>
                <a:lnTo>
                  <a:pt x="1278823" y="27383"/>
                </a:lnTo>
                <a:lnTo>
                  <a:pt x="1278823" y="25101"/>
                </a:lnTo>
                <a:lnTo>
                  <a:pt x="1281107" y="25101"/>
                </a:lnTo>
                <a:lnTo>
                  <a:pt x="1281107" y="22819"/>
                </a:lnTo>
                <a:lnTo>
                  <a:pt x="1281107" y="20537"/>
                </a:lnTo>
                <a:lnTo>
                  <a:pt x="1281107" y="18255"/>
                </a:lnTo>
                <a:lnTo>
                  <a:pt x="1283391" y="18255"/>
                </a:lnTo>
                <a:lnTo>
                  <a:pt x="1283391" y="15973"/>
                </a:lnTo>
                <a:lnTo>
                  <a:pt x="1285674" y="15973"/>
                </a:lnTo>
                <a:lnTo>
                  <a:pt x="1287958" y="15973"/>
                </a:lnTo>
                <a:lnTo>
                  <a:pt x="1290242" y="15973"/>
                </a:lnTo>
                <a:lnTo>
                  <a:pt x="1292525" y="15973"/>
                </a:lnTo>
                <a:lnTo>
                  <a:pt x="1292525" y="13691"/>
                </a:lnTo>
                <a:lnTo>
                  <a:pt x="1294809" y="13691"/>
                </a:lnTo>
                <a:lnTo>
                  <a:pt x="1294809" y="11409"/>
                </a:lnTo>
                <a:lnTo>
                  <a:pt x="1297092" y="11409"/>
                </a:lnTo>
                <a:lnTo>
                  <a:pt x="1297092" y="9128"/>
                </a:lnTo>
                <a:lnTo>
                  <a:pt x="1297092" y="6846"/>
                </a:lnTo>
                <a:lnTo>
                  <a:pt x="1297092" y="4564"/>
                </a:lnTo>
                <a:lnTo>
                  <a:pt x="1299376" y="4564"/>
                </a:lnTo>
                <a:lnTo>
                  <a:pt x="1299376" y="2282"/>
                </a:lnTo>
                <a:lnTo>
                  <a:pt x="1301660" y="2282"/>
                </a:lnTo>
                <a:lnTo>
                  <a:pt x="1303943" y="2282"/>
                </a:lnTo>
                <a:lnTo>
                  <a:pt x="1306227" y="2282"/>
                </a:lnTo>
                <a:lnTo>
                  <a:pt x="1308510" y="2282"/>
                </a:lnTo>
                <a:lnTo>
                  <a:pt x="1308510" y="0"/>
                </a:lnTo>
                <a:lnTo>
                  <a:pt x="1310794" y="0"/>
                </a:lnTo>
                <a:lnTo>
                  <a:pt x="1310794" y="2282"/>
                </a:lnTo>
                <a:lnTo>
                  <a:pt x="1313077" y="2282"/>
                </a:lnTo>
                <a:close/>
              </a:path>
            </a:pathLst>
          </a:custGeom>
          <a:solidFill>
            <a:srgbClr val="C3D69B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73049477-69E0-46A7-8EC6-AEDCBE25D751}"/>
              </a:ext>
            </a:extLst>
          </p:cNvPr>
          <p:cNvSpPr/>
          <p:nvPr/>
        </p:nvSpPr>
        <p:spPr>
          <a:xfrm>
            <a:off x="7247984" y="2412149"/>
            <a:ext cx="697765" cy="635240"/>
          </a:xfrm>
          <a:custGeom>
            <a:avLst/>
            <a:gdLst>
              <a:gd name="connsiteX0" fmla="*/ 598312 w 723909"/>
              <a:gd name="connsiteY0" fmla="*/ 15973 h 743850"/>
              <a:gd name="connsiteX1" fmla="*/ 600595 w 723909"/>
              <a:gd name="connsiteY1" fmla="*/ 18255 h 743850"/>
              <a:gd name="connsiteX2" fmla="*/ 600595 w 723909"/>
              <a:gd name="connsiteY2" fmla="*/ 15973 h 743850"/>
              <a:gd name="connsiteX3" fmla="*/ 598312 w 723909"/>
              <a:gd name="connsiteY3" fmla="*/ 15973 h 743850"/>
              <a:gd name="connsiteX4" fmla="*/ 598312 w 723909"/>
              <a:gd name="connsiteY4" fmla="*/ 18255 h 743850"/>
              <a:gd name="connsiteX5" fmla="*/ 600595 w 723909"/>
              <a:gd name="connsiteY5" fmla="*/ 18255 h 743850"/>
              <a:gd name="connsiteX6" fmla="*/ 605162 w 723909"/>
              <a:gd name="connsiteY6" fmla="*/ 27383 h 743850"/>
              <a:gd name="connsiteX7" fmla="*/ 605162 w 723909"/>
              <a:gd name="connsiteY7" fmla="*/ 31947 h 743850"/>
              <a:gd name="connsiteX8" fmla="*/ 607446 w 723909"/>
              <a:gd name="connsiteY8" fmla="*/ 38792 h 743850"/>
              <a:gd name="connsiteX9" fmla="*/ 607446 w 723909"/>
              <a:gd name="connsiteY9" fmla="*/ 47920 h 743850"/>
              <a:gd name="connsiteX10" fmla="*/ 609730 w 723909"/>
              <a:gd name="connsiteY10" fmla="*/ 50202 h 743850"/>
              <a:gd name="connsiteX11" fmla="*/ 607446 w 723909"/>
              <a:gd name="connsiteY11" fmla="*/ 50202 h 743850"/>
              <a:gd name="connsiteX12" fmla="*/ 605162 w 723909"/>
              <a:gd name="connsiteY12" fmla="*/ 50202 h 743850"/>
              <a:gd name="connsiteX13" fmla="*/ 602879 w 723909"/>
              <a:gd name="connsiteY13" fmla="*/ 47920 h 743850"/>
              <a:gd name="connsiteX14" fmla="*/ 600595 w 723909"/>
              <a:gd name="connsiteY14" fmla="*/ 45638 h 743850"/>
              <a:gd name="connsiteX15" fmla="*/ 600595 w 723909"/>
              <a:gd name="connsiteY15" fmla="*/ 47920 h 743850"/>
              <a:gd name="connsiteX16" fmla="*/ 598312 w 723909"/>
              <a:gd name="connsiteY16" fmla="*/ 50202 h 743850"/>
              <a:gd name="connsiteX17" fmla="*/ 596028 w 723909"/>
              <a:gd name="connsiteY17" fmla="*/ 54766 h 743850"/>
              <a:gd name="connsiteX18" fmla="*/ 593745 w 723909"/>
              <a:gd name="connsiteY18" fmla="*/ 59329 h 743850"/>
              <a:gd name="connsiteX19" fmla="*/ 591461 w 723909"/>
              <a:gd name="connsiteY19" fmla="*/ 63893 h 743850"/>
              <a:gd name="connsiteX20" fmla="*/ 589177 w 723909"/>
              <a:gd name="connsiteY20" fmla="*/ 66175 h 743850"/>
              <a:gd name="connsiteX21" fmla="*/ 591461 w 723909"/>
              <a:gd name="connsiteY21" fmla="*/ 73021 h 743850"/>
              <a:gd name="connsiteX22" fmla="*/ 589177 w 723909"/>
              <a:gd name="connsiteY22" fmla="*/ 70739 h 743850"/>
              <a:gd name="connsiteX23" fmla="*/ 584610 w 723909"/>
              <a:gd name="connsiteY23" fmla="*/ 73021 h 743850"/>
              <a:gd name="connsiteX24" fmla="*/ 575476 w 723909"/>
              <a:gd name="connsiteY24" fmla="*/ 75303 h 743850"/>
              <a:gd name="connsiteX25" fmla="*/ 573192 w 723909"/>
              <a:gd name="connsiteY25" fmla="*/ 77584 h 743850"/>
              <a:gd name="connsiteX26" fmla="*/ 568625 w 723909"/>
              <a:gd name="connsiteY26" fmla="*/ 79866 h 743850"/>
              <a:gd name="connsiteX27" fmla="*/ 564058 w 723909"/>
              <a:gd name="connsiteY27" fmla="*/ 82148 h 743850"/>
              <a:gd name="connsiteX28" fmla="*/ 561774 w 723909"/>
              <a:gd name="connsiteY28" fmla="*/ 84430 h 743850"/>
              <a:gd name="connsiteX29" fmla="*/ 554923 w 723909"/>
              <a:gd name="connsiteY29" fmla="*/ 88994 h 743850"/>
              <a:gd name="connsiteX30" fmla="*/ 552640 w 723909"/>
              <a:gd name="connsiteY30" fmla="*/ 91276 h 743850"/>
              <a:gd name="connsiteX31" fmla="*/ 548072 w 723909"/>
              <a:gd name="connsiteY31" fmla="*/ 91276 h 743850"/>
              <a:gd name="connsiteX32" fmla="*/ 548072 w 723909"/>
              <a:gd name="connsiteY32" fmla="*/ 93558 h 743850"/>
              <a:gd name="connsiteX33" fmla="*/ 548072 w 723909"/>
              <a:gd name="connsiteY33" fmla="*/ 98112 h 743850"/>
              <a:gd name="connsiteX34" fmla="*/ 550356 w 723909"/>
              <a:gd name="connsiteY34" fmla="*/ 100404 h 743850"/>
              <a:gd name="connsiteX35" fmla="*/ 550356 w 723909"/>
              <a:gd name="connsiteY35" fmla="*/ 102676 h 743850"/>
              <a:gd name="connsiteX36" fmla="*/ 552640 w 723909"/>
              <a:gd name="connsiteY36" fmla="*/ 109522 h 743850"/>
              <a:gd name="connsiteX37" fmla="*/ 552640 w 723909"/>
              <a:gd name="connsiteY37" fmla="*/ 116367 h 743850"/>
              <a:gd name="connsiteX38" fmla="*/ 550356 w 723909"/>
              <a:gd name="connsiteY38" fmla="*/ 120931 h 743850"/>
              <a:gd name="connsiteX39" fmla="*/ 548072 w 723909"/>
              <a:gd name="connsiteY39" fmla="*/ 120931 h 743850"/>
              <a:gd name="connsiteX40" fmla="*/ 545789 w 723909"/>
              <a:gd name="connsiteY40" fmla="*/ 123213 h 743850"/>
              <a:gd name="connsiteX41" fmla="*/ 545789 w 723909"/>
              <a:gd name="connsiteY41" fmla="*/ 125495 h 743850"/>
              <a:gd name="connsiteX42" fmla="*/ 548072 w 723909"/>
              <a:gd name="connsiteY42" fmla="*/ 134622 h 743850"/>
              <a:gd name="connsiteX43" fmla="*/ 548072 w 723909"/>
              <a:gd name="connsiteY43" fmla="*/ 136904 h 743850"/>
              <a:gd name="connsiteX44" fmla="*/ 548072 w 723909"/>
              <a:gd name="connsiteY44" fmla="*/ 139186 h 743850"/>
              <a:gd name="connsiteX45" fmla="*/ 548072 w 723909"/>
              <a:gd name="connsiteY45" fmla="*/ 141468 h 743850"/>
              <a:gd name="connsiteX46" fmla="*/ 550356 w 723909"/>
              <a:gd name="connsiteY46" fmla="*/ 143750 h 743850"/>
              <a:gd name="connsiteX47" fmla="*/ 548072 w 723909"/>
              <a:gd name="connsiteY47" fmla="*/ 143750 h 743850"/>
              <a:gd name="connsiteX48" fmla="*/ 545789 w 723909"/>
              <a:gd name="connsiteY48" fmla="*/ 146032 h 743850"/>
              <a:gd name="connsiteX49" fmla="*/ 543505 w 723909"/>
              <a:gd name="connsiteY49" fmla="*/ 146032 h 743850"/>
              <a:gd name="connsiteX50" fmla="*/ 545789 w 723909"/>
              <a:gd name="connsiteY50" fmla="*/ 148314 h 743850"/>
              <a:gd name="connsiteX51" fmla="*/ 550356 w 723909"/>
              <a:gd name="connsiteY51" fmla="*/ 155159 h 743850"/>
              <a:gd name="connsiteX52" fmla="*/ 550356 w 723909"/>
              <a:gd name="connsiteY52" fmla="*/ 166569 h 743850"/>
              <a:gd name="connsiteX53" fmla="*/ 550356 w 723909"/>
              <a:gd name="connsiteY53" fmla="*/ 168851 h 743850"/>
              <a:gd name="connsiteX54" fmla="*/ 548072 w 723909"/>
              <a:gd name="connsiteY54" fmla="*/ 168851 h 743850"/>
              <a:gd name="connsiteX55" fmla="*/ 548072 w 723909"/>
              <a:gd name="connsiteY55" fmla="*/ 171133 h 743850"/>
              <a:gd name="connsiteX56" fmla="*/ 548072 w 723909"/>
              <a:gd name="connsiteY56" fmla="*/ 173415 h 743850"/>
              <a:gd name="connsiteX57" fmla="*/ 548072 w 723909"/>
              <a:gd name="connsiteY57" fmla="*/ 175697 h 743850"/>
              <a:gd name="connsiteX58" fmla="*/ 550356 w 723909"/>
              <a:gd name="connsiteY58" fmla="*/ 177978 h 743850"/>
              <a:gd name="connsiteX59" fmla="*/ 550356 w 723909"/>
              <a:gd name="connsiteY59" fmla="*/ 180260 h 743850"/>
              <a:gd name="connsiteX60" fmla="*/ 550356 w 723909"/>
              <a:gd name="connsiteY60" fmla="*/ 184824 h 743850"/>
              <a:gd name="connsiteX61" fmla="*/ 552640 w 723909"/>
              <a:gd name="connsiteY61" fmla="*/ 187106 h 743850"/>
              <a:gd name="connsiteX62" fmla="*/ 552640 w 723909"/>
              <a:gd name="connsiteY62" fmla="*/ 189388 h 743850"/>
              <a:gd name="connsiteX63" fmla="*/ 552640 w 723909"/>
              <a:gd name="connsiteY63" fmla="*/ 191670 h 743850"/>
              <a:gd name="connsiteX64" fmla="*/ 554923 w 723909"/>
              <a:gd name="connsiteY64" fmla="*/ 191670 h 743850"/>
              <a:gd name="connsiteX65" fmla="*/ 554923 w 723909"/>
              <a:gd name="connsiteY65" fmla="*/ 193952 h 743850"/>
              <a:gd name="connsiteX66" fmla="*/ 554923 w 723909"/>
              <a:gd name="connsiteY66" fmla="*/ 196234 h 743850"/>
              <a:gd name="connsiteX67" fmla="*/ 554923 w 723909"/>
              <a:gd name="connsiteY67" fmla="*/ 200797 h 743850"/>
              <a:gd name="connsiteX68" fmla="*/ 557207 w 723909"/>
              <a:gd name="connsiteY68" fmla="*/ 203079 h 743850"/>
              <a:gd name="connsiteX69" fmla="*/ 557207 w 723909"/>
              <a:gd name="connsiteY69" fmla="*/ 205361 h 743850"/>
              <a:gd name="connsiteX70" fmla="*/ 557207 w 723909"/>
              <a:gd name="connsiteY70" fmla="*/ 207643 h 743850"/>
              <a:gd name="connsiteX71" fmla="*/ 559491 w 723909"/>
              <a:gd name="connsiteY71" fmla="*/ 209925 h 743850"/>
              <a:gd name="connsiteX72" fmla="*/ 559491 w 723909"/>
              <a:gd name="connsiteY72" fmla="*/ 212207 h 743850"/>
              <a:gd name="connsiteX73" fmla="*/ 559491 w 723909"/>
              <a:gd name="connsiteY73" fmla="*/ 214489 h 743850"/>
              <a:gd name="connsiteX74" fmla="*/ 561774 w 723909"/>
              <a:gd name="connsiteY74" fmla="*/ 216771 h 743850"/>
              <a:gd name="connsiteX75" fmla="*/ 564058 w 723909"/>
              <a:gd name="connsiteY75" fmla="*/ 219053 h 743850"/>
              <a:gd name="connsiteX76" fmla="*/ 564058 w 723909"/>
              <a:gd name="connsiteY76" fmla="*/ 221334 h 743850"/>
              <a:gd name="connsiteX77" fmla="*/ 564058 w 723909"/>
              <a:gd name="connsiteY77" fmla="*/ 223616 h 743850"/>
              <a:gd name="connsiteX78" fmla="*/ 566341 w 723909"/>
              <a:gd name="connsiteY78" fmla="*/ 225898 h 743850"/>
              <a:gd name="connsiteX79" fmla="*/ 564058 w 723909"/>
              <a:gd name="connsiteY79" fmla="*/ 228180 h 743850"/>
              <a:gd name="connsiteX80" fmla="*/ 568625 w 723909"/>
              <a:gd name="connsiteY80" fmla="*/ 232744 h 743850"/>
              <a:gd name="connsiteX81" fmla="*/ 575476 w 723909"/>
              <a:gd name="connsiteY81" fmla="*/ 235026 h 743850"/>
              <a:gd name="connsiteX82" fmla="*/ 577759 w 723909"/>
              <a:gd name="connsiteY82" fmla="*/ 235026 h 743850"/>
              <a:gd name="connsiteX83" fmla="*/ 580043 w 723909"/>
              <a:gd name="connsiteY83" fmla="*/ 228180 h 743850"/>
              <a:gd name="connsiteX84" fmla="*/ 582326 w 723909"/>
              <a:gd name="connsiteY84" fmla="*/ 223616 h 743850"/>
              <a:gd name="connsiteX85" fmla="*/ 582326 w 723909"/>
              <a:gd name="connsiteY85" fmla="*/ 219053 h 743850"/>
              <a:gd name="connsiteX86" fmla="*/ 584610 w 723909"/>
              <a:gd name="connsiteY86" fmla="*/ 214489 h 743850"/>
              <a:gd name="connsiteX87" fmla="*/ 589177 w 723909"/>
              <a:gd name="connsiteY87" fmla="*/ 216771 h 743850"/>
              <a:gd name="connsiteX88" fmla="*/ 600595 w 723909"/>
              <a:gd name="connsiteY88" fmla="*/ 221334 h 743850"/>
              <a:gd name="connsiteX89" fmla="*/ 598312 w 723909"/>
              <a:gd name="connsiteY89" fmla="*/ 223616 h 743850"/>
              <a:gd name="connsiteX90" fmla="*/ 598312 w 723909"/>
              <a:gd name="connsiteY90" fmla="*/ 228180 h 743850"/>
              <a:gd name="connsiteX91" fmla="*/ 596028 w 723909"/>
              <a:gd name="connsiteY91" fmla="*/ 232744 h 743850"/>
              <a:gd name="connsiteX92" fmla="*/ 596028 w 723909"/>
              <a:gd name="connsiteY92" fmla="*/ 237308 h 743850"/>
              <a:gd name="connsiteX93" fmla="*/ 593745 w 723909"/>
              <a:gd name="connsiteY93" fmla="*/ 239590 h 743850"/>
              <a:gd name="connsiteX94" fmla="*/ 596028 w 723909"/>
              <a:gd name="connsiteY94" fmla="*/ 241872 h 743850"/>
              <a:gd name="connsiteX95" fmla="*/ 596028 w 723909"/>
              <a:gd name="connsiteY95" fmla="*/ 244153 h 743850"/>
              <a:gd name="connsiteX96" fmla="*/ 596028 w 723909"/>
              <a:gd name="connsiteY96" fmla="*/ 246435 h 743850"/>
              <a:gd name="connsiteX97" fmla="*/ 596028 w 723909"/>
              <a:gd name="connsiteY97" fmla="*/ 244153 h 743850"/>
              <a:gd name="connsiteX98" fmla="*/ 598312 w 723909"/>
              <a:gd name="connsiteY98" fmla="*/ 244153 h 743850"/>
              <a:gd name="connsiteX99" fmla="*/ 600595 w 723909"/>
              <a:gd name="connsiteY99" fmla="*/ 244153 h 743850"/>
              <a:gd name="connsiteX100" fmla="*/ 600595 w 723909"/>
              <a:gd name="connsiteY100" fmla="*/ 241872 h 743850"/>
              <a:gd name="connsiteX101" fmla="*/ 602879 w 723909"/>
              <a:gd name="connsiteY101" fmla="*/ 244153 h 743850"/>
              <a:gd name="connsiteX102" fmla="*/ 605162 w 723909"/>
              <a:gd name="connsiteY102" fmla="*/ 244153 h 743850"/>
              <a:gd name="connsiteX103" fmla="*/ 607446 w 723909"/>
              <a:gd name="connsiteY103" fmla="*/ 244153 h 743850"/>
              <a:gd name="connsiteX104" fmla="*/ 609730 w 723909"/>
              <a:gd name="connsiteY104" fmla="*/ 244153 h 743850"/>
              <a:gd name="connsiteX105" fmla="*/ 614297 w 723909"/>
              <a:gd name="connsiteY105" fmla="*/ 239590 h 743850"/>
              <a:gd name="connsiteX106" fmla="*/ 616580 w 723909"/>
              <a:gd name="connsiteY106" fmla="*/ 239590 h 743850"/>
              <a:gd name="connsiteX107" fmla="*/ 618864 w 723909"/>
              <a:gd name="connsiteY107" fmla="*/ 241872 h 743850"/>
              <a:gd name="connsiteX108" fmla="*/ 621148 w 723909"/>
              <a:gd name="connsiteY108" fmla="*/ 239590 h 743850"/>
              <a:gd name="connsiteX109" fmla="*/ 623431 w 723909"/>
              <a:gd name="connsiteY109" fmla="*/ 239590 h 743850"/>
              <a:gd name="connsiteX110" fmla="*/ 627999 w 723909"/>
              <a:gd name="connsiteY110" fmla="*/ 237308 h 743850"/>
              <a:gd name="connsiteX111" fmla="*/ 630282 w 723909"/>
              <a:gd name="connsiteY111" fmla="*/ 235026 h 743850"/>
              <a:gd name="connsiteX112" fmla="*/ 621148 w 723909"/>
              <a:gd name="connsiteY112" fmla="*/ 225898 h 743850"/>
              <a:gd name="connsiteX113" fmla="*/ 616580 w 723909"/>
              <a:gd name="connsiteY113" fmla="*/ 225898 h 743850"/>
              <a:gd name="connsiteX114" fmla="*/ 616580 w 723909"/>
              <a:gd name="connsiteY114" fmla="*/ 223616 h 743850"/>
              <a:gd name="connsiteX115" fmla="*/ 616580 w 723909"/>
              <a:gd name="connsiteY115" fmla="*/ 219053 h 743850"/>
              <a:gd name="connsiteX116" fmla="*/ 618864 w 723909"/>
              <a:gd name="connsiteY116" fmla="*/ 219053 h 743850"/>
              <a:gd name="connsiteX117" fmla="*/ 625715 w 723909"/>
              <a:gd name="connsiteY117" fmla="*/ 216771 h 743850"/>
              <a:gd name="connsiteX118" fmla="*/ 625715 w 723909"/>
              <a:gd name="connsiteY118" fmla="*/ 221334 h 743850"/>
              <a:gd name="connsiteX119" fmla="*/ 627999 w 723909"/>
              <a:gd name="connsiteY119" fmla="*/ 223616 h 743850"/>
              <a:gd name="connsiteX120" fmla="*/ 630282 w 723909"/>
              <a:gd name="connsiteY120" fmla="*/ 223616 h 743850"/>
              <a:gd name="connsiteX121" fmla="*/ 634849 w 723909"/>
              <a:gd name="connsiteY121" fmla="*/ 225898 h 743850"/>
              <a:gd name="connsiteX122" fmla="*/ 637133 w 723909"/>
              <a:gd name="connsiteY122" fmla="*/ 225898 h 743850"/>
              <a:gd name="connsiteX123" fmla="*/ 639416 w 723909"/>
              <a:gd name="connsiteY123" fmla="*/ 221334 h 743850"/>
              <a:gd name="connsiteX124" fmla="*/ 639416 w 723909"/>
              <a:gd name="connsiteY124" fmla="*/ 219053 h 743850"/>
              <a:gd name="connsiteX125" fmla="*/ 637133 w 723909"/>
              <a:gd name="connsiteY125" fmla="*/ 219053 h 743850"/>
              <a:gd name="connsiteX126" fmla="*/ 634849 w 723909"/>
              <a:gd name="connsiteY126" fmla="*/ 216771 h 743850"/>
              <a:gd name="connsiteX127" fmla="*/ 632566 w 723909"/>
              <a:gd name="connsiteY127" fmla="*/ 209925 h 743850"/>
              <a:gd name="connsiteX128" fmla="*/ 632566 w 723909"/>
              <a:gd name="connsiteY128" fmla="*/ 207643 h 743850"/>
              <a:gd name="connsiteX129" fmla="*/ 632566 w 723909"/>
              <a:gd name="connsiteY129" fmla="*/ 205361 h 743850"/>
              <a:gd name="connsiteX130" fmla="*/ 630282 w 723909"/>
              <a:gd name="connsiteY130" fmla="*/ 200797 h 743850"/>
              <a:gd name="connsiteX131" fmla="*/ 630282 w 723909"/>
              <a:gd name="connsiteY131" fmla="*/ 198516 h 743850"/>
              <a:gd name="connsiteX132" fmla="*/ 630282 w 723909"/>
              <a:gd name="connsiteY132" fmla="*/ 193952 h 743850"/>
              <a:gd name="connsiteX133" fmla="*/ 627999 w 723909"/>
              <a:gd name="connsiteY133" fmla="*/ 189388 h 743850"/>
              <a:gd name="connsiteX134" fmla="*/ 623431 w 723909"/>
              <a:gd name="connsiteY134" fmla="*/ 189388 h 743850"/>
              <a:gd name="connsiteX135" fmla="*/ 616580 w 723909"/>
              <a:gd name="connsiteY135" fmla="*/ 191670 h 743850"/>
              <a:gd name="connsiteX136" fmla="*/ 616580 w 723909"/>
              <a:gd name="connsiteY136" fmla="*/ 189388 h 743850"/>
              <a:gd name="connsiteX137" fmla="*/ 614297 w 723909"/>
              <a:gd name="connsiteY137" fmla="*/ 187106 h 743850"/>
              <a:gd name="connsiteX138" fmla="*/ 614297 w 723909"/>
              <a:gd name="connsiteY138" fmla="*/ 184824 h 743850"/>
              <a:gd name="connsiteX139" fmla="*/ 612013 w 723909"/>
              <a:gd name="connsiteY139" fmla="*/ 182542 h 743850"/>
              <a:gd name="connsiteX140" fmla="*/ 612013 w 723909"/>
              <a:gd name="connsiteY140" fmla="*/ 177978 h 743850"/>
              <a:gd name="connsiteX141" fmla="*/ 614297 w 723909"/>
              <a:gd name="connsiteY141" fmla="*/ 177978 h 743850"/>
              <a:gd name="connsiteX142" fmla="*/ 616580 w 723909"/>
              <a:gd name="connsiteY142" fmla="*/ 173415 h 743850"/>
              <a:gd name="connsiteX143" fmla="*/ 618864 w 723909"/>
              <a:gd name="connsiteY143" fmla="*/ 173415 h 743850"/>
              <a:gd name="connsiteX144" fmla="*/ 621148 w 723909"/>
              <a:gd name="connsiteY144" fmla="*/ 171133 h 743850"/>
              <a:gd name="connsiteX145" fmla="*/ 621148 w 723909"/>
              <a:gd name="connsiteY145" fmla="*/ 168851 h 743850"/>
              <a:gd name="connsiteX146" fmla="*/ 623431 w 723909"/>
              <a:gd name="connsiteY146" fmla="*/ 168851 h 743850"/>
              <a:gd name="connsiteX147" fmla="*/ 630282 w 723909"/>
              <a:gd name="connsiteY147" fmla="*/ 164287 h 743850"/>
              <a:gd name="connsiteX148" fmla="*/ 632566 w 723909"/>
              <a:gd name="connsiteY148" fmla="*/ 162005 h 743850"/>
              <a:gd name="connsiteX149" fmla="*/ 634849 w 723909"/>
              <a:gd name="connsiteY149" fmla="*/ 164287 h 743850"/>
              <a:gd name="connsiteX150" fmla="*/ 637133 w 723909"/>
              <a:gd name="connsiteY150" fmla="*/ 168851 h 743850"/>
              <a:gd name="connsiteX151" fmla="*/ 637133 w 723909"/>
              <a:gd name="connsiteY151" fmla="*/ 171133 h 743850"/>
              <a:gd name="connsiteX152" fmla="*/ 639416 w 723909"/>
              <a:gd name="connsiteY152" fmla="*/ 171133 h 743850"/>
              <a:gd name="connsiteX153" fmla="*/ 639416 w 723909"/>
              <a:gd name="connsiteY153" fmla="*/ 173415 h 743850"/>
              <a:gd name="connsiteX154" fmla="*/ 639416 w 723909"/>
              <a:gd name="connsiteY154" fmla="*/ 175697 h 743850"/>
              <a:gd name="connsiteX155" fmla="*/ 634849 w 723909"/>
              <a:gd name="connsiteY155" fmla="*/ 189388 h 743850"/>
              <a:gd name="connsiteX156" fmla="*/ 653118 w 723909"/>
              <a:gd name="connsiteY156" fmla="*/ 171133 h 743850"/>
              <a:gd name="connsiteX157" fmla="*/ 653118 w 723909"/>
              <a:gd name="connsiteY157" fmla="*/ 173415 h 743850"/>
              <a:gd name="connsiteX158" fmla="*/ 655402 w 723909"/>
              <a:gd name="connsiteY158" fmla="*/ 184824 h 743850"/>
              <a:gd name="connsiteX159" fmla="*/ 659969 w 723909"/>
              <a:gd name="connsiteY159" fmla="*/ 191670 h 743850"/>
              <a:gd name="connsiteX160" fmla="*/ 659969 w 723909"/>
              <a:gd name="connsiteY160" fmla="*/ 193952 h 743850"/>
              <a:gd name="connsiteX161" fmla="*/ 662252 w 723909"/>
              <a:gd name="connsiteY161" fmla="*/ 193952 h 743850"/>
              <a:gd name="connsiteX162" fmla="*/ 664536 w 723909"/>
              <a:gd name="connsiteY162" fmla="*/ 198516 h 743850"/>
              <a:gd name="connsiteX163" fmla="*/ 666820 w 723909"/>
              <a:gd name="connsiteY163" fmla="*/ 203079 h 743850"/>
              <a:gd name="connsiteX164" fmla="*/ 669103 w 723909"/>
              <a:gd name="connsiteY164" fmla="*/ 203079 h 743850"/>
              <a:gd name="connsiteX165" fmla="*/ 673670 w 723909"/>
              <a:gd name="connsiteY165" fmla="*/ 200797 h 743850"/>
              <a:gd name="connsiteX166" fmla="*/ 678238 w 723909"/>
              <a:gd name="connsiteY166" fmla="*/ 198516 h 743850"/>
              <a:gd name="connsiteX167" fmla="*/ 680521 w 723909"/>
              <a:gd name="connsiteY167" fmla="*/ 196234 h 743850"/>
              <a:gd name="connsiteX168" fmla="*/ 687372 w 723909"/>
              <a:gd name="connsiteY168" fmla="*/ 193952 h 743850"/>
              <a:gd name="connsiteX169" fmla="*/ 689655 w 723909"/>
              <a:gd name="connsiteY169" fmla="*/ 193952 h 743850"/>
              <a:gd name="connsiteX170" fmla="*/ 689655 w 723909"/>
              <a:gd name="connsiteY170" fmla="*/ 191670 h 743850"/>
              <a:gd name="connsiteX171" fmla="*/ 687372 w 723909"/>
              <a:gd name="connsiteY171" fmla="*/ 187106 h 743850"/>
              <a:gd name="connsiteX172" fmla="*/ 685088 w 723909"/>
              <a:gd name="connsiteY172" fmla="*/ 184824 h 743850"/>
              <a:gd name="connsiteX173" fmla="*/ 682805 w 723909"/>
              <a:gd name="connsiteY173" fmla="*/ 177978 h 743850"/>
              <a:gd name="connsiteX174" fmla="*/ 685088 w 723909"/>
              <a:gd name="connsiteY174" fmla="*/ 180260 h 743850"/>
              <a:gd name="connsiteX175" fmla="*/ 687372 w 723909"/>
              <a:gd name="connsiteY175" fmla="*/ 177978 h 743850"/>
              <a:gd name="connsiteX176" fmla="*/ 689655 w 723909"/>
              <a:gd name="connsiteY176" fmla="*/ 177978 h 743850"/>
              <a:gd name="connsiteX177" fmla="*/ 691939 w 723909"/>
              <a:gd name="connsiteY177" fmla="*/ 175697 h 743850"/>
              <a:gd name="connsiteX178" fmla="*/ 694223 w 723909"/>
              <a:gd name="connsiteY178" fmla="*/ 173415 h 743850"/>
              <a:gd name="connsiteX179" fmla="*/ 691939 w 723909"/>
              <a:gd name="connsiteY179" fmla="*/ 168851 h 743850"/>
              <a:gd name="connsiteX180" fmla="*/ 691939 w 723909"/>
              <a:gd name="connsiteY180" fmla="*/ 166569 h 743850"/>
              <a:gd name="connsiteX181" fmla="*/ 691939 w 723909"/>
              <a:gd name="connsiteY181" fmla="*/ 168851 h 743850"/>
              <a:gd name="connsiteX182" fmla="*/ 694223 w 723909"/>
              <a:gd name="connsiteY182" fmla="*/ 168851 h 743850"/>
              <a:gd name="connsiteX183" fmla="*/ 696506 w 723909"/>
              <a:gd name="connsiteY183" fmla="*/ 168851 h 743850"/>
              <a:gd name="connsiteX184" fmla="*/ 698790 w 723909"/>
              <a:gd name="connsiteY184" fmla="*/ 171133 h 743850"/>
              <a:gd name="connsiteX185" fmla="*/ 701074 w 723909"/>
              <a:gd name="connsiteY185" fmla="*/ 171133 h 743850"/>
              <a:gd name="connsiteX186" fmla="*/ 703357 w 723909"/>
              <a:gd name="connsiteY186" fmla="*/ 171133 h 743850"/>
              <a:gd name="connsiteX187" fmla="*/ 705641 w 723909"/>
              <a:gd name="connsiteY187" fmla="*/ 168851 h 743850"/>
              <a:gd name="connsiteX188" fmla="*/ 705641 w 723909"/>
              <a:gd name="connsiteY188" fmla="*/ 171133 h 743850"/>
              <a:gd name="connsiteX189" fmla="*/ 707924 w 723909"/>
              <a:gd name="connsiteY189" fmla="*/ 171133 h 743850"/>
              <a:gd name="connsiteX190" fmla="*/ 707924 w 723909"/>
              <a:gd name="connsiteY190" fmla="*/ 173415 h 743850"/>
              <a:gd name="connsiteX191" fmla="*/ 710208 w 723909"/>
              <a:gd name="connsiteY191" fmla="*/ 173415 h 743850"/>
              <a:gd name="connsiteX192" fmla="*/ 712492 w 723909"/>
              <a:gd name="connsiteY192" fmla="*/ 171133 h 743850"/>
              <a:gd name="connsiteX193" fmla="*/ 714775 w 723909"/>
              <a:gd name="connsiteY193" fmla="*/ 164287 h 743850"/>
              <a:gd name="connsiteX194" fmla="*/ 717059 w 723909"/>
              <a:gd name="connsiteY194" fmla="*/ 162005 h 743850"/>
              <a:gd name="connsiteX195" fmla="*/ 717059 w 723909"/>
              <a:gd name="connsiteY195" fmla="*/ 159723 h 743850"/>
              <a:gd name="connsiteX196" fmla="*/ 721626 w 723909"/>
              <a:gd name="connsiteY196" fmla="*/ 175697 h 743850"/>
              <a:gd name="connsiteX197" fmla="*/ 723909 w 723909"/>
              <a:gd name="connsiteY197" fmla="*/ 177978 h 743850"/>
              <a:gd name="connsiteX198" fmla="*/ 719342 w 723909"/>
              <a:gd name="connsiteY198" fmla="*/ 182542 h 743850"/>
              <a:gd name="connsiteX199" fmla="*/ 717059 w 723909"/>
              <a:gd name="connsiteY199" fmla="*/ 182542 h 743850"/>
              <a:gd name="connsiteX200" fmla="*/ 712492 w 723909"/>
              <a:gd name="connsiteY200" fmla="*/ 184824 h 743850"/>
              <a:gd name="connsiteX201" fmla="*/ 710208 w 723909"/>
              <a:gd name="connsiteY201" fmla="*/ 184824 h 743850"/>
              <a:gd name="connsiteX202" fmla="*/ 707924 w 723909"/>
              <a:gd name="connsiteY202" fmla="*/ 184824 h 743850"/>
              <a:gd name="connsiteX203" fmla="*/ 698790 w 723909"/>
              <a:gd name="connsiteY203" fmla="*/ 189388 h 743850"/>
              <a:gd name="connsiteX204" fmla="*/ 703357 w 723909"/>
              <a:gd name="connsiteY204" fmla="*/ 191670 h 743850"/>
              <a:gd name="connsiteX205" fmla="*/ 703357 w 723909"/>
              <a:gd name="connsiteY205" fmla="*/ 196234 h 743850"/>
              <a:gd name="connsiteX206" fmla="*/ 703357 w 723909"/>
              <a:gd name="connsiteY206" fmla="*/ 198516 h 743850"/>
              <a:gd name="connsiteX207" fmla="*/ 703357 w 723909"/>
              <a:gd name="connsiteY207" fmla="*/ 203079 h 743850"/>
              <a:gd name="connsiteX208" fmla="*/ 701074 w 723909"/>
              <a:gd name="connsiteY208" fmla="*/ 209925 h 743850"/>
              <a:gd name="connsiteX209" fmla="*/ 710208 w 723909"/>
              <a:gd name="connsiteY209" fmla="*/ 212207 h 743850"/>
              <a:gd name="connsiteX210" fmla="*/ 712492 w 723909"/>
              <a:gd name="connsiteY210" fmla="*/ 216771 h 743850"/>
              <a:gd name="connsiteX211" fmla="*/ 707924 w 723909"/>
              <a:gd name="connsiteY211" fmla="*/ 216771 h 743850"/>
              <a:gd name="connsiteX212" fmla="*/ 710208 w 723909"/>
              <a:gd name="connsiteY212" fmla="*/ 221334 h 743850"/>
              <a:gd name="connsiteX213" fmla="*/ 696506 w 723909"/>
              <a:gd name="connsiteY213" fmla="*/ 225898 h 743850"/>
              <a:gd name="connsiteX214" fmla="*/ 689655 w 723909"/>
              <a:gd name="connsiteY214" fmla="*/ 228180 h 743850"/>
              <a:gd name="connsiteX215" fmla="*/ 682805 w 723909"/>
              <a:gd name="connsiteY215" fmla="*/ 230462 h 743850"/>
              <a:gd name="connsiteX216" fmla="*/ 675954 w 723909"/>
              <a:gd name="connsiteY216" fmla="*/ 232744 h 743850"/>
              <a:gd name="connsiteX217" fmla="*/ 673670 w 723909"/>
              <a:gd name="connsiteY217" fmla="*/ 237308 h 743850"/>
              <a:gd name="connsiteX218" fmla="*/ 671387 w 723909"/>
              <a:gd name="connsiteY218" fmla="*/ 244153 h 743850"/>
              <a:gd name="connsiteX219" fmla="*/ 669103 w 723909"/>
              <a:gd name="connsiteY219" fmla="*/ 248717 h 743850"/>
              <a:gd name="connsiteX220" fmla="*/ 669103 w 723909"/>
              <a:gd name="connsiteY220" fmla="*/ 250999 h 743850"/>
              <a:gd name="connsiteX221" fmla="*/ 666820 w 723909"/>
              <a:gd name="connsiteY221" fmla="*/ 255553 h 743850"/>
              <a:gd name="connsiteX222" fmla="*/ 669103 w 723909"/>
              <a:gd name="connsiteY222" fmla="*/ 255553 h 743850"/>
              <a:gd name="connsiteX223" fmla="*/ 671387 w 723909"/>
              <a:gd name="connsiteY223" fmla="*/ 257835 h 743850"/>
              <a:gd name="connsiteX224" fmla="*/ 673670 w 723909"/>
              <a:gd name="connsiteY224" fmla="*/ 257835 h 743850"/>
              <a:gd name="connsiteX225" fmla="*/ 675954 w 723909"/>
              <a:gd name="connsiteY225" fmla="*/ 260117 h 743850"/>
              <a:gd name="connsiteX226" fmla="*/ 678238 w 723909"/>
              <a:gd name="connsiteY226" fmla="*/ 260117 h 743850"/>
              <a:gd name="connsiteX227" fmla="*/ 678238 w 723909"/>
              <a:gd name="connsiteY227" fmla="*/ 262399 h 743850"/>
              <a:gd name="connsiteX228" fmla="*/ 678238 w 723909"/>
              <a:gd name="connsiteY228" fmla="*/ 264681 h 743850"/>
              <a:gd name="connsiteX229" fmla="*/ 675954 w 723909"/>
              <a:gd name="connsiteY229" fmla="*/ 264681 h 743850"/>
              <a:gd name="connsiteX230" fmla="*/ 675954 w 723909"/>
              <a:gd name="connsiteY230" fmla="*/ 266963 h 743850"/>
              <a:gd name="connsiteX231" fmla="*/ 673670 w 723909"/>
              <a:gd name="connsiteY231" fmla="*/ 266963 h 743850"/>
              <a:gd name="connsiteX232" fmla="*/ 673670 w 723909"/>
              <a:gd name="connsiteY232" fmla="*/ 269245 h 743850"/>
              <a:gd name="connsiteX233" fmla="*/ 673670 w 723909"/>
              <a:gd name="connsiteY233" fmla="*/ 271527 h 743850"/>
              <a:gd name="connsiteX234" fmla="*/ 671387 w 723909"/>
              <a:gd name="connsiteY234" fmla="*/ 271527 h 743850"/>
              <a:gd name="connsiteX235" fmla="*/ 671387 w 723909"/>
              <a:gd name="connsiteY235" fmla="*/ 273809 h 743850"/>
              <a:gd name="connsiteX236" fmla="*/ 669103 w 723909"/>
              <a:gd name="connsiteY236" fmla="*/ 273809 h 743850"/>
              <a:gd name="connsiteX237" fmla="*/ 669103 w 723909"/>
              <a:gd name="connsiteY237" fmla="*/ 276090 h 743850"/>
              <a:gd name="connsiteX238" fmla="*/ 669103 w 723909"/>
              <a:gd name="connsiteY238" fmla="*/ 278372 h 743850"/>
              <a:gd name="connsiteX239" fmla="*/ 669103 w 723909"/>
              <a:gd name="connsiteY239" fmla="*/ 280654 h 743850"/>
              <a:gd name="connsiteX240" fmla="*/ 666820 w 723909"/>
              <a:gd name="connsiteY240" fmla="*/ 280654 h 743850"/>
              <a:gd name="connsiteX241" fmla="*/ 666820 w 723909"/>
              <a:gd name="connsiteY241" fmla="*/ 282936 h 743850"/>
              <a:gd name="connsiteX242" fmla="*/ 666820 w 723909"/>
              <a:gd name="connsiteY242" fmla="*/ 285218 h 743850"/>
              <a:gd name="connsiteX243" fmla="*/ 664536 w 723909"/>
              <a:gd name="connsiteY243" fmla="*/ 287500 h 743850"/>
              <a:gd name="connsiteX244" fmla="*/ 664536 w 723909"/>
              <a:gd name="connsiteY244" fmla="*/ 289782 h 743850"/>
              <a:gd name="connsiteX245" fmla="*/ 664536 w 723909"/>
              <a:gd name="connsiteY245" fmla="*/ 292064 h 743850"/>
              <a:gd name="connsiteX246" fmla="*/ 662252 w 723909"/>
              <a:gd name="connsiteY246" fmla="*/ 292064 h 743850"/>
              <a:gd name="connsiteX247" fmla="*/ 662252 w 723909"/>
              <a:gd name="connsiteY247" fmla="*/ 294346 h 743850"/>
              <a:gd name="connsiteX248" fmla="*/ 664536 w 723909"/>
              <a:gd name="connsiteY248" fmla="*/ 294346 h 743850"/>
              <a:gd name="connsiteX249" fmla="*/ 666820 w 723909"/>
              <a:gd name="connsiteY249" fmla="*/ 298909 h 743850"/>
              <a:gd name="connsiteX250" fmla="*/ 666820 w 723909"/>
              <a:gd name="connsiteY250" fmla="*/ 301191 h 743850"/>
              <a:gd name="connsiteX251" fmla="*/ 666820 w 723909"/>
              <a:gd name="connsiteY251" fmla="*/ 305755 h 743850"/>
              <a:gd name="connsiteX252" fmla="*/ 664536 w 723909"/>
              <a:gd name="connsiteY252" fmla="*/ 312601 h 743850"/>
              <a:gd name="connsiteX253" fmla="*/ 664536 w 723909"/>
              <a:gd name="connsiteY253" fmla="*/ 314883 h 743850"/>
              <a:gd name="connsiteX254" fmla="*/ 662252 w 723909"/>
              <a:gd name="connsiteY254" fmla="*/ 317165 h 743850"/>
              <a:gd name="connsiteX255" fmla="*/ 662252 w 723909"/>
              <a:gd name="connsiteY255" fmla="*/ 321728 h 743850"/>
              <a:gd name="connsiteX256" fmla="*/ 653118 w 723909"/>
              <a:gd name="connsiteY256" fmla="*/ 317165 h 743850"/>
              <a:gd name="connsiteX257" fmla="*/ 643984 w 723909"/>
              <a:gd name="connsiteY257" fmla="*/ 314883 h 743850"/>
              <a:gd name="connsiteX258" fmla="*/ 641700 w 723909"/>
              <a:gd name="connsiteY258" fmla="*/ 317165 h 743850"/>
              <a:gd name="connsiteX259" fmla="*/ 643984 w 723909"/>
              <a:gd name="connsiteY259" fmla="*/ 317165 h 743850"/>
              <a:gd name="connsiteX260" fmla="*/ 643984 w 723909"/>
              <a:gd name="connsiteY260" fmla="*/ 321728 h 743850"/>
              <a:gd name="connsiteX261" fmla="*/ 641700 w 723909"/>
              <a:gd name="connsiteY261" fmla="*/ 326292 h 743850"/>
              <a:gd name="connsiteX262" fmla="*/ 641700 w 723909"/>
              <a:gd name="connsiteY262" fmla="*/ 330856 h 743850"/>
              <a:gd name="connsiteX263" fmla="*/ 639416 w 723909"/>
              <a:gd name="connsiteY263" fmla="*/ 333138 h 743850"/>
              <a:gd name="connsiteX264" fmla="*/ 639416 w 723909"/>
              <a:gd name="connsiteY264" fmla="*/ 335420 h 743850"/>
              <a:gd name="connsiteX265" fmla="*/ 641700 w 723909"/>
              <a:gd name="connsiteY265" fmla="*/ 344547 h 743850"/>
              <a:gd name="connsiteX266" fmla="*/ 641700 w 723909"/>
              <a:gd name="connsiteY266" fmla="*/ 353675 h 743850"/>
              <a:gd name="connsiteX267" fmla="*/ 641700 w 723909"/>
              <a:gd name="connsiteY267" fmla="*/ 355957 h 743850"/>
              <a:gd name="connsiteX268" fmla="*/ 637133 w 723909"/>
              <a:gd name="connsiteY268" fmla="*/ 367366 h 743850"/>
              <a:gd name="connsiteX269" fmla="*/ 634849 w 723909"/>
              <a:gd name="connsiteY269" fmla="*/ 369648 h 743850"/>
              <a:gd name="connsiteX270" fmla="*/ 634849 w 723909"/>
              <a:gd name="connsiteY270" fmla="*/ 367366 h 743850"/>
              <a:gd name="connsiteX271" fmla="*/ 625715 w 723909"/>
              <a:gd name="connsiteY271" fmla="*/ 367366 h 743850"/>
              <a:gd name="connsiteX272" fmla="*/ 623431 w 723909"/>
              <a:gd name="connsiteY272" fmla="*/ 367366 h 743850"/>
              <a:gd name="connsiteX273" fmla="*/ 618864 w 723909"/>
              <a:gd name="connsiteY273" fmla="*/ 367366 h 743850"/>
              <a:gd name="connsiteX274" fmla="*/ 609730 w 723909"/>
              <a:gd name="connsiteY274" fmla="*/ 367366 h 743850"/>
              <a:gd name="connsiteX275" fmla="*/ 607446 w 723909"/>
              <a:gd name="connsiteY275" fmla="*/ 367366 h 743850"/>
              <a:gd name="connsiteX276" fmla="*/ 602879 w 723909"/>
              <a:gd name="connsiteY276" fmla="*/ 369648 h 743850"/>
              <a:gd name="connsiteX277" fmla="*/ 600595 w 723909"/>
              <a:gd name="connsiteY277" fmla="*/ 371930 h 743850"/>
              <a:gd name="connsiteX278" fmla="*/ 600595 w 723909"/>
              <a:gd name="connsiteY278" fmla="*/ 369648 h 743850"/>
              <a:gd name="connsiteX279" fmla="*/ 596028 w 723909"/>
              <a:gd name="connsiteY279" fmla="*/ 358239 h 743850"/>
              <a:gd name="connsiteX280" fmla="*/ 593745 w 723909"/>
              <a:gd name="connsiteY280" fmla="*/ 358239 h 743850"/>
              <a:gd name="connsiteX281" fmla="*/ 593745 w 723909"/>
              <a:gd name="connsiteY281" fmla="*/ 362802 h 743850"/>
              <a:gd name="connsiteX282" fmla="*/ 591461 w 723909"/>
              <a:gd name="connsiteY282" fmla="*/ 362802 h 743850"/>
              <a:gd name="connsiteX283" fmla="*/ 589177 w 723909"/>
              <a:gd name="connsiteY283" fmla="*/ 362802 h 743850"/>
              <a:gd name="connsiteX284" fmla="*/ 586894 w 723909"/>
              <a:gd name="connsiteY284" fmla="*/ 362802 h 743850"/>
              <a:gd name="connsiteX285" fmla="*/ 577759 w 723909"/>
              <a:gd name="connsiteY285" fmla="*/ 362802 h 743850"/>
              <a:gd name="connsiteX286" fmla="*/ 568625 w 723909"/>
              <a:gd name="connsiteY286" fmla="*/ 360521 h 743850"/>
              <a:gd name="connsiteX287" fmla="*/ 566341 w 723909"/>
              <a:gd name="connsiteY287" fmla="*/ 358239 h 743850"/>
              <a:gd name="connsiteX288" fmla="*/ 564058 w 723909"/>
              <a:gd name="connsiteY288" fmla="*/ 358239 h 743850"/>
              <a:gd name="connsiteX289" fmla="*/ 561774 w 723909"/>
              <a:gd name="connsiteY289" fmla="*/ 355957 h 743850"/>
              <a:gd name="connsiteX290" fmla="*/ 554923 w 723909"/>
              <a:gd name="connsiteY290" fmla="*/ 355957 h 743850"/>
              <a:gd name="connsiteX291" fmla="*/ 554923 w 723909"/>
              <a:gd name="connsiteY291" fmla="*/ 353675 h 743850"/>
              <a:gd name="connsiteX292" fmla="*/ 548072 w 723909"/>
              <a:gd name="connsiteY292" fmla="*/ 353675 h 743850"/>
              <a:gd name="connsiteX293" fmla="*/ 536655 w 723909"/>
              <a:gd name="connsiteY293" fmla="*/ 362802 h 743850"/>
              <a:gd name="connsiteX294" fmla="*/ 532087 w 723909"/>
              <a:gd name="connsiteY294" fmla="*/ 365084 h 743850"/>
              <a:gd name="connsiteX295" fmla="*/ 532087 w 723909"/>
              <a:gd name="connsiteY295" fmla="*/ 371930 h 743850"/>
              <a:gd name="connsiteX296" fmla="*/ 529804 w 723909"/>
              <a:gd name="connsiteY296" fmla="*/ 371930 h 743850"/>
              <a:gd name="connsiteX297" fmla="*/ 529804 w 723909"/>
              <a:gd name="connsiteY297" fmla="*/ 376494 h 743850"/>
              <a:gd name="connsiteX298" fmla="*/ 529804 w 723909"/>
              <a:gd name="connsiteY298" fmla="*/ 378776 h 743850"/>
              <a:gd name="connsiteX299" fmla="*/ 527520 w 723909"/>
              <a:gd name="connsiteY299" fmla="*/ 390185 h 743850"/>
              <a:gd name="connsiteX300" fmla="*/ 522953 w 723909"/>
              <a:gd name="connsiteY300" fmla="*/ 387903 h 743850"/>
              <a:gd name="connsiteX301" fmla="*/ 520670 w 723909"/>
              <a:gd name="connsiteY301" fmla="*/ 387903 h 743850"/>
              <a:gd name="connsiteX302" fmla="*/ 518386 w 723909"/>
              <a:gd name="connsiteY302" fmla="*/ 385622 h 743850"/>
              <a:gd name="connsiteX303" fmla="*/ 513819 w 723909"/>
              <a:gd name="connsiteY303" fmla="*/ 385622 h 743850"/>
              <a:gd name="connsiteX304" fmla="*/ 509251 w 723909"/>
              <a:gd name="connsiteY304" fmla="*/ 390185 h 743850"/>
              <a:gd name="connsiteX305" fmla="*/ 504684 w 723909"/>
              <a:gd name="connsiteY305" fmla="*/ 387903 h 743850"/>
              <a:gd name="connsiteX306" fmla="*/ 500117 w 723909"/>
              <a:gd name="connsiteY306" fmla="*/ 390185 h 743850"/>
              <a:gd name="connsiteX307" fmla="*/ 500117 w 723909"/>
              <a:gd name="connsiteY307" fmla="*/ 392467 h 743850"/>
              <a:gd name="connsiteX308" fmla="*/ 502401 w 723909"/>
              <a:gd name="connsiteY308" fmla="*/ 394749 h 743850"/>
              <a:gd name="connsiteX309" fmla="*/ 504684 w 723909"/>
              <a:gd name="connsiteY309" fmla="*/ 399313 h 743850"/>
              <a:gd name="connsiteX310" fmla="*/ 502401 w 723909"/>
              <a:gd name="connsiteY310" fmla="*/ 399313 h 743850"/>
              <a:gd name="connsiteX311" fmla="*/ 497833 w 723909"/>
              <a:gd name="connsiteY311" fmla="*/ 401595 h 743850"/>
              <a:gd name="connsiteX312" fmla="*/ 500117 w 723909"/>
              <a:gd name="connsiteY312" fmla="*/ 406158 h 743850"/>
              <a:gd name="connsiteX313" fmla="*/ 497833 w 723909"/>
              <a:gd name="connsiteY313" fmla="*/ 408440 h 743850"/>
              <a:gd name="connsiteX314" fmla="*/ 495550 w 723909"/>
              <a:gd name="connsiteY314" fmla="*/ 410713 h 743850"/>
              <a:gd name="connsiteX315" fmla="*/ 495550 w 723909"/>
              <a:gd name="connsiteY315" fmla="*/ 415277 h 743850"/>
              <a:gd name="connsiteX316" fmla="*/ 495550 w 723909"/>
              <a:gd name="connsiteY316" fmla="*/ 417559 h 743850"/>
              <a:gd name="connsiteX317" fmla="*/ 497833 w 723909"/>
              <a:gd name="connsiteY317" fmla="*/ 417559 h 743850"/>
              <a:gd name="connsiteX318" fmla="*/ 500117 w 723909"/>
              <a:gd name="connsiteY318" fmla="*/ 419840 h 743850"/>
              <a:gd name="connsiteX319" fmla="*/ 502401 w 723909"/>
              <a:gd name="connsiteY319" fmla="*/ 422122 h 743850"/>
              <a:gd name="connsiteX320" fmla="*/ 504684 w 723909"/>
              <a:gd name="connsiteY320" fmla="*/ 422122 h 743850"/>
              <a:gd name="connsiteX321" fmla="*/ 506968 w 723909"/>
              <a:gd name="connsiteY321" fmla="*/ 424404 h 743850"/>
              <a:gd name="connsiteX322" fmla="*/ 506968 w 723909"/>
              <a:gd name="connsiteY322" fmla="*/ 426686 h 743850"/>
              <a:gd name="connsiteX323" fmla="*/ 506968 w 723909"/>
              <a:gd name="connsiteY323" fmla="*/ 428968 h 743850"/>
              <a:gd name="connsiteX324" fmla="*/ 506968 w 723909"/>
              <a:gd name="connsiteY324" fmla="*/ 431250 h 743850"/>
              <a:gd name="connsiteX325" fmla="*/ 506968 w 723909"/>
              <a:gd name="connsiteY325" fmla="*/ 433532 h 743850"/>
              <a:gd name="connsiteX326" fmla="*/ 506968 w 723909"/>
              <a:gd name="connsiteY326" fmla="*/ 435814 h 743850"/>
              <a:gd name="connsiteX327" fmla="*/ 506968 w 723909"/>
              <a:gd name="connsiteY327" fmla="*/ 438096 h 743850"/>
              <a:gd name="connsiteX328" fmla="*/ 509251 w 723909"/>
              <a:gd name="connsiteY328" fmla="*/ 438096 h 743850"/>
              <a:gd name="connsiteX329" fmla="*/ 509251 w 723909"/>
              <a:gd name="connsiteY329" fmla="*/ 435814 h 743850"/>
              <a:gd name="connsiteX330" fmla="*/ 511535 w 723909"/>
              <a:gd name="connsiteY330" fmla="*/ 435814 h 743850"/>
              <a:gd name="connsiteX331" fmla="*/ 511535 w 723909"/>
              <a:gd name="connsiteY331" fmla="*/ 438096 h 743850"/>
              <a:gd name="connsiteX332" fmla="*/ 511535 w 723909"/>
              <a:gd name="connsiteY332" fmla="*/ 440377 h 743850"/>
              <a:gd name="connsiteX333" fmla="*/ 509251 w 723909"/>
              <a:gd name="connsiteY333" fmla="*/ 440377 h 743850"/>
              <a:gd name="connsiteX334" fmla="*/ 509251 w 723909"/>
              <a:gd name="connsiteY334" fmla="*/ 442659 h 743850"/>
              <a:gd name="connsiteX335" fmla="*/ 509251 w 723909"/>
              <a:gd name="connsiteY335" fmla="*/ 444941 h 743850"/>
              <a:gd name="connsiteX336" fmla="*/ 509251 w 723909"/>
              <a:gd name="connsiteY336" fmla="*/ 447223 h 743850"/>
              <a:gd name="connsiteX337" fmla="*/ 509251 w 723909"/>
              <a:gd name="connsiteY337" fmla="*/ 449505 h 743850"/>
              <a:gd name="connsiteX338" fmla="*/ 509251 w 723909"/>
              <a:gd name="connsiteY338" fmla="*/ 451787 h 743850"/>
              <a:gd name="connsiteX339" fmla="*/ 509251 w 723909"/>
              <a:gd name="connsiteY339" fmla="*/ 454069 h 743850"/>
              <a:gd name="connsiteX340" fmla="*/ 509251 w 723909"/>
              <a:gd name="connsiteY340" fmla="*/ 456351 h 743850"/>
              <a:gd name="connsiteX341" fmla="*/ 509251 w 723909"/>
              <a:gd name="connsiteY341" fmla="*/ 458633 h 743850"/>
              <a:gd name="connsiteX342" fmla="*/ 511535 w 723909"/>
              <a:gd name="connsiteY342" fmla="*/ 458633 h 743850"/>
              <a:gd name="connsiteX343" fmla="*/ 513819 w 723909"/>
              <a:gd name="connsiteY343" fmla="*/ 458633 h 743850"/>
              <a:gd name="connsiteX344" fmla="*/ 516102 w 723909"/>
              <a:gd name="connsiteY344" fmla="*/ 458633 h 743850"/>
              <a:gd name="connsiteX345" fmla="*/ 520670 w 723909"/>
              <a:gd name="connsiteY345" fmla="*/ 460915 h 743850"/>
              <a:gd name="connsiteX346" fmla="*/ 525237 w 723909"/>
              <a:gd name="connsiteY346" fmla="*/ 460915 h 743850"/>
              <a:gd name="connsiteX347" fmla="*/ 527520 w 723909"/>
              <a:gd name="connsiteY347" fmla="*/ 463196 h 743850"/>
              <a:gd name="connsiteX348" fmla="*/ 532087 w 723909"/>
              <a:gd name="connsiteY348" fmla="*/ 463196 h 743850"/>
              <a:gd name="connsiteX349" fmla="*/ 534371 w 723909"/>
              <a:gd name="connsiteY349" fmla="*/ 465478 h 743850"/>
              <a:gd name="connsiteX350" fmla="*/ 536655 w 723909"/>
              <a:gd name="connsiteY350" fmla="*/ 465478 h 743850"/>
              <a:gd name="connsiteX351" fmla="*/ 543505 w 723909"/>
              <a:gd name="connsiteY351" fmla="*/ 467760 h 743850"/>
              <a:gd name="connsiteX352" fmla="*/ 543505 w 723909"/>
              <a:gd name="connsiteY352" fmla="*/ 470042 h 743850"/>
              <a:gd name="connsiteX353" fmla="*/ 543505 w 723909"/>
              <a:gd name="connsiteY353" fmla="*/ 472324 h 743850"/>
              <a:gd name="connsiteX354" fmla="*/ 543505 w 723909"/>
              <a:gd name="connsiteY354" fmla="*/ 474606 h 743850"/>
              <a:gd name="connsiteX355" fmla="*/ 543505 w 723909"/>
              <a:gd name="connsiteY355" fmla="*/ 476888 h 743850"/>
              <a:gd name="connsiteX356" fmla="*/ 543505 w 723909"/>
              <a:gd name="connsiteY356" fmla="*/ 479170 h 743850"/>
              <a:gd name="connsiteX357" fmla="*/ 543505 w 723909"/>
              <a:gd name="connsiteY357" fmla="*/ 481452 h 743850"/>
              <a:gd name="connsiteX358" fmla="*/ 543505 w 723909"/>
              <a:gd name="connsiteY358" fmla="*/ 483734 h 743850"/>
              <a:gd name="connsiteX359" fmla="*/ 543505 w 723909"/>
              <a:gd name="connsiteY359" fmla="*/ 486015 h 743850"/>
              <a:gd name="connsiteX360" fmla="*/ 548072 w 723909"/>
              <a:gd name="connsiteY360" fmla="*/ 488297 h 743850"/>
              <a:gd name="connsiteX361" fmla="*/ 552640 w 723909"/>
              <a:gd name="connsiteY361" fmla="*/ 490579 h 743850"/>
              <a:gd name="connsiteX362" fmla="*/ 554923 w 723909"/>
              <a:gd name="connsiteY362" fmla="*/ 490579 h 743850"/>
              <a:gd name="connsiteX363" fmla="*/ 557207 w 723909"/>
              <a:gd name="connsiteY363" fmla="*/ 490579 h 743850"/>
              <a:gd name="connsiteX364" fmla="*/ 561774 w 723909"/>
              <a:gd name="connsiteY364" fmla="*/ 492861 h 743850"/>
              <a:gd name="connsiteX365" fmla="*/ 561774 w 723909"/>
              <a:gd name="connsiteY365" fmla="*/ 497425 h 743850"/>
              <a:gd name="connsiteX366" fmla="*/ 568625 w 723909"/>
              <a:gd name="connsiteY366" fmla="*/ 501989 h 743850"/>
              <a:gd name="connsiteX367" fmla="*/ 570909 w 723909"/>
              <a:gd name="connsiteY367" fmla="*/ 501989 h 743850"/>
              <a:gd name="connsiteX368" fmla="*/ 575476 w 723909"/>
              <a:gd name="connsiteY368" fmla="*/ 506552 h 743850"/>
              <a:gd name="connsiteX369" fmla="*/ 580043 w 723909"/>
              <a:gd name="connsiteY369" fmla="*/ 501989 h 743850"/>
              <a:gd name="connsiteX370" fmla="*/ 586894 w 723909"/>
              <a:gd name="connsiteY370" fmla="*/ 499707 h 743850"/>
              <a:gd name="connsiteX371" fmla="*/ 591461 w 723909"/>
              <a:gd name="connsiteY371" fmla="*/ 497425 h 743850"/>
              <a:gd name="connsiteX372" fmla="*/ 598312 w 723909"/>
              <a:gd name="connsiteY372" fmla="*/ 497425 h 743850"/>
              <a:gd name="connsiteX373" fmla="*/ 600595 w 723909"/>
              <a:gd name="connsiteY373" fmla="*/ 495143 h 743850"/>
              <a:gd name="connsiteX374" fmla="*/ 602879 w 723909"/>
              <a:gd name="connsiteY374" fmla="*/ 495143 h 743850"/>
              <a:gd name="connsiteX375" fmla="*/ 605162 w 723909"/>
              <a:gd name="connsiteY375" fmla="*/ 495143 h 743850"/>
              <a:gd name="connsiteX376" fmla="*/ 607446 w 723909"/>
              <a:gd name="connsiteY376" fmla="*/ 492861 h 743850"/>
              <a:gd name="connsiteX377" fmla="*/ 609730 w 723909"/>
              <a:gd name="connsiteY377" fmla="*/ 492861 h 743850"/>
              <a:gd name="connsiteX378" fmla="*/ 614297 w 723909"/>
              <a:gd name="connsiteY378" fmla="*/ 501989 h 743850"/>
              <a:gd name="connsiteX379" fmla="*/ 614297 w 723909"/>
              <a:gd name="connsiteY379" fmla="*/ 508834 h 743850"/>
              <a:gd name="connsiteX380" fmla="*/ 618864 w 723909"/>
              <a:gd name="connsiteY380" fmla="*/ 506552 h 743850"/>
              <a:gd name="connsiteX381" fmla="*/ 623431 w 723909"/>
              <a:gd name="connsiteY381" fmla="*/ 506552 h 743850"/>
              <a:gd name="connsiteX382" fmla="*/ 623431 w 723909"/>
              <a:gd name="connsiteY382" fmla="*/ 508834 h 743850"/>
              <a:gd name="connsiteX383" fmla="*/ 625715 w 723909"/>
              <a:gd name="connsiteY383" fmla="*/ 511116 h 743850"/>
              <a:gd name="connsiteX384" fmla="*/ 625715 w 723909"/>
              <a:gd name="connsiteY384" fmla="*/ 513398 h 743850"/>
              <a:gd name="connsiteX385" fmla="*/ 625715 w 723909"/>
              <a:gd name="connsiteY385" fmla="*/ 517962 h 743850"/>
              <a:gd name="connsiteX386" fmla="*/ 627999 w 723909"/>
              <a:gd name="connsiteY386" fmla="*/ 520244 h 743850"/>
              <a:gd name="connsiteX387" fmla="*/ 627999 w 723909"/>
              <a:gd name="connsiteY387" fmla="*/ 522526 h 743850"/>
              <a:gd name="connsiteX388" fmla="*/ 627999 w 723909"/>
              <a:gd name="connsiteY388" fmla="*/ 524808 h 743850"/>
              <a:gd name="connsiteX389" fmla="*/ 630282 w 723909"/>
              <a:gd name="connsiteY389" fmla="*/ 527090 h 743850"/>
              <a:gd name="connsiteX390" fmla="*/ 630282 w 723909"/>
              <a:gd name="connsiteY390" fmla="*/ 529371 h 743850"/>
              <a:gd name="connsiteX391" fmla="*/ 625715 w 723909"/>
              <a:gd name="connsiteY391" fmla="*/ 531653 h 743850"/>
              <a:gd name="connsiteX392" fmla="*/ 618864 w 723909"/>
              <a:gd name="connsiteY392" fmla="*/ 533935 h 743850"/>
              <a:gd name="connsiteX393" fmla="*/ 609730 w 723909"/>
              <a:gd name="connsiteY393" fmla="*/ 538499 h 743850"/>
              <a:gd name="connsiteX394" fmla="*/ 607446 w 723909"/>
              <a:gd name="connsiteY394" fmla="*/ 538499 h 743850"/>
              <a:gd name="connsiteX395" fmla="*/ 607446 w 723909"/>
              <a:gd name="connsiteY395" fmla="*/ 540781 h 743850"/>
              <a:gd name="connsiteX396" fmla="*/ 605162 w 723909"/>
              <a:gd name="connsiteY396" fmla="*/ 540781 h 743850"/>
              <a:gd name="connsiteX397" fmla="*/ 602879 w 723909"/>
              <a:gd name="connsiteY397" fmla="*/ 545345 h 743850"/>
              <a:gd name="connsiteX398" fmla="*/ 600595 w 723909"/>
              <a:gd name="connsiteY398" fmla="*/ 545345 h 743850"/>
              <a:gd name="connsiteX399" fmla="*/ 602879 w 723909"/>
              <a:gd name="connsiteY399" fmla="*/ 547627 h 743850"/>
              <a:gd name="connsiteX400" fmla="*/ 602879 w 723909"/>
              <a:gd name="connsiteY400" fmla="*/ 549908 h 743850"/>
              <a:gd name="connsiteX401" fmla="*/ 600595 w 723909"/>
              <a:gd name="connsiteY401" fmla="*/ 549908 h 743850"/>
              <a:gd name="connsiteX402" fmla="*/ 598312 w 723909"/>
              <a:gd name="connsiteY402" fmla="*/ 554472 h 743850"/>
              <a:gd name="connsiteX403" fmla="*/ 596028 w 723909"/>
              <a:gd name="connsiteY403" fmla="*/ 556754 h 743850"/>
              <a:gd name="connsiteX404" fmla="*/ 596028 w 723909"/>
              <a:gd name="connsiteY404" fmla="*/ 559036 h 743850"/>
              <a:gd name="connsiteX405" fmla="*/ 593745 w 723909"/>
              <a:gd name="connsiteY405" fmla="*/ 563600 h 743850"/>
              <a:gd name="connsiteX406" fmla="*/ 593745 w 723909"/>
              <a:gd name="connsiteY406" fmla="*/ 568164 h 743850"/>
              <a:gd name="connsiteX407" fmla="*/ 593745 w 723909"/>
              <a:gd name="connsiteY407" fmla="*/ 575000 h 743850"/>
              <a:gd name="connsiteX408" fmla="*/ 593745 w 723909"/>
              <a:gd name="connsiteY408" fmla="*/ 579564 h 743850"/>
              <a:gd name="connsiteX409" fmla="*/ 589177 w 723909"/>
              <a:gd name="connsiteY409" fmla="*/ 577282 h 743850"/>
              <a:gd name="connsiteX410" fmla="*/ 582326 w 723909"/>
              <a:gd name="connsiteY410" fmla="*/ 577282 h 743850"/>
              <a:gd name="connsiteX411" fmla="*/ 580043 w 723909"/>
              <a:gd name="connsiteY411" fmla="*/ 577282 h 743850"/>
              <a:gd name="connsiteX412" fmla="*/ 573192 w 723909"/>
              <a:gd name="connsiteY412" fmla="*/ 577282 h 743850"/>
              <a:gd name="connsiteX413" fmla="*/ 570909 w 723909"/>
              <a:gd name="connsiteY413" fmla="*/ 577282 h 743850"/>
              <a:gd name="connsiteX414" fmla="*/ 566341 w 723909"/>
              <a:gd name="connsiteY414" fmla="*/ 577282 h 743850"/>
              <a:gd name="connsiteX415" fmla="*/ 561774 w 723909"/>
              <a:gd name="connsiteY415" fmla="*/ 575000 h 743850"/>
              <a:gd name="connsiteX416" fmla="*/ 557207 w 723909"/>
              <a:gd name="connsiteY416" fmla="*/ 572718 h 743850"/>
              <a:gd name="connsiteX417" fmla="*/ 554923 w 723909"/>
              <a:gd name="connsiteY417" fmla="*/ 572718 h 743850"/>
              <a:gd name="connsiteX418" fmla="*/ 552640 w 723909"/>
              <a:gd name="connsiteY418" fmla="*/ 575000 h 743850"/>
              <a:gd name="connsiteX419" fmla="*/ 550356 w 723909"/>
              <a:gd name="connsiteY419" fmla="*/ 575000 h 743850"/>
              <a:gd name="connsiteX420" fmla="*/ 550356 w 723909"/>
              <a:gd name="connsiteY420" fmla="*/ 572718 h 743850"/>
              <a:gd name="connsiteX421" fmla="*/ 548072 w 723909"/>
              <a:gd name="connsiteY421" fmla="*/ 572718 h 743850"/>
              <a:gd name="connsiteX422" fmla="*/ 548072 w 723909"/>
              <a:gd name="connsiteY422" fmla="*/ 577282 h 743850"/>
              <a:gd name="connsiteX423" fmla="*/ 545789 w 723909"/>
              <a:gd name="connsiteY423" fmla="*/ 577282 h 743850"/>
              <a:gd name="connsiteX424" fmla="*/ 545789 w 723909"/>
              <a:gd name="connsiteY424" fmla="*/ 579564 h 743850"/>
              <a:gd name="connsiteX425" fmla="*/ 545789 w 723909"/>
              <a:gd name="connsiteY425" fmla="*/ 581846 h 743850"/>
              <a:gd name="connsiteX426" fmla="*/ 545789 w 723909"/>
              <a:gd name="connsiteY426" fmla="*/ 584127 h 743850"/>
              <a:gd name="connsiteX427" fmla="*/ 545789 w 723909"/>
              <a:gd name="connsiteY427" fmla="*/ 586409 h 743850"/>
              <a:gd name="connsiteX428" fmla="*/ 548072 w 723909"/>
              <a:gd name="connsiteY428" fmla="*/ 590973 h 743850"/>
              <a:gd name="connsiteX429" fmla="*/ 545789 w 723909"/>
              <a:gd name="connsiteY429" fmla="*/ 588691 h 743850"/>
              <a:gd name="connsiteX430" fmla="*/ 543505 w 723909"/>
              <a:gd name="connsiteY430" fmla="*/ 588691 h 743850"/>
              <a:gd name="connsiteX431" fmla="*/ 541222 w 723909"/>
              <a:gd name="connsiteY431" fmla="*/ 588691 h 743850"/>
              <a:gd name="connsiteX432" fmla="*/ 538938 w 723909"/>
              <a:gd name="connsiteY432" fmla="*/ 588691 h 743850"/>
              <a:gd name="connsiteX433" fmla="*/ 536655 w 723909"/>
              <a:gd name="connsiteY433" fmla="*/ 588691 h 743850"/>
              <a:gd name="connsiteX434" fmla="*/ 534371 w 723909"/>
              <a:gd name="connsiteY434" fmla="*/ 588691 h 743850"/>
              <a:gd name="connsiteX435" fmla="*/ 532087 w 723909"/>
              <a:gd name="connsiteY435" fmla="*/ 586409 h 743850"/>
              <a:gd name="connsiteX436" fmla="*/ 529804 w 723909"/>
              <a:gd name="connsiteY436" fmla="*/ 586409 h 743850"/>
              <a:gd name="connsiteX437" fmla="*/ 527520 w 723909"/>
              <a:gd name="connsiteY437" fmla="*/ 586409 h 743850"/>
              <a:gd name="connsiteX438" fmla="*/ 527520 w 723909"/>
              <a:gd name="connsiteY438" fmla="*/ 584127 h 743850"/>
              <a:gd name="connsiteX439" fmla="*/ 527520 w 723909"/>
              <a:gd name="connsiteY439" fmla="*/ 581846 h 743850"/>
              <a:gd name="connsiteX440" fmla="*/ 527520 w 723909"/>
              <a:gd name="connsiteY440" fmla="*/ 579564 h 743850"/>
              <a:gd name="connsiteX441" fmla="*/ 527520 w 723909"/>
              <a:gd name="connsiteY441" fmla="*/ 577282 h 743850"/>
              <a:gd name="connsiteX442" fmla="*/ 525237 w 723909"/>
              <a:gd name="connsiteY442" fmla="*/ 577282 h 743850"/>
              <a:gd name="connsiteX443" fmla="*/ 525237 w 723909"/>
              <a:gd name="connsiteY443" fmla="*/ 581846 h 743850"/>
              <a:gd name="connsiteX444" fmla="*/ 522953 w 723909"/>
              <a:gd name="connsiteY444" fmla="*/ 581846 h 743850"/>
              <a:gd name="connsiteX445" fmla="*/ 522953 w 723909"/>
              <a:gd name="connsiteY445" fmla="*/ 579564 h 743850"/>
              <a:gd name="connsiteX446" fmla="*/ 522953 w 723909"/>
              <a:gd name="connsiteY446" fmla="*/ 577282 h 743850"/>
              <a:gd name="connsiteX447" fmla="*/ 520670 w 723909"/>
              <a:gd name="connsiteY447" fmla="*/ 575000 h 743850"/>
              <a:gd name="connsiteX448" fmla="*/ 518386 w 723909"/>
              <a:gd name="connsiteY448" fmla="*/ 575000 h 743850"/>
              <a:gd name="connsiteX449" fmla="*/ 516102 w 723909"/>
              <a:gd name="connsiteY449" fmla="*/ 575000 h 743850"/>
              <a:gd name="connsiteX450" fmla="*/ 513819 w 723909"/>
              <a:gd name="connsiteY450" fmla="*/ 572718 h 743850"/>
              <a:gd name="connsiteX451" fmla="*/ 511535 w 723909"/>
              <a:gd name="connsiteY451" fmla="*/ 572718 h 743850"/>
              <a:gd name="connsiteX452" fmla="*/ 511535 w 723909"/>
              <a:gd name="connsiteY452" fmla="*/ 570436 h 743850"/>
              <a:gd name="connsiteX453" fmla="*/ 509251 w 723909"/>
              <a:gd name="connsiteY453" fmla="*/ 570436 h 743850"/>
              <a:gd name="connsiteX454" fmla="*/ 506968 w 723909"/>
              <a:gd name="connsiteY454" fmla="*/ 570436 h 743850"/>
              <a:gd name="connsiteX455" fmla="*/ 506968 w 723909"/>
              <a:gd name="connsiteY455" fmla="*/ 572718 h 743850"/>
              <a:gd name="connsiteX456" fmla="*/ 506968 w 723909"/>
              <a:gd name="connsiteY456" fmla="*/ 575000 h 743850"/>
              <a:gd name="connsiteX457" fmla="*/ 506968 w 723909"/>
              <a:gd name="connsiteY457" fmla="*/ 577282 h 743850"/>
              <a:gd name="connsiteX458" fmla="*/ 504684 w 723909"/>
              <a:gd name="connsiteY458" fmla="*/ 579564 h 743850"/>
              <a:gd name="connsiteX459" fmla="*/ 504684 w 723909"/>
              <a:gd name="connsiteY459" fmla="*/ 581846 h 743850"/>
              <a:gd name="connsiteX460" fmla="*/ 504684 w 723909"/>
              <a:gd name="connsiteY460" fmla="*/ 584127 h 743850"/>
              <a:gd name="connsiteX461" fmla="*/ 504684 w 723909"/>
              <a:gd name="connsiteY461" fmla="*/ 588691 h 743850"/>
              <a:gd name="connsiteX462" fmla="*/ 504684 w 723909"/>
              <a:gd name="connsiteY462" fmla="*/ 590973 h 743850"/>
              <a:gd name="connsiteX463" fmla="*/ 506968 w 723909"/>
              <a:gd name="connsiteY463" fmla="*/ 590973 h 743850"/>
              <a:gd name="connsiteX464" fmla="*/ 506968 w 723909"/>
              <a:gd name="connsiteY464" fmla="*/ 593255 h 743850"/>
              <a:gd name="connsiteX465" fmla="*/ 504684 w 723909"/>
              <a:gd name="connsiteY465" fmla="*/ 595537 h 743850"/>
              <a:gd name="connsiteX466" fmla="*/ 506968 w 723909"/>
              <a:gd name="connsiteY466" fmla="*/ 595537 h 743850"/>
              <a:gd name="connsiteX467" fmla="*/ 506968 w 723909"/>
              <a:gd name="connsiteY467" fmla="*/ 597819 h 743850"/>
              <a:gd name="connsiteX468" fmla="*/ 506968 w 723909"/>
              <a:gd name="connsiteY468" fmla="*/ 600101 h 743850"/>
              <a:gd name="connsiteX469" fmla="*/ 509251 w 723909"/>
              <a:gd name="connsiteY469" fmla="*/ 602383 h 743850"/>
              <a:gd name="connsiteX470" fmla="*/ 506968 w 723909"/>
              <a:gd name="connsiteY470" fmla="*/ 604664 h 743850"/>
              <a:gd name="connsiteX471" fmla="*/ 506968 w 723909"/>
              <a:gd name="connsiteY471" fmla="*/ 606946 h 743850"/>
              <a:gd name="connsiteX472" fmla="*/ 504684 w 723909"/>
              <a:gd name="connsiteY472" fmla="*/ 606946 h 743850"/>
              <a:gd name="connsiteX473" fmla="*/ 497833 w 723909"/>
              <a:gd name="connsiteY473" fmla="*/ 606946 h 743850"/>
              <a:gd name="connsiteX474" fmla="*/ 500117 w 723909"/>
              <a:gd name="connsiteY474" fmla="*/ 606946 h 743850"/>
              <a:gd name="connsiteX475" fmla="*/ 500117 w 723909"/>
              <a:gd name="connsiteY475" fmla="*/ 609228 h 743850"/>
              <a:gd name="connsiteX476" fmla="*/ 497833 w 723909"/>
              <a:gd name="connsiteY476" fmla="*/ 609228 h 743850"/>
              <a:gd name="connsiteX477" fmla="*/ 497833 w 723909"/>
              <a:gd name="connsiteY477" fmla="*/ 611510 h 743850"/>
              <a:gd name="connsiteX478" fmla="*/ 497833 w 723909"/>
              <a:gd name="connsiteY478" fmla="*/ 613792 h 743850"/>
              <a:gd name="connsiteX479" fmla="*/ 497833 w 723909"/>
              <a:gd name="connsiteY479" fmla="*/ 611510 h 743850"/>
              <a:gd name="connsiteX480" fmla="*/ 495550 w 723909"/>
              <a:gd name="connsiteY480" fmla="*/ 611510 h 743850"/>
              <a:gd name="connsiteX481" fmla="*/ 495550 w 723909"/>
              <a:gd name="connsiteY481" fmla="*/ 613792 h 743850"/>
              <a:gd name="connsiteX482" fmla="*/ 493266 w 723909"/>
              <a:gd name="connsiteY482" fmla="*/ 613792 h 743850"/>
              <a:gd name="connsiteX483" fmla="*/ 493266 w 723909"/>
              <a:gd name="connsiteY483" fmla="*/ 616074 h 743850"/>
              <a:gd name="connsiteX484" fmla="*/ 490983 w 723909"/>
              <a:gd name="connsiteY484" fmla="*/ 613792 h 743850"/>
              <a:gd name="connsiteX485" fmla="*/ 490983 w 723909"/>
              <a:gd name="connsiteY485" fmla="*/ 616074 h 743850"/>
              <a:gd name="connsiteX486" fmla="*/ 490983 w 723909"/>
              <a:gd name="connsiteY486" fmla="*/ 618356 h 743850"/>
              <a:gd name="connsiteX487" fmla="*/ 488699 w 723909"/>
              <a:gd name="connsiteY487" fmla="*/ 618356 h 743850"/>
              <a:gd name="connsiteX488" fmla="*/ 493266 w 723909"/>
              <a:gd name="connsiteY488" fmla="*/ 625202 h 743850"/>
              <a:gd name="connsiteX489" fmla="*/ 477281 w 723909"/>
              <a:gd name="connsiteY489" fmla="*/ 627483 h 743850"/>
              <a:gd name="connsiteX490" fmla="*/ 474997 w 723909"/>
              <a:gd name="connsiteY490" fmla="*/ 627483 h 743850"/>
              <a:gd name="connsiteX491" fmla="*/ 474997 w 723909"/>
              <a:gd name="connsiteY491" fmla="*/ 632047 h 743850"/>
              <a:gd name="connsiteX492" fmla="*/ 468147 w 723909"/>
              <a:gd name="connsiteY492" fmla="*/ 632047 h 743850"/>
              <a:gd name="connsiteX493" fmla="*/ 465863 w 723909"/>
              <a:gd name="connsiteY493" fmla="*/ 632047 h 743850"/>
              <a:gd name="connsiteX494" fmla="*/ 463580 w 723909"/>
              <a:gd name="connsiteY494" fmla="*/ 634329 h 743850"/>
              <a:gd name="connsiteX495" fmla="*/ 459012 w 723909"/>
              <a:gd name="connsiteY495" fmla="*/ 632047 h 743850"/>
              <a:gd name="connsiteX496" fmla="*/ 459012 w 723909"/>
              <a:gd name="connsiteY496" fmla="*/ 636611 h 743850"/>
              <a:gd name="connsiteX497" fmla="*/ 456729 w 723909"/>
              <a:gd name="connsiteY497" fmla="*/ 641175 h 743850"/>
              <a:gd name="connsiteX498" fmla="*/ 452162 w 723909"/>
              <a:gd name="connsiteY498" fmla="*/ 659430 h 743850"/>
              <a:gd name="connsiteX499" fmla="*/ 456729 w 723909"/>
              <a:gd name="connsiteY499" fmla="*/ 659430 h 743850"/>
              <a:gd name="connsiteX500" fmla="*/ 456729 w 723909"/>
              <a:gd name="connsiteY500" fmla="*/ 661712 h 743850"/>
              <a:gd name="connsiteX501" fmla="*/ 459012 w 723909"/>
              <a:gd name="connsiteY501" fmla="*/ 668558 h 743850"/>
              <a:gd name="connsiteX502" fmla="*/ 459012 w 723909"/>
              <a:gd name="connsiteY502" fmla="*/ 670839 h 743850"/>
              <a:gd name="connsiteX503" fmla="*/ 459012 w 723909"/>
              <a:gd name="connsiteY503" fmla="*/ 673121 h 743850"/>
              <a:gd name="connsiteX504" fmla="*/ 461296 w 723909"/>
              <a:gd name="connsiteY504" fmla="*/ 677685 h 743850"/>
              <a:gd name="connsiteX505" fmla="*/ 459012 w 723909"/>
              <a:gd name="connsiteY505" fmla="*/ 677685 h 743850"/>
              <a:gd name="connsiteX506" fmla="*/ 456729 w 723909"/>
              <a:gd name="connsiteY506" fmla="*/ 677685 h 743850"/>
              <a:gd name="connsiteX507" fmla="*/ 454445 w 723909"/>
              <a:gd name="connsiteY507" fmla="*/ 677685 h 743850"/>
              <a:gd name="connsiteX508" fmla="*/ 452162 w 723909"/>
              <a:gd name="connsiteY508" fmla="*/ 677685 h 743850"/>
              <a:gd name="connsiteX509" fmla="*/ 449878 w 723909"/>
              <a:gd name="connsiteY509" fmla="*/ 679967 h 743850"/>
              <a:gd name="connsiteX510" fmla="*/ 443027 w 723909"/>
              <a:gd name="connsiteY510" fmla="*/ 679967 h 743850"/>
              <a:gd name="connsiteX511" fmla="*/ 438460 w 723909"/>
              <a:gd name="connsiteY511" fmla="*/ 682249 h 743850"/>
              <a:gd name="connsiteX512" fmla="*/ 436176 w 723909"/>
              <a:gd name="connsiteY512" fmla="*/ 684531 h 743850"/>
              <a:gd name="connsiteX513" fmla="*/ 438460 w 723909"/>
              <a:gd name="connsiteY513" fmla="*/ 686813 h 743850"/>
              <a:gd name="connsiteX514" fmla="*/ 436176 w 723909"/>
              <a:gd name="connsiteY514" fmla="*/ 686813 h 743850"/>
              <a:gd name="connsiteX515" fmla="*/ 429326 w 723909"/>
              <a:gd name="connsiteY515" fmla="*/ 689095 h 743850"/>
              <a:gd name="connsiteX516" fmla="*/ 429326 w 723909"/>
              <a:gd name="connsiteY516" fmla="*/ 695940 h 743850"/>
              <a:gd name="connsiteX517" fmla="*/ 429326 w 723909"/>
              <a:gd name="connsiteY517" fmla="*/ 698222 h 743850"/>
              <a:gd name="connsiteX518" fmla="*/ 427042 w 723909"/>
              <a:gd name="connsiteY518" fmla="*/ 698222 h 743850"/>
              <a:gd name="connsiteX519" fmla="*/ 429326 w 723909"/>
              <a:gd name="connsiteY519" fmla="*/ 700504 h 743850"/>
              <a:gd name="connsiteX520" fmla="*/ 429326 w 723909"/>
              <a:gd name="connsiteY520" fmla="*/ 705068 h 743850"/>
              <a:gd name="connsiteX521" fmla="*/ 429326 w 723909"/>
              <a:gd name="connsiteY521" fmla="*/ 709632 h 743850"/>
              <a:gd name="connsiteX522" fmla="*/ 429326 w 723909"/>
              <a:gd name="connsiteY522" fmla="*/ 711914 h 743850"/>
              <a:gd name="connsiteX523" fmla="*/ 429326 w 723909"/>
              <a:gd name="connsiteY523" fmla="*/ 714196 h 743850"/>
              <a:gd name="connsiteX524" fmla="*/ 427042 w 723909"/>
              <a:gd name="connsiteY524" fmla="*/ 716477 h 743850"/>
              <a:gd name="connsiteX525" fmla="*/ 427042 w 723909"/>
              <a:gd name="connsiteY525" fmla="*/ 718750 h 743850"/>
              <a:gd name="connsiteX526" fmla="*/ 427042 w 723909"/>
              <a:gd name="connsiteY526" fmla="*/ 721032 h 743850"/>
              <a:gd name="connsiteX527" fmla="*/ 424758 w 723909"/>
              <a:gd name="connsiteY527" fmla="*/ 723323 h 743850"/>
              <a:gd name="connsiteX528" fmla="*/ 424758 w 723909"/>
              <a:gd name="connsiteY528" fmla="*/ 725595 h 743850"/>
              <a:gd name="connsiteX529" fmla="*/ 422475 w 723909"/>
              <a:gd name="connsiteY529" fmla="*/ 725595 h 743850"/>
              <a:gd name="connsiteX530" fmla="*/ 420191 w 723909"/>
              <a:gd name="connsiteY530" fmla="*/ 723323 h 743850"/>
              <a:gd name="connsiteX531" fmla="*/ 417908 w 723909"/>
              <a:gd name="connsiteY531" fmla="*/ 723323 h 743850"/>
              <a:gd name="connsiteX532" fmla="*/ 415624 w 723909"/>
              <a:gd name="connsiteY532" fmla="*/ 723323 h 743850"/>
              <a:gd name="connsiteX533" fmla="*/ 415624 w 723909"/>
              <a:gd name="connsiteY533" fmla="*/ 721032 h 743850"/>
              <a:gd name="connsiteX534" fmla="*/ 415624 w 723909"/>
              <a:gd name="connsiteY534" fmla="*/ 718750 h 743850"/>
              <a:gd name="connsiteX535" fmla="*/ 413341 w 723909"/>
              <a:gd name="connsiteY535" fmla="*/ 718750 h 743850"/>
              <a:gd name="connsiteX536" fmla="*/ 411057 w 723909"/>
              <a:gd name="connsiteY536" fmla="*/ 718750 h 743850"/>
              <a:gd name="connsiteX537" fmla="*/ 408773 w 723909"/>
              <a:gd name="connsiteY537" fmla="*/ 718750 h 743850"/>
              <a:gd name="connsiteX538" fmla="*/ 406490 w 723909"/>
              <a:gd name="connsiteY538" fmla="*/ 718750 h 743850"/>
              <a:gd name="connsiteX539" fmla="*/ 406490 w 723909"/>
              <a:gd name="connsiteY539" fmla="*/ 721032 h 743850"/>
              <a:gd name="connsiteX540" fmla="*/ 406490 w 723909"/>
              <a:gd name="connsiteY540" fmla="*/ 723323 h 743850"/>
              <a:gd name="connsiteX541" fmla="*/ 404206 w 723909"/>
              <a:gd name="connsiteY541" fmla="*/ 723323 h 743850"/>
              <a:gd name="connsiteX542" fmla="*/ 399639 w 723909"/>
              <a:gd name="connsiteY542" fmla="*/ 723323 h 743850"/>
              <a:gd name="connsiteX543" fmla="*/ 401922 w 723909"/>
              <a:gd name="connsiteY543" fmla="*/ 723323 h 743850"/>
              <a:gd name="connsiteX544" fmla="*/ 401922 w 723909"/>
              <a:gd name="connsiteY544" fmla="*/ 725595 h 743850"/>
              <a:gd name="connsiteX545" fmla="*/ 399639 w 723909"/>
              <a:gd name="connsiteY545" fmla="*/ 727877 h 743850"/>
              <a:gd name="connsiteX546" fmla="*/ 399639 w 723909"/>
              <a:gd name="connsiteY546" fmla="*/ 725595 h 743850"/>
              <a:gd name="connsiteX547" fmla="*/ 397355 w 723909"/>
              <a:gd name="connsiteY547" fmla="*/ 725595 h 743850"/>
              <a:gd name="connsiteX548" fmla="*/ 397355 w 723909"/>
              <a:gd name="connsiteY548" fmla="*/ 727877 h 743850"/>
              <a:gd name="connsiteX549" fmla="*/ 395072 w 723909"/>
              <a:gd name="connsiteY549" fmla="*/ 727877 h 743850"/>
              <a:gd name="connsiteX550" fmla="*/ 395072 w 723909"/>
              <a:gd name="connsiteY550" fmla="*/ 730159 h 743850"/>
              <a:gd name="connsiteX551" fmla="*/ 395072 w 723909"/>
              <a:gd name="connsiteY551" fmla="*/ 732441 h 743850"/>
              <a:gd name="connsiteX552" fmla="*/ 395072 w 723909"/>
              <a:gd name="connsiteY552" fmla="*/ 734723 h 743850"/>
              <a:gd name="connsiteX553" fmla="*/ 395072 w 723909"/>
              <a:gd name="connsiteY553" fmla="*/ 737005 h 743850"/>
              <a:gd name="connsiteX554" fmla="*/ 397355 w 723909"/>
              <a:gd name="connsiteY554" fmla="*/ 737005 h 743850"/>
              <a:gd name="connsiteX555" fmla="*/ 397355 w 723909"/>
              <a:gd name="connsiteY555" fmla="*/ 739287 h 743850"/>
              <a:gd name="connsiteX556" fmla="*/ 399639 w 723909"/>
              <a:gd name="connsiteY556" fmla="*/ 739287 h 743850"/>
              <a:gd name="connsiteX557" fmla="*/ 397355 w 723909"/>
              <a:gd name="connsiteY557" fmla="*/ 739287 h 743850"/>
              <a:gd name="connsiteX558" fmla="*/ 397355 w 723909"/>
              <a:gd name="connsiteY558" fmla="*/ 741569 h 743850"/>
              <a:gd name="connsiteX559" fmla="*/ 395072 w 723909"/>
              <a:gd name="connsiteY559" fmla="*/ 741569 h 743850"/>
              <a:gd name="connsiteX560" fmla="*/ 395072 w 723909"/>
              <a:gd name="connsiteY560" fmla="*/ 743851 h 743850"/>
              <a:gd name="connsiteX561" fmla="*/ 392788 w 723909"/>
              <a:gd name="connsiteY561" fmla="*/ 743851 h 743850"/>
              <a:gd name="connsiteX562" fmla="*/ 392788 w 723909"/>
              <a:gd name="connsiteY562" fmla="*/ 741569 h 743850"/>
              <a:gd name="connsiteX563" fmla="*/ 392788 w 723909"/>
              <a:gd name="connsiteY563" fmla="*/ 739287 h 743850"/>
              <a:gd name="connsiteX564" fmla="*/ 390504 w 723909"/>
              <a:gd name="connsiteY564" fmla="*/ 739287 h 743850"/>
              <a:gd name="connsiteX565" fmla="*/ 390504 w 723909"/>
              <a:gd name="connsiteY565" fmla="*/ 737005 h 743850"/>
              <a:gd name="connsiteX566" fmla="*/ 388221 w 723909"/>
              <a:gd name="connsiteY566" fmla="*/ 737005 h 743850"/>
              <a:gd name="connsiteX567" fmla="*/ 385937 w 723909"/>
              <a:gd name="connsiteY567" fmla="*/ 737005 h 743850"/>
              <a:gd name="connsiteX568" fmla="*/ 383654 w 723909"/>
              <a:gd name="connsiteY568" fmla="*/ 737005 h 743850"/>
              <a:gd name="connsiteX569" fmla="*/ 383654 w 723909"/>
              <a:gd name="connsiteY569" fmla="*/ 734723 h 743850"/>
              <a:gd name="connsiteX570" fmla="*/ 383654 w 723909"/>
              <a:gd name="connsiteY570" fmla="*/ 732441 h 743850"/>
              <a:gd name="connsiteX571" fmla="*/ 381370 w 723909"/>
              <a:gd name="connsiteY571" fmla="*/ 732441 h 743850"/>
              <a:gd name="connsiteX572" fmla="*/ 381370 w 723909"/>
              <a:gd name="connsiteY572" fmla="*/ 730159 h 743850"/>
              <a:gd name="connsiteX573" fmla="*/ 379087 w 723909"/>
              <a:gd name="connsiteY573" fmla="*/ 730159 h 743850"/>
              <a:gd name="connsiteX574" fmla="*/ 379087 w 723909"/>
              <a:gd name="connsiteY574" fmla="*/ 727877 h 743850"/>
              <a:gd name="connsiteX575" fmla="*/ 379087 w 723909"/>
              <a:gd name="connsiteY575" fmla="*/ 725595 h 743850"/>
              <a:gd name="connsiteX576" fmla="*/ 379087 w 723909"/>
              <a:gd name="connsiteY576" fmla="*/ 723323 h 743850"/>
              <a:gd name="connsiteX577" fmla="*/ 379087 w 723909"/>
              <a:gd name="connsiteY577" fmla="*/ 721032 h 743850"/>
              <a:gd name="connsiteX578" fmla="*/ 379087 w 723909"/>
              <a:gd name="connsiteY578" fmla="*/ 718750 h 743850"/>
              <a:gd name="connsiteX579" fmla="*/ 376803 w 723909"/>
              <a:gd name="connsiteY579" fmla="*/ 718750 h 743850"/>
              <a:gd name="connsiteX580" fmla="*/ 376803 w 723909"/>
              <a:gd name="connsiteY580" fmla="*/ 716477 h 743850"/>
              <a:gd name="connsiteX581" fmla="*/ 376803 w 723909"/>
              <a:gd name="connsiteY581" fmla="*/ 714196 h 743850"/>
              <a:gd name="connsiteX582" fmla="*/ 376803 w 723909"/>
              <a:gd name="connsiteY582" fmla="*/ 711914 h 743850"/>
              <a:gd name="connsiteX583" fmla="*/ 374519 w 723909"/>
              <a:gd name="connsiteY583" fmla="*/ 711914 h 743850"/>
              <a:gd name="connsiteX584" fmla="*/ 374519 w 723909"/>
              <a:gd name="connsiteY584" fmla="*/ 709632 h 743850"/>
              <a:gd name="connsiteX585" fmla="*/ 372236 w 723909"/>
              <a:gd name="connsiteY585" fmla="*/ 709632 h 743850"/>
              <a:gd name="connsiteX586" fmla="*/ 369952 w 723909"/>
              <a:gd name="connsiteY586" fmla="*/ 709632 h 743850"/>
              <a:gd name="connsiteX587" fmla="*/ 367668 w 723909"/>
              <a:gd name="connsiteY587" fmla="*/ 709632 h 743850"/>
              <a:gd name="connsiteX588" fmla="*/ 367668 w 723909"/>
              <a:gd name="connsiteY588" fmla="*/ 711914 h 743850"/>
              <a:gd name="connsiteX589" fmla="*/ 367668 w 723909"/>
              <a:gd name="connsiteY589" fmla="*/ 714196 h 743850"/>
              <a:gd name="connsiteX590" fmla="*/ 369952 w 723909"/>
              <a:gd name="connsiteY590" fmla="*/ 714196 h 743850"/>
              <a:gd name="connsiteX591" fmla="*/ 369952 w 723909"/>
              <a:gd name="connsiteY591" fmla="*/ 716477 h 743850"/>
              <a:gd name="connsiteX592" fmla="*/ 369952 w 723909"/>
              <a:gd name="connsiteY592" fmla="*/ 718750 h 743850"/>
              <a:gd name="connsiteX593" fmla="*/ 372236 w 723909"/>
              <a:gd name="connsiteY593" fmla="*/ 718750 h 743850"/>
              <a:gd name="connsiteX594" fmla="*/ 372236 w 723909"/>
              <a:gd name="connsiteY594" fmla="*/ 721032 h 743850"/>
              <a:gd name="connsiteX595" fmla="*/ 372236 w 723909"/>
              <a:gd name="connsiteY595" fmla="*/ 723323 h 743850"/>
              <a:gd name="connsiteX596" fmla="*/ 372236 w 723909"/>
              <a:gd name="connsiteY596" fmla="*/ 725595 h 743850"/>
              <a:gd name="connsiteX597" fmla="*/ 374519 w 723909"/>
              <a:gd name="connsiteY597" fmla="*/ 725595 h 743850"/>
              <a:gd name="connsiteX598" fmla="*/ 374519 w 723909"/>
              <a:gd name="connsiteY598" fmla="*/ 727877 h 743850"/>
              <a:gd name="connsiteX599" fmla="*/ 372236 w 723909"/>
              <a:gd name="connsiteY599" fmla="*/ 727877 h 743850"/>
              <a:gd name="connsiteX600" fmla="*/ 369952 w 723909"/>
              <a:gd name="connsiteY600" fmla="*/ 727877 h 743850"/>
              <a:gd name="connsiteX601" fmla="*/ 369952 w 723909"/>
              <a:gd name="connsiteY601" fmla="*/ 725595 h 743850"/>
              <a:gd name="connsiteX602" fmla="*/ 367668 w 723909"/>
              <a:gd name="connsiteY602" fmla="*/ 725595 h 743850"/>
              <a:gd name="connsiteX603" fmla="*/ 365385 w 723909"/>
              <a:gd name="connsiteY603" fmla="*/ 725595 h 743850"/>
              <a:gd name="connsiteX604" fmla="*/ 365385 w 723909"/>
              <a:gd name="connsiteY604" fmla="*/ 727877 h 743850"/>
              <a:gd name="connsiteX605" fmla="*/ 363101 w 723909"/>
              <a:gd name="connsiteY605" fmla="*/ 727877 h 743850"/>
              <a:gd name="connsiteX606" fmla="*/ 360818 w 723909"/>
              <a:gd name="connsiteY606" fmla="*/ 727877 h 743850"/>
              <a:gd name="connsiteX607" fmla="*/ 358534 w 723909"/>
              <a:gd name="connsiteY607" fmla="*/ 727877 h 743850"/>
              <a:gd name="connsiteX608" fmla="*/ 356251 w 723909"/>
              <a:gd name="connsiteY608" fmla="*/ 727877 h 743850"/>
              <a:gd name="connsiteX609" fmla="*/ 353967 w 723909"/>
              <a:gd name="connsiteY609" fmla="*/ 727877 h 743850"/>
              <a:gd name="connsiteX610" fmla="*/ 353967 w 723909"/>
              <a:gd name="connsiteY610" fmla="*/ 725595 h 743850"/>
              <a:gd name="connsiteX611" fmla="*/ 353967 w 723909"/>
              <a:gd name="connsiteY611" fmla="*/ 723323 h 743850"/>
              <a:gd name="connsiteX612" fmla="*/ 353967 w 723909"/>
              <a:gd name="connsiteY612" fmla="*/ 721032 h 743850"/>
              <a:gd name="connsiteX613" fmla="*/ 353967 w 723909"/>
              <a:gd name="connsiteY613" fmla="*/ 718750 h 743850"/>
              <a:gd name="connsiteX614" fmla="*/ 356251 w 723909"/>
              <a:gd name="connsiteY614" fmla="*/ 718750 h 743850"/>
              <a:gd name="connsiteX615" fmla="*/ 356251 w 723909"/>
              <a:gd name="connsiteY615" fmla="*/ 716477 h 743850"/>
              <a:gd name="connsiteX616" fmla="*/ 356251 w 723909"/>
              <a:gd name="connsiteY616" fmla="*/ 714196 h 743850"/>
              <a:gd name="connsiteX617" fmla="*/ 353967 w 723909"/>
              <a:gd name="connsiteY617" fmla="*/ 714196 h 743850"/>
              <a:gd name="connsiteX618" fmla="*/ 353967 w 723909"/>
              <a:gd name="connsiteY618" fmla="*/ 711914 h 743850"/>
              <a:gd name="connsiteX619" fmla="*/ 353967 w 723909"/>
              <a:gd name="connsiteY619" fmla="*/ 709632 h 743850"/>
              <a:gd name="connsiteX620" fmla="*/ 351683 w 723909"/>
              <a:gd name="connsiteY620" fmla="*/ 709632 h 743850"/>
              <a:gd name="connsiteX621" fmla="*/ 349400 w 723909"/>
              <a:gd name="connsiteY621" fmla="*/ 709632 h 743850"/>
              <a:gd name="connsiteX622" fmla="*/ 349400 w 723909"/>
              <a:gd name="connsiteY622" fmla="*/ 707350 h 743850"/>
              <a:gd name="connsiteX623" fmla="*/ 347116 w 723909"/>
              <a:gd name="connsiteY623" fmla="*/ 707350 h 743850"/>
              <a:gd name="connsiteX624" fmla="*/ 344833 w 723909"/>
              <a:gd name="connsiteY624" fmla="*/ 707350 h 743850"/>
              <a:gd name="connsiteX625" fmla="*/ 342549 w 723909"/>
              <a:gd name="connsiteY625" fmla="*/ 707350 h 743850"/>
              <a:gd name="connsiteX626" fmla="*/ 340265 w 723909"/>
              <a:gd name="connsiteY626" fmla="*/ 707350 h 743850"/>
              <a:gd name="connsiteX627" fmla="*/ 340265 w 723909"/>
              <a:gd name="connsiteY627" fmla="*/ 705068 h 743850"/>
              <a:gd name="connsiteX628" fmla="*/ 337982 w 723909"/>
              <a:gd name="connsiteY628" fmla="*/ 705068 h 743850"/>
              <a:gd name="connsiteX629" fmla="*/ 337982 w 723909"/>
              <a:gd name="connsiteY629" fmla="*/ 702786 h 743850"/>
              <a:gd name="connsiteX630" fmla="*/ 335698 w 723909"/>
              <a:gd name="connsiteY630" fmla="*/ 702786 h 743850"/>
              <a:gd name="connsiteX631" fmla="*/ 335698 w 723909"/>
              <a:gd name="connsiteY631" fmla="*/ 700504 h 743850"/>
              <a:gd name="connsiteX632" fmla="*/ 333414 w 723909"/>
              <a:gd name="connsiteY632" fmla="*/ 700504 h 743850"/>
              <a:gd name="connsiteX633" fmla="*/ 333414 w 723909"/>
              <a:gd name="connsiteY633" fmla="*/ 698222 h 743850"/>
              <a:gd name="connsiteX634" fmla="*/ 331131 w 723909"/>
              <a:gd name="connsiteY634" fmla="*/ 698222 h 743850"/>
              <a:gd name="connsiteX635" fmla="*/ 328847 w 723909"/>
              <a:gd name="connsiteY635" fmla="*/ 698222 h 743850"/>
              <a:gd name="connsiteX636" fmla="*/ 328847 w 723909"/>
              <a:gd name="connsiteY636" fmla="*/ 695940 h 743850"/>
              <a:gd name="connsiteX637" fmla="*/ 328847 w 723909"/>
              <a:gd name="connsiteY637" fmla="*/ 693658 h 743850"/>
              <a:gd name="connsiteX638" fmla="*/ 328847 w 723909"/>
              <a:gd name="connsiteY638" fmla="*/ 691376 h 743850"/>
              <a:gd name="connsiteX639" fmla="*/ 326564 w 723909"/>
              <a:gd name="connsiteY639" fmla="*/ 691376 h 743850"/>
              <a:gd name="connsiteX640" fmla="*/ 324280 w 723909"/>
              <a:gd name="connsiteY640" fmla="*/ 691376 h 743850"/>
              <a:gd name="connsiteX641" fmla="*/ 324280 w 723909"/>
              <a:gd name="connsiteY641" fmla="*/ 689095 h 743850"/>
              <a:gd name="connsiteX642" fmla="*/ 321997 w 723909"/>
              <a:gd name="connsiteY642" fmla="*/ 689095 h 743850"/>
              <a:gd name="connsiteX643" fmla="*/ 319713 w 723909"/>
              <a:gd name="connsiteY643" fmla="*/ 689095 h 743850"/>
              <a:gd name="connsiteX644" fmla="*/ 317429 w 723909"/>
              <a:gd name="connsiteY644" fmla="*/ 689095 h 743850"/>
              <a:gd name="connsiteX645" fmla="*/ 315146 w 723909"/>
              <a:gd name="connsiteY645" fmla="*/ 689095 h 743850"/>
              <a:gd name="connsiteX646" fmla="*/ 315146 w 723909"/>
              <a:gd name="connsiteY646" fmla="*/ 686813 h 743850"/>
              <a:gd name="connsiteX647" fmla="*/ 317429 w 723909"/>
              <a:gd name="connsiteY647" fmla="*/ 686813 h 743850"/>
              <a:gd name="connsiteX648" fmla="*/ 319713 w 723909"/>
              <a:gd name="connsiteY648" fmla="*/ 686813 h 743850"/>
              <a:gd name="connsiteX649" fmla="*/ 319713 w 723909"/>
              <a:gd name="connsiteY649" fmla="*/ 684531 h 743850"/>
              <a:gd name="connsiteX650" fmla="*/ 321997 w 723909"/>
              <a:gd name="connsiteY650" fmla="*/ 684531 h 743850"/>
              <a:gd name="connsiteX651" fmla="*/ 321997 w 723909"/>
              <a:gd name="connsiteY651" fmla="*/ 682249 h 743850"/>
              <a:gd name="connsiteX652" fmla="*/ 319713 w 723909"/>
              <a:gd name="connsiteY652" fmla="*/ 682249 h 743850"/>
              <a:gd name="connsiteX653" fmla="*/ 317429 w 723909"/>
              <a:gd name="connsiteY653" fmla="*/ 682249 h 743850"/>
              <a:gd name="connsiteX654" fmla="*/ 317429 w 723909"/>
              <a:gd name="connsiteY654" fmla="*/ 679967 h 743850"/>
              <a:gd name="connsiteX655" fmla="*/ 315146 w 723909"/>
              <a:gd name="connsiteY655" fmla="*/ 679967 h 743850"/>
              <a:gd name="connsiteX656" fmla="*/ 312862 w 723909"/>
              <a:gd name="connsiteY656" fmla="*/ 679967 h 743850"/>
              <a:gd name="connsiteX657" fmla="*/ 312862 w 723909"/>
              <a:gd name="connsiteY657" fmla="*/ 677685 h 743850"/>
              <a:gd name="connsiteX658" fmla="*/ 312862 w 723909"/>
              <a:gd name="connsiteY658" fmla="*/ 675403 h 743850"/>
              <a:gd name="connsiteX659" fmla="*/ 312862 w 723909"/>
              <a:gd name="connsiteY659" fmla="*/ 673121 h 743850"/>
              <a:gd name="connsiteX660" fmla="*/ 312862 w 723909"/>
              <a:gd name="connsiteY660" fmla="*/ 670839 h 743850"/>
              <a:gd name="connsiteX661" fmla="*/ 310579 w 723909"/>
              <a:gd name="connsiteY661" fmla="*/ 670839 h 743850"/>
              <a:gd name="connsiteX662" fmla="*/ 310579 w 723909"/>
              <a:gd name="connsiteY662" fmla="*/ 668558 h 743850"/>
              <a:gd name="connsiteX663" fmla="*/ 310579 w 723909"/>
              <a:gd name="connsiteY663" fmla="*/ 666276 h 743850"/>
              <a:gd name="connsiteX664" fmla="*/ 308295 w 723909"/>
              <a:gd name="connsiteY664" fmla="*/ 666276 h 743850"/>
              <a:gd name="connsiteX665" fmla="*/ 308295 w 723909"/>
              <a:gd name="connsiteY665" fmla="*/ 663994 h 743850"/>
              <a:gd name="connsiteX666" fmla="*/ 308295 w 723909"/>
              <a:gd name="connsiteY666" fmla="*/ 661712 h 743850"/>
              <a:gd name="connsiteX667" fmla="*/ 308295 w 723909"/>
              <a:gd name="connsiteY667" fmla="*/ 659430 h 743850"/>
              <a:gd name="connsiteX668" fmla="*/ 308295 w 723909"/>
              <a:gd name="connsiteY668" fmla="*/ 657148 h 743850"/>
              <a:gd name="connsiteX669" fmla="*/ 310579 w 723909"/>
              <a:gd name="connsiteY669" fmla="*/ 657148 h 743850"/>
              <a:gd name="connsiteX670" fmla="*/ 310579 w 723909"/>
              <a:gd name="connsiteY670" fmla="*/ 654866 h 743850"/>
              <a:gd name="connsiteX671" fmla="*/ 310579 w 723909"/>
              <a:gd name="connsiteY671" fmla="*/ 652584 h 743850"/>
              <a:gd name="connsiteX672" fmla="*/ 310579 w 723909"/>
              <a:gd name="connsiteY672" fmla="*/ 650302 h 743850"/>
              <a:gd name="connsiteX673" fmla="*/ 310579 w 723909"/>
              <a:gd name="connsiteY673" fmla="*/ 648020 h 743850"/>
              <a:gd name="connsiteX674" fmla="*/ 310579 w 723909"/>
              <a:gd name="connsiteY674" fmla="*/ 645739 h 743850"/>
              <a:gd name="connsiteX675" fmla="*/ 308295 w 723909"/>
              <a:gd name="connsiteY675" fmla="*/ 645739 h 743850"/>
              <a:gd name="connsiteX676" fmla="*/ 308295 w 723909"/>
              <a:gd name="connsiteY676" fmla="*/ 643457 h 743850"/>
              <a:gd name="connsiteX677" fmla="*/ 306012 w 723909"/>
              <a:gd name="connsiteY677" fmla="*/ 643457 h 743850"/>
              <a:gd name="connsiteX678" fmla="*/ 306012 w 723909"/>
              <a:gd name="connsiteY678" fmla="*/ 641175 h 743850"/>
              <a:gd name="connsiteX679" fmla="*/ 303728 w 723909"/>
              <a:gd name="connsiteY679" fmla="*/ 641175 h 743850"/>
              <a:gd name="connsiteX680" fmla="*/ 303728 w 723909"/>
              <a:gd name="connsiteY680" fmla="*/ 638893 h 743850"/>
              <a:gd name="connsiteX681" fmla="*/ 301444 w 723909"/>
              <a:gd name="connsiteY681" fmla="*/ 638893 h 743850"/>
              <a:gd name="connsiteX682" fmla="*/ 301444 w 723909"/>
              <a:gd name="connsiteY682" fmla="*/ 636611 h 743850"/>
              <a:gd name="connsiteX683" fmla="*/ 299161 w 723909"/>
              <a:gd name="connsiteY683" fmla="*/ 636611 h 743850"/>
              <a:gd name="connsiteX684" fmla="*/ 299161 w 723909"/>
              <a:gd name="connsiteY684" fmla="*/ 638893 h 743850"/>
              <a:gd name="connsiteX685" fmla="*/ 296877 w 723909"/>
              <a:gd name="connsiteY685" fmla="*/ 638893 h 743850"/>
              <a:gd name="connsiteX686" fmla="*/ 294593 w 723909"/>
              <a:gd name="connsiteY686" fmla="*/ 638893 h 743850"/>
              <a:gd name="connsiteX687" fmla="*/ 292310 w 723909"/>
              <a:gd name="connsiteY687" fmla="*/ 638893 h 743850"/>
              <a:gd name="connsiteX688" fmla="*/ 290026 w 723909"/>
              <a:gd name="connsiteY688" fmla="*/ 638893 h 743850"/>
              <a:gd name="connsiteX689" fmla="*/ 290026 w 723909"/>
              <a:gd name="connsiteY689" fmla="*/ 641175 h 743850"/>
              <a:gd name="connsiteX690" fmla="*/ 287743 w 723909"/>
              <a:gd name="connsiteY690" fmla="*/ 641175 h 743850"/>
              <a:gd name="connsiteX691" fmla="*/ 287743 w 723909"/>
              <a:gd name="connsiteY691" fmla="*/ 643457 h 743850"/>
              <a:gd name="connsiteX692" fmla="*/ 287743 w 723909"/>
              <a:gd name="connsiteY692" fmla="*/ 645739 h 743850"/>
              <a:gd name="connsiteX693" fmla="*/ 287743 w 723909"/>
              <a:gd name="connsiteY693" fmla="*/ 648020 h 743850"/>
              <a:gd name="connsiteX694" fmla="*/ 285459 w 723909"/>
              <a:gd name="connsiteY694" fmla="*/ 648020 h 743850"/>
              <a:gd name="connsiteX695" fmla="*/ 285459 w 723909"/>
              <a:gd name="connsiteY695" fmla="*/ 650302 h 743850"/>
              <a:gd name="connsiteX696" fmla="*/ 283175 w 723909"/>
              <a:gd name="connsiteY696" fmla="*/ 650302 h 743850"/>
              <a:gd name="connsiteX697" fmla="*/ 283175 w 723909"/>
              <a:gd name="connsiteY697" fmla="*/ 652584 h 743850"/>
              <a:gd name="connsiteX698" fmla="*/ 280892 w 723909"/>
              <a:gd name="connsiteY698" fmla="*/ 652584 h 743850"/>
              <a:gd name="connsiteX699" fmla="*/ 278608 w 723909"/>
              <a:gd name="connsiteY699" fmla="*/ 652584 h 743850"/>
              <a:gd name="connsiteX700" fmla="*/ 276325 w 723909"/>
              <a:gd name="connsiteY700" fmla="*/ 652584 h 743850"/>
              <a:gd name="connsiteX701" fmla="*/ 274041 w 723909"/>
              <a:gd name="connsiteY701" fmla="*/ 652584 h 743850"/>
              <a:gd name="connsiteX702" fmla="*/ 274041 w 723909"/>
              <a:gd name="connsiteY702" fmla="*/ 654866 h 743850"/>
              <a:gd name="connsiteX703" fmla="*/ 271758 w 723909"/>
              <a:gd name="connsiteY703" fmla="*/ 654866 h 743850"/>
              <a:gd name="connsiteX704" fmla="*/ 271758 w 723909"/>
              <a:gd name="connsiteY704" fmla="*/ 657148 h 743850"/>
              <a:gd name="connsiteX705" fmla="*/ 271758 w 723909"/>
              <a:gd name="connsiteY705" fmla="*/ 659430 h 743850"/>
              <a:gd name="connsiteX706" fmla="*/ 271758 w 723909"/>
              <a:gd name="connsiteY706" fmla="*/ 661712 h 743850"/>
              <a:gd name="connsiteX707" fmla="*/ 269474 w 723909"/>
              <a:gd name="connsiteY707" fmla="*/ 661712 h 743850"/>
              <a:gd name="connsiteX708" fmla="*/ 269474 w 723909"/>
              <a:gd name="connsiteY708" fmla="*/ 663994 h 743850"/>
              <a:gd name="connsiteX709" fmla="*/ 267190 w 723909"/>
              <a:gd name="connsiteY709" fmla="*/ 663994 h 743850"/>
              <a:gd name="connsiteX710" fmla="*/ 267190 w 723909"/>
              <a:gd name="connsiteY710" fmla="*/ 666276 h 743850"/>
              <a:gd name="connsiteX711" fmla="*/ 267190 w 723909"/>
              <a:gd name="connsiteY711" fmla="*/ 668558 h 743850"/>
              <a:gd name="connsiteX712" fmla="*/ 264907 w 723909"/>
              <a:gd name="connsiteY712" fmla="*/ 668558 h 743850"/>
              <a:gd name="connsiteX713" fmla="*/ 262623 w 723909"/>
              <a:gd name="connsiteY713" fmla="*/ 668558 h 743850"/>
              <a:gd name="connsiteX714" fmla="*/ 260339 w 723909"/>
              <a:gd name="connsiteY714" fmla="*/ 668558 h 743850"/>
              <a:gd name="connsiteX715" fmla="*/ 258056 w 723909"/>
              <a:gd name="connsiteY715" fmla="*/ 668558 h 743850"/>
              <a:gd name="connsiteX716" fmla="*/ 255772 w 723909"/>
              <a:gd name="connsiteY716" fmla="*/ 668558 h 743850"/>
              <a:gd name="connsiteX717" fmla="*/ 253489 w 723909"/>
              <a:gd name="connsiteY717" fmla="*/ 668558 h 743850"/>
              <a:gd name="connsiteX718" fmla="*/ 251205 w 723909"/>
              <a:gd name="connsiteY718" fmla="*/ 668558 h 743850"/>
              <a:gd name="connsiteX719" fmla="*/ 251205 w 723909"/>
              <a:gd name="connsiteY719" fmla="*/ 670839 h 743850"/>
              <a:gd name="connsiteX720" fmla="*/ 248922 w 723909"/>
              <a:gd name="connsiteY720" fmla="*/ 670839 h 743850"/>
              <a:gd name="connsiteX721" fmla="*/ 246638 w 723909"/>
              <a:gd name="connsiteY721" fmla="*/ 670839 h 743850"/>
              <a:gd name="connsiteX722" fmla="*/ 244354 w 723909"/>
              <a:gd name="connsiteY722" fmla="*/ 670839 h 743850"/>
              <a:gd name="connsiteX723" fmla="*/ 242071 w 723909"/>
              <a:gd name="connsiteY723" fmla="*/ 670839 h 743850"/>
              <a:gd name="connsiteX724" fmla="*/ 239787 w 723909"/>
              <a:gd name="connsiteY724" fmla="*/ 670839 h 743850"/>
              <a:gd name="connsiteX725" fmla="*/ 237504 w 723909"/>
              <a:gd name="connsiteY725" fmla="*/ 670839 h 743850"/>
              <a:gd name="connsiteX726" fmla="*/ 235220 w 723909"/>
              <a:gd name="connsiteY726" fmla="*/ 670839 h 743850"/>
              <a:gd name="connsiteX727" fmla="*/ 232936 w 723909"/>
              <a:gd name="connsiteY727" fmla="*/ 670839 h 743850"/>
              <a:gd name="connsiteX728" fmla="*/ 230653 w 723909"/>
              <a:gd name="connsiteY728" fmla="*/ 670839 h 743850"/>
              <a:gd name="connsiteX729" fmla="*/ 228369 w 723909"/>
              <a:gd name="connsiteY729" fmla="*/ 670839 h 743850"/>
              <a:gd name="connsiteX730" fmla="*/ 228369 w 723909"/>
              <a:gd name="connsiteY730" fmla="*/ 673121 h 743850"/>
              <a:gd name="connsiteX731" fmla="*/ 226085 w 723909"/>
              <a:gd name="connsiteY731" fmla="*/ 673121 h 743850"/>
              <a:gd name="connsiteX732" fmla="*/ 226085 w 723909"/>
              <a:gd name="connsiteY732" fmla="*/ 675403 h 743850"/>
              <a:gd name="connsiteX733" fmla="*/ 226085 w 723909"/>
              <a:gd name="connsiteY733" fmla="*/ 677685 h 743850"/>
              <a:gd name="connsiteX734" fmla="*/ 226085 w 723909"/>
              <a:gd name="connsiteY734" fmla="*/ 679967 h 743850"/>
              <a:gd name="connsiteX735" fmla="*/ 226085 w 723909"/>
              <a:gd name="connsiteY735" fmla="*/ 682249 h 743850"/>
              <a:gd name="connsiteX736" fmla="*/ 226085 w 723909"/>
              <a:gd name="connsiteY736" fmla="*/ 684531 h 743850"/>
              <a:gd name="connsiteX737" fmla="*/ 226085 w 723909"/>
              <a:gd name="connsiteY737" fmla="*/ 686813 h 743850"/>
              <a:gd name="connsiteX738" fmla="*/ 226085 w 723909"/>
              <a:gd name="connsiteY738" fmla="*/ 689095 h 743850"/>
              <a:gd name="connsiteX739" fmla="*/ 226085 w 723909"/>
              <a:gd name="connsiteY739" fmla="*/ 691376 h 743850"/>
              <a:gd name="connsiteX740" fmla="*/ 223802 w 723909"/>
              <a:gd name="connsiteY740" fmla="*/ 689095 h 743850"/>
              <a:gd name="connsiteX741" fmla="*/ 221518 w 723909"/>
              <a:gd name="connsiteY741" fmla="*/ 689095 h 743850"/>
              <a:gd name="connsiteX742" fmla="*/ 221518 w 723909"/>
              <a:gd name="connsiteY742" fmla="*/ 686813 h 743850"/>
              <a:gd name="connsiteX743" fmla="*/ 219235 w 723909"/>
              <a:gd name="connsiteY743" fmla="*/ 686813 h 743850"/>
              <a:gd name="connsiteX744" fmla="*/ 219235 w 723909"/>
              <a:gd name="connsiteY744" fmla="*/ 684531 h 743850"/>
              <a:gd name="connsiteX745" fmla="*/ 216951 w 723909"/>
              <a:gd name="connsiteY745" fmla="*/ 684531 h 743850"/>
              <a:gd name="connsiteX746" fmla="*/ 216951 w 723909"/>
              <a:gd name="connsiteY746" fmla="*/ 682249 h 743850"/>
              <a:gd name="connsiteX747" fmla="*/ 216951 w 723909"/>
              <a:gd name="connsiteY747" fmla="*/ 679967 h 743850"/>
              <a:gd name="connsiteX748" fmla="*/ 216951 w 723909"/>
              <a:gd name="connsiteY748" fmla="*/ 677685 h 743850"/>
              <a:gd name="connsiteX749" fmla="*/ 214668 w 723909"/>
              <a:gd name="connsiteY749" fmla="*/ 677685 h 743850"/>
              <a:gd name="connsiteX750" fmla="*/ 214668 w 723909"/>
              <a:gd name="connsiteY750" fmla="*/ 675403 h 743850"/>
              <a:gd name="connsiteX751" fmla="*/ 212384 w 723909"/>
              <a:gd name="connsiteY751" fmla="*/ 675403 h 743850"/>
              <a:gd name="connsiteX752" fmla="*/ 210100 w 723909"/>
              <a:gd name="connsiteY752" fmla="*/ 675403 h 743850"/>
              <a:gd name="connsiteX753" fmla="*/ 210100 w 723909"/>
              <a:gd name="connsiteY753" fmla="*/ 673121 h 743850"/>
              <a:gd name="connsiteX754" fmla="*/ 210100 w 723909"/>
              <a:gd name="connsiteY754" fmla="*/ 675403 h 743850"/>
              <a:gd name="connsiteX755" fmla="*/ 207817 w 723909"/>
              <a:gd name="connsiteY755" fmla="*/ 675403 h 743850"/>
              <a:gd name="connsiteX756" fmla="*/ 205533 w 723909"/>
              <a:gd name="connsiteY756" fmla="*/ 675403 h 743850"/>
              <a:gd name="connsiteX757" fmla="*/ 203250 w 723909"/>
              <a:gd name="connsiteY757" fmla="*/ 675403 h 743850"/>
              <a:gd name="connsiteX758" fmla="*/ 200966 w 723909"/>
              <a:gd name="connsiteY758" fmla="*/ 675403 h 743850"/>
              <a:gd name="connsiteX759" fmla="*/ 198683 w 723909"/>
              <a:gd name="connsiteY759" fmla="*/ 675403 h 743850"/>
              <a:gd name="connsiteX760" fmla="*/ 196399 w 723909"/>
              <a:gd name="connsiteY760" fmla="*/ 675403 h 743850"/>
              <a:gd name="connsiteX761" fmla="*/ 194115 w 723909"/>
              <a:gd name="connsiteY761" fmla="*/ 675403 h 743850"/>
              <a:gd name="connsiteX762" fmla="*/ 194115 w 723909"/>
              <a:gd name="connsiteY762" fmla="*/ 677685 h 743850"/>
              <a:gd name="connsiteX763" fmla="*/ 191832 w 723909"/>
              <a:gd name="connsiteY763" fmla="*/ 677685 h 743850"/>
              <a:gd name="connsiteX764" fmla="*/ 191832 w 723909"/>
              <a:gd name="connsiteY764" fmla="*/ 679967 h 743850"/>
              <a:gd name="connsiteX765" fmla="*/ 189548 w 723909"/>
              <a:gd name="connsiteY765" fmla="*/ 679967 h 743850"/>
              <a:gd name="connsiteX766" fmla="*/ 187264 w 723909"/>
              <a:gd name="connsiteY766" fmla="*/ 679967 h 743850"/>
              <a:gd name="connsiteX767" fmla="*/ 184981 w 723909"/>
              <a:gd name="connsiteY767" fmla="*/ 679967 h 743850"/>
              <a:gd name="connsiteX768" fmla="*/ 184981 w 723909"/>
              <a:gd name="connsiteY768" fmla="*/ 677685 h 743850"/>
              <a:gd name="connsiteX769" fmla="*/ 182697 w 723909"/>
              <a:gd name="connsiteY769" fmla="*/ 677685 h 743850"/>
              <a:gd name="connsiteX770" fmla="*/ 180414 w 723909"/>
              <a:gd name="connsiteY770" fmla="*/ 677685 h 743850"/>
              <a:gd name="connsiteX771" fmla="*/ 178130 w 723909"/>
              <a:gd name="connsiteY771" fmla="*/ 677685 h 743850"/>
              <a:gd name="connsiteX772" fmla="*/ 175846 w 723909"/>
              <a:gd name="connsiteY772" fmla="*/ 677685 h 743850"/>
              <a:gd name="connsiteX773" fmla="*/ 175846 w 723909"/>
              <a:gd name="connsiteY773" fmla="*/ 679967 h 743850"/>
              <a:gd name="connsiteX774" fmla="*/ 175846 w 723909"/>
              <a:gd name="connsiteY774" fmla="*/ 677685 h 743850"/>
              <a:gd name="connsiteX775" fmla="*/ 173563 w 723909"/>
              <a:gd name="connsiteY775" fmla="*/ 677685 h 743850"/>
              <a:gd name="connsiteX776" fmla="*/ 173563 w 723909"/>
              <a:gd name="connsiteY776" fmla="*/ 675403 h 743850"/>
              <a:gd name="connsiteX777" fmla="*/ 175846 w 723909"/>
              <a:gd name="connsiteY777" fmla="*/ 673121 h 743850"/>
              <a:gd name="connsiteX778" fmla="*/ 175846 w 723909"/>
              <a:gd name="connsiteY778" fmla="*/ 670839 h 743850"/>
              <a:gd name="connsiteX779" fmla="*/ 175846 w 723909"/>
              <a:gd name="connsiteY779" fmla="*/ 668558 h 743850"/>
              <a:gd name="connsiteX780" fmla="*/ 175846 w 723909"/>
              <a:gd name="connsiteY780" fmla="*/ 666276 h 743850"/>
              <a:gd name="connsiteX781" fmla="*/ 175846 w 723909"/>
              <a:gd name="connsiteY781" fmla="*/ 663994 h 743850"/>
              <a:gd name="connsiteX782" fmla="*/ 175846 w 723909"/>
              <a:gd name="connsiteY782" fmla="*/ 661712 h 743850"/>
              <a:gd name="connsiteX783" fmla="*/ 173563 w 723909"/>
              <a:gd name="connsiteY783" fmla="*/ 661712 h 743850"/>
              <a:gd name="connsiteX784" fmla="*/ 171279 w 723909"/>
              <a:gd name="connsiteY784" fmla="*/ 661712 h 743850"/>
              <a:gd name="connsiteX785" fmla="*/ 168996 w 723909"/>
              <a:gd name="connsiteY785" fmla="*/ 661712 h 743850"/>
              <a:gd name="connsiteX786" fmla="*/ 166712 w 723909"/>
              <a:gd name="connsiteY786" fmla="*/ 661712 h 743850"/>
              <a:gd name="connsiteX787" fmla="*/ 166712 w 723909"/>
              <a:gd name="connsiteY787" fmla="*/ 663994 h 743850"/>
              <a:gd name="connsiteX788" fmla="*/ 166712 w 723909"/>
              <a:gd name="connsiteY788" fmla="*/ 666276 h 743850"/>
              <a:gd name="connsiteX789" fmla="*/ 164429 w 723909"/>
              <a:gd name="connsiteY789" fmla="*/ 666276 h 743850"/>
              <a:gd name="connsiteX790" fmla="*/ 162145 w 723909"/>
              <a:gd name="connsiteY790" fmla="*/ 666276 h 743850"/>
              <a:gd name="connsiteX791" fmla="*/ 162145 w 723909"/>
              <a:gd name="connsiteY791" fmla="*/ 663994 h 743850"/>
              <a:gd name="connsiteX792" fmla="*/ 159861 w 723909"/>
              <a:gd name="connsiteY792" fmla="*/ 663994 h 743850"/>
              <a:gd name="connsiteX793" fmla="*/ 157578 w 723909"/>
              <a:gd name="connsiteY793" fmla="*/ 661712 h 743850"/>
              <a:gd name="connsiteX794" fmla="*/ 159861 w 723909"/>
              <a:gd name="connsiteY794" fmla="*/ 659430 h 743850"/>
              <a:gd name="connsiteX795" fmla="*/ 164429 w 723909"/>
              <a:gd name="connsiteY795" fmla="*/ 659430 h 743850"/>
              <a:gd name="connsiteX796" fmla="*/ 164429 w 723909"/>
              <a:gd name="connsiteY796" fmla="*/ 654866 h 743850"/>
              <a:gd name="connsiteX797" fmla="*/ 164429 w 723909"/>
              <a:gd name="connsiteY797" fmla="*/ 650302 h 743850"/>
              <a:gd name="connsiteX798" fmla="*/ 164429 w 723909"/>
              <a:gd name="connsiteY798" fmla="*/ 648020 h 743850"/>
              <a:gd name="connsiteX799" fmla="*/ 164429 w 723909"/>
              <a:gd name="connsiteY799" fmla="*/ 645739 h 743850"/>
              <a:gd name="connsiteX800" fmla="*/ 159861 w 723909"/>
              <a:gd name="connsiteY800" fmla="*/ 650302 h 743850"/>
              <a:gd name="connsiteX801" fmla="*/ 155294 w 723909"/>
              <a:gd name="connsiteY801" fmla="*/ 654866 h 743850"/>
              <a:gd name="connsiteX802" fmla="*/ 153010 w 723909"/>
              <a:gd name="connsiteY802" fmla="*/ 654866 h 743850"/>
              <a:gd name="connsiteX803" fmla="*/ 153010 w 723909"/>
              <a:gd name="connsiteY803" fmla="*/ 652584 h 743850"/>
              <a:gd name="connsiteX804" fmla="*/ 153010 w 723909"/>
              <a:gd name="connsiteY804" fmla="*/ 648020 h 743850"/>
              <a:gd name="connsiteX805" fmla="*/ 153010 w 723909"/>
              <a:gd name="connsiteY805" fmla="*/ 643457 h 743850"/>
              <a:gd name="connsiteX806" fmla="*/ 153010 w 723909"/>
              <a:gd name="connsiteY806" fmla="*/ 638893 h 743850"/>
              <a:gd name="connsiteX807" fmla="*/ 153010 w 723909"/>
              <a:gd name="connsiteY807" fmla="*/ 636611 h 743850"/>
              <a:gd name="connsiteX808" fmla="*/ 153010 w 723909"/>
              <a:gd name="connsiteY808" fmla="*/ 634329 h 743850"/>
              <a:gd name="connsiteX809" fmla="*/ 153010 w 723909"/>
              <a:gd name="connsiteY809" fmla="*/ 632047 h 743850"/>
              <a:gd name="connsiteX810" fmla="*/ 153010 w 723909"/>
              <a:gd name="connsiteY810" fmla="*/ 629765 h 743850"/>
              <a:gd name="connsiteX811" fmla="*/ 153010 w 723909"/>
              <a:gd name="connsiteY811" fmla="*/ 627483 h 743850"/>
              <a:gd name="connsiteX812" fmla="*/ 150727 w 723909"/>
              <a:gd name="connsiteY812" fmla="*/ 627483 h 743850"/>
              <a:gd name="connsiteX813" fmla="*/ 148443 w 723909"/>
              <a:gd name="connsiteY813" fmla="*/ 627483 h 743850"/>
              <a:gd name="connsiteX814" fmla="*/ 146160 w 723909"/>
              <a:gd name="connsiteY814" fmla="*/ 627483 h 743850"/>
              <a:gd name="connsiteX815" fmla="*/ 143876 w 723909"/>
              <a:gd name="connsiteY815" fmla="*/ 627483 h 743850"/>
              <a:gd name="connsiteX816" fmla="*/ 141593 w 723909"/>
              <a:gd name="connsiteY816" fmla="*/ 627483 h 743850"/>
              <a:gd name="connsiteX817" fmla="*/ 139309 w 723909"/>
              <a:gd name="connsiteY817" fmla="*/ 627483 h 743850"/>
              <a:gd name="connsiteX818" fmla="*/ 137025 w 723909"/>
              <a:gd name="connsiteY818" fmla="*/ 627483 h 743850"/>
              <a:gd name="connsiteX819" fmla="*/ 134742 w 723909"/>
              <a:gd name="connsiteY819" fmla="*/ 627483 h 743850"/>
              <a:gd name="connsiteX820" fmla="*/ 132458 w 723909"/>
              <a:gd name="connsiteY820" fmla="*/ 627483 h 743850"/>
              <a:gd name="connsiteX821" fmla="*/ 130175 w 723909"/>
              <a:gd name="connsiteY821" fmla="*/ 627483 h 743850"/>
              <a:gd name="connsiteX822" fmla="*/ 125607 w 723909"/>
              <a:gd name="connsiteY822" fmla="*/ 625202 h 743850"/>
              <a:gd name="connsiteX823" fmla="*/ 123324 w 723909"/>
              <a:gd name="connsiteY823" fmla="*/ 625202 h 743850"/>
              <a:gd name="connsiteX824" fmla="*/ 121040 w 723909"/>
              <a:gd name="connsiteY824" fmla="*/ 625202 h 743850"/>
              <a:gd name="connsiteX825" fmla="*/ 118756 w 723909"/>
              <a:gd name="connsiteY825" fmla="*/ 622920 h 743850"/>
              <a:gd name="connsiteX826" fmla="*/ 116473 w 723909"/>
              <a:gd name="connsiteY826" fmla="*/ 622920 h 743850"/>
              <a:gd name="connsiteX827" fmla="*/ 114189 w 723909"/>
              <a:gd name="connsiteY827" fmla="*/ 620638 h 743850"/>
              <a:gd name="connsiteX828" fmla="*/ 111906 w 723909"/>
              <a:gd name="connsiteY828" fmla="*/ 620638 h 743850"/>
              <a:gd name="connsiteX829" fmla="*/ 109622 w 723909"/>
              <a:gd name="connsiteY829" fmla="*/ 620638 h 743850"/>
              <a:gd name="connsiteX830" fmla="*/ 107339 w 723909"/>
              <a:gd name="connsiteY830" fmla="*/ 620638 h 743850"/>
              <a:gd name="connsiteX831" fmla="*/ 105055 w 723909"/>
              <a:gd name="connsiteY831" fmla="*/ 620638 h 743850"/>
              <a:gd name="connsiteX832" fmla="*/ 102771 w 723909"/>
              <a:gd name="connsiteY832" fmla="*/ 620638 h 743850"/>
              <a:gd name="connsiteX833" fmla="*/ 102771 w 723909"/>
              <a:gd name="connsiteY833" fmla="*/ 622920 h 743850"/>
              <a:gd name="connsiteX834" fmla="*/ 100488 w 723909"/>
              <a:gd name="connsiteY834" fmla="*/ 627483 h 743850"/>
              <a:gd name="connsiteX835" fmla="*/ 98204 w 723909"/>
              <a:gd name="connsiteY835" fmla="*/ 627483 h 743850"/>
              <a:gd name="connsiteX836" fmla="*/ 93637 w 723909"/>
              <a:gd name="connsiteY836" fmla="*/ 622920 h 743850"/>
              <a:gd name="connsiteX837" fmla="*/ 91353 w 723909"/>
              <a:gd name="connsiteY837" fmla="*/ 620638 h 743850"/>
              <a:gd name="connsiteX838" fmla="*/ 89070 w 723909"/>
              <a:gd name="connsiteY838" fmla="*/ 618356 h 743850"/>
              <a:gd name="connsiteX839" fmla="*/ 84493 w 723909"/>
              <a:gd name="connsiteY839" fmla="*/ 613792 h 743850"/>
              <a:gd name="connsiteX840" fmla="*/ 82219 w 723909"/>
              <a:gd name="connsiteY840" fmla="*/ 611510 h 743850"/>
              <a:gd name="connsiteX841" fmla="*/ 84493 w 723909"/>
              <a:gd name="connsiteY841" fmla="*/ 609228 h 743850"/>
              <a:gd name="connsiteX842" fmla="*/ 82219 w 723909"/>
              <a:gd name="connsiteY842" fmla="*/ 606946 h 743850"/>
              <a:gd name="connsiteX843" fmla="*/ 79935 w 723909"/>
              <a:gd name="connsiteY843" fmla="*/ 602383 h 743850"/>
              <a:gd name="connsiteX844" fmla="*/ 79935 w 723909"/>
              <a:gd name="connsiteY844" fmla="*/ 600101 h 743850"/>
              <a:gd name="connsiteX845" fmla="*/ 77652 w 723909"/>
              <a:gd name="connsiteY845" fmla="*/ 600101 h 743850"/>
              <a:gd name="connsiteX846" fmla="*/ 77652 w 723909"/>
              <a:gd name="connsiteY846" fmla="*/ 597819 h 743850"/>
              <a:gd name="connsiteX847" fmla="*/ 73085 w 723909"/>
              <a:gd name="connsiteY847" fmla="*/ 597819 h 743850"/>
              <a:gd name="connsiteX848" fmla="*/ 70792 w 723909"/>
              <a:gd name="connsiteY848" fmla="*/ 595537 h 743850"/>
              <a:gd name="connsiteX849" fmla="*/ 66234 w 723909"/>
              <a:gd name="connsiteY849" fmla="*/ 595537 h 743850"/>
              <a:gd name="connsiteX850" fmla="*/ 66234 w 723909"/>
              <a:gd name="connsiteY850" fmla="*/ 597819 h 743850"/>
              <a:gd name="connsiteX851" fmla="*/ 68517 w 723909"/>
              <a:gd name="connsiteY851" fmla="*/ 597819 h 743850"/>
              <a:gd name="connsiteX852" fmla="*/ 66234 w 723909"/>
              <a:gd name="connsiteY852" fmla="*/ 600101 h 743850"/>
              <a:gd name="connsiteX853" fmla="*/ 66234 w 723909"/>
              <a:gd name="connsiteY853" fmla="*/ 602383 h 743850"/>
              <a:gd name="connsiteX854" fmla="*/ 63950 w 723909"/>
              <a:gd name="connsiteY854" fmla="*/ 604664 h 743850"/>
              <a:gd name="connsiteX855" fmla="*/ 66234 w 723909"/>
              <a:gd name="connsiteY855" fmla="*/ 606946 h 743850"/>
              <a:gd name="connsiteX856" fmla="*/ 68517 w 723909"/>
              <a:gd name="connsiteY856" fmla="*/ 613792 h 743850"/>
              <a:gd name="connsiteX857" fmla="*/ 61666 w 723909"/>
              <a:gd name="connsiteY857" fmla="*/ 613792 h 743850"/>
              <a:gd name="connsiteX858" fmla="*/ 57099 w 723909"/>
              <a:gd name="connsiteY858" fmla="*/ 616074 h 743850"/>
              <a:gd name="connsiteX859" fmla="*/ 54816 w 723909"/>
              <a:gd name="connsiteY859" fmla="*/ 616074 h 743850"/>
              <a:gd name="connsiteX860" fmla="*/ 52532 w 723909"/>
              <a:gd name="connsiteY860" fmla="*/ 616074 h 743850"/>
              <a:gd name="connsiteX861" fmla="*/ 50249 w 723909"/>
              <a:gd name="connsiteY861" fmla="*/ 616074 h 743850"/>
              <a:gd name="connsiteX862" fmla="*/ 47956 w 723909"/>
              <a:gd name="connsiteY862" fmla="*/ 616074 h 743850"/>
              <a:gd name="connsiteX863" fmla="*/ 47956 w 723909"/>
              <a:gd name="connsiteY863" fmla="*/ 618356 h 743850"/>
              <a:gd name="connsiteX864" fmla="*/ 45681 w 723909"/>
              <a:gd name="connsiteY864" fmla="*/ 618356 h 743850"/>
              <a:gd name="connsiteX865" fmla="*/ 43388 w 723909"/>
              <a:gd name="connsiteY865" fmla="*/ 618356 h 743850"/>
              <a:gd name="connsiteX866" fmla="*/ 45681 w 723909"/>
              <a:gd name="connsiteY866" fmla="*/ 618356 h 743850"/>
              <a:gd name="connsiteX867" fmla="*/ 45681 w 723909"/>
              <a:gd name="connsiteY867" fmla="*/ 620638 h 743850"/>
              <a:gd name="connsiteX868" fmla="*/ 43388 w 723909"/>
              <a:gd name="connsiteY868" fmla="*/ 620638 h 743850"/>
              <a:gd name="connsiteX869" fmla="*/ 41105 w 723909"/>
              <a:gd name="connsiteY869" fmla="*/ 620638 h 743850"/>
              <a:gd name="connsiteX870" fmla="*/ 38831 w 723909"/>
              <a:gd name="connsiteY870" fmla="*/ 620638 h 743850"/>
              <a:gd name="connsiteX871" fmla="*/ 36538 w 723909"/>
              <a:gd name="connsiteY871" fmla="*/ 620638 h 743850"/>
              <a:gd name="connsiteX872" fmla="*/ 34263 w 723909"/>
              <a:gd name="connsiteY872" fmla="*/ 620638 h 743850"/>
              <a:gd name="connsiteX873" fmla="*/ 34263 w 723909"/>
              <a:gd name="connsiteY873" fmla="*/ 622920 h 743850"/>
              <a:gd name="connsiteX874" fmla="*/ 31970 w 723909"/>
              <a:gd name="connsiteY874" fmla="*/ 622920 h 743850"/>
              <a:gd name="connsiteX875" fmla="*/ 29687 w 723909"/>
              <a:gd name="connsiteY875" fmla="*/ 620638 h 743850"/>
              <a:gd name="connsiteX876" fmla="*/ 29687 w 723909"/>
              <a:gd name="connsiteY876" fmla="*/ 618356 h 743850"/>
              <a:gd name="connsiteX877" fmla="*/ 29687 w 723909"/>
              <a:gd name="connsiteY877" fmla="*/ 616074 h 743850"/>
              <a:gd name="connsiteX878" fmla="*/ 29687 w 723909"/>
              <a:gd name="connsiteY878" fmla="*/ 609228 h 743850"/>
              <a:gd name="connsiteX879" fmla="*/ 29687 w 723909"/>
              <a:gd name="connsiteY879" fmla="*/ 606946 h 743850"/>
              <a:gd name="connsiteX880" fmla="*/ 27403 w 723909"/>
              <a:gd name="connsiteY880" fmla="*/ 606946 h 743850"/>
              <a:gd name="connsiteX881" fmla="*/ 29687 w 723909"/>
              <a:gd name="connsiteY881" fmla="*/ 604664 h 743850"/>
              <a:gd name="connsiteX882" fmla="*/ 27403 w 723909"/>
              <a:gd name="connsiteY882" fmla="*/ 600101 h 743850"/>
              <a:gd name="connsiteX883" fmla="*/ 27403 w 723909"/>
              <a:gd name="connsiteY883" fmla="*/ 597819 h 743850"/>
              <a:gd name="connsiteX884" fmla="*/ 27403 w 723909"/>
              <a:gd name="connsiteY884" fmla="*/ 595537 h 743850"/>
              <a:gd name="connsiteX885" fmla="*/ 15985 w 723909"/>
              <a:gd name="connsiteY885" fmla="*/ 597819 h 743850"/>
              <a:gd name="connsiteX886" fmla="*/ 13702 w 723909"/>
              <a:gd name="connsiteY886" fmla="*/ 597819 h 743850"/>
              <a:gd name="connsiteX887" fmla="*/ 9134 w 723909"/>
              <a:gd name="connsiteY887" fmla="*/ 597819 h 743850"/>
              <a:gd name="connsiteX888" fmla="*/ 9134 w 723909"/>
              <a:gd name="connsiteY888" fmla="*/ 595537 h 743850"/>
              <a:gd name="connsiteX889" fmla="*/ 9134 w 723909"/>
              <a:gd name="connsiteY889" fmla="*/ 593255 h 743850"/>
              <a:gd name="connsiteX890" fmla="*/ 9134 w 723909"/>
              <a:gd name="connsiteY890" fmla="*/ 590973 h 743850"/>
              <a:gd name="connsiteX891" fmla="*/ 9134 w 723909"/>
              <a:gd name="connsiteY891" fmla="*/ 588691 h 743850"/>
              <a:gd name="connsiteX892" fmla="*/ 6851 w 723909"/>
              <a:gd name="connsiteY892" fmla="*/ 586409 h 743850"/>
              <a:gd name="connsiteX893" fmla="*/ 4567 w 723909"/>
              <a:gd name="connsiteY893" fmla="*/ 586409 h 743850"/>
              <a:gd name="connsiteX894" fmla="*/ 4567 w 723909"/>
              <a:gd name="connsiteY894" fmla="*/ 588691 h 743850"/>
              <a:gd name="connsiteX895" fmla="*/ 4567 w 723909"/>
              <a:gd name="connsiteY895" fmla="*/ 586409 h 743850"/>
              <a:gd name="connsiteX896" fmla="*/ 2284 w 723909"/>
              <a:gd name="connsiteY896" fmla="*/ 584127 h 743850"/>
              <a:gd name="connsiteX897" fmla="*/ 2284 w 723909"/>
              <a:gd name="connsiteY897" fmla="*/ 581846 h 743850"/>
              <a:gd name="connsiteX898" fmla="*/ 2284 w 723909"/>
              <a:gd name="connsiteY898" fmla="*/ 579564 h 743850"/>
              <a:gd name="connsiteX899" fmla="*/ 0 w 723909"/>
              <a:gd name="connsiteY899" fmla="*/ 577282 h 743850"/>
              <a:gd name="connsiteX900" fmla="*/ 9134 w 723909"/>
              <a:gd name="connsiteY900" fmla="*/ 575000 h 743850"/>
              <a:gd name="connsiteX901" fmla="*/ 11418 w 723909"/>
              <a:gd name="connsiteY901" fmla="*/ 577282 h 743850"/>
              <a:gd name="connsiteX902" fmla="*/ 9134 w 723909"/>
              <a:gd name="connsiteY902" fmla="*/ 575000 h 743850"/>
              <a:gd name="connsiteX903" fmla="*/ 13702 w 723909"/>
              <a:gd name="connsiteY903" fmla="*/ 575000 h 743850"/>
              <a:gd name="connsiteX904" fmla="*/ 15985 w 723909"/>
              <a:gd name="connsiteY904" fmla="*/ 575000 h 743850"/>
              <a:gd name="connsiteX905" fmla="*/ 15985 w 723909"/>
              <a:gd name="connsiteY905" fmla="*/ 572718 h 743850"/>
              <a:gd name="connsiteX906" fmla="*/ 18269 w 723909"/>
              <a:gd name="connsiteY906" fmla="*/ 572718 h 743850"/>
              <a:gd name="connsiteX907" fmla="*/ 20552 w 723909"/>
              <a:gd name="connsiteY907" fmla="*/ 572718 h 743850"/>
              <a:gd name="connsiteX908" fmla="*/ 27403 w 723909"/>
              <a:gd name="connsiteY908" fmla="*/ 568164 h 743850"/>
              <a:gd name="connsiteX909" fmla="*/ 27403 w 723909"/>
              <a:gd name="connsiteY909" fmla="*/ 563600 h 743850"/>
              <a:gd name="connsiteX910" fmla="*/ 25119 w 723909"/>
              <a:gd name="connsiteY910" fmla="*/ 549908 h 743850"/>
              <a:gd name="connsiteX911" fmla="*/ 25119 w 723909"/>
              <a:gd name="connsiteY911" fmla="*/ 547627 h 743850"/>
              <a:gd name="connsiteX912" fmla="*/ 25119 w 723909"/>
              <a:gd name="connsiteY912" fmla="*/ 543063 h 743850"/>
              <a:gd name="connsiteX913" fmla="*/ 22836 w 723909"/>
              <a:gd name="connsiteY913" fmla="*/ 536217 h 743850"/>
              <a:gd name="connsiteX914" fmla="*/ 18269 w 723909"/>
              <a:gd name="connsiteY914" fmla="*/ 531653 h 743850"/>
              <a:gd name="connsiteX915" fmla="*/ 11418 w 723909"/>
              <a:gd name="connsiteY915" fmla="*/ 515680 h 743850"/>
              <a:gd name="connsiteX916" fmla="*/ 18269 w 723909"/>
              <a:gd name="connsiteY916" fmla="*/ 511116 h 743850"/>
              <a:gd name="connsiteX917" fmla="*/ 20552 w 723909"/>
              <a:gd name="connsiteY917" fmla="*/ 508834 h 743850"/>
              <a:gd name="connsiteX918" fmla="*/ 22836 w 723909"/>
              <a:gd name="connsiteY918" fmla="*/ 506552 h 743850"/>
              <a:gd name="connsiteX919" fmla="*/ 25119 w 723909"/>
              <a:gd name="connsiteY919" fmla="*/ 504271 h 743850"/>
              <a:gd name="connsiteX920" fmla="*/ 27403 w 723909"/>
              <a:gd name="connsiteY920" fmla="*/ 501989 h 743850"/>
              <a:gd name="connsiteX921" fmla="*/ 29687 w 723909"/>
              <a:gd name="connsiteY921" fmla="*/ 499707 h 743850"/>
              <a:gd name="connsiteX922" fmla="*/ 36538 w 723909"/>
              <a:gd name="connsiteY922" fmla="*/ 495143 h 743850"/>
              <a:gd name="connsiteX923" fmla="*/ 38831 w 723909"/>
              <a:gd name="connsiteY923" fmla="*/ 495143 h 743850"/>
              <a:gd name="connsiteX924" fmla="*/ 41105 w 723909"/>
              <a:gd name="connsiteY924" fmla="*/ 492861 h 743850"/>
              <a:gd name="connsiteX925" fmla="*/ 43388 w 723909"/>
              <a:gd name="connsiteY925" fmla="*/ 490579 h 743850"/>
              <a:gd name="connsiteX926" fmla="*/ 45681 w 723909"/>
              <a:gd name="connsiteY926" fmla="*/ 490579 h 743850"/>
              <a:gd name="connsiteX927" fmla="*/ 47956 w 723909"/>
              <a:gd name="connsiteY927" fmla="*/ 490579 h 743850"/>
              <a:gd name="connsiteX928" fmla="*/ 47956 w 723909"/>
              <a:gd name="connsiteY928" fmla="*/ 488297 h 743850"/>
              <a:gd name="connsiteX929" fmla="*/ 50249 w 723909"/>
              <a:gd name="connsiteY929" fmla="*/ 488297 h 743850"/>
              <a:gd name="connsiteX930" fmla="*/ 52532 w 723909"/>
              <a:gd name="connsiteY930" fmla="*/ 486015 h 743850"/>
              <a:gd name="connsiteX931" fmla="*/ 54816 w 723909"/>
              <a:gd name="connsiteY931" fmla="*/ 486015 h 743850"/>
              <a:gd name="connsiteX932" fmla="*/ 57099 w 723909"/>
              <a:gd name="connsiteY932" fmla="*/ 483734 h 743850"/>
              <a:gd name="connsiteX933" fmla="*/ 59383 w 723909"/>
              <a:gd name="connsiteY933" fmla="*/ 481452 h 743850"/>
              <a:gd name="connsiteX934" fmla="*/ 61666 w 723909"/>
              <a:gd name="connsiteY934" fmla="*/ 479170 h 743850"/>
              <a:gd name="connsiteX935" fmla="*/ 63950 w 723909"/>
              <a:gd name="connsiteY935" fmla="*/ 479170 h 743850"/>
              <a:gd name="connsiteX936" fmla="*/ 63950 w 723909"/>
              <a:gd name="connsiteY936" fmla="*/ 476888 h 743850"/>
              <a:gd name="connsiteX937" fmla="*/ 63950 w 723909"/>
              <a:gd name="connsiteY937" fmla="*/ 474606 h 743850"/>
              <a:gd name="connsiteX938" fmla="*/ 63950 w 723909"/>
              <a:gd name="connsiteY938" fmla="*/ 472324 h 743850"/>
              <a:gd name="connsiteX939" fmla="*/ 61666 w 723909"/>
              <a:gd name="connsiteY939" fmla="*/ 470042 h 743850"/>
              <a:gd name="connsiteX940" fmla="*/ 61666 w 723909"/>
              <a:gd name="connsiteY940" fmla="*/ 467760 h 743850"/>
              <a:gd name="connsiteX941" fmla="*/ 61666 w 723909"/>
              <a:gd name="connsiteY941" fmla="*/ 465478 h 743850"/>
              <a:gd name="connsiteX942" fmla="*/ 59383 w 723909"/>
              <a:gd name="connsiteY942" fmla="*/ 465478 h 743850"/>
              <a:gd name="connsiteX943" fmla="*/ 59383 w 723909"/>
              <a:gd name="connsiteY943" fmla="*/ 460915 h 743850"/>
              <a:gd name="connsiteX944" fmla="*/ 57099 w 723909"/>
              <a:gd name="connsiteY944" fmla="*/ 458633 h 743850"/>
              <a:gd name="connsiteX945" fmla="*/ 57099 w 723909"/>
              <a:gd name="connsiteY945" fmla="*/ 454069 h 743850"/>
              <a:gd name="connsiteX946" fmla="*/ 54816 w 723909"/>
              <a:gd name="connsiteY946" fmla="*/ 444941 h 743850"/>
              <a:gd name="connsiteX947" fmla="*/ 52532 w 723909"/>
              <a:gd name="connsiteY947" fmla="*/ 435814 h 743850"/>
              <a:gd name="connsiteX948" fmla="*/ 50249 w 723909"/>
              <a:gd name="connsiteY948" fmla="*/ 422122 h 743850"/>
              <a:gd name="connsiteX949" fmla="*/ 54816 w 723909"/>
              <a:gd name="connsiteY949" fmla="*/ 422122 h 743850"/>
              <a:gd name="connsiteX950" fmla="*/ 57099 w 723909"/>
              <a:gd name="connsiteY950" fmla="*/ 422122 h 743850"/>
              <a:gd name="connsiteX951" fmla="*/ 59383 w 723909"/>
              <a:gd name="connsiteY951" fmla="*/ 422122 h 743850"/>
              <a:gd name="connsiteX952" fmla="*/ 61666 w 723909"/>
              <a:gd name="connsiteY952" fmla="*/ 422122 h 743850"/>
              <a:gd name="connsiteX953" fmla="*/ 63950 w 723909"/>
              <a:gd name="connsiteY953" fmla="*/ 422122 h 743850"/>
              <a:gd name="connsiteX954" fmla="*/ 63950 w 723909"/>
              <a:gd name="connsiteY954" fmla="*/ 424404 h 743850"/>
              <a:gd name="connsiteX955" fmla="*/ 66234 w 723909"/>
              <a:gd name="connsiteY955" fmla="*/ 424404 h 743850"/>
              <a:gd name="connsiteX956" fmla="*/ 68517 w 723909"/>
              <a:gd name="connsiteY956" fmla="*/ 424404 h 743850"/>
              <a:gd name="connsiteX957" fmla="*/ 70792 w 723909"/>
              <a:gd name="connsiteY957" fmla="*/ 424404 h 743850"/>
              <a:gd name="connsiteX958" fmla="*/ 73085 w 723909"/>
              <a:gd name="connsiteY958" fmla="*/ 424404 h 743850"/>
              <a:gd name="connsiteX959" fmla="*/ 75368 w 723909"/>
              <a:gd name="connsiteY959" fmla="*/ 424404 h 743850"/>
              <a:gd name="connsiteX960" fmla="*/ 75368 w 723909"/>
              <a:gd name="connsiteY960" fmla="*/ 422122 h 743850"/>
              <a:gd name="connsiteX961" fmla="*/ 75368 w 723909"/>
              <a:gd name="connsiteY961" fmla="*/ 419840 h 743850"/>
              <a:gd name="connsiteX962" fmla="*/ 75368 w 723909"/>
              <a:gd name="connsiteY962" fmla="*/ 417559 h 743850"/>
              <a:gd name="connsiteX963" fmla="*/ 75368 w 723909"/>
              <a:gd name="connsiteY963" fmla="*/ 415277 h 743850"/>
              <a:gd name="connsiteX964" fmla="*/ 75368 w 723909"/>
              <a:gd name="connsiteY964" fmla="*/ 412995 h 743850"/>
              <a:gd name="connsiteX965" fmla="*/ 75368 w 723909"/>
              <a:gd name="connsiteY965" fmla="*/ 410713 h 743850"/>
              <a:gd name="connsiteX966" fmla="*/ 75368 w 723909"/>
              <a:gd name="connsiteY966" fmla="*/ 408440 h 743850"/>
              <a:gd name="connsiteX967" fmla="*/ 82219 w 723909"/>
              <a:gd name="connsiteY967" fmla="*/ 408440 h 743850"/>
              <a:gd name="connsiteX968" fmla="*/ 86786 w 723909"/>
              <a:gd name="connsiteY968" fmla="*/ 410713 h 743850"/>
              <a:gd name="connsiteX969" fmla="*/ 89070 w 723909"/>
              <a:gd name="connsiteY969" fmla="*/ 410713 h 743850"/>
              <a:gd name="connsiteX970" fmla="*/ 91353 w 723909"/>
              <a:gd name="connsiteY970" fmla="*/ 410713 h 743850"/>
              <a:gd name="connsiteX971" fmla="*/ 98204 w 723909"/>
              <a:gd name="connsiteY971" fmla="*/ 410713 h 743850"/>
              <a:gd name="connsiteX972" fmla="*/ 98204 w 723909"/>
              <a:gd name="connsiteY972" fmla="*/ 408440 h 743850"/>
              <a:gd name="connsiteX973" fmla="*/ 98204 w 723909"/>
              <a:gd name="connsiteY973" fmla="*/ 406158 h 743850"/>
              <a:gd name="connsiteX974" fmla="*/ 98204 w 723909"/>
              <a:gd name="connsiteY974" fmla="*/ 403877 h 743850"/>
              <a:gd name="connsiteX975" fmla="*/ 98204 w 723909"/>
              <a:gd name="connsiteY975" fmla="*/ 399313 h 743850"/>
              <a:gd name="connsiteX976" fmla="*/ 100488 w 723909"/>
              <a:gd name="connsiteY976" fmla="*/ 399313 h 743850"/>
              <a:gd name="connsiteX977" fmla="*/ 100488 w 723909"/>
              <a:gd name="connsiteY977" fmla="*/ 397031 h 743850"/>
              <a:gd name="connsiteX978" fmla="*/ 100488 w 723909"/>
              <a:gd name="connsiteY978" fmla="*/ 394749 h 743850"/>
              <a:gd name="connsiteX979" fmla="*/ 100488 w 723909"/>
              <a:gd name="connsiteY979" fmla="*/ 392467 h 743850"/>
              <a:gd name="connsiteX980" fmla="*/ 100488 w 723909"/>
              <a:gd name="connsiteY980" fmla="*/ 390185 h 743850"/>
              <a:gd name="connsiteX981" fmla="*/ 100488 w 723909"/>
              <a:gd name="connsiteY981" fmla="*/ 387903 h 743850"/>
              <a:gd name="connsiteX982" fmla="*/ 102771 w 723909"/>
              <a:gd name="connsiteY982" fmla="*/ 387903 h 743850"/>
              <a:gd name="connsiteX983" fmla="*/ 102771 w 723909"/>
              <a:gd name="connsiteY983" fmla="*/ 385622 h 743850"/>
              <a:gd name="connsiteX984" fmla="*/ 102771 w 723909"/>
              <a:gd name="connsiteY984" fmla="*/ 383340 h 743850"/>
              <a:gd name="connsiteX985" fmla="*/ 102771 w 723909"/>
              <a:gd name="connsiteY985" fmla="*/ 381058 h 743850"/>
              <a:gd name="connsiteX986" fmla="*/ 102771 w 723909"/>
              <a:gd name="connsiteY986" fmla="*/ 378776 h 743850"/>
              <a:gd name="connsiteX987" fmla="*/ 102771 w 723909"/>
              <a:gd name="connsiteY987" fmla="*/ 376494 h 743850"/>
              <a:gd name="connsiteX988" fmla="*/ 102771 w 723909"/>
              <a:gd name="connsiteY988" fmla="*/ 374212 h 743850"/>
              <a:gd name="connsiteX989" fmla="*/ 102771 w 723909"/>
              <a:gd name="connsiteY989" fmla="*/ 371930 h 743850"/>
              <a:gd name="connsiteX990" fmla="*/ 105055 w 723909"/>
              <a:gd name="connsiteY990" fmla="*/ 371930 h 743850"/>
              <a:gd name="connsiteX991" fmla="*/ 105055 w 723909"/>
              <a:gd name="connsiteY991" fmla="*/ 367366 h 743850"/>
              <a:gd name="connsiteX992" fmla="*/ 107339 w 723909"/>
              <a:gd name="connsiteY992" fmla="*/ 367366 h 743850"/>
              <a:gd name="connsiteX993" fmla="*/ 109622 w 723909"/>
              <a:gd name="connsiteY993" fmla="*/ 369648 h 743850"/>
              <a:gd name="connsiteX994" fmla="*/ 109622 w 723909"/>
              <a:gd name="connsiteY994" fmla="*/ 365084 h 743850"/>
              <a:gd name="connsiteX995" fmla="*/ 109622 w 723909"/>
              <a:gd name="connsiteY995" fmla="*/ 362802 h 743850"/>
              <a:gd name="connsiteX996" fmla="*/ 109622 w 723909"/>
              <a:gd name="connsiteY996" fmla="*/ 360521 h 743850"/>
              <a:gd name="connsiteX997" fmla="*/ 111906 w 723909"/>
              <a:gd name="connsiteY997" fmla="*/ 353675 h 743850"/>
              <a:gd name="connsiteX998" fmla="*/ 111906 w 723909"/>
              <a:gd name="connsiteY998" fmla="*/ 351393 h 743850"/>
              <a:gd name="connsiteX999" fmla="*/ 111906 w 723909"/>
              <a:gd name="connsiteY999" fmla="*/ 349111 h 743850"/>
              <a:gd name="connsiteX1000" fmla="*/ 111906 w 723909"/>
              <a:gd name="connsiteY1000" fmla="*/ 346829 h 743850"/>
              <a:gd name="connsiteX1001" fmla="*/ 111906 w 723909"/>
              <a:gd name="connsiteY1001" fmla="*/ 344547 h 743850"/>
              <a:gd name="connsiteX1002" fmla="*/ 111906 w 723909"/>
              <a:gd name="connsiteY1002" fmla="*/ 342265 h 743850"/>
              <a:gd name="connsiteX1003" fmla="*/ 111906 w 723909"/>
              <a:gd name="connsiteY1003" fmla="*/ 339984 h 743850"/>
              <a:gd name="connsiteX1004" fmla="*/ 111906 w 723909"/>
              <a:gd name="connsiteY1004" fmla="*/ 330856 h 743850"/>
              <a:gd name="connsiteX1005" fmla="*/ 109622 w 723909"/>
              <a:gd name="connsiteY1005" fmla="*/ 328574 h 743850"/>
              <a:gd name="connsiteX1006" fmla="*/ 111906 w 723909"/>
              <a:gd name="connsiteY1006" fmla="*/ 328574 h 743850"/>
              <a:gd name="connsiteX1007" fmla="*/ 114189 w 723909"/>
              <a:gd name="connsiteY1007" fmla="*/ 328574 h 743850"/>
              <a:gd name="connsiteX1008" fmla="*/ 114189 w 723909"/>
              <a:gd name="connsiteY1008" fmla="*/ 326292 h 743850"/>
              <a:gd name="connsiteX1009" fmla="*/ 114189 w 723909"/>
              <a:gd name="connsiteY1009" fmla="*/ 324010 h 743850"/>
              <a:gd name="connsiteX1010" fmla="*/ 111906 w 723909"/>
              <a:gd name="connsiteY1010" fmla="*/ 321728 h 743850"/>
              <a:gd name="connsiteX1011" fmla="*/ 111906 w 723909"/>
              <a:gd name="connsiteY1011" fmla="*/ 319446 h 743850"/>
              <a:gd name="connsiteX1012" fmla="*/ 111906 w 723909"/>
              <a:gd name="connsiteY1012" fmla="*/ 317165 h 743850"/>
              <a:gd name="connsiteX1013" fmla="*/ 114189 w 723909"/>
              <a:gd name="connsiteY1013" fmla="*/ 317165 h 743850"/>
              <a:gd name="connsiteX1014" fmla="*/ 116473 w 723909"/>
              <a:gd name="connsiteY1014" fmla="*/ 314883 h 743850"/>
              <a:gd name="connsiteX1015" fmla="*/ 116473 w 723909"/>
              <a:gd name="connsiteY1015" fmla="*/ 312601 h 743850"/>
              <a:gd name="connsiteX1016" fmla="*/ 114189 w 723909"/>
              <a:gd name="connsiteY1016" fmla="*/ 308037 h 743850"/>
              <a:gd name="connsiteX1017" fmla="*/ 116473 w 723909"/>
              <a:gd name="connsiteY1017" fmla="*/ 308037 h 743850"/>
              <a:gd name="connsiteX1018" fmla="*/ 118756 w 723909"/>
              <a:gd name="connsiteY1018" fmla="*/ 305755 h 743850"/>
              <a:gd name="connsiteX1019" fmla="*/ 123324 w 723909"/>
              <a:gd name="connsiteY1019" fmla="*/ 305755 h 743850"/>
              <a:gd name="connsiteX1020" fmla="*/ 125607 w 723909"/>
              <a:gd name="connsiteY1020" fmla="*/ 305755 h 743850"/>
              <a:gd name="connsiteX1021" fmla="*/ 127891 w 723909"/>
              <a:gd name="connsiteY1021" fmla="*/ 303473 h 743850"/>
              <a:gd name="connsiteX1022" fmla="*/ 127891 w 723909"/>
              <a:gd name="connsiteY1022" fmla="*/ 305755 h 743850"/>
              <a:gd name="connsiteX1023" fmla="*/ 130175 w 723909"/>
              <a:gd name="connsiteY1023" fmla="*/ 305755 h 743850"/>
              <a:gd name="connsiteX1024" fmla="*/ 132458 w 723909"/>
              <a:gd name="connsiteY1024" fmla="*/ 305755 h 743850"/>
              <a:gd name="connsiteX1025" fmla="*/ 139309 w 723909"/>
              <a:gd name="connsiteY1025" fmla="*/ 301191 h 743850"/>
              <a:gd name="connsiteX1026" fmla="*/ 141593 w 723909"/>
              <a:gd name="connsiteY1026" fmla="*/ 301191 h 743850"/>
              <a:gd name="connsiteX1027" fmla="*/ 143876 w 723909"/>
              <a:gd name="connsiteY1027" fmla="*/ 301191 h 743850"/>
              <a:gd name="connsiteX1028" fmla="*/ 146160 w 723909"/>
              <a:gd name="connsiteY1028" fmla="*/ 301191 h 743850"/>
              <a:gd name="connsiteX1029" fmla="*/ 146160 w 723909"/>
              <a:gd name="connsiteY1029" fmla="*/ 298909 h 743850"/>
              <a:gd name="connsiteX1030" fmla="*/ 148443 w 723909"/>
              <a:gd name="connsiteY1030" fmla="*/ 298909 h 743850"/>
              <a:gd name="connsiteX1031" fmla="*/ 150727 w 723909"/>
              <a:gd name="connsiteY1031" fmla="*/ 296628 h 743850"/>
              <a:gd name="connsiteX1032" fmla="*/ 153010 w 723909"/>
              <a:gd name="connsiteY1032" fmla="*/ 296628 h 743850"/>
              <a:gd name="connsiteX1033" fmla="*/ 155294 w 723909"/>
              <a:gd name="connsiteY1033" fmla="*/ 294346 h 743850"/>
              <a:gd name="connsiteX1034" fmla="*/ 157578 w 723909"/>
              <a:gd name="connsiteY1034" fmla="*/ 294346 h 743850"/>
              <a:gd name="connsiteX1035" fmla="*/ 157578 w 723909"/>
              <a:gd name="connsiteY1035" fmla="*/ 292064 h 743850"/>
              <a:gd name="connsiteX1036" fmla="*/ 159861 w 723909"/>
              <a:gd name="connsiteY1036" fmla="*/ 292064 h 743850"/>
              <a:gd name="connsiteX1037" fmla="*/ 162145 w 723909"/>
              <a:gd name="connsiteY1037" fmla="*/ 289782 h 743850"/>
              <a:gd name="connsiteX1038" fmla="*/ 164429 w 723909"/>
              <a:gd name="connsiteY1038" fmla="*/ 289782 h 743850"/>
              <a:gd name="connsiteX1039" fmla="*/ 164429 w 723909"/>
              <a:gd name="connsiteY1039" fmla="*/ 287500 h 743850"/>
              <a:gd name="connsiteX1040" fmla="*/ 164429 w 723909"/>
              <a:gd name="connsiteY1040" fmla="*/ 285218 h 743850"/>
              <a:gd name="connsiteX1041" fmla="*/ 166712 w 723909"/>
              <a:gd name="connsiteY1041" fmla="*/ 282936 h 743850"/>
              <a:gd name="connsiteX1042" fmla="*/ 168996 w 723909"/>
              <a:gd name="connsiteY1042" fmla="*/ 282936 h 743850"/>
              <a:gd name="connsiteX1043" fmla="*/ 171279 w 723909"/>
              <a:gd name="connsiteY1043" fmla="*/ 280654 h 743850"/>
              <a:gd name="connsiteX1044" fmla="*/ 173563 w 723909"/>
              <a:gd name="connsiteY1044" fmla="*/ 280654 h 743850"/>
              <a:gd name="connsiteX1045" fmla="*/ 175846 w 723909"/>
              <a:gd name="connsiteY1045" fmla="*/ 280654 h 743850"/>
              <a:gd name="connsiteX1046" fmla="*/ 178130 w 723909"/>
              <a:gd name="connsiteY1046" fmla="*/ 278372 h 743850"/>
              <a:gd name="connsiteX1047" fmla="*/ 180414 w 723909"/>
              <a:gd name="connsiteY1047" fmla="*/ 278372 h 743850"/>
              <a:gd name="connsiteX1048" fmla="*/ 182697 w 723909"/>
              <a:gd name="connsiteY1048" fmla="*/ 285218 h 743850"/>
              <a:gd name="connsiteX1049" fmla="*/ 180414 w 723909"/>
              <a:gd name="connsiteY1049" fmla="*/ 285218 h 743850"/>
              <a:gd name="connsiteX1050" fmla="*/ 182697 w 723909"/>
              <a:gd name="connsiteY1050" fmla="*/ 287500 h 743850"/>
              <a:gd name="connsiteX1051" fmla="*/ 182697 w 723909"/>
              <a:gd name="connsiteY1051" fmla="*/ 292064 h 743850"/>
              <a:gd name="connsiteX1052" fmla="*/ 182697 w 723909"/>
              <a:gd name="connsiteY1052" fmla="*/ 294346 h 743850"/>
              <a:gd name="connsiteX1053" fmla="*/ 182697 w 723909"/>
              <a:gd name="connsiteY1053" fmla="*/ 296628 h 743850"/>
              <a:gd name="connsiteX1054" fmla="*/ 184981 w 723909"/>
              <a:gd name="connsiteY1054" fmla="*/ 296628 h 743850"/>
              <a:gd name="connsiteX1055" fmla="*/ 184981 w 723909"/>
              <a:gd name="connsiteY1055" fmla="*/ 298909 h 743850"/>
              <a:gd name="connsiteX1056" fmla="*/ 182697 w 723909"/>
              <a:gd name="connsiteY1056" fmla="*/ 298909 h 743850"/>
              <a:gd name="connsiteX1057" fmla="*/ 184981 w 723909"/>
              <a:gd name="connsiteY1057" fmla="*/ 298909 h 743850"/>
              <a:gd name="connsiteX1058" fmla="*/ 187264 w 723909"/>
              <a:gd name="connsiteY1058" fmla="*/ 298909 h 743850"/>
              <a:gd name="connsiteX1059" fmla="*/ 187264 w 723909"/>
              <a:gd name="connsiteY1059" fmla="*/ 296628 h 743850"/>
              <a:gd name="connsiteX1060" fmla="*/ 189548 w 723909"/>
              <a:gd name="connsiteY1060" fmla="*/ 296628 h 743850"/>
              <a:gd name="connsiteX1061" fmla="*/ 189548 w 723909"/>
              <a:gd name="connsiteY1061" fmla="*/ 298909 h 743850"/>
              <a:gd name="connsiteX1062" fmla="*/ 191832 w 723909"/>
              <a:gd name="connsiteY1062" fmla="*/ 303473 h 743850"/>
              <a:gd name="connsiteX1063" fmla="*/ 194115 w 723909"/>
              <a:gd name="connsiteY1063" fmla="*/ 305755 h 743850"/>
              <a:gd name="connsiteX1064" fmla="*/ 194115 w 723909"/>
              <a:gd name="connsiteY1064" fmla="*/ 308037 h 743850"/>
              <a:gd name="connsiteX1065" fmla="*/ 196399 w 723909"/>
              <a:gd name="connsiteY1065" fmla="*/ 310319 h 743850"/>
              <a:gd name="connsiteX1066" fmla="*/ 198683 w 723909"/>
              <a:gd name="connsiteY1066" fmla="*/ 310319 h 743850"/>
              <a:gd name="connsiteX1067" fmla="*/ 200966 w 723909"/>
              <a:gd name="connsiteY1067" fmla="*/ 308037 h 743850"/>
              <a:gd name="connsiteX1068" fmla="*/ 203250 w 723909"/>
              <a:gd name="connsiteY1068" fmla="*/ 308037 h 743850"/>
              <a:gd name="connsiteX1069" fmla="*/ 205533 w 723909"/>
              <a:gd name="connsiteY1069" fmla="*/ 308037 h 743850"/>
              <a:gd name="connsiteX1070" fmla="*/ 205533 w 723909"/>
              <a:gd name="connsiteY1070" fmla="*/ 305755 h 743850"/>
              <a:gd name="connsiteX1071" fmla="*/ 207817 w 723909"/>
              <a:gd name="connsiteY1071" fmla="*/ 305755 h 743850"/>
              <a:gd name="connsiteX1072" fmla="*/ 210100 w 723909"/>
              <a:gd name="connsiteY1072" fmla="*/ 305755 h 743850"/>
              <a:gd name="connsiteX1073" fmla="*/ 212384 w 723909"/>
              <a:gd name="connsiteY1073" fmla="*/ 303473 h 743850"/>
              <a:gd name="connsiteX1074" fmla="*/ 214668 w 723909"/>
              <a:gd name="connsiteY1074" fmla="*/ 303473 h 743850"/>
              <a:gd name="connsiteX1075" fmla="*/ 216951 w 723909"/>
              <a:gd name="connsiteY1075" fmla="*/ 301191 h 743850"/>
              <a:gd name="connsiteX1076" fmla="*/ 219235 w 723909"/>
              <a:gd name="connsiteY1076" fmla="*/ 301191 h 743850"/>
              <a:gd name="connsiteX1077" fmla="*/ 219235 w 723909"/>
              <a:gd name="connsiteY1077" fmla="*/ 305755 h 743850"/>
              <a:gd name="connsiteX1078" fmla="*/ 219235 w 723909"/>
              <a:gd name="connsiteY1078" fmla="*/ 314883 h 743850"/>
              <a:gd name="connsiteX1079" fmla="*/ 219235 w 723909"/>
              <a:gd name="connsiteY1079" fmla="*/ 319446 h 743850"/>
              <a:gd name="connsiteX1080" fmla="*/ 223802 w 723909"/>
              <a:gd name="connsiteY1080" fmla="*/ 317165 h 743850"/>
              <a:gd name="connsiteX1081" fmla="*/ 232936 w 723909"/>
              <a:gd name="connsiteY1081" fmla="*/ 312601 h 743850"/>
              <a:gd name="connsiteX1082" fmla="*/ 235220 w 723909"/>
              <a:gd name="connsiteY1082" fmla="*/ 310319 h 743850"/>
              <a:gd name="connsiteX1083" fmla="*/ 242071 w 723909"/>
              <a:gd name="connsiteY1083" fmla="*/ 308037 h 743850"/>
              <a:gd name="connsiteX1084" fmla="*/ 251205 w 723909"/>
              <a:gd name="connsiteY1084" fmla="*/ 305755 h 743850"/>
              <a:gd name="connsiteX1085" fmla="*/ 255772 w 723909"/>
              <a:gd name="connsiteY1085" fmla="*/ 301191 h 743850"/>
              <a:gd name="connsiteX1086" fmla="*/ 258056 w 723909"/>
              <a:gd name="connsiteY1086" fmla="*/ 298909 h 743850"/>
              <a:gd name="connsiteX1087" fmla="*/ 258056 w 723909"/>
              <a:gd name="connsiteY1087" fmla="*/ 296628 h 743850"/>
              <a:gd name="connsiteX1088" fmla="*/ 260339 w 723909"/>
              <a:gd name="connsiteY1088" fmla="*/ 292064 h 743850"/>
              <a:gd name="connsiteX1089" fmla="*/ 260339 w 723909"/>
              <a:gd name="connsiteY1089" fmla="*/ 289782 h 743850"/>
              <a:gd name="connsiteX1090" fmla="*/ 260339 w 723909"/>
              <a:gd name="connsiteY1090" fmla="*/ 287500 h 743850"/>
              <a:gd name="connsiteX1091" fmla="*/ 264907 w 723909"/>
              <a:gd name="connsiteY1091" fmla="*/ 287500 h 743850"/>
              <a:gd name="connsiteX1092" fmla="*/ 264907 w 723909"/>
              <a:gd name="connsiteY1092" fmla="*/ 289782 h 743850"/>
              <a:gd name="connsiteX1093" fmla="*/ 267190 w 723909"/>
              <a:gd name="connsiteY1093" fmla="*/ 289782 h 743850"/>
              <a:gd name="connsiteX1094" fmla="*/ 271758 w 723909"/>
              <a:gd name="connsiteY1094" fmla="*/ 289782 h 743850"/>
              <a:gd name="connsiteX1095" fmla="*/ 274041 w 723909"/>
              <a:gd name="connsiteY1095" fmla="*/ 289782 h 743850"/>
              <a:gd name="connsiteX1096" fmla="*/ 274041 w 723909"/>
              <a:gd name="connsiteY1096" fmla="*/ 292064 h 743850"/>
              <a:gd name="connsiteX1097" fmla="*/ 271758 w 723909"/>
              <a:gd name="connsiteY1097" fmla="*/ 294346 h 743850"/>
              <a:gd name="connsiteX1098" fmla="*/ 271758 w 723909"/>
              <a:gd name="connsiteY1098" fmla="*/ 296628 h 743850"/>
              <a:gd name="connsiteX1099" fmla="*/ 269474 w 723909"/>
              <a:gd name="connsiteY1099" fmla="*/ 298909 h 743850"/>
              <a:gd name="connsiteX1100" fmla="*/ 271758 w 723909"/>
              <a:gd name="connsiteY1100" fmla="*/ 301191 h 743850"/>
              <a:gd name="connsiteX1101" fmla="*/ 271758 w 723909"/>
              <a:gd name="connsiteY1101" fmla="*/ 303473 h 743850"/>
              <a:gd name="connsiteX1102" fmla="*/ 269474 w 723909"/>
              <a:gd name="connsiteY1102" fmla="*/ 303473 h 743850"/>
              <a:gd name="connsiteX1103" fmla="*/ 269474 w 723909"/>
              <a:gd name="connsiteY1103" fmla="*/ 305755 h 743850"/>
              <a:gd name="connsiteX1104" fmla="*/ 271758 w 723909"/>
              <a:gd name="connsiteY1104" fmla="*/ 305755 h 743850"/>
              <a:gd name="connsiteX1105" fmla="*/ 274041 w 723909"/>
              <a:gd name="connsiteY1105" fmla="*/ 305755 h 743850"/>
              <a:gd name="connsiteX1106" fmla="*/ 276325 w 723909"/>
              <a:gd name="connsiteY1106" fmla="*/ 305755 h 743850"/>
              <a:gd name="connsiteX1107" fmla="*/ 276325 w 723909"/>
              <a:gd name="connsiteY1107" fmla="*/ 303473 h 743850"/>
              <a:gd name="connsiteX1108" fmla="*/ 276325 w 723909"/>
              <a:gd name="connsiteY1108" fmla="*/ 301191 h 743850"/>
              <a:gd name="connsiteX1109" fmla="*/ 276325 w 723909"/>
              <a:gd name="connsiteY1109" fmla="*/ 298909 h 743850"/>
              <a:gd name="connsiteX1110" fmla="*/ 276325 w 723909"/>
              <a:gd name="connsiteY1110" fmla="*/ 296628 h 743850"/>
              <a:gd name="connsiteX1111" fmla="*/ 292310 w 723909"/>
              <a:gd name="connsiteY1111" fmla="*/ 296628 h 743850"/>
              <a:gd name="connsiteX1112" fmla="*/ 290026 w 723909"/>
              <a:gd name="connsiteY1112" fmla="*/ 294346 h 743850"/>
              <a:gd name="connsiteX1113" fmla="*/ 287743 w 723909"/>
              <a:gd name="connsiteY1113" fmla="*/ 292064 h 743850"/>
              <a:gd name="connsiteX1114" fmla="*/ 285459 w 723909"/>
              <a:gd name="connsiteY1114" fmla="*/ 289782 h 743850"/>
              <a:gd name="connsiteX1115" fmla="*/ 292310 w 723909"/>
              <a:gd name="connsiteY1115" fmla="*/ 289782 h 743850"/>
              <a:gd name="connsiteX1116" fmla="*/ 294593 w 723909"/>
              <a:gd name="connsiteY1116" fmla="*/ 287500 h 743850"/>
              <a:gd name="connsiteX1117" fmla="*/ 296877 w 723909"/>
              <a:gd name="connsiteY1117" fmla="*/ 287500 h 743850"/>
              <a:gd name="connsiteX1118" fmla="*/ 299161 w 723909"/>
              <a:gd name="connsiteY1118" fmla="*/ 287500 h 743850"/>
              <a:gd name="connsiteX1119" fmla="*/ 299161 w 723909"/>
              <a:gd name="connsiteY1119" fmla="*/ 280654 h 743850"/>
              <a:gd name="connsiteX1120" fmla="*/ 301444 w 723909"/>
              <a:gd name="connsiteY1120" fmla="*/ 280654 h 743850"/>
              <a:gd name="connsiteX1121" fmla="*/ 299161 w 723909"/>
              <a:gd name="connsiteY1121" fmla="*/ 278372 h 743850"/>
              <a:gd name="connsiteX1122" fmla="*/ 301444 w 723909"/>
              <a:gd name="connsiteY1122" fmla="*/ 276090 h 743850"/>
              <a:gd name="connsiteX1123" fmla="*/ 299161 w 723909"/>
              <a:gd name="connsiteY1123" fmla="*/ 276090 h 743850"/>
              <a:gd name="connsiteX1124" fmla="*/ 296877 w 723909"/>
              <a:gd name="connsiteY1124" fmla="*/ 276090 h 743850"/>
              <a:gd name="connsiteX1125" fmla="*/ 296877 w 723909"/>
              <a:gd name="connsiteY1125" fmla="*/ 273809 h 743850"/>
              <a:gd name="connsiteX1126" fmla="*/ 296877 w 723909"/>
              <a:gd name="connsiteY1126" fmla="*/ 271527 h 743850"/>
              <a:gd name="connsiteX1127" fmla="*/ 296877 w 723909"/>
              <a:gd name="connsiteY1127" fmla="*/ 269245 h 743850"/>
              <a:gd name="connsiteX1128" fmla="*/ 294593 w 723909"/>
              <a:gd name="connsiteY1128" fmla="*/ 266963 h 743850"/>
              <a:gd name="connsiteX1129" fmla="*/ 294593 w 723909"/>
              <a:gd name="connsiteY1129" fmla="*/ 264681 h 743850"/>
              <a:gd name="connsiteX1130" fmla="*/ 296877 w 723909"/>
              <a:gd name="connsiteY1130" fmla="*/ 264681 h 743850"/>
              <a:gd name="connsiteX1131" fmla="*/ 296877 w 723909"/>
              <a:gd name="connsiteY1131" fmla="*/ 262399 h 743850"/>
              <a:gd name="connsiteX1132" fmla="*/ 299161 w 723909"/>
              <a:gd name="connsiteY1132" fmla="*/ 262399 h 743850"/>
              <a:gd name="connsiteX1133" fmla="*/ 301444 w 723909"/>
              <a:gd name="connsiteY1133" fmla="*/ 262399 h 743850"/>
              <a:gd name="connsiteX1134" fmla="*/ 303728 w 723909"/>
              <a:gd name="connsiteY1134" fmla="*/ 262399 h 743850"/>
              <a:gd name="connsiteX1135" fmla="*/ 306012 w 723909"/>
              <a:gd name="connsiteY1135" fmla="*/ 262399 h 743850"/>
              <a:gd name="connsiteX1136" fmla="*/ 306012 w 723909"/>
              <a:gd name="connsiteY1136" fmla="*/ 260117 h 743850"/>
              <a:gd name="connsiteX1137" fmla="*/ 306012 w 723909"/>
              <a:gd name="connsiteY1137" fmla="*/ 257835 h 743850"/>
              <a:gd name="connsiteX1138" fmla="*/ 303728 w 723909"/>
              <a:gd name="connsiteY1138" fmla="*/ 257835 h 743850"/>
              <a:gd name="connsiteX1139" fmla="*/ 303728 w 723909"/>
              <a:gd name="connsiteY1139" fmla="*/ 255553 h 743850"/>
              <a:gd name="connsiteX1140" fmla="*/ 303728 w 723909"/>
              <a:gd name="connsiteY1140" fmla="*/ 253281 h 743850"/>
              <a:gd name="connsiteX1141" fmla="*/ 301444 w 723909"/>
              <a:gd name="connsiteY1141" fmla="*/ 250999 h 743850"/>
              <a:gd name="connsiteX1142" fmla="*/ 296877 w 723909"/>
              <a:gd name="connsiteY1142" fmla="*/ 244153 h 743850"/>
              <a:gd name="connsiteX1143" fmla="*/ 296877 w 723909"/>
              <a:gd name="connsiteY1143" fmla="*/ 239590 h 743850"/>
              <a:gd name="connsiteX1144" fmla="*/ 294593 w 723909"/>
              <a:gd name="connsiteY1144" fmla="*/ 237308 h 743850"/>
              <a:gd name="connsiteX1145" fmla="*/ 296877 w 723909"/>
              <a:gd name="connsiteY1145" fmla="*/ 237308 h 743850"/>
              <a:gd name="connsiteX1146" fmla="*/ 299161 w 723909"/>
              <a:gd name="connsiteY1146" fmla="*/ 237308 h 743850"/>
              <a:gd name="connsiteX1147" fmla="*/ 299161 w 723909"/>
              <a:gd name="connsiteY1147" fmla="*/ 235026 h 743850"/>
              <a:gd name="connsiteX1148" fmla="*/ 296877 w 723909"/>
              <a:gd name="connsiteY1148" fmla="*/ 230462 h 743850"/>
              <a:gd name="connsiteX1149" fmla="*/ 296877 w 723909"/>
              <a:gd name="connsiteY1149" fmla="*/ 228180 h 743850"/>
              <a:gd name="connsiteX1150" fmla="*/ 296877 w 723909"/>
              <a:gd name="connsiteY1150" fmla="*/ 225898 h 743850"/>
              <a:gd name="connsiteX1151" fmla="*/ 296877 w 723909"/>
              <a:gd name="connsiteY1151" fmla="*/ 223616 h 743850"/>
              <a:gd name="connsiteX1152" fmla="*/ 296877 w 723909"/>
              <a:gd name="connsiteY1152" fmla="*/ 221334 h 743850"/>
              <a:gd name="connsiteX1153" fmla="*/ 296877 w 723909"/>
              <a:gd name="connsiteY1153" fmla="*/ 219053 h 743850"/>
              <a:gd name="connsiteX1154" fmla="*/ 299161 w 723909"/>
              <a:gd name="connsiteY1154" fmla="*/ 219053 h 743850"/>
              <a:gd name="connsiteX1155" fmla="*/ 299161 w 723909"/>
              <a:gd name="connsiteY1155" fmla="*/ 216771 h 743850"/>
              <a:gd name="connsiteX1156" fmla="*/ 301444 w 723909"/>
              <a:gd name="connsiteY1156" fmla="*/ 216771 h 743850"/>
              <a:gd name="connsiteX1157" fmla="*/ 301444 w 723909"/>
              <a:gd name="connsiteY1157" fmla="*/ 214489 h 743850"/>
              <a:gd name="connsiteX1158" fmla="*/ 301444 w 723909"/>
              <a:gd name="connsiteY1158" fmla="*/ 212207 h 743850"/>
              <a:gd name="connsiteX1159" fmla="*/ 303728 w 723909"/>
              <a:gd name="connsiteY1159" fmla="*/ 212207 h 743850"/>
              <a:gd name="connsiteX1160" fmla="*/ 306012 w 723909"/>
              <a:gd name="connsiteY1160" fmla="*/ 212207 h 743850"/>
              <a:gd name="connsiteX1161" fmla="*/ 308295 w 723909"/>
              <a:gd name="connsiteY1161" fmla="*/ 212207 h 743850"/>
              <a:gd name="connsiteX1162" fmla="*/ 306012 w 723909"/>
              <a:gd name="connsiteY1162" fmla="*/ 209925 h 743850"/>
              <a:gd name="connsiteX1163" fmla="*/ 306012 w 723909"/>
              <a:gd name="connsiteY1163" fmla="*/ 207643 h 743850"/>
              <a:gd name="connsiteX1164" fmla="*/ 306012 w 723909"/>
              <a:gd name="connsiteY1164" fmla="*/ 205361 h 743850"/>
              <a:gd name="connsiteX1165" fmla="*/ 306012 w 723909"/>
              <a:gd name="connsiteY1165" fmla="*/ 203079 h 743850"/>
              <a:gd name="connsiteX1166" fmla="*/ 306012 w 723909"/>
              <a:gd name="connsiteY1166" fmla="*/ 200797 h 743850"/>
              <a:gd name="connsiteX1167" fmla="*/ 303728 w 723909"/>
              <a:gd name="connsiteY1167" fmla="*/ 198516 h 743850"/>
              <a:gd name="connsiteX1168" fmla="*/ 301444 w 723909"/>
              <a:gd name="connsiteY1168" fmla="*/ 196234 h 743850"/>
              <a:gd name="connsiteX1169" fmla="*/ 299161 w 723909"/>
              <a:gd name="connsiteY1169" fmla="*/ 196234 h 743850"/>
              <a:gd name="connsiteX1170" fmla="*/ 299161 w 723909"/>
              <a:gd name="connsiteY1170" fmla="*/ 193952 h 743850"/>
              <a:gd name="connsiteX1171" fmla="*/ 301444 w 723909"/>
              <a:gd name="connsiteY1171" fmla="*/ 193952 h 743850"/>
              <a:gd name="connsiteX1172" fmla="*/ 301444 w 723909"/>
              <a:gd name="connsiteY1172" fmla="*/ 191670 h 743850"/>
              <a:gd name="connsiteX1173" fmla="*/ 301444 w 723909"/>
              <a:gd name="connsiteY1173" fmla="*/ 189388 h 743850"/>
              <a:gd name="connsiteX1174" fmla="*/ 303728 w 723909"/>
              <a:gd name="connsiteY1174" fmla="*/ 187106 h 743850"/>
              <a:gd name="connsiteX1175" fmla="*/ 303728 w 723909"/>
              <a:gd name="connsiteY1175" fmla="*/ 182542 h 743850"/>
              <a:gd name="connsiteX1176" fmla="*/ 306012 w 723909"/>
              <a:gd name="connsiteY1176" fmla="*/ 182542 h 743850"/>
              <a:gd name="connsiteX1177" fmla="*/ 306012 w 723909"/>
              <a:gd name="connsiteY1177" fmla="*/ 180260 h 743850"/>
              <a:gd name="connsiteX1178" fmla="*/ 306012 w 723909"/>
              <a:gd name="connsiteY1178" fmla="*/ 177978 h 743850"/>
              <a:gd name="connsiteX1179" fmla="*/ 308295 w 723909"/>
              <a:gd name="connsiteY1179" fmla="*/ 175697 h 743850"/>
              <a:gd name="connsiteX1180" fmla="*/ 312862 w 723909"/>
              <a:gd name="connsiteY1180" fmla="*/ 177978 h 743850"/>
              <a:gd name="connsiteX1181" fmla="*/ 317429 w 723909"/>
              <a:gd name="connsiteY1181" fmla="*/ 177978 h 743850"/>
              <a:gd name="connsiteX1182" fmla="*/ 317429 w 723909"/>
              <a:gd name="connsiteY1182" fmla="*/ 180260 h 743850"/>
              <a:gd name="connsiteX1183" fmla="*/ 319713 w 723909"/>
              <a:gd name="connsiteY1183" fmla="*/ 180260 h 743850"/>
              <a:gd name="connsiteX1184" fmla="*/ 321997 w 723909"/>
              <a:gd name="connsiteY1184" fmla="*/ 180260 h 743850"/>
              <a:gd name="connsiteX1185" fmla="*/ 324280 w 723909"/>
              <a:gd name="connsiteY1185" fmla="*/ 180260 h 743850"/>
              <a:gd name="connsiteX1186" fmla="*/ 326564 w 723909"/>
              <a:gd name="connsiteY1186" fmla="*/ 182542 h 743850"/>
              <a:gd name="connsiteX1187" fmla="*/ 328847 w 723909"/>
              <a:gd name="connsiteY1187" fmla="*/ 182542 h 743850"/>
              <a:gd name="connsiteX1188" fmla="*/ 331131 w 723909"/>
              <a:gd name="connsiteY1188" fmla="*/ 182542 h 743850"/>
              <a:gd name="connsiteX1189" fmla="*/ 333414 w 723909"/>
              <a:gd name="connsiteY1189" fmla="*/ 182542 h 743850"/>
              <a:gd name="connsiteX1190" fmla="*/ 333414 w 723909"/>
              <a:gd name="connsiteY1190" fmla="*/ 180260 h 743850"/>
              <a:gd name="connsiteX1191" fmla="*/ 333414 w 723909"/>
              <a:gd name="connsiteY1191" fmla="*/ 177978 h 743850"/>
              <a:gd name="connsiteX1192" fmla="*/ 333414 w 723909"/>
              <a:gd name="connsiteY1192" fmla="*/ 173415 h 743850"/>
              <a:gd name="connsiteX1193" fmla="*/ 331131 w 723909"/>
              <a:gd name="connsiteY1193" fmla="*/ 173415 h 743850"/>
              <a:gd name="connsiteX1194" fmla="*/ 331131 w 723909"/>
              <a:gd name="connsiteY1194" fmla="*/ 171133 h 743850"/>
              <a:gd name="connsiteX1195" fmla="*/ 328847 w 723909"/>
              <a:gd name="connsiteY1195" fmla="*/ 171133 h 743850"/>
              <a:gd name="connsiteX1196" fmla="*/ 326564 w 723909"/>
              <a:gd name="connsiteY1196" fmla="*/ 171133 h 743850"/>
              <a:gd name="connsiteX1197" fmla="*/ 324280 w 723909"/>
              <a:gd name="connsiteY1197" fmla="*/ 171133 h 743850"/>
              <a:gd name="connsiteX1198" fmla="*/ 321997 w 723909"/>
              <a:gd name="connsiteY1198" fmla="*/ 168851 h 743850"/>
              <a:gd name="connsiteX1199" fmla="*/ 319713 w 723909"/>
              <a:gd name="connsiteY1199" fmla="*/ 168851 h 743850"/>
              <a:gd name="connsiteX1200" fmla="*/ 317429 w 723909"/>
              <a:gd name="connsiteY1200" fmla="*/ 166569 h 743850"/>
              <a:gd name="connsiteX1201" fmla="*/ 315146 w 723909"/>
              <a:gd name="connsiteY1201" fmla="*/ 166569 h 743850"/>
              <a:gd name="connsiteX1202" fmla="*/ 312862 w 723909"/>
              <a:gd name="connsiteY1202" fmla="*/ 166569 h 743850"/>
              <a:gd name="connsiteX1203" fmla="*/ 312862 w 723909"/>
              <a:gd name="connsiteY1203" fmla="*/ 164287 h 743850"/>
              <a:gd name="connsiteX1204" fmla="*/ 315146 w 723909"/>
              <a:gd name="connsiteY1204" fmla="*/ 157441 h 743850"/>
              <a:gd name="connsiteX1205" fmla="*/ 315146 w 723909"/>
              <a:gd name="connsiteY1205" fmla="*/ 155159 h 743850"/>
              <a:gd name="connsiteX1206" fmla="*/ 317429 w 723909"/>
              <a:gd name="connsiteY1206" fmla="*/ 152878 h 743850"/>
              <a:gd name="connsiteX1207" fmla="*/ 317429 w 723909"/>
              <a:gd name="connsiteY1207" fmla="*/ 150596 h 743850"/>
              <a:gd name="connsiteX1208" fmla="*/ 319713 w 723909"/>
              <a:gd name="connsiteY1208" fmla="*/ 150596 h 743850"/>
              <a:gd name="connsiteX1209" fmla="*/ 321997 w 723909"/>
              <a:gd name="connsiteY1209" fmla="*/ 148314 h 743850"/>
              <a:gd name="connsiteX1210" fmla="*/ 328847 w 723909"/>
              <a:gd name="connsiteY1210" fmla="*/ 146032 h 743850"/>
              <a:gd name="connsiteX1211" fmla="*/ 326564 w 723909"/>
              <a:gd name="connsiteY1211" fmla="*/ 141468 h 743850"/>
              <a:gd name="connsiteX1212" fmla="*/ 324280 w 723909"/>
              <a:gd name="connsiteY1212" fmla="*/ 141468 h 743850"/>
              <a:gd name="connsiteX1213" fmla="*/ 324280 w 723909"/>
              <a:gd name="connsiteY1213" fmla="*/ 139186 h 743850"/>
              <a:gd name="connsiteX1214" fmla="*/ 319713 w 723909"/>
              <a:gd name="connsiteY1214" fmla="*/ 136904 h 743850"/>
              <a:gd name="connsiteX1215" fmla="*/ 319713 w 723909"/>
              <a:gd name="connsiteY1215" fmla="*/ 134622 h 743850"/>
              <a:gd name="connsiteX1216" fmla="*/ 317429 w 723909"/>
              <a:gd name="connsiteY1216" fmla="*/ 134622 h 743850"/>
              <a:gd name="connsiteX1217" fmla="*/ 317429 w 723909"/>
              <a:gd name="connsiteY1217" fmla="*/ 132341 h 743850"/>
              <a:gd name="connsiteX1218" fmla="*/ 315146 w 723909"/>
              <a:gd name="connsiteY1218" fmla="*/ 130059 h 743850"/>
              <a:gd name="connsiteX1219" fmla="*/ 312862 w 723909"/>
              <a:gd name="connsiteY1219" fmla="*/ 127777 h 743850"/>
              <a:gd name="connsiteX1220" fmla="*/ 310579 w 723909"/>
              <a:gd name="connsiteY1220" fmla="*/ 127777 h 743850"/>
              <a:gd name="connsiteX1221" fmla="*/ 308295 w 723909"/>
              <a:gd name="connsiteY1221" fmla="*/ 130059 h 743850"/>
              <a:gd name="connsiteX1222" fmla="*/ 306012 w 723909"/>
              <a:gd name="connsiteY1222" fmla="*/ 130059 h 743850"/>
              <a:gd name="connsiteX1223" fmla="*/ 306012 w 723909"/>
              <a:gd name="connsiteY1223" fmla="*/ 132341 h 743850"/>
              <a:gd name="connsiteX1224" fmla="*/ 303728 w 723909"/>
              <a:gd name="connsiteY1224" fmla="*/ 132341 h 743850"/>
              <a:gd name="connsiteX1225" fmla="*/ 301444 w 723909"/>
              <a:gd name="connsiteY1225" fmla="*/ 130059 h 743850"/>
              <a:gd name="connsiteX1226" fmla="*/ 301444 w 723909"/>
              <a:gd name="connsiteY1226" fmla="*/ 127777 h 743850"/>
              <a:gd name="connsiteX1227" fmla="*/ 299161 w 723909"/>
              <a:gd name="connsiteY1227" fmla="*/ 127777 h 743850"/>
              <a:gd name="connsiteX1228" fmla="*/ 299161 w 723909"/>
              <a:gd name="connsiteY1228" fmla="*/ 125495 h 743850"/>
              <a:gd name="connsiteX1229" fmla="*/ 296877 w 723909"/>
              <a:gd name="connsiteY1229" fmla="*/ 125495 h 743850"/>
              <a:gd name="connsiteX1230" fmla="*/ 296877 w 723909"/>
              <a:gd name="connsiteY1230" fmla="*/ 123213 h 743850"/>
              <a:gd name="connsiteX1231" fmla="*/ 296877 w 723909"/>
              <a:gd name="connsiteY1231" fmla="*/ 120931 h 743850"/>
              <a:gd name="connsiteX1232" fmla="*/ 294593 w 723909"/>
              <a:gd name="connsiteY1232" fmla="*/ 118649 h 743850"/>
              <a:gd name="connsiteX1233" fmla="*/ 296877 w 723909"/>
              <a:gd name="connsiteY1233" fmla="*/ 118649 h 743850"/>
              <a:gd name="connsiteX1234" fmla="*/ 296877 w 723909"/>
              <a:gd name="connsiteY1234" fmla="*/ 116367 h 743850"/>
              <a:gd name="connsiteX1235" fmla="*/ 296877 w 723909"/>
              <a:gd name="connsiteY1235" fmla="*/ 114085 h 743850"/>
              <a:gd name="connsiteX1236" fmla="*/ 299161 w 723909"/>
              <a:gd name="connsiteY1236" fmla="*/ 111803 h 743850"/>
              <a:gd name="connsiteX1237" fmla="*/ 299161 w 723909"/>
              <a:gd name="connsiteY1237" fmla="*/ 109522 h 743850"/>
              <a:gd name="connsiteX1238" fmla="*/ 301444 w 723909"/>
              <a:gd name="connsiteY1238" fmla="*/ 107240 h 743850"/>
              <a:gd name="connsiteX1239" fmla="*/ 303728 w 723909"/>
              <a:gd name="connsiteY1239" fmla="*/ 104958 h 743850"/>
              <a:gd name="connsiteX1240" fmla="*/ 303728 w 723909"/>
              <a:gd name="connsiteY1240" fmla="*/ 102676 h 743850"/>
              <a:gd name="connsiteX1241" fmla="*/ 308295 w 723909"/>
              <a:gd name="connsiteY1241" fmla="*/ 100404 h 743850"/>
              <a:gd name="connsiteX1242" fmla="*/ 310579 w 723909"/>
              <a:gd name="connsiteY1242" fmla="*/ 100404 h 743850"/>
              <a:gd name="connsiteX1243" fmla="*/ 315146 w 723909"/>
              <a:gd name="connsiteY1243" fmla="*/ 100404 h 743850"/>
              <a:gd name="connsiteX1244" fmla="*/ 317429 w 723909"/>
              <a:gd name="connsiteY1244" fmla="*/ 102676 h 743850"/>
              <a:gd name="connsiteX1245" fmla="*/ 319713 w 723909"/>
              <a:gd name="connsiteY1245" fmla="*/ 102676 h 743850"/>
              <a:gd name="connsiteX1246" fmla="*/ 319713 w 723909"/>
              <a:gd name="connsiteY1246" fmla="*/ 104958 h 743850"/>
              <a:gd name="connsiteX1247" fmla="*/ 321997 w 723909"/>
              <a:gd name="connsiteY1247" fmla="*/ 104958 h 743850"/>
              <a:gd name="connsiteX1248" fmla="*/ 324280 w 723909"/>
              <a:gd name="connsiteY1248" fmla="*/ 107240 h 743850"/>
              <a:gd name="connsiteX1249" fmla="*/ 326564 w 723909"/>
              <a:gd name="connsiteY1249" fmla="*/ 111803 h 743850"/>
              <a:gd name="connsiteX1250" fmla="*/ 328847 w 723909"/>
              <a:gd name="connsiteY1250" fmla="*/ 116367 h 743850"/>
              <a:gd name="connsiteX1251" fmla="*/ 331131 w 723909"/>
              <a:gd name="connsiteY1251" fmla="*/ 116367 h 743850"/>
              <a:gd name="connsiteX1252" fmla="*/ 331131 w 723909"/>
              <a:gd name="connsiteY1252" fmla="*/ 118649 h 743850"/>
              <a:gd name="connsiteX1253" fmla="*/ 333414 w 723909"/>
              <a:gd name="connsiteY1253" fmla="*/ 116367 h 743850"/>
              <a:gd name="connsiteX1254" fmla="*/ 335698 w 723909"/>
              <a:gd name="connsiteY1254" fmla="*/ 116367 h 743850"/>
              <a:gd name="connsiteX1255" fmla="*/ 337982 w 723909"/>
              <a:gd name="connsiteY1255" fmla="*/ 116367 h 743850"/>
              <a:gd name="connsiteX1256" fmla="*/ 340265 w 723909"/>
              <a:gd name="connsiteY1256" fmla="*/ 114085 h 743850"/>
              <a:gd name="connsiteX1257" fmla="*/ 342549 w 723909"/>
              <a:gd name="connsiteY1257" fmla="*/ 114085 h 743850"/>
              <a:gd name="connsiteX1258" fmla="*/ 344833 w 723909"/>
              <a:gd name="connsiteY1258" fmla="*/ 111803 h 743850"/>
              <a:gd name="connsiteX1259" fmla="*/ 347116 w 723909"/>
              <a:gd name="connsiteY1259" fmla="*/ 111803 h 743850"/>
              <a:gd name="connsiteX1260" fmla="*/ 356251 w 723909"/>
              <a:gd name="connsiteY1260" fmla="*/ 102676 h 743850"/>
              <a:gd name="connsiteX1261" fmla="*/ 356251 w 723909"/>
              <a:gd name="connsiteY1261" fmla="*/ 109522 h 743850"/>
              <a:gd name="connsiteX1262" fmla="*/ 363101 w 723909"/>
              <a:gd name="connsiteY1262" fmla="*/ 107240 h 743850"/>
              <a:gd name="connsiteX1263" fmla="*/ 367668 w 723909"/>
              <a:gd name="connsiteY1263" fmla="*/ 107240 h 743850"/>
              <a:gd name="connsiteX1264" fmla="*/ 367668 w 723909"/>
              <a:gd name="connsiteY1264" fmla="*/ 104958 h 743850"/>
              <a:gd name="connsiteX1265" fmla="*/ 369952 w 723909"/>
              <a:gd name="connsiteY1265" fmla="*/ 104958 h 743850"/>
              <a:gd name="connsiteX1266" fmla="*/ 376803 w 723909"/>
              <a:gd name="connsiteY1266" fmla="*/ 104958 h 743850"/>
              <a:gd name="connsiteX1267" fmla="*/ 379087 w 723909"/>
              <a:gd name="connsiteY1267" fmla="*/ 104958 h 743850"/>
              <a:gd name="connsiteX1268" fmla="*/ 381370 w 723909"/>
              <a:gd name="connsiteY1268" fmla="*/ 102676 h 743850"/>
              <a:gd name="connsiteX1269" fmla="*/ 381370 w 723909"/>
              <a:gd name="connsiteY1269" fmla="*/ 93558 h 743850"/>
              <a:gd name="connsiteX1270" fmla="*/ 381370 w 723909"/>
              <a:gd name="connsiteY1270" fmla="*/ 91276 h 743850"/>
              <a:gd name="connsiteX1271" fmla="*/ 381370 w 723909"/>
              <a:gd name="connsiteY1271" fmla="*/ 88994 h 743850"/>
              <a:gd name="connsiteX1272" fmla="*/ 390504 w 723909"/>
              <a:gd name="connsiteY1272" fmla="*/ 86712 h 743850"/>
              <a:gd name="connsiteX1273" fmla="*/ 395072 w 723909"/>
              <a:gd name="connsiteY1273" fmla="*/ 91276 h 743850"/>
              <a:gd name="connsiteX1274" fmla="*/ 397355 w 723909"/>
              <a:gd name="connsiteY1274" fmla="*/ 93558 h 743850"/>
              <a:gd name="connsiteX1275" fmla="*/ 399639 w 723909"/>
              <a:gd name="connsiteY1275" fmla="*/ 98112 h 743850"/>
              <a:gd name="connsiteX1276" fmla="*/ 401922 w 723909"/>
              <a:gd name="connsiteY1276" fmla="*/ 98112 h 743850"/>
              <a:gd name="connsiteX1277" fmla="*/ 408773 w 723909"/>
              <a:gd name="connsiteY1277" fmla="*/ 95840 h 743850"/>
              <a:gd name="connsiteX1278" fmla="*/ 411057 w 723909"/>
              <a:gd name="connsiteY1278" fmla="*/ 95840 h 743850"/>
              <a:gd name="connsiteX1279" fmla="*/ 415624 w 723909"/>
              <a:gd name="connsiteY1279" fmla="*/ 95840 h 743850"/>
              <a:gd name="connsiteX1280" fmla="*/ 420191 w 723909"/>
              <a:gd name="connsiteY1280" fmla="*/ 93558 h 743850"/>
              <a:gd name="connsiteX1281" fmla="*/ 420191 w 723909"/>
              <a:gd name="connsiteY1281" fmla="*/ 91276 h 743850"/>
              <a:gd name="connsiteX1282" fmla="*/ 422475 w 723909"/>
              <a:gd name="connsiteY1282" fmla="*/ 93558 h 743850"/>
              <a:gd name="connsiteX1283" fmla="*/ 424758 w 723909"/>
              <a:gd name="connsiteY1283" fmla="*/ 93558 h 743850"/>
              <a:gd name="connsiteX1284" fmla="*/ 427042 w 723909"/>
              <a:gd name="connsiteY1284" fmla="*/ 93558 h 743850"/>
              <a:gd name="connsiteX1285" fmla="*/ 427042 w 723909"/>
              <a:gd name="connsiteY1285" fmla="*/ 91276 h 743850"/>
              <a:gd name="connsiteX1286" fmla="*/ 427042 w 723909"/>
              <a:gd name="connsiteY1286" fmla="*/ 88994 h 743850"/>
              <a:gd name="connsiteX1287" fmla="*/ 427042 w 723909"/>
              <a:gd name="connsiteY1287" fmla="*/ 86712 h 743850"/>
              <a:gd name="connsiteX1288" fmla="*/ 427042 w 723909"/>
              <a:gd name="connsiteY1288" fmla="*/ 84430 h 743850"/>
              <a:gd name="connsiteX1289" fmla="*/ 427042 w 723909"/>
              <a:gd name="connsiteY1289" fmla="*/ 82148 h 743850"/>
              <a:gd name="connsiteX1290" fmla="*/ 433893 w 723909"/>
              <a:gd name="connsiteY1290" fmla="*/ 79866 h 743850"/>
              <a:gd name="connsiteX1291" fmla="*/ 436176 w 723909"/>
              <a:gd name="connsiteY1291" fmla="*/ 79866 h 743850"/>
              <a:gd name="connsiteX1292" fmla="*/ 438460 w 723909"/>
              <a:gd name="connsiteY1292" fmla="*/ 77584 h 743850"/>
              <a:gd name="connsiteX1293" fmla="*/ 440743 w 723909"/>
              <a:gd name="connsiteY1293" fmla="*/ 77584 h 743850"/>
              <a:gd name="connsiteX1294" fmla="*/ 456729 w 723909"/>
              <a:gd name="connsiteY1294" fmla="*/ 73021 h 743850"/>
              <a:gd name="connsiteX1295" fmla="*/ 456729 w 723909"/>
              <a:gd name="connsiteY1295" fmla="*/ 75303 h 743850"/>
              <a:gd name="connsiteX1296" fmla="*/ 456729 w 723909"/>
              <a:gd name="connsiteY1296" fmla="*/ 77584 h 743850"/>
              <a:gd name="connsiteX1297" fmla="*/ 456729 w 723909"/>
              <a:gd name="connsiteY1297" fmla="*/ 79866 h 743850"/>
              <a:gd name="connsiteX1298" fmla="*/ 456729 w 723909"/>
              <a:gd name="connsiteY1298" fmla="*/ 82148 h 743850"/>
              <a:gd name="connsiteX1299" fmla="*/ 459012 w 723909"/>
              <a:gd name="connsiteY1299" fmla="*/ 84430 h 743850"/>
              <a:gd name="connsiteX1300" fmla="*/ 459012 w 723909"/>
              <a:gd name="connsiteY1300" fmla="*/ 86712 h 743850"/>
              <a:gd name="connsiteX1301" fmla="*/ 461296 w 723909"/>
              <a:gd name="connsiteY1301" fmla="*/ 86712 h 743850"/>
              <a:gd name="connsiteX1302" fmla="*/ 463580 w 723909"/>
              <a:gd name="connsiteY1302" fmla="*/ 86712 h 743850"/>
              <a:gd name="connsiteX1303" fmla="*/ 468147 w 723909"/>
              <a:gd name="connsiteY1303" fmla="*/ 86712 h 743850"/>
              <a:gd name="connsiteX1304" fmla="*/ 472714 w 723909"/>
              <a:gd name="connsiteY1304" fmla="*/ 86712 h 743850"/>
              <a:gd name="connsiteX1305" fmla="*/ 477281 w 723909"/>
              <a:gd name="connsiteY1305" fmla="*/ 86712 h 743850"/>
              <a:gd name="connsiteX1306" fmla="*/ 479565 w 723909"/>
              <a:gd name="connsiteY1306" fmla="*/ 82148 h 743850"/>
              <a:gd name="connsiteX1307" fmla="*/ 481848 w 723909"/>
              <a:gd name="connsiteY1307" fmla="*/ 82148 h 743850"/>
              <a:gd name="connsiteX1308" fmla="*/ 488699 w 723909"/>
              <a:gd name="connsiteY1308" fmla="*/ 82148 h 743850"/>
              <a:gd name="connsiteX1309" fmla="*/ 490983 w 723909"/>
              <a:gd name="connsiteY1309" fmla="*/ 82148 h 743850"/>
              <a:gd name="connsiteX1310" fmla="*/ 502401 w 723909"/>
              <a:gd name="connsiteY1310" fmla="*/ 82148 h 743850"/>
              <a:gd name="connsiteX1311" fmla="*/ 502401 w 723909"/>
              <a:gd name="connsiteY1311" fmla="*/ 77584 h 743850"/>
              <a:gd name="connsiteX1312" fmla="*/ 502401 w 723909"/>
              <a:gd name="connsiteY1312" fmla="*/ 73021 h 743850"/>
              <a:gd name="connsiteX1313" fmla="*/ 502401 w 723909"/>
              <a:gd name="connsiteY1313" fmla="*/ 70739 h 743850"/>
              <a:gd name="connsiteX1314" fmla="*/ 502401 w 723909"/>
              <a:gd name="connsiteY1314" fmla="*/ 68457 h 743850"/>
              <a:gd name="connsiteX1315" fmla="*/ 502401 w 723909"/>
              <a:gd name="connsiteY1315" fmla="*/ 66175 h 743850"/>
              <a:gd name="connsiteX1316" fmla="*/ 502401 w 723909"/>
              <a:gd name="connsiteY1316" fmla="*/ 63893 h 743850"/>
              <a:gd name="connsiteX1317" fmla="*/ 504684 w 723909"/>
              <a:gd name="connsiteY1317" fmla="*/ 61611 h 743850"/>
              <a:gd name="connsiteX1318" fmla="*/ 506968 w 723909"/>
              <a:gd name="connsiteY1318" fmla="*/ 59329 h 743850"/>
              <a:gd name="connsiteX1319" fmla="*/ 513819 w 723909"/>
              <a:gd name="connsiteY1319" fmla="*/ 59329 h 743850"/>
              <a:gd name="connsiteX1320" fmla="*/ 516102 w 723909"/>
              <a:gd name="connsiteY1320" fmla="*/ 59329 h 743850"/>
              <a:gd name="connsiteX1321" fmla="*/ 520670 w 723909"/>
              <a:gd name="connsiteY1321" fmla="*/ 59329 h 743850"/>
              <a:gd name="connsiteX1322" fmla="*/ 522953 w 723909"/>
              <a:gd name="connsiteY1322" fmla="*/ 59329 h 743850"/>
              <a:gd name="connsiteX1323" fmla="*/ 525237 w 723909"/>
              <a:gd name="connsiteY1323" fmla="*/ 59329 h 743850"/>
              <a:gd name="connsiteX1324" fmla="*/ 525237 w 723909"/>
              <a:gd name="connsiteY1324" fmla="*/ 57047 h 743850"/>
              <a:gd name="connsiteX1325" fmla="*/ 529804 w 723909"/>
              <a:gd name="connsiteY1325" fmla="*/ 57047 h 743850"/>
              <a:gd name="connsiteX1326" fmla="*/ 534371 w 723909"/>
              <a:gd name="connsiteY1326" fmla="*/ 57047 h 743850"/>
              <a:gd name="connsiteX1327" fmla="*/ 536655 w 723909"/>
              <a:gd name="connsiteY1327" fmla="*/ 57047 h 743850"/>
              <a:gd name="connsiteX1328" fmla="*/ 538938 w 723909"/>
              <a:gd name="connsiteY1328" fmla="*/ 59329 h 743850"/>
              <a:gd name="connsiteX1329" fmla="*/ 541222 w 723909"/>
              <a:gd name="connsiteY1329" fmla="*/ 59329 h 743850"/>
              <a:gd name="connsiteX1330" fmla="*/ 543505 w 723909"/>
              <a:gd name="connsiteY1330" fmla="*/ 61611 h 743850"/>
              <a:gd name="connsiteX1331" fmla="*/ 545789 w 723909"/>
              <a:gd name="connsiteY1331" fmla="*/ 63893 h 743850"/>
              <a:gd name="connsiteX1332" fmla="*/ 550356 w 723909"/>
              <a:gd name="connsiteY1332" fmla="*/ 70739 h 743850"/>
              <a:gd name="connsiteX1333" fmla="*/ 552640 w 723909"/>
              <a:gd name="connsiteY1333" fmla="*/ 70739 h 743850"/>
              <a:gd name="connsiteX1334" fmla="*/ 552640 w 723909"/>
              <a:gd name="connsiteY1334" fmla="*/ 68457 h 743850"/>
              <a:gd name="connsiteX1335" fmla="*/ 552640 w 723909"/>
              <a:gd name="connsiteY1335" fmla="*/ 66175 h 743850"/>
              <a:gd name="connsiteX1336" fmla="*/ 554923 w 723909"/>
              <a:gd name="connsiteY1336" fmla="*/ 66175 h 743850"/>
              <a:gd name="connsiteX1337" fmla="*/ 554923 w 723909"/>
              <a:gd name="connsiteY1337" fmla="*/ 63893 h 743850"/>
              <a:gd name="connsiteX1338" fmla="*/ 557207 w 723909"/>
              <a:gd name="connsiteY1338" fmla="*/ 61611 h 743850"/>
              <a:gd name="connsiteX1339" fmla="*/ 557207 w 723909"/>
              <a:gd name="connsiteY1339" fmla="*/ 59329 h 743850"/>
              <a:gd name="connsiteX1340" fmla="*/ 559491 w 723909"/>
              <a:gd name="connsiteY1340" fmla="*/ 57047 h 743850"/>
              <a:gd name="connsiteX1341" fmla="*/ 561774 w 723909"/>
              <a:gd name="connsiteY1341" fmla="*/ 54766 h 743850"/>
              <a:gd name="connsiteX1342" fmla="*/ 561774 w 723909"/>
              <a:gd name="connsiteY1342" fmla="*/ 52484 h 743850"/>
              <a:gd name="connsiteX1343" fmla="*/ 561774 w 723909"/>
              <a:gd name="connsiteY1343" fmla="*/ 54766 h 743850"/>
              <a:gd name="connsiteX1344" fmla="*/ 564058 w 723909"/>
              <a:gd name="connsiteY1344" fmla="*/ 59329 h 743850"/>
              <a:gd name="connsiteX1345" fmla="*/ 566341 w 723909"/>
              <a:gd name="connsiteY1345" fmla="*/ 57047 h 743850"/>
              <a:gd name="connsiteX1346" fmla="*/ 566341 w 723909"/>
              <a:gd name="connsiteY1346" fmla="*/ 54766 h 743850"/>
              <a:gd name="connsiteX1347" fmla="*/ 566341 w 723909"/>
              <a:gd name="connsiteY1347" fmla="*/ 52484 h 743850"/>
              <a:gd name="connsiteX1348" fmla="*/ 568625 w 723909"/>
              <a:gd name="connsiteY1348" fmla="*/ 52484 h 743850"/>
              <a:gd name="connsiteX1349" fmla="*/ 568625 w 723909"/>
              <a:gd name="connsiteY1349" fmla="*/ 50202 h 743850"/>
              <a:gd name="connsiteX1350" fmla="*/ 568625 w 723909"/>
              <a:gd name="connsiteY1350" fmla="*/ 47920 h 743850"/>
              <a:gd name="connsiteX1351" fmla="*/ 568625 w 723909"/>
              <a:gd name="connsiteY1351" fmla="*/ 45638 h 743850"/>
              <a:gd name="connsiteX1352" fmla="*/ 568625 w 723909"/>
              <a:gd name="connsiteY1352" fmla="*/ 43356 h 743850"/>
              <a:gd name="connsiteX1353" fmla="*/ 568625 w 723909"/>
              <a:gd name="connsiteY1353" fmla="*/ 41074 h 743850"/>
              <a:gd name="connsiteX1354" fmla="*/ 564058 w 723909"/>
              <a:gd name="connsiteY1354" fmla="*/ 43356 h 743850"/>
              <a:gd name="connsiteX1355" fmla="*/ 559491 w 723909"/>
              <a:gd name="connsiteY1355" fmla="*/ 43356 h 743850"/>
              <a:gd name="connsiteX1356" fmla="*/ 559491 w 723909"/>
              <a:gd name="connsiteY1356" fmla="*/ 38792 h 743850"/>
              <a:gd name="connsiteX1357" fmla="*/ 557207 w 723909"/>
              <a:gd name="connsiteY1357" fmla="*/ 38792 h 743850"/>
              <a:gd name="connsiteX1358" fmla="*/ 554923 w 723909"/>
              <a:gd name="connsiteY1358" fmla="*/ 34228 h 743850"/>
              <a:gd name="connsiteX1359" fmla="*/ 554923 w 723909"/>
              <a:gd name="connsiteY1359" fmla="*/ 31947 h 743850"/>
              <a:gd name="connsiteX1360" fmla="*/ 554923 w 723909"/>
              <a:gd name="connsiteY1360" fmla="*/ 29665 h 743850"/>
              <a:gd name="connsiteX1361" fmla="*/ 552640 w 723909"/>
              <a:gd name="connsiteY1361" fmla="*/ 27383 h 743850"/>
              <a:gd name="connsiteX1362" fmla="*/ 550356 w 723909"/>
              <a:gd name="connsiteY1362" fmla="*/ 22819 h 743850"/>
              <a:gd name="connsiteX1363" fmla="*/ 545789 w 723909"/>
              <a:gd name="connsiteY1363" fmla="*/ 18255 h 743850"/>
              <a:gd name="connsiteX1364" fmla="*/ 545789 w 723909"/>
              <a:gd name="connsiteY1364" fmla="*/ 15973 h 743850"/>
              <a:gd name="connsiteX1365" fmla="*/ 548072 w 723909"/>
              <a:gd name="connsiteY1365" fmla="*/ 15973 h 743850"/>
              <a:gd name="connsiteX1366" fmla="*/ 550356 w 723909"/>
              <a:gd name="connsiteY1366" fmla="*/ 15973 h 743850"/>
              <a:gd name="connsiteX1367" fmla="*/ 552640 w 723909"/>
              <a:gd name="connsiteY1367" fmla="*/ 15973 h 743850"/>
              <a:gd name="connsiteX1368" fmla="*/ 559491 w 723909"/>
              <a:gd name="connsiteY1368" fmla="*/ 13691 h 743850"/>
              <a:gd name="connsiteX1369" fmla="*/ 561774 w 723909"/>
              <a:gd name="connsiteY1369" fmla="*/ 13691 h 743850"/>
              <a:gd name="connsiteX1370" fmla="*/ 566341 w 723909"/>
              <a:gd name="connsiteY1370" fmla="*/ 11410 h 743850"/>
              <a:gd name="connsiteX1371" fmla="*/ 568625 w 723909"/>
              <a:gd name="connsiteY1371" fmla="*/ 11410 h 743850"/>
              <a:gd name="connsiteX1372" fmla="*/ 570909 w 723909"/>
              <a:gd name="connsiteY1372" fmla="*/ 9128 h 743850"/>
              <a:gd name="connsiteX1373" fmla="*/ 573192 w 723909"/>
              <a:gd name="connsiteY1373" fmla="*/ 9128 h 743850"/>
              <a:gd name="connsiteX1374" fmla="*/ 573192 w 723909"/>
              <a:gd name="connsiteY1374" fmla="*/ 6846 h 743850"/>
              <a:gd name="connsiteX1375" fmla="*/ 575476 w 723909"/>
              <a:gd name="connsiteY1375" fmla="*/ 6846 h 743850"/>
              <a:gd name="connsiteX1376" fmla="*/ 577759 w 723909"/>
              <a:gd name="connsiteY1376" fmla="*/ 4564 h 743850"/>
              <a:gd name="connsiteX1377" fmla="*/ 582326 w 723909"/>
              <a:gd name="connsiteY1377" fmla="*/ 2282 h 743850"/>
              <a:gd name="connsiteX1378" fmla="*/ 589177 w 723909"/>
              <a:gd name="connsiteY1378" fmla="*/ 2282 h 743850"/>
              <a:gd name="connsiteX1379" fmla="*/ 591461 w 723909"/>
              <a:gd name="connsiteY1379" fmla="*/ 0 h 743850"/>
              <a:gd name="connsiteX1380" fmla="*/ 593745 w 723909"/>
              <a:gd name="connsiteY1380" fmla="*/ 0 h 743850"/>
              <a:gd name="connsiteX1381" fmla="*/ 596028 w 723909"/>
              <a:gd name="connsiteY1381" fmla="*/ 6846 h 743850"/>
              <a:gd name="connsiteX1382" fmla="*/ 598312 w 723909"/>
              <a:gd name="connsiteY1382" fmla="*/ 13691 h 743850"/>
              <a:gd name="connsiteX1383" fmla="*/ 598312 w 723909"/>
              <a:gd name="connsiteY1383" fmla="*/ 15973 h 743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</a:cxnLst>
            <a:rect l="l" t="t" r="r" b="b"/>
            <a:pathLst>
              <a:path w="723909" h="743850">
                <a:moveTo>
                  <a:pt x="598312" y="15973"/>
                </a:moveTo>
                <a:lnTo>
                  <a:pt x="600595" y="18255"/>
                </a:lnTo>
                <a:lnTo>
                  <a:pt x="600595" y="15973"/>
                </a:lnTo>
                <a:lnTo>
                  <a:pt x="598312" y="15973"/>
                </a:lnTo>
                <a:lnTo>
                  <a:pt x="598312" y="18255"/>
                </a:lnTo>
                <a:lnTo>
                  <a:pt x="600595" y="18255"/>
                </a:lnTo>
                <a:lnTo>
                  <a:pt x="605162" y="27383"/>
                </a:lnTo>
                <a:lnTo>
                  <a:pt x="605162" y="31947"/>
                </a:lnTo>
                <a:lnTo>
                  <a:pt x="607446" y="38792"/>
                </a:lnTo>
                <a:lnTo>
                  <a:pt x="607446" y="47920"/>
                </a:lnTo>
                <a:lnTo>
                  <a:pt x="609730" y="50202"/>
                </a:lnTo>
                <a:lnTo>
                  <a:pt x="607446" y="50202"/>
                </a:lnTo>
                <a:lnTo>
                  <a:pt x="605162" y="50202"/>
                </a:lnTo>
                <a:lnTo>
                  <a:pt x="602879" y="47920"/>
                </a:lnTo>
                <a:lnTo>
                  <a:pt x="600595" y="45638"/>
                </a:lnTo>
                <a:lnTo>
                  <a:pt x="600595" y="47920"/>
                </a:lnTo>
                <a:lnTo>
                  <a:pt x="598312" y="50202"/>
                </a:lnTo>
                <a:lnTo>
                  <a:pt x="596028" y="54766"/>
                </a:lnTo>
                <a:lnTo>
                  <a:pt x="593745" y="59329"/>
                </a:lnTo>
                <a:lnTo>
                  <a:pt x="591461" y="63893"/>
                </a:lnTo>
                <a:lnTo>
                  <a:pt x="589177" y="66175"/>
                </a:lnTo>
                <a:lnTo>
                  <a:pt x="591461" y="73021"/>
                </a:lnTo>
                <a:lnTo>
                  <a:pt x="589177" y="70739"/>
                </a:lnTo>
                <a:lnTo>
                  <a:pt x="584610" y="73021"/>
                </a:lnTo>
                <a:lnTo>
                  <a:pt x="575476" y="75303"/>
                </a:lnTo>
                <a:lnTo>
                  <a:pt x="573192" y="77584"/>
                </a:lnTo>
                <a:lnTo>
                  <a:pt x="568625" y="79866"/>
                </a:lnTo>
                <a:lnTo>
                  <a:pt x="564058" y="82148"/>
                </a:lnTo>
                <a:lnTo>
                  <a:pt x="561774" y="84430"/>
                </a:lnTo>
                <a:lnTo>
                  <a:pt x="554923" y="88994"/>
                </a:lnTo>
                <a:lnTo>
                  <a:pt x="552640" y="91276"/>
                </a:lnTo>
                <a:lnTo>
                  <a:pt x="548072" y="91276"/>
                </a:lnTo>
                <a:lnTo>
                  <a:pt x="548072" y="93558"/>
                </a:lnTo>
                <a:lnTo>
                  <a:pt x="548072" y="98112"/>
                </a:lnTo>
                <a:lnTo>
                  <a:pt x="550356" y="100404"/>
                </a:lnTo>
                <a:lnTo>
                  <a:pt x="550356" y="102676"/>
                </a:lnTo>
                <a:lnTo>
                  <a:pt x="552640" y="109522"/>
                </a:lnTo>
                <a:lnTo>
                  <a:pt x="552640" y="116367"/>
                </a:lnTo>
                <a:lnTo>
                  <a:pt x="550356" y="120931"/>
                </a:lnTo>
                <a:lnTo>
                  <a:pt x="548072" y="120931"/>
                </a:lnTo>
                <a:lnTo>
                  <a:pt x="545789" y="123213"/>
                </a:lnTo>
                <a:lnTo>
                  <a:pt x="545789" y="125495"/>
                </a:lnTo>
                <a:lnTo>
                  <a:pt x="548072" y="134622"/>
                </a:lnTo>
                <a:lnTo>
                  <a:pt x="548072" y="136904"/>
                </a:lnTo>
                <a:lnTo>
                  <a:pt x="548072" y="139186"/>
                </a:lnTo>
                <a:lnTo>
                  <a:pt x="548072" y="141468"/>
                </a:lnTo>
                <a:lnTo>
                  <a:pt x="550356" y="143750"/>
                </a:lnTo>
                <a:lnTo>
                  <a:pt x="548072" y="143750"/>
                </a:lnTo>
                <a:lnTo>
                  <a:pt x="545789" y="146032"/>
                </a:lnTo>
                <a:lnTo>
                  <a:pt x="543505" y="146032"/>
                </a:lnTo>
                <a:lnTo>
                  <a:pt x="545789" y="148314"/>
                </a:lnTo>
                <a:lnTo>
                  <a:pt x="550356" y="155159"/>
                </a:lnTo>
                <a:lnTo>
                  <a:pt x="550356" y="166569"/>
                </a:lnTo>
                <a:lnTo>
                  <a:pt x="550356" y="168851"/>
                </a:lnTo>
                <a:lnTo>
                  <a:pt x="548072" y="168851"/>
                </a:lnTo>
                <a:lnTo>
                  <a:pt x="548072" y="171133"/>
                </a:lnTo>
                <a:lnTo>
                  <a:pt x="548072" y="173415"/>
                </a:lnTo>
                <a:lnTo>
                  <a:pt x="548072" y="175697"/>
                </a:lnTo>
                <a:lnTo>
                  <a:pt x="550356" y="177978"/>
                </a:lnTo>
                <a:lnTo>
                  <a:pt x="550356" y="180260"/>
                </a:lnTo>
                <a:lnTo>
                  <a:pt x="550356" y="184824"/>
                </a:lnTo>
                <a:lnTo>
                  <a:pt x="552640" y="187106"/>
                </a:lnTo>
                <a:lnTo>
                  <a:pt x="552640" y="189388"/>
                </a:lnTo>
                <a:lnTo>
                  <a:pt x="552640" y="191670"/>
                </a:lnTo>
                <a:lnTo>
                  <a:pt x="554923" y="191670"/>
                </a:lnTo>
                <a:lnTo>
                  <a:pt x="554923" y="193952"/>
                </a:lnTo>
                <a:lnTo>
                  <a:pt x="554923" y="196234"/>
                </a:lnTo>
                <a:lnTo>
                  <a:pt x="554923" y="200797"/>
                </a:lnTo>
                <a:lnTo>
                  <a:pt x="557207" y="203079"/>
                </a:lnTo>
                <a:lnTo>
                  <a:pt x="557207" y="205361"/>
                </a:lnTo>
                <a:lnTo>
                  <a:pt x="557207" y="207643"/>
                </a:lnTo>
                <a:lnTo>
                  <a:pt x="559491" y="209925"/>
                </a:lnTo>
                <a:lnTo>
                  <a:pt x="559491" y="212207"/>
                </a:lnTo>
                <a:lnTo>
                  <a:pt x="559491" y="214489"/>
                </a:lnTo>
                <a:lnTo>
                  <a:pt x="561774" y="216771"/>
                </a:lnTo>
                <a:lnTo>
                  <a:pt x="564058" y="219053"/>
                </a:lnTo>
                <a:lnTo>
                  <a:pt x="564058" y="221334"/>
                </a:lnTo>
                <a:lnTo>
                  <a:pt x="564058" y="223616"/>
                </a:lnTo>
                <a:lnTo>
                  <a:pt x="566341" y="225898"/>
                </a:lnTo>
                <a:lnTo>
                  <a:pt x="564058" y="228180"/>
                </a:lnTo>
                <a:lnTo>
                  <a:pt x="568625" y="232744"/>
                </a:lnTo>
                <a:lnTo>
                  <a:pt x="575476" y="235026"/>
                </a:lnTo>
                <a:lnTo>
                  <a:pt x="577759" y="235026"/>
                </a:lnTo>
                <a:lnTo>
                  <a:pt x="580043" y="228180"/>
                </a:lnTo>
                <a:lnTo>
                  <a:pt x="582326" y="223616"/>
                </a:lnTo>
                <a:lnTo>
                  <a:pt x="582326" y="219053"/>
                </a:lnTo>
                <a:lnTo>
                  <a:pt x="584610" y="214489"/>
                </a:lnTo>
                <a:lnTo>
                  <a:pt x="589177" y="216771"/>
                </a:lnTo>
                <a:lnTo>
                  <a:pt x="600595" y="221334"/>
                </a:lnTo>
                <a:lnTo>
                  <a:pt x="598312" y="223616"/>
                </a:lnTo>
                <a:lnTo>
                  <a:pt x="598312" y="228180"/>
                </a:lnTo>
                <a:lnTo>
                  <a:pt x="596028" y="232744"/>
                </a:lnTo>
                <a:lnTo>
                  <a:pt x="596028" y="237308"/>
                </a:lnTo>
                <a:lnTo>
                  <a:pt x="593745" y="239590"/>
                </a:lnTo>
                <a:lnTo>
                  <a:pt x="596028" y="241872"/>
                </a:lnTo>
                <a:lnTo>
                  <a:pt x="596028" y="244153"/>
                </a:lnTo>
                <a:lnTo>
                  <a:pt x="596028" y="246435"/>
                </a:lnTo>
                <a:lnTo>
                  <a:pt x="596028" y="244153"/>
                </a:lnTo>
                <a:lnTo>
                  <a:pt x="598312" y="244153"/>
                </a:lnTo>
                <a:lnTo>
                  <a:pt x="600595" y="244153"/>
                </a:lnTo>
                <a:lnTo>
                  <a:pt x="600595" y="241872"/>
                </a:lnTo>
                <a:lnTo>
                  <a:pt x="602879" y="244153"/>
                </a:lnTo>
                <a:lnTo>
                  <a:pt x="605162" y="244153"/>
                </a:lnTo>
                <a:lnTo>
                  <a:pt x="607446" y="244153"/>
                </a:lnTo>
                <a:lnTo>
                  <a:pt x="609730" y="244153"/>
                </a:lnTo>
                <a:lnTo>
                  <a:pt x="614297" y="239590"/>
                </a:lnTo>
                <a:lnTo>
                  <a:pt x="616580" y="239590"/>
                </a:lnTo>
                <a:lnTo>
                  <a:pt x="618864" y="241872"/>
                </a:lnTo>
                <a:lnTo>
                  <a:pt x="621148" y="239590"/>
                </a:lnTo>
                <a:lnTo>
                  <a:pt x="623431" y="239590"/>
                </a:lnTo>
                <a:lnTo>
                  <a:pt x="627999" y="237308"/>
                </a:lnTo>
                <a:lnTo>
                  <a:pt x="630282" y="235026"/>
                </a:lnTo>
                <a:lnTo>
                  <a:pt x="621148" y="225898"/>
                </a:lnTo>
                <a:lnTo>
                  <a:pt x="616580" y="225898"/>
                </a:lnTo>
                <a:lnTo>
                  <a:pt x="616580" y="223616"/>
                </a:lnTo>
                <a:lnTo>
                  <a:pt x="616580" y="219053"/>
                </a:lnTo>
                <a:lnTo>
                  <a:pt x="618864" y="219053"/>
                </a:lnTo>
                <a:lnTo>
                  <a:pt x="625715" y="216771"/>
                </a:lnTo>
                <a:lnTo>
                  <a:pt x="625715" y="221334"/>
                </a:lnTo>
                <a:lnTo>
                  <a:pt x="627999" y="223616"/>
                </a:lnTo>
                <a:lnTo>
                  <a:pt x="630282" y="223616"/>
                </a:lnTo>
                <a:lnTo>
                  <a:pt x="634849" y="225898"/>
                </a:lnTo>
                <a:lnTo>
                  <a:pt x="637133" y="225898"/>
                </a:lnTo>
                <a:lnTo>
                  <a:pt x="639416" y="221334"/>
                </a:lnTo>
                <a:lnTo>
                  <a:pt x="639416" y="219053"/>
                </a:lnTo>
                <a:lnTo>
                  <a:pt x="637133" y="219053"/>
                </a:lnTo>
                <a:lnTo>
                  <a:pt x="634849" y="216771"/>
                </a:lnTo>
                <a:lnTo>
                  <a:pt x="632566" y="209925"/>
                </a:lnTo>
                <a:lnTo>
                  <a:pt x="632566" y="207643"/>
                </a:lnTo>
                <a:lnTo>
                  <a:pt x="632566" y="205361"/>
                </a:lnTo>
                <a:lnTo>
                  <a:pt x="630282" y="200797"/>
                </a:lnTo>
                <a:lnTo>
                  <a:pt x="630282" y="198516"/>
                </a:lnTo>
                <a:lnTo>
                  <a:pt x="630282" y="193952"/>
                </a:lnTo>
                <a:lnTo>
                  <a:pt x="627999" y="189388"/>
                </a:lnTo>
                <a:lnTo>
                  <a:pt x="623431" y="189388"/>
                </a:lnTo>
                <a:lnTo>
                  <a:pt x="616580" y="191670"/>
                </a:lnTo>
                <a:lnTo>
                  <a:pt x="616580" y="189388"/>
                </a:lnTo>
                <a:lnTo>
                  <a:pt x="614297" y="187106"/>
                </a:lnTo>
                <a:lnTo>
                  <a:pt x="614297" y="184824"/>
                </a:lnTo>
                <a:lnTo>
                  <a:pt x="612013" y="182542"/>
                </a:lnTo>
                <a:lnTo>
                  <a:pt x="612013" y="177978"/>
                </a:lnTo>
                <a:lnTo>
                  <a:pt x="614297" y="177978"/>
                </a:lnTo>
                <a:lnTo>
                  <a:pt x="616580" y="173415"/>
                </a:lnTo>
                <a:lnTo>
                  <a:pt x="618864" y="173415"/>
                </a:lnTo>
                <a:lnTo>
                  <a:pt x="621148" y="171133"/>
                </a:lnTo>
                <a:lnTo>
                  <a:pt x="621148" y="168851"/>
                </a:lnTo>
                <a:lnTo>
                  <a:pt x="623431" y="168851"/>
                </a:lnTo>
                <a:lnTo>
                  <a:pt x="630282" y="164287"/>
                </a:lnTo>
                <a:lnTo>
                  <a:pt x="632566" y="162005"/>
                </a:lnTo>
                <a:lnTo>
                  <a:pt x="634849" y="164287"/>
                </a:lnTo>
                <a:lnTo>
                  <a:pt x="637133" y="168851"/>
                </a:lnTo>
                <a:lnTo>
                  <a:pt x="637133" y="171133"/>
                </a:lnTo>
                <a:lnTo>
                  <a:pt x="639416" y="171133"/>
                </a:lnTo>
                <a:lnTo>
                  <a:pt x="639416" y="173415"/>
                </a:lnTo>
                <a:lnTo>
                  <a:pt x="639416" y="175697"/>
                </a:lnTo>
                <a:lnTo>
                  <a:pt x="634849" y="189388"/>
                </a:lnTo>
                <a:lnTo>
                  <a:pt x="653118" y="171133"/>
                </a:lnTo>
                <a:lnTo>
                  <a:pt x="653118" y="173415"/>
                </a:lnTo>
                <a:lnTo>
                  <a:pt x="655402" y="184824"/>
                </a:lnTo>
                <a:lnTo>
                  <a:pt x="659969" y="191670"/>
                </a:lnTo>
                <a:lnTo>
                  <a:pt x="659969" y="193952"/>
                </a:lnTo>
                <a:lnTo>
                  <a:pt x="662252" y="193952"/>
                </a:lnTo>
                <a:lnTo>
                  <a:pt x="664536" y="198516"/>
                </a:lnTo>
                <a:lnTo>
                  <a:pt x="666820" y="203079"/>
                </a:lnTo>
                <a:lnTo>
                  <a:pt x="669103" y="203079"/>
                </a:lnTo>
                <a:lnTo>
                  <a:pt x="673670" y="200797"/>
                </a:lnTo>
                <a:lnTo>
                  <a:pt x="678238" y="198516"/>
                </a:lnTo>
                <a:lnTo>
                  <a:pt x="680521" y="196234"/>
                </a:lnTo>
                <a:lnTo>
                  <a:pt x="687372" y="193952"/>
                </a:lnTo>
                <a:lnTo>
                  <a:pt x="689655" y="193952"/>
                </a:lnTo>
                <a:lnTo>
                  <a:pt x="689655" y="191670"/>
                </a:lnTo>
                <a:lnTo>
                  <a:pt x="687372" y="187106"/>
                </a:lnTo>
                <a:lnTo>
                  <a:pt x="685088" y="184824"/>
                </a:lnTo>
                <a:lnTo>
                  <a:pt x="682805" y="177978"/>
                </a:lnTo>
                <a:lnTo>
                  <a:pt x="685088" y="180260"/>
                </a:lnTo>
                <a:lnTo>
                  <a:pt x="687372" y="177978"/>
                </a:lnTo>
                <a:lnTo>
                  <a:pt x="689655" y="177978"/>
                </a:lnTo>
                <a:lnTo>
                  <a:pt x="691939" y="175697"/>
                </a:lnTo>
                <a:lnTo>
                  <a:pt x="694223" y="173415"/>
                </a:lnTo>
                <a:lnTo>
                  <a:pt x="691939" y="168851"/>
                </a:lnTo>
                <a:lnTo>
                  <a:pt x="691939" y="166569"/>
                </a:lnTo>
                <a:lnTo>
                  <a:pt x="691939" y="168851"/>
                </a:lnTo>
                <a:lnTo>
                  <a:pt x="694223" y="168851"/>
                </a:lnTo>
                <a:lnTo>
                  <a:pt x="696506" y="168851"/>
                </a:lnTo>
                <a:lnTo>
                  <a:pt x="698790" y="171133"/>
                </a:lnTo>
                <a:lnTo>
                  <a:pt x="701074" y="171133"/>
                </a:lnTo>
                <a:lnTo>
                  <a:pt x="703357" y="171133"/>
                </a:lnTo>
                <a:lnTo>
                  <a:pt x="705641" y="168851"/>
                </a:lnTo>
                <a:lnTo>
                  <a:pt x="705641" y="171133"/>
                </a:lnTo>
                <a:lnTo>
                  <a:pt x="707924" y="171133"/>
                </a:lnTo>
                <a:lnTo>
                  <a:pt x="707924" y="173415"/>
                </a:lnTo>
                <a:lnTo>
                  <a:pt x="710208" y="173415"/>
                </a:lnTo>
                <a:lnTo>
                  <a:pt x="712492" y="171133"/>
                </a:lnTo>
                <a:lnTo>
                  <a:pt x="714775" y="164287"/>
                </a:lnTo>
                <a:lnTo>
                  <a:pt x="717059" y="162005"/>
                </a:lnTo>
                <a:lnTo>
                  <a:pt x="717059" y="159723"/>
                </a:lnTo>
                <a:lnTo>
                  <a:pt x="721626" y="175697"/>
                </a:lnTo>
                <a:lnTo>
                  <a:pt x="723909" y="177978"/>
                </a:lnTo>
                <a:lnTo>
                  <a:pt x="719342" y="182542"/>
                </a:lnTo>
                <a:lnTo>
                  <a:pt x="717059" y="182542"/>
                </a:lnTo>
                <a:lnTo>
                  <a:pt x="712492" y="184824"/>
                </a:lnTo>
                <a:lnTo>
                  <a:pt x="710208" y="184824"/>
                </a:lnTo>
                <a:lnTo>
                  <a:pt x="707924" y="184824"/>
                </a:lnTo>
                <a:lnTo>
                  <a:pt x="698790" y="189388"/>
                </a:lnTo>
                <a:lnTo>
                  <a:pt x="703357" y="191670"/>
                </a:lnTo>
                <a:lnTo>
                  <a:pt x="703357" y="196234"/>
                </a:lnTo>
                <a:lnTo>
                  <a:pt x="703357" y="198516"/>
                </a:lnTo>
                <a:lnTo>
                  <a:pt x="703357" y="203079"/>
                </a:lnTo>
                <a:lnTo>
                  <a:pt x="701074" y="209925"/>
                </a:lnTo>
                <a:lnTo>
                  <a:pt x="710208" y="212207"/>
                </a:lnTo>
                <a:lnTo>
                  <a:pt x="712492" y="216771"/>
                </a:lnTo>
                <a:lnTo>
                  <a:pt x="707924" y="216771"/>
                </a:lnTo>
                <a:lnTo>
                  <a:pt x="710208" y="221334"/>
                </a:lnTo>
                <a:lnTo>
                  <a:pt x="696506" y="225898"/>
                </a:lnTo>
                <a:lnTo>
                  <a:pt x="689655" y="228180"/>
                </a:lnTo>
                <a:lnTo>
                  <a:pt x="682805" y="230462"/>
                </a:lnTo>
                <a:lnTo>
                  <a:pt x="675954" y="232744"/>
                </a:lnTo>
                <a:lnTo>
                  <a:pt x="673670" y="237308"/>
                </a:lnTo>
                <a:lnTo>
                  <a:pt x="671387" y="244153"/>
                </a:lnTo>
                <a:lnTo>
                  <a:pt x="669103" y="248717"/>
                </a:lnTo>
                <a:lnTo>
                  <a:pt x="669103" y="250999"/>
                </a:lnTo>
                <a:lnTo>
                  <a:pt x="666820" y="255553"/>
                </a:lnTo>
                <a:lnTo>
                  <a:pt x="669103" y="255553"/>
                </a:lnTo>
                <a:lnTo>
                  <a:pt x="671387" y="257835"/>
                </a:lnTo>
                <a:lnTo>
                  <a:pt x="673670" y="257835"/>
                </a:lnTo>
                <a:lnTo>
                  <a:pt x="675954" y="260117"/>
                </a:lnTo>
                <a:lnTo>
                  <a:pt x="678238" y="260117"/>
                </a:lnTo>
                <a:lnTo>
                  <a:pt x="678238" y="262399"/>
                </a:lnTo>
                <a:lnTo>
                  <a:pt x="678238" y="264681"/>
                </a:lnTo>
                <a:lnTo>
                  <a:pt x="675954" y="264681"/>
                </a:lnTo>
                <a:lnTo>
                  <a:pt x="675954" y="266963"/>
                </a:lnTo>
                <a:lnTo>
                  <a:pt x="673670" y="266963"/>
                </a:lnTo>
                <a:lnTo>
                  <a:pt x="673670" y="269245"/>
                </a:lnTo>
                <a:lnTo>
                  <a:pt x="673670" y="271527"/>
                </a:lnTo>
                <a:lnTo>
                  <a:pt x="671387" y="271527"/>
                </a:lnTo>
                <a:lnTo>
                  <a:pt x="671387" y="273809"/>
                </a:lnTo>
                <a:lnTo>
                  <a:pt x="669103" y="273809"/>
                </a:lnTo>
                <a:lnTo>
                  <a:pt x="669103" y="276090"/>
                </a:lnTo>
                <a:lnTo>
                  <a:pt x="669103" y="278372"/>
                </a:lnTo>
                <a:lnTo>
                  <a:pt x="669103" y="280654"/>
                </a:lnTo>
                <a:lnTo>
                  <a:pt x="666820" y="280654"/>
                </a:lnTo>
                <a:lnTo>
                  <a:pt x="666820" y="282936"/>
                </a:lnTo>
                <a:lnTo>
                  <a:pt x="666820" y="285218"/>
                </a:lnTo>
                <a:lnTo>
                  <a:pt x="664536" y="287500"/>
                </a:lnTo>
                <a:lnTo>
                  <a:pt x="664536" y="289782"/>
                </a:lnTo>
                <a:lnTo>
                  <a:pt x="664536" y="292064"/>
                </a:lnTo>
                <a:lnTo>
                  <a:pt x="662252" y="292064"/>
                </a:lnTo>
                <a:lnTo>
                  <a:pt x="662252" y="294346"/>
                </a:lnTo>
                <a:lnTo>
                  <a:pt x="664536" y="294346"/>
                </a:lnTo>
                <a:lnTo>
                  <a:pt x="666820" y="298909"/>
                </a:lnTo>
                <a:lnTo>
                  <a:pt x="666820" y="301191"/>
                </a:lnTo>
                <a:lnTo>
                  <a:pt x="666820" y="305755"/>
                </a:lnTo>
                <a:lnTo>
                  <a:pt x="664536" y="312601"/>
                </a:lnTo>
                <a:lnTo>
                  <a:pt x="664536" y="314883"/>
                </a:lnTo>
                <a:lnTo>
                  <a:pt x="662252" y="317165"/>
                </a:lnTo>
                <a:lnTo>
                  <a:pt x="662252" y="321728"/>
                </a:lnTo>
                <a:lnTo>
                  <a:pt x="653118" y="317165"/>
                </a:lnTo>
                <a:lnTo>
                  <a:pt x="643984" y="314883"/>
                </a:lnTo>
                <a:lnTo>
                  <a:pt x="641700" y="317165"/>
                </a:lnTo>
                <a:lnTo>
                  <a:pt x="643984" y="317165"/>
                </a:lnTo>
                <a:lnTo>
                  <a:pt x="643984" y="321728"/>
                </a:lnTo>
                <a:lnTo>
                  <a:pt x="641700" y="326292"/>
                </a:lnTo>
                <a:lnTo>
                  <a:pt x="641700" y="330856"/>
                </a:lnTo>
                <a:lnTo>
                  <a:pt x="639416" y="333138"/>
                </a:lnTo>
                <a:lnTo>
                  <a:pt x="639416" y="335420"/>
                </a:lnTo>
                <a:lnTo>
                  <a:pt x="641700" y="344547"/>
                </a:lnTo>
                <a:lnTo>
                  <a:pt x="641700" y="353675"/>
                </a:lnTo>
                <a:lnTo>
                  <a:pt x="641700" y="355957"/>
                </a:lnTo>
                <a:lnTo>
                  <a:pt x="637133" y="367366"/>
                </a:lnTo>
                <a:lnTo>
                  <a:pt x="634849" y="369648"/>
                </a:lnTo>
                <a:lnTo>
                  <a:pt x="634849" y="367366"/>
                </a:lnTo>
                <a:lnTo>
                  <a:pt x="625715" y="367366"/>
                </a:lnTo>
                <a:lnTo>
                  <a:pt x="623431" y="367366"/>
                </a:lnTo>
                <a:lnTo>
                  <a:pt x="618864" y="367366"/>
                </a:lnTo>
                <a:lnTo>
                  <a:pt x="609730" y="367366"/>
                </a:lnTo>
                <a:lnTo>
                  <a:pt x="607446" y="367366"/>
                </a:lnTo>
                <a:lnTo>
                  <a:pt x="602879" y="369648"/>
                </a:lnTo>
                <a:lnTo>
                  <a:pt x="600595" y="371930"/>
                </a:lnTo>
                <a:lnTo>
                  <a:pt x="600595" y="369648"/>
                </a:lnTo>
                <a:lnTo>
                  <a:pt x="596028" y="358239"/>
                </a:lnTo>
                <a:lnTo>
                  <a:pt x="593745" y="358239"/>
                </a:lnTo>
                <a:lnTo>
                  <a:pt x="593745" y="362802"/>
                </a:lnTo>
                <a:lnTo>
                  <a:pt x="591461" y="362802"/>
                </a:lnTo>
                <a:lnTo>
                  <a:pt x="589177" y="362802"/>
                </a:lnTo>
                <a:lnTo>
                  <a:pt x="586894" y="362802"/>
                </a:lnTo>
                <a:lnTo>
                  <a:pt x="577759" y="362802"/>
                </a:lnTo>
                <a:lnTo>
                  <a:pt x="568625" y="360521"/>
                </a:lnTo>
                <a:lnTo>
                  <a:pt x="566341" y="358239"/>
                </a:lnTo>
                <a:lnTo>
                  <a:pt x="564058" y="358239"/>
                </a:lnTo>
                <a:lnTo>
                  <a:pt x="561774" y="355957"/>
                </a:lnTo>
                <a:lnTo>
                  <a:pt x="554923" y="355957"/>
                </a:lnTo>
                <a:lnTo>
                  <a:pt x="554923" y="353675"/>
                </a:lnTo>
                <a:lnTo>
                  <a:pt x="548072" y="353675"/>
                </a:lnTo>
                <a:lnTo>
                  <a:pt x="536655" y="362802"/>
                </a:lnTo>
                <a:lnTo>
                  <a:pt x="532087" y="365084"/>
                </a:lnTo>
                <a:lnTo>
                  <a:pt x="532087" y="371930"/>
                </a:lnTo>
                <a:lnTo>
                  <a:pt x="529804" y="371930"/>
                </a:lnTo>
                <a:lnTo>
                  <a:pt x="529804" y="376494"/>
                </a:lnTo>
                <a:lnTo>
                  <a:pt x="529804" y="378776"/>
                </a:lnTo>
                <a:lnTo>
                  <a:pt x="527520" y="390185"/>
                </a:lnTo>
                <a:lnTo>
                  <a:pt x="522953" y="387903"/>
                </a:lnTo>
                <a:lnTo>
                  <a:pt x="520670" y="387903"/>
                </a:lnTo>
                <a:lnTo>
                  <a:pt x="518386" y="385622"/>
                </a:lnTo>
                <a:lnTo>
                  <a:pt x="513819" y="385622"/>
                </a:lnTo>
                <a:lnTo>
                  <a:pt x="509251" y="390185"/>
                </a:lnTo>
                <a:lnTo>
                  <a:pt x="504684" y="387903"/>
                </a:lnTo>
                <a:lnTo>
                  <a:pt x="500117" y="390185"/>
                </a:lnTo>
                <a:lnTo>
                  <a:pt x="500117" y="392467"/>
                </a:lnTo>
                <a:lnTo>
                  <a:pt x="502401" y="394749"/>
                </a:lnTo>
                <a:lnTo>
                  <a:pt x="504684" y="399313"/>
                </a:lnTo>
                <a:lnTo>
                  <a:pt x="502401" y="399313"/>
                </a:lnTo>
                <a:lnTo>
                  <a:pt x="497833" y="401595"/>
                </a:lnTo>
                <a:lnTo>
                  <a:pt x="500117" y="406158"/>
                </a:lnTo>
                <a:lnTo>
                  <a:pt x="497833" y="408440"/>
                </a:lnTo>
                <a:lnTo>
                  <a:pt x="495550" y="410713"/>
                </a:lnTo>
                <a:lnTo>
                  <a:pt x="495550" y="415277"/>
                </a:lnTo>
                <a:lnTo>
                  <a:pt x="495550" y="417559"/>
                </a:lnTo>
                <a:lnTo>
                  <a:pt x="497833" y="417559"/>
                </a:lnTo>
                <a:lnTo>
                  <a:pt x="500117" y="419840"/>
                </a:lnTo>
                <a:lnTo>
                  <a:pt x="502401" y="422122"/>
                </a:lnTo>
                <a:lnTo>
                  <a:pt x="504684" y="422122"/>
                </a:lnTo>
                <a:lnTo>
                  <a:pt x="506968" y="424404"/>
                </a:lnTo>
                <a:lnTo>
                  <a:pt x="506968" y="426686"/>
                </a:lnTo>
                <a:lnTo>
                  <a:pt x="506968" y="428968"/>
                </a:lnTo>
                <a:lnTo>
                  <a:pt x="506968" y="431250"/>
                </a:lnTo>
                <a:lnTo>
                  <a:pt x="506968" y="433532"/>
                </a:lnTo>
                <a:lnTo>
                  <a:pt x="506968" y="435814"/>
                </a:lnTo>
                <a:lnTo>
                  <a:pt x="506968" y="438096"/>
                </a:lnTo>
                <a:lnTo>
                  <a:pt x="509251" y="438096"/>
                </a:lnTo>
                <a:lnTo>
                  <a:pt x="509251" y="435814"/>
                </a:lnTo>
                <a:lnTo>
                  <a:pt x="511535" y="435814"/>
                </a:lnTo>
                <a:lnTo>
                  <a:pt x="511535" y="438096"/>
                </a:lnTo>
                <a:lnTo>
                  <a:pt x="511535" y="440377"/>
                </a:lnTo>
                <a:lnTo>
                  <a:pt x="509251" y="440377"/>
                </a:lnTo>
                <a:lnTo>
                  <a:pt x="509251" y="442659"/>
                </a:lnTo>
                <a:lnTo>
                  <a:pt x="509251" y="444941"/>
                </a:lnTo>
                <a:lnTo>
                  <a:pt x="509251" y="447223"/>
                </a:lnTo>
                <a:lnTo>
                  <a:pt x="509251" y="449505"/>
                </a:lnTo>
                <a:lnTo>
                  <a:pt x="509251" y="451787"/>
                </a:lnTo>
                <a:lnTo>
                  <a:pt x="509251" y="454069"/>
                </a:lnTo>
                <a:lnTo>
                  <a:pt x="509251" y="456351"/>
                </a:lnTo>
                <a:lnTo>
                  <a:pt x="509251" y="458633"/>
                </a:lnTo>
                <a:lnTo>
                  <a:pt x="511535" y="458633"/>
                </a:lnTo>
                <a:lnTo>
                  <a:pt x="513819" y="458633"/>
                </a:lnTo>
                <a:lnTo>
                  <a:pt x="516102" y="458633"/>
                </a:lnTo>
                <a:lnTo>
                  <a:pt x="520670" y="460915"/>
                </a:lnTo>
                <a:lnTo>
                  <a:pt x="525237" y="460915"/>
                </a:lnTo>
                <a:lnTo>
                  <a:pt x="527520" y="463196"/>
                </a:lnTo>
                <a:lnTo>
                  <a:pt x="532087" y="463196"/>
                </a:lnTo>
                <a:lnTo>
                  <a:pt x="534371" y="465478"/>
                </a:lnTo>
                <a:lnTo>
                  <a:pt x="536655" y="465478"/>
                </a:lnTo>
                <a:lnTo>
                  <a:pt x="543505" y="467760"/>
                </a:lnTo>
                <a:lnTo>
                  <a:pt x="543505" y="470042"/>
                </a:lnTo>
                <a:lnTo>
                  <a:pt x="543505" y="472324"/>
                </a:lnTo>
                <a:lnTo>
                  <a:pt x="543505" y="474606"/>
                </a:lnTo>
                <a:lnTo>
                  <a:pt x="543505" y="476888"/>
                </a:lnTo>
                <a:lnTo>
                  <a:pt x="543505" y="479170"/>
                </a:lnTo>
                <a:lnTo>
                  <a:pt x="543505" y="481452"/>
                </a:lnTo>
                <a:lnTo>
                  <a:pt x="543505" y="483734"/>
                </a:lnTo>
                <a:lnTo>
                  <a:pt x="543505" y="486015"/>
                </a:lnTo>
                <a:lnTo>
                  <a:pt x="548072" y="488297"/>
                </a:lnTo>
                <a:lnTo>
                  <a:pt x="552640" y="490579"/>
                </a:lnTo>
                <a:lnTo>
                  <a:pt x="554923" y="490579"/>
                </a:lnTo>
                <a:lnTo>
                  <a:pt x="557207" y="490579"/>
                </a:lnTo>
                <a:lnTo>
                  <a:pt x="561774" y="492861"/>
                </a:lnTo>
                <a:lnTo>
                  <a:pt x="561774" y="497425"/>
                </a:lnTo>
                <a:lnTo>
                  <a:pt x="568625" y="501989"/>
                </a:lnTo>
                <a:lnTo>
                  <a:pt x="570909" y="501989"/>
                </a:lnTo>
                <a:lnTo>
                  <a:pt x="575476" y="506552"/>
                </a:lnTo>
                <a:lnTo>
                  <a:pt x="580043" y="501989"/>
                </a:lnTo>
                <a:lnTo>
                  <a:pt x="586894" y="499707"/>
                </a:lnTo>
                <a:lnTo>
                  <a:pt x="591461" y="497425"/>
                </a:lnTo>
                <a:lnTo>
                  <a:pt x="598312" y="497425"/>
                </a:lnTo>
                <a:lnTo>
                  <a:pt x="600595" y="495143"/>
                </a:lnTo>
                <a:lnTo>
                  <a:pt x="602879" y="495143"/>
                </a:lnTo>
                <a:lnTo>
                  <a:pt x="605162" y="495143"/>
                </a:lnTo>
                <a:lnTo>
                  <a:pt x="607446" y="492861"/>
                </a:lnTo>
                <a:lnTo>
                  <a:pt x="609730" y="492861"/>
                </a:lnTo>
                <a:lnTo>
                  <a:pt x="614297" y="501989"/>
                </a:lnTo>
                <a:lnTo>
                  <a:pt x="614297" y="508834"/>
                </a:lnTo>
                <a:lnTo>
                  <a:pt x="618864" y="506552"/>
                </a:lnTo>
                <a:lnTo>
                  <a:pt x="623431" y="506552"/>
                </a:lnTo>
                <a:lnTo>
                  <a:pt x="623431" y="508834"/>
                </a:lnTo>
                <a:lnTo>
                  <a:pt x="625715" y="511116"/>
                </a:lnTo>
                <a:lnTo>
                  <a:pt x="625715" y="513398"/>
                </a:lnTo>
                <a:lnTo>
                  <a:pt x="625715" y="517962"/>
                </a:lnTo>
                <a:lnTo>
                  <a:pt x="627999" y="520244"/>
                </a:lnTo>
                <a:lnTo>
                  <a:pt x="627999" y="522526"/>
                </a:lnTo>
                <a:lnTo>
                  <a:pt x="627999" y="524808"/>
                </a:lnTo>
                <a:lnTo>
                  <a:pt x="630282" y="527090"/>
                </a:lnTo>
                <a:lnTo>
                  <a:pt x="630282" y="529371"/>
                </a:lnTo>
                <a:lnTo>
                  <a:pt x="625715" y="531653"/>
                </a:lnTo>
                <a:lnTo>
                  <a:pt x="618864" y="533935"/>
                </a:lnTo>
                <a:lnTo>
                  <a:pt x="609730" y="538499"/>
                </a:lnTo>
                <a:lnTo>
                  <a:pt x="607446" y="538499"/>
                </a:lnTo>
                <a:lnTo>
                  <a:pt x="607446" y="540781"/>
                </a:lnTo>
                <a:lnTo>
                  <a:pt x="605162" y="540781"/>
                </a:lnTo>
                <a:lnTo>
                  <a:pt x="602879" y="545345"/>
                </a:lnTo>
                <a:lnTo>
                  <a:pt x="600595" y="545345"/>
                </a:lnTo>
                <a:lnTo>
                  <a:pt x="602879" y="547627"/>
                </a:lnTo>
                <a:lnTo>
                  <a:pt x="602879" y="549908"/>
                </a:lnTo>
                <a:lnTo>
                  <a:pt x="600595" y="549908"/>
                </a:lnTo>
                <a:lnTo>
                  <a:pt x="598312" y="554472"/>
                </a:lnTo>
                <a:lnTo>
                  <a:pt x="596028" y="556754"/>
                </a:lnTo>
                <a:lnTo>
                  <a:pt x="596028" y="559036"/>
                </a:lnTo>
                <a:lnTo>
                  <a:pt x="593745" y="563600"/>
                </a:lnTo>
                <a:lnTo>
                  <a:pt x="593745" y="568164"/>
                </a:lnTo>
                <a:lnTo>
                  <a:pt x="593745" y="575000"/>
                </a:lnTo>
                <a:lnTo>
                  <a:pt x="593745" y="579564"/>
                </a:lnTo>
                <a:lnTo>
                  <a:pt x="589177" y="577282"/>
                </a:lnTo>
                <a:lnTo>
                  <a:pt x="582326" y="577282"/>
                </a:lnTo>
                <a:lnTo>
                  <a:pt x="580043" y="577282"/>
                </a:lnTo>
                <a:lnTo>
                  <a:pt x="573192" y="577282"/>
                </a:lnTo>
                <a:lnTo>
                  <a:pt x="570909" y="577282"/>
                </a:lnTo>
                <a:lnTo>
                  <a:pt x="566341" y="577282"/>
                </a:lnTo>
                <a:lnTo>
                  <a:pt x="561774" y="575000"/>
                </a:lnTo>
                <a:lnTo>
                  <a:pt x="557207" y="572718"/>
                </a:lnTo>
                <a:lnTo>
                  <a:pt x="554923" y="572718"/>
                </a:lnTo>
                <a:lnTo>
                  <a:pt x="552640" y="575000"/>
                </a:lnTo>
                <a:lnTo>
                  <a:pt x="550356" y="575000"/>
                </a:lnTo>
                <a:lnTo>
                  <a:pt x="550356" y="572718"/>
                </a:lnTo>
                <a:lnTo>
                  <a:pt x="548072" y="572718"/>
                </a:lnTo>
                <a:lnTo>
                  <a:pt x="548072" y="577282"/>
                </a:lnTo>
                <a:lnTo>
                  <a:pt x="545789" y="577282"/>
                </a:lnTo>
                <a:lnTo>
                  <a:pt x="545789" y="579564"/>
                </a:lnTo>
                <a:lnTo>
                  <a:pt x="545789" y="581846"/>
                </a:lnTo>
                <a:lnTo>
                  <a:pt x="545789" y="584127"/>
                </a:lnTo>
                <a:lnTo>
                  <a:pt x="545789" y="586409"/>
                </a:lnTo>
                <a:lnTo>
                  <a:pt x="548072" y="590973"/>
                </a:lnTo>
                <a:lnTo>
                  <a:pt x="545789" y="588691"/>
                </a:lnTo>
                <a:lnTo>
                  <a:pt x="543505" y="588691"/>
                </a:lnTo>
                <a:lnTo>
                  <a:pt x="541222" y="588691"/>
                </a:lnTo>
                <a:lnTo>
                  <a:pt x="538938" y="588691"/>
                </a:lnTo>
                <a:lnTo>
                  <a:pt x="536655" y="588691"/>
                </a:lnTo>
                <a:lnTo>
                  <a:pt x="534371" y="588691"/>
                </a:lnTo>
                <a:lnTo>
                  <a:pt x="532087" y="586409"/>
                </a:lnTo>
                <a:lnTo>
                  <a:pt x="529804" y="586409"/>
                </a:lnTo>
                <a:lnTo>
                  <a:pt x="527520" y="586409"/>
                </a:lnTo>
                <a:lnTo>
                  <a:pt x="527520" y="584127"/>
                </a:lnTo>
                <a:lnTo>
                  <a:pt x="527520" y="581846"/>
                </a:lnTo>
                <a:lnTo>
                  <a:pt x="527520" y="579564"/>
                </a:lnTo>
                <a:lnTo>
                  <a:pt x="527520" y="577282"/>
                </a:lnTo>
                <a:lnTo>
                  <a:pt x="525237" y="577282"/>
                </a:lnTo>
                <a:lnTo>
                  <a:pt x="525237" y="581846"/>
                </a:lnTo>
                <a:lnTo>
                  <a:pt x="522953" y="581846"/>
                </a:lnTo>
                <a:lnTo>
                  <a:pt x="522953" y="579564"/>
                </a:lnTo>
                <a:lnTo>
                  <a:pt x="522953" y="577282"/>
                </a:lnTo>
                <a:lnTo>
                  <a:pt x="520670" y="575000"/>
                </a:lnTo>
                <a:lnTo>
                  <a:pt x="518386" y="575000"/>
                </a:lnTo>
                <a:lnTo>
                  <a:pt x="516102" y="575000"/>
                </a:lnTo>
                <a:lnTo>
                  <a:pt x="513819" y="572718"/>
                </a:lnTo>
                <a:lnTo>
                  <a:pt x="511535" y="572718"/>
                </a:lnTo>
                <a:lnTo>
                  <a:pt x="511535" y="570436"/>
                </a:lnTo>
                <a:lnTo>
                  <a:pt x="509251" y="570436"/>
                </a:lnTo>
                <a:lnTo>
                  <a:pt x="506968" y="570436"/>
                </a:lnTo>
                <a:lnTo>
                  <a:pt x="506968" y="572718"/>
                </a:lnTo>
                <a:lnTo>
                  <a:pt x="506968" y="575000"/>
                </a:lnTo>
                <a:lnTo>
                  <a:pt x="506968" y="577282"/>
                </a:lnTo>
                <a:lnTo>
                  <a:pt x="504684" y="579564"/>
                </a:lnTo>
                <a:lnTo>
                  <a:pt x="504684" y="581846"/>
                </a:lnTo>
                <a:lnTo>
                  <a:pt x="504684" y="584127"/>
                </a:lnTo>
                <a:lnTo>
                  <a:pt x="504684" y="588691"/>
                </a:lnTo>
                <a:lnTo>
                  <a:pt x="504684" y="590973"/>
                </a:lnTo>
                <a:lnTo>
                  <a:pt x="506968" y="590973"/>
                </a:lnTo>
                <a:lnTo>
                  <a:pt x="506968" y="593255"/>
                </a:lnTo>
                <a:lnTo>
                  <a:pt x="504684" y="595537"/>
                </a:lnTo>
                <a:lnTo>
                  <a:pt x="506968" y="595537"/>
                </a:lnTo>
                <a:lnTo>
                  <a:pt x="506968" y="597819"/>
                </a:lnTo>
                <a:lnTo>
                  <a:pt x="506968" y="600101"/>
                </a:lnTo>
                <a:lnTo>
                  <a:pt x="509251" y="602383"/>
                </a:lnTo>
                <a:lnTo>
                  <a:pt x="506968" y="604664"/>
                </a:lnTo>
                <a:lnTo>
                  <a:pt x="506968" y="606946"/>
                </a:lnTo>
                <a:lnTo>
                  <a:pt x="504684" y="606946"/>
                </a:lnTo>
                <a:lnTo>
                  <a:pt x="497833" y="606946"/>
                </a:lnTo>
                <a:lnTo>
                  <a:pt x="500117" y="606946"/>
                </a:lnTo>
                <a:lnTo>
                  <a:pt x="500117" y="609228"/>
                </a:lnTo>
                <a:lnTo>
                  <a:pt x="497833" y="609228"/>
                </a:lnTo>
                <a:lnTo>
                  <a:pt x="497833" y="611510"/>
                </a:lnTo>
                <a:lnTo>
                  <a:pt x="497833" y="613792"/>
                </a:lnTo>
                <a:lnTo>
                  <a:pt x="497833" y="611510"/>
                </a:lnTo>
                <a:lnTo>
                  <a:pt x="495550" y="611510"/>
                </a:lnTo>
                <a:lnTo>
                  <a:pt x="495550" y="613792"/>
                </a:lnTo>
                <a:lnTo>
                  <a:pt x="493266" y="613792"/>
                </a:lnTo>
                <a:lnTo>
                  <a:pt x="493266" y="616074"/>
                </a:lnTo>
                <a:lnTo>
                  <a:pt x="490983" y="613792"/>
                </a:lnTo>
                <a:lnTo>
                  <a:pt x="490983" y="616074"/>
                </a:lnTo>
                <a:lnTo>
                  <a:pt x="490983" y="618356"/>
                </a:lnTo>
                <a:lnTo>
                  <a:pt x="488699" y="618356"/>
                </a:lnTo>
                <a:lnTo>
                  <a:pt x="493266" y="625202"/>
                </a:lnTo>
                <a:lnTo>
                  <a:pt x="477281" y="627483"/>
                </a:lnTo>
                <a:lnTo>
                  <a:pt x="474997" y="627483"/>
                </a:lnTo>
                <a:lnTo>
                  <a:pt x="474997" y="632047"/>
                </a:lnTo>
                <a:lnTo>
                  <a:pt x="468147" y="632047"/>
                </a:lnTo>
                <a:lnTo>
                  <a:pt x="465863" y="632047"/>
                </a:lnTo>
                <a:lnTo>
                  <a:pt x="463580" y="634329"/>
                </a:lnTo>
                <a:lnTo>
                  <a:pt x="459012" y="632047"/>
                </a:lnTo>
                <a:lnTo>
                  <a:pt x="459012" y="636611"/>
                </a:lnTo>
                <a:lnTo>
                  <a:pt x="456729" y="641175"/>
                </a:lnTo>
                <a:lnTo>
                  <a:pt x="452162" y="659430"/>
                </a:lnTo>
                <a:lnTo>
                  <a:pt x="456729" y="659430"/>
                </a:lnTo>
                <a:lnTo>
                  <a:pt x="456729" y="661712"/>
                </a:lnTo>
                <a:lnTo>
                  <a:pt x="459012" y="668558"/>
                </a:lnTo>
                <a:lnTo>
                  <a:pt x="459012" y="670839"/>
                </a:lnTo>
                <a:lnTo>
                  <a:pt x="459012" y="673121"/>
                </a:lnTo>
                <a:lnTo>
                  <a:pt x="461296" y="677685"/>
                </a:lnTo>
                <a:lnTo>
                  <a:pt x="459012" y="677685"/>
                </a:lnTo>
                <a:lnTo>
                  <a:pt x="456729" y="677685"/>
                </a:lnTo>
                <a:lnTo>
                  <a:pt x="454445" y="677685"/>
                </a:lnTo>
                <a:lnTo>
                  <a:pt x="452162" y="677685"/>
                </a:lnTo>
                <a:lnTo>
                  <a:pt x="449878" y="679967"/>
                </a:lnTo>
                <a:lnTo>
                  <a:pt x="443027" y="679967"/>
                </a:lnTo>
                <a:lnTo>
                  <a:pt x="438460" y="682249"/>
                </a:lnTo>
                <a:lnTo>
                  <a:pt x="436176" y="684531"/>
                </a:lnTo>
                <a:lnTo>
                  <a:pt x="438460" y="686813"/>
                </a:lnTo>
                <a:lnTo>
                  <a:pt x="436176" y="686813"/>
                </a:lnTo>
                <a:lnTo>
                  <a:pt x="429326" y="689095"/>
                </a:lnTo>
                <a:lnTo>
                  <a:pt x="429326" y="695940"/>
                </a:lnTo>
                <a:lnTo>
                  <a:pt x="429326" y="698222"/>
                </a:lnTo>
                <a:lnTo>
                  <a:pt x="427042" y="698222"/>
                </a:lnTo>
                <a:lnTo>
                  <a:pt x="429326" y="700504"/>
                </a:lnTo>
                <a:lnTo>
                  <a:pt x="429326" y="705068"/>
                </a:lnTo>
                <a:lnTo>
                  <a:pt x="429326" y="709632"/>
                </a:lnTo>
                <a:lnTo>
                  <a:pt x="429326" y="711914"/>
                </a:lnTo>
                <a:lnTo>
                  <a:pt x="429326" y="714196"/>
                </a:lnTo>
                <a:lnTo>
                  <a:pt x="427042" y="716477"/>
                </a:lnTo>
                <a:lnTo>
                  <a:pt x="427042" y="718750"/>
                </a:lnTo>
                <a:lnTo>
                  <a:pt x="427042" y="721032"/>
                </a:lnTo>
                <a:lnTo>
                  <a:pt x="424758" y="723323"/>
                </a:lnTo>
                <a:lnTo>
                  <a:pt x="424758" y="725595"/>
                </a:lnTo>
                <a:lnTo>
                  <a:pt x="422475" y="725595"/>
                </a:lnTo>
                <a:lnTo>
                  <a:pt x="420191" y="723323"/>
                </a:lnTo>
                <a:lnTo>
                  <a:pt x="417908" y="723323"/>
                </a:lnTo>
                <a:lnTo>
                  <a:pt x="415624" y="723323"/>
                </a:lnTo>
                <a:lnTo>
                  <a:pt x="415624" y="721032"/>
                </a:lnTo>
                <a:lnTo>
                  <a:pt x="415624" y="718750"/>
                </a:lnTo>
                <a:lnTo>
                  <a:pt x="413341" y="718750"/>
                </a:lnTo>
                <a:lnTo>
                  <a:pt x="411057" y="718750"/>
                </a:lnTo>
                <a:lnTo>
                  <a:pt x="408773" y="718750"/>
                </a:lnTo>
                <a:lnTo>
                  <a:pt x="406490" y="718750"/>
                </a:lnTo>
                <a:lnTo>
                  <a:pt x="406490" y="721032"/>
                </a:lnTo>
                <a:lnTo>
                  <a:pt x="406490" y="723323"/>
                </a:lnTo>
                <a:lnTo>
                  <a:pt x="404206" y="723323"/>
                </a:lnTo>
                <a:lnTo>
                  <a:pt x="399639" y="723323"/>
                </a:lnTo>
                <a:lnTo>
                  <a:pt x="401922" y="723323"/>
                </a:lnTo>
                <a:lnTo>
                  <a:pt x="401922" y="725595"/>
                </a:lnTo>
                <a:lnTo>
                  <a:pt x="399639" y="727877"/>
                </a:lnTo>
                <a:lnTo>
                  <a:pt x="399639" y="725595"/>
                </a:lnTo>
                <a:lnTo>
                  <a:pt x="397355" y="725595"/>
                </a:lnTo>
                <a:lnTo>
                  <a:pt x="397355" y="727877"/>
                </a:lnTo>
                <a:lnTo>
                  <a:pt x="395072" y="727877"/>
                </a:lnTo>
                <a:lnTo>
                  <a:pt x="395072" y="730159"/>
                </a:lnTo>
                <a:lnTo>
                  <a:pt x="395072" y="732441"/>
                </a:lnTo>
                <a:lnTo>
                  <a:pt x="395072" y="734723"/>
                </a:lnTo>
                <a:lnTo>
                  <a:pt x="395072" y="737005"/>
                </a:lnTo>
                <a:lnTo>
                  <a:pt x="397355" y="737005"/>
                </a:lnTo>
                <a:lnTo>
                  <a:pt x="397355" y="739287"/>
                </a:lnTo>
                <a:lnTo>
                  <a:pt x="399639" y="739287"/>
                </a:lnTo>
                <a:lnTo>
                  <a:pt x="397355" y="739287"/>
                </a:lnTo>
                <a:lnTo>
                  <a:pt x="397355" y="741569"/>
                </a:lnTo>
                <a:lnTo>
                  <a:pt x="395072" y="741569"/>
                </a:lnTo>
                <a:lnTo>
                  <a:pt x="395072" y="743851"/>
                </a:lnTo>
                <a:lnTo>
                  <a:pt x="392788" y="743851"/>
                </a:lnTo>
                <a:lnTo>
                  <a:pt x="392788" y="741569"/>
                </a:lnTo>
                <a:lnTo>
                  <a:pt x="392788" y="739287"/>
                </a:lnTo>
                <a:lnTo>
                  <a:pt x="390504" y="739287"/>
                </a:lnTo>
                <a:lnTo>
                  <a:pt x="390504" y="737005"/>
                </a:lnTo>
                <a:lnTo>
                  <a:pt x="388221" y="737005"/>
                </a:lnTo>
                <a:lnTo>
                  <a:pt x="385937" y="737005"/>
                </a:lnTo>
                <a:lnTo>
                  <a:pt x="383654" y="737005"/>
                </a:lnTo>
                <a:lnTo>
                  <a:pt x="383654" y="734723"/>
                </a:lnTo>
                <a:lnTo>
                  <a:pt x="383654" y="732441"/>
                </a:lnTo>
                <a:lnTo>
                  <a:pt x="381370" y="732441"/>
                </a:lnTo>
                <a:lnTo>
                  <a:pt x="381370" y="730159"/>
                </a:lnTo>
                <a:lnTo>
                  <a:pt x="379087" y="730159"/>
                </a:lnTo>
                <a:lnTo>
                  <a:pt x="379087" y="727877"/>
                </a:lnTo>
                <a:lnTo>
                  <a:pt x="379087" y="725595"/>
                </a:lnTo>
                <a:lnTo>
                  <a:pt x="379087" y="723323"/>
                </a:lnTo>
                <a:lnTo>
                  <a:pt x="379087" y="721032"/>
                </a:lnTo>
                <a:lnTo>
                  <a:pt x="379087" y="718750"/>
                </a:lnTo>
                <a:lnTo>
                  <a:pt x="376803" y="718750"/>
                </a:lnTo>
                <a:lnTo>
                  <a:pt x="376803" y="716477"/>
                </a:lnTo>
                <a:lnTo>
                  <a:pt x="376803" y="714196"/>
                </a:lnTo>
                <a:lnTo>
                  <a:pt x="376803" y="711914"/>
                </a:lnTo>
                <a:lnTo>
                  <a:pt x="374519" y="711914"/>
                </a:lnTo>
                <a:lnTo>
                  <a:pt x="374519" y="709632"/>
                </a:lnTo>
                <a:lnTo>
                  <a:pt x="372236" y="709632"/>
                </a:lnTo>
                <a:lnTo>
                  <a:pt x="369952" y="709632"/>
                </a:lnTo>
                <a:lnTo>
                  <a:pt x="367668" y="709632"/>
                </a:lnTo>
                <a:lnTo>
                  <a:pt x="367668" y="711914"/>
                </a:lnTo>
                <a:lnTo>
                  <a:pt x="367668" y="714196"/>
                </a:lnTo>
                <a:lnTo>
                  <a:pt x="369952" y="714196"/>
                </a:lnTo>
                <a:lnTo>
                  <a:pt x="369952" y="716477"/>
                </a:lnTo>
                <a:lnTo>
                  <a:pt x="369952" y="718750"/>
                </a:lnTo>
                <a:lnTo>
                  <a:pt x="372236" y="718750"/>
                </a:lnTo>
                <a:lnTo>
                  <a:pt x="372236" y="721032"/>
                </a:lnTo>
                <a:lnTo>
                  <a:pt x="372236" y="723323"/>
                </a:lnTo>
                <a:lnTo>
                  <a:pt x="372236" y="725595"/>
                </a:lnTo>
                <a:lnTo>
                  <a:pt x="374519" y="725595"/>
                </a:lnTo>
                <a:lnTo>
                  <a:pt x="374519" y="727877"/>
                </a:lnTo>
                <a:lnTo>
                  <a:pt x="372236" y="727877"/>
                </a:lnTo>
                <a:lnTo>
                  <a:pt x="369952" y="727877"/>
                </a:lnTo>
                <a:lnTo>
                  <a:pt x="369952" y="725595"/>
                </a:lnTo>
                <a:lnTo>
                  <a:pt x="367668" y="725595"/>
                </a:lnTo>
                <a:lnTo>
                  <a:pt x="365385" y="725595"/>
                </a:lnTo>
                <a:lnTo>
                  <a:pt x="365385" y="727877"/>
                </a:lnTo>
                <a:lnTo>
                  <a:pt x="363101" y="727877"/>
                </a:lnTo>
                <a:lnTo>
                  <a:pt x="360818" y="727877"/>
                </a:lnTo>
                <a:lnTo>
                  <a:pt x="358534" y="727877"/>
                </a:lnTo>
                <a:lnTo>
                  <a:pt x="356251" y="727877"/>
                </a:lnTo>
                <a:lnTo>
                  <a:pt x="353967" y="727877"/>
                </a:lnTo>
                <a:lnTo>
                  <a:pt x="353967" y="725595"/>
                </a:lnTo>
                <a:lnTo>
                  <a:pt x="353967" y="723323"/>
                </a:lnTo>
                <a:lnTo>
                  <a:pt x="353967" y="721032"/>
                </a:lnTo>
                <a:lnTo>
                  <a:pt x="353967" y="718750"/>
                </a:lnTo>
                <a:lnTo>
                  <a:pt x="356251" y="718750"/>
                </a:lnTo>
                <a:lnTo>
                  <a:pt x="356251" y="716477"/>
                </a:lnTo>
                <a:lnTo>
                  <a:pt x="356251" y="714196"/>
                </a:lnTo>
                <a:lnTo>
                  <a:pt x="353967" y="714196"/>
                </a:lnTo>
                <a:lnTo>
                  <a:pt x="353967" y="711914"/>
                </a:lnTo>
                <a:lnTo>
                  <a:pt x="353967" y="709632"/>
                </a:lnTo>
                <a:lnTo>
                  <a:pt x="351683" y="709632"/>
                </a:lnTo>
                <a:lnTo>
                  <a:pt x="349400" y="709632"/>
                </a:lnTo>
                <a:lnTo>
                  <a:pt x="349400" y="707350"/>
                </a:lnTo>
                <a:lnTo>
                  <a:pt x="347116" y="707350"/>
                </a:lnTo>
                <a:lnTo>
                  <a:pt x="344833" y="707350"/>
                </a:lnTo>
                <a:lnTo>
                  <a:pt x="342549" y="707350"/>
                </a:lnTo>
                <a:lnTo>
                  <a:pt x="340265" y="707350"/>
                </a:lnTo>
                <a:lnTo>
                  <a:pt x="340265" y="705068"/>
                </a:lnTo>
                <a:lnTo>
                  <a:pt x="337982" y="705068"/>
                </a:lnTo>
                <a:lnTo>
                  <a:pt x="337982" y="702786"/>
                </a:lnTo>
                <a:lnTo>
                  <a:pt x="335698" y="702786"/>
                </a:lnTo>
                <a:lnTo>
                  <a:pt x="335698" y="700504"/>
                </a:lnTo>
                <a:lnTo>
                  <a:pt x="333414" y="700504"/>
                </a:lnTo>
                <a:lnTo>
                  <a:pt x="333414" y="698222"/>
                </a:lnTo>
                <a:lnTo>
                  <a:pt x="331131" y="698222"/>
                </a:lnTo>
                <a:lnTo>
                  <a:pt x="328847" y="698222"/>
                </a:lnTo>
                <a:lnTo>
                  <a:pt x="328847" y="695940"/>
                </a:lnTo>
                <a:lnTo>
                  <a:pt x="328847" y="693658"/>
                </a:lnTo>
                <a:lnTo>
                  <a:pt x="328847" y="691376"/>
                </a:lnTo>
                <a:lnTo>
                  <a:pt x="326564" y="691376"/>
                </a:lnTo>
                <a:lnTo>
                  <a:pt x="324280" y="691376"/>
                </a:lnTo>
                <a:lnTo>
                  <a:pt x="324280" y="689095"/>
                </a:lnTo>
                <a:lnTo>
                  <a:pt x="321997" y="689095"/>
                </a:lnTo>
                <a:lnTo>
                  <a:pt x="319713" y="689095"/>
                </a:lnTo>
                <a:lnTo>
                  <a:pt x="317429" y="689095"/>
                </a:lnTo>
                <a:lnTo>
                  <a:pt x="315146" y="689095"/>
                </a:lnTo>
                <a:lnTo>
                  <a:pt x="315146" y="686813"/>
                </a:lnTo>
                <a:lnTo>
                  <a:pt x="317429" y="686813"/>
                </a:lnTo>
                <a:lnTo>
                  <a:pt x="319713" y="686813"/>
                </a:lnTo>
                <a:lnTo>
                  <a:pt x="319713" y="684531"/>
                </a:lnTo>
                <a:lnTo>
                  <a:pt x="321997" y="684531"/>
                </a:lnTo>
                <a:lnTo>
                  <a:pt x="321997" y="682249"/>
                </a:lnTo>
                <a:lnTo>
                  <a:pt x="319713" y="682249"/>
                </a:lnTo>
                <a:lnTo>
                  <a:pt x="317429" y="682249"/>
                </a:lnTo>
                <a:lnTo>
                  <a:pt x="317429" y="679967"/>
                </a:lnTo>
                <a:lnTo>
                  <a:pt x="315146" y="679967"/>
                </a:lnTo>
                <a:lnTo>
                  <a:pt x="312862" y="679967"/>
                </a:lnTo>
                <a:lnTo>
                  <a:pt x="312862" y="677685"/>
                </a:lnTo>
                <a:lnTo>
                  <a:pt x="312862" y="675403"/>
                </a:lnTo>
                <a:lnTo>
                  <a:pt x="312862" y="673121"/>
                </a:lnTo>
                <a:lnTo>
                  <a:pt x="312862" y="670839"/>
                </a:lnTo>
                <a:lnTo>
                  <a:pt x="310579" y="670839"/>
                </a:lnTo>
                <a:lnTo>
                  <a:pt x="310579" y="668558"/>
                </a:lnTo>
                <a:lnTo>
                  <a:pt x="310579" y="666276"/>
                </a:lnTo>
                <a:lnTo>
                  <a:pt x="308295" y="666276"/>
                </a:lnTo>
                <a:lnTo>
                  <a:pt x="308295" y="663994"/>
                </a:lnTo>
                <a:lnTo>
                  <a:pt x="308295" y="661712"/>
                </a:lnTo>
                <a:lnTo>
                  <a:pt x="308295" y="659430"/>
                </a:lnTo>
                <a:lnTo>
                  <a:pt x="308295" y="657148"/>
                </a:lnTo>
                <a:lnTo>
                  <a:pt x="310579" y="657148"/>
                </a:lnTo>
                <a:lnTo>
                  <a:pt x="310579" y="654866"/>
                </a:lnTo>
                <a:lnTo>
                  <a:pt x="310579" y="652584"/>
                </a:lnTo>
                <a:lnTo>
                  <a:pt x="310579" y="650302"/>
                </a:lnTo>
                <a:lnTo>
                  <a:pt x="310579" y="648020"/>
                </a:lnTo>
                <a:lnTo>
                  <a:pt x="310579" y="645739"/>
                </a:lnTo>
                <a:lnTo>
                  <a:pt x="308295" y="645739"/>
                </a:lnTo>
                <a:lnTo>
                  <a:pt x="308295" y="643457"/>
                </a:lnTo>
                <a:lnTo>
                  <a:pt x="306012" y="643457"/>
                </a:lnTo>
                <a:lnTo>
                  <a:pt x="306012" y="641175"/>
                </a:lnTo>
                <a:lnTo>
                  <a:pt x="303728" y="641175"/>
                </a:lnTo>
                <a:lnTo>
                  <a:pt x="303728" y="638893"/>
                </a:lnTo>
                <a:lnTo>
                  <a:pt x="301444" y="638893"/>
                </a:lnTo>
                <a:lnTo>
                  <a:pt x="301444" y="636611"/>
                </a:lnTo>
                <a:lnTo>
                  <a:pt x="299161" y="636611"/>
                </a:lnTo>
                <a:lnTo>
                  <a:pt x="299161" y="638893"/>
                </a:lnTo>
                <a:lnTo>
                  <a:pt x="296877" y="638893"/>
                </a:lnTo>
                <a:lnTo>
                  <a:pt x="294593" y="638893"/>
                </a:lnTo>
                <a:lnTo>
                  <a:pt x="292310" y="638893"/>
                </a:lnTo>
                <a:lnTo>
                  <a:pt x="290026" y="638893"/>
                </a:lnTo>
                <a:lnTo>
                  <a:pt x="290026" y="641175"/>
                </a:lnTo>
                <a:lnTo>
                  <a:pt x="287743" y="641175"/>
                </a:lnTo>
                <a:lnTo>
                  <a:pt x="287743" y="643457"/>
                </a:lnTo>
                <a:lnTo>
                  <a:pt x="287743" y="645739"/>
                </a:lnTo>
                <a:lnTo>
                  <a:pt x="287743" y="648020"/>
                </a:lnTo>
                <a:lnTo>
                  <a:pt x="285459" y="648020"/>
                </a:lnTo>
                <a:lnTo>
                  <a:pt x="285459" y="650302"/>
                </a:lnTo>
                <a:lnTo>
                  <a:pt x="283175" y="650302"/>
                </a:lnTo>
                <a:lnTo>
                  <a:pt x="283175" y="652584"/>
                </a:lnTo>
                <a:lnTo>
                  <a:pt x="280892" y="652584"/>
                </a:lnTo>
                <a:lnTo>
                  <a:pt x="278608" y="652584"/>
                </a:lnTo>
                <a:lnTo>
                  <a:pt x="276325" y="652584"/>
                </a:lnTo>
                <a:lnTo>
                  <a:pt x="274041" y="652584"/>
                </a:lnTo>
                <a:lnTo>
                  <a:pt x="274041" y="654866"/>
                </a:lnTo>
                <a:lnTo>
                  <a:pt x="271758" y="654866"/>
                </a:lnTo>
                <a:lnTo>
                  <a:pt x="271758" y="657148"/>
                </a:lnTo>
                <a:lnTo>
                  <a:pt x="271758" y="659430"/>
                </a:lnTo>
                <a:lnTo>
                  <a:pt x="271758" y="661712"/>
                </a:lnTo>
                <a:lnTo>
                  <a:pt x="269474" y="661712"/>
                </a:lnTo>
                <a:lnTo>
                  <a:pt x="269474" y="663994"/>
                </a:lnTo>
                <a:lnTo>
                  <a:pt x="267190" y="663994"/>
                </a:lnTo>
                <a:lnTo>
                  <a:pt x="267190" y="666276"/>
                </a:lnTo>
                <a:lnTo>
                  <a:pt x="267190" y="668558"/>
                </a:lnTo>
                <a:lnTo>
                  <a:pt x="264907" y="668558"/>
                </a:lnTo>
                <a:lnTo>
                  <a:pt x="262623" y="668558"/>
                </a:lnTo>
                <a:lnTo>
                  <a:pt x="260339" y="668558"/>
                </a:lnTo>
                <a:lnTo>
                  <a:pt x="258056" y="668558"/>
                </a:lnTo>
                <a:lnTo>
                  <a:pt x="255772" y="668558"/>
                </a:lnTo>
                <a:lnTo>
                  <a:pt x="253489" y="668558"/>
                </a:lnTo>
                <a:lnTo>
                  <a:pt x="251205" y="668558"/>
                </a:lnTo>
                <a:lnTo>
                  <a:pt x="251205" y="670839"/>
                </a:lnTo>
                <a:lnTo>
                  <a:pt x="248922" y="670839"/>
                </a:lnTo>
                <a:lnTo>
                  <a:pt x="246638" y="670839"/>
                </a:lnTo>
                <a:lnTo>
                  <a:pt x="244354" y="670839"/>
                </a:lnTo>
                <a:lnTo>
                  <a:pt x="242071" y="670839"/>
                </a:lnTo>
                <a:lnTo>
                  <a:pt x="239787" y="670839"/>
                </a:lnTo>
                <a:lnTo>
                  <a:pt x="237504" y="670839"/>
                </a:lnTo>
                <a:lnTo>
                  <a:pt x="235220" y="670839"/>
                </a:lnTo>
                <a:lnTo>
                  <a:pt x="232936" y="670839"/>
                </a:lnTo>
                <a:lnTo>
                  <a:pt x="230653" y="670839"/>
                </a:lnTo>
                <a:lnTo>
                  <a:pt x="228369" y="670839"/>
                </a:lnTo>
                <a:lnTo>
                  <a:pt x="228369" y="673121"/>
                </a:lnTo>
                <a:lnTo>
                  <a:pt x="226085" y="673121"/>
                </a:lnTo>
                <a:lnTo>
                  <a:pt x="226085" y="675403"/>
                </a:lnTo>
                <a:lnTo>
                  <a:pt x="226085" y="677685"/>
                </a:lnTo>
                <a:lnTo>
                  <a:pt x="226085" y="679967"/>
                </a:lnTo>
                <a:lnTo>
                  <a:pt x="226085" y="682249"/>
                </a:lnTo>
                <a:lnTo>
                  <a:pt x="226085" y="684531"/>
                </a:lnTo>
                <a:lnTo>
                  <a:pt x="226085" y="686813"/>
                </a:lnTo>
                <a:lnTo>
                  <a:pt x="226085" y="689095"/>
                </a:lnTo>
                <a:lnTo>
                  <a:pt x="226085" y="691376"/>
                </a:lnTo>
                <a:lnTo>
                  <a:pt x="223802" y="689095"/>
                </a:lnTo>
                <a:lnTo>
                  <a:pt x="221518" y="689095"/>
                </a:lnTo>
                <a:lnTo>
                  <a:pt x="221518" y="686813"/>
                </a:lnTo>
                <a:lnTo>
                  <a:pt x="219235" y="686813"/>
                </a:lnTo>
                <a:lnTo>
                  <a:pt x="219235" y="684531"/>
                </a:lnTo>
                <a:lnTo>
                  <a:pt x="216951" y="684531"/>
                </a:lnTo>
                <a:lnTo>
                  <a:pt x="216951" y="682249"/>
                </a:lnTo>
                <a:lnTo>
                  <a:pt x="216951" y="679967"/>
                </a:lnTo>
                <a:lnTo>
                  <a:pt x="216951" y="677685"/>
                </a:lnTo>
                <a:lnTo>
                  <a:pt x="214668" y="677685"/>
                </a:lnTo>
                <a:lnTo>
                  <a:pt x="214668" y="675403"/>
                </a:lnTo>
                <a:lnTo>
                  <a:pt x="212384" y="675403"/>
                </a:lnTo>
                <a:lnTo>
                  <a:pt x="210100" y="675403"/>
                </a:lnTo>
                <a:lnTo>
                  <a:pt x="210100" y="673121"/>
                </a:lnTo>
                <a:lnTo>
                  <a:pt x="210100" y="675403"/>
                </a:lnTo>
                <a:lnTo>
                  <a:pt x="207817" y="675403"/>
                </a:lnTo>
                <a:lnTo>
                  <a:pt x="205533" y="675403"/>
                </a:lnTo>
                <a:lnTo>
                  <a:pt x="203250" y="675403"/>
                </a:lnTo>
                <a:lnTo>
                  <a:pt x="200966" y="675403"/>
                </a:lnTo>
                <a:lnTo>
                  <a:pt x="198683" y="675403"/>
                </a:lnTo>
                <a:lnTo>
                  <a:pt x="196399" y="675403"/>
                </a:lnTo>
                <a:lnTo>
                  <a:pt x="194115" y="675403"/>
                </a:lnTo>
                <a:lnTo>
                  <a:pt x="194115" y="677685"/>
                </a:lnTo>
                <a:lnTo>
                  <a:pt x="191832" y="677685"/>
                </a:lnTo>
                <a:lnTo>
                  <a:pt x="191832" y="679967"/>
                </a:lnTo>
                <a:lnTo>
                  <a:pt x="189548" y="679967"/>
                </a:lnTo>
                <a:lnTo>
                  <a:pt x="187264" y="679967"/>
                </a:lnTo>
                <a:lnTo>
                  <a:pt x="184981" y="679967"/>
                </a:lnTo>
                <a:lnTo>
                  <a:pt x="184981" y="677685"/>
                </a:lnTo>
                <a:lnTo>
                  <a:pt x="182697" y="677685"/>
                </a:lnTo>
                <a:lnTo>
                  <a:pt x="180414" y="677685"/>
                </a:lnTo>
                <a:lnTo>
                  <a:pt x="178130" y="677685"/>
                </a:lnTo>
                <a:lnTo>
                  <a:pt x="175846" y="677685"/>
                </a:lnTo>
                <a:lnTo>
                  <a:pt x="175846" y="679967"/>
                </a:lnTo>
                <a:lnTo>
                  <a:pt x="175846" y="677685"/>
                </a:lnTo>
                <a:lnTo>
                  <a:pt x="173563" y="677685"/>
                </a:lnTo>
                <a:lnTo>
                  <a:pt x="173563" y="675403"/>
                </a:lnTo>
                <a:lnTo>
                  <a:pt x="175846" y="673121"/>
                </a:lnTo>
                <a:lnTo>
                  <a:pt x="175846" y="670839"/>
                </a:lnTo>
                <a:lnTo>
                  <a:pt x="175846" y="668558"/>
                </a:lnTo>
                <a:lnTo>
                  <a:pt x="175846" y="666276"/>
                </a:lnTo>
                <a:lnTo>
                  <a:pt x="175846" y="663994"/>
                </a:lnTo>
                <a:lnTo>
                  <a:pt x="175846" y="661712"/>
                </a:lnTo>
                <a:lnTo>
                  <a:pt x="173563" y="661712"/>
                </a:lnTo>
                <a:lnTo>
                  <a:pt x="171279" y="661712"/>
                </a:lnTo>
                <a:lnTo>
                  <a:pt x="168996" y="661712"/>
                </a:lnTo>
                <a:lnTo>
                  <a:pt x="166712" y="661712"/>
                </a:lnTo>
                <a:lnTo>
                  <a:pt x="166712" y="663994"/>
                </a:lnTo>
                <a:lnTo>
                  <a:pt x="166712" y="666276"/>
                </a:lnTo>
                <a:lnTo>
                  <a:pt x="164429" y="666276"/>
                </a:lnTo>
                <a:lnTo>
                  <a:pt x="162145" y="666276"/>
                </a:lnTo>
                <a:lnTo>
                  <a:pt x="162145" y="663994"/>
                </a:lnTo>
                <a:lnTo>
                  <a:pt x="159861" y="663994"/>
                </a:lnTo>
                <a:lnTo>
                  <a:pt x="157578" y="661712"/>
                </a:lnTo>
                <a:lnTo>
                  <a:pt x="159861" y="659430"/>
                </a:lnTo>
                <a:lnTo>
                  <a:pt x="164429" y="659430"/>
                </a:lnTo>
                <a:lnTo>
                  <a:pt x="164429" y="654866"/>
                </a:lnTo>
                <a:lnTo>
                  <a:pt x="164429" y="650302"/>
                </a:lnTo>
                <a:lnTo>
                  <a:pt x="164429" y="648020"/>
                </a:lnTo>
                <a:lnTo>
                  <a:pt x="164429" y="645739"/>
                </a:lnTo>
                <a:lnTo>
                  <a:pt x="159861" y="650302"/>
                </a:lnTo>
                <a:lnTo>
                  <a:pt x="155294" y="654866"/>
                </a:lnTo>
                <a:lnTo>
                  <a:pt x="153010" y="654866"/>
                </a:lnTo>
                <a:lnTo>
                  <a:pt x="153010" y="652584"/>
                </a:lnTo>
                <a:lnTo>
                  <a:pt x="153010" y="648020"/>
                </a:lnTo>
                <a:lnTo>
                  <a:pt x="153010" y="643457"/>
                </a:lnTo>
                <a:lnTo>
                  <a:pt x="153010" y="638893"/>
                </a:lnTo>
                <a:lnTo>
                  <a:pt x="153010" y="636611"/>
                </a:lnTo>
                <a:lnTo>
                  <a:pt x="153010" y="634329"/>
                </a:lnTo>
                <a:lnTo>
                  <a:pt x="153010" y="632047"/>
                </a:lnTo>
                <a:lnTo>
                  <a:pt x="153010" y="629765"/>
                </a:lnTo>
                <a:lnTo>
                  <a:pt x="153010" y="627483"/>
                </a:lnTo>
                <a:lnTo>
                  <a:pt x="150727" y="627483"/>
                </a:lnTo>
                <a:lnTo>
                  <a:pt x="148443" y="627483"/>
                </a:lnTo>
                <a:lnTo>
                  <a:pt x="146160" y="627483"/>
                </a:lnTo>
                <a:lnTo>
                  <a:pt x="143876" y="627483"/>
                </a:lnTo>
                <a:lnTo>
                  <a:pt x="141593" y="627483"/>
                </a:lnTo>
                <a:lnTo>
                  <a:pt x="139309" y="627483"/>
                </a:lnTo>
                <a:lnTo>
                  <a:pt x="137025" y="627483"/>
                </a:lnTo>
                <a:lnTo>
                  <a:pt x="134742" y="627483"/>
                </a:lnTo>
                <a:lnTo>
                  <a:pt x="132458" y="627483"/>
                </a:lnTo>
                <a:lnTo>
                  <a:pt x="130175" y="627483"/>
                </a:lnTo>
                <a:lnTo>
                  <a:pt x="125607" y="625202"/>
                </a:lnTo>
                <a:lnTo>
                  <a:pt x="123324" y="625202"/>
                </a:lnTo>
                <a:lnTo>
                  <a:pt x="121040" y="625202"/>
                </a:lnTo>
                <a:lnTo>
                  <a:pt x="118756" y="622920"/>
                </a:lnTo>
                <a:lnTo>
                  <a:pt x="116473" y="622920"/>
                </a:lnTo>
                <a:lnTo>
                  <a:pt x="114189" y="620638"/>
                </a:lnTo>
                <a:lnTo>
                  <a:pt x="111906" y="620638"/>
                </a:lnTo>
                <a:lnTo>
                  <a:pt x="109622" y="620638"/>
                </a:lnTo>
                <a:lnTo>
                  <a:pt x="107339" y="620638"/>
                </a:lnTo>
                <a:lnTo>
                  <a:pt x="105055" y="620638"/>
                </a:lnTo>
                <a:lnTo>
                  <a:pt x="102771" y="620638"/>
                </a:lnTo>
                <a:lnTo>
                  <a:pt x="102771" y="622920"/>
                </a:lnTo>
                <a:lnTo>
                  <a:pt x="100488" y="627483"/>
                </a:lnTo>
                <a:lnTo>
                  <a:pt x="98204" y="627483"/>
                </a:lnTo>
                <a:lnTo>
                  <a:pt x="93637" y="622920"/>
                </a:lnTo>
                <a:lnTo>
                  <a:pt x="91353" y="620638"/>
                </a:lnTo>
                <a:lnTo>
                  <a:pt x="89070" y="618356"/>
                </a:lnTo>
                <a:lnTo>
                  <a:pt x="84493" y="613792"/>
                </a:lnTo>
                <a:lnTo>
                  <a:pt x="82219" y="611510"/>
                </a:lnTo>
                <a:lnTo>
                  <a:pt x="84493" y="609228"/>
                </a:lnTo>
                <a:lnTo>
                  <a:pt x="82219" y="606946"/>
                </a:lnTo>
                <a:lnTo>
                  <a:pt x="79935" y="602383"/>
                </a:lnTo>
                <a:lnTo>
                  <a:pt x="79935" y="600101"/>
                </a:lnTo>
                <a:lnTo>
                  <a:pt x="77652" y="600101"/>
                </a:lnTo>
                <a:lnTo>
                  <a:pt x="77652" y="597819"/>
                </a:lnTo>
                <a:lnTo>
                  <a:pt x="73085" y="597819"/>
                </a:lnTo>
                <a:lnTo>
                  <a:pt x="70792" y="595537"/>
                </a:lnTo>
                <a:lnTo>
                  <a:pt x="66234" y="595537"/>
                </a:lnTo>
                <a:lnTo>
                  <a:pt x="66234" y="597819"/>
                </a:lnTo>
                <a:lnTo>
                  <a:pt x="68517" y="597819"/>
                </a:lnTo>
                <a:lnTo>
                  <a:pt x="66234" y="600101"/>
                </a:lnTo>
                <a:lnTo>
                  <a:pt x="66234" y="602383"/>
                </a:lnTo>
                <a:lnTo>
                  <a:pt x="63950" y="604664"/>
                </a:lnTo>
                <a:lnTo>
                  <a:pt x="66234" y="606946"/>
                </a:lnTo>
                <a:lnTo>
                  <a:pt x="68517" y="613792"/>
                </a:lnTo>
                <a:lnTo>
                  <a:pt x="61666" y="613792"/>
                </a:lnTo>
                <a:lnTo>
                  <a:pt x="57099" y="616074"/>
                </a:lnTo>
                <a:lnTo>
                  <a:pt x="54816" y="616074"/>
                </a:lnTo>
                <a:lnTo>
                  <a:pt x="52532" y="616074"/>
                </a:lnTo>
                <a:lnTo>
                  <a:pt x="50249" y="616074"/>
                </a:lnTo>
                <a:lnTo>
                  <a:pt x="47956" y="616074"/>
                </a:lnTo>
                <a:lnTo>
                  <a:pt x="47956" y="618356"/>
                </a:lnTo>
                <a:lnTo>
                  <a:pt x="45681" y="618356"/>
                </a:lnTo>
                <a:lnTo>
                  <a:pt x="43388" y="618356"/>
                </a:lnTo>
                <a:lnTo>
                  <a:pt x="45681" y="618356"/>
                </a:lnTo>
                <a:lnTo>
                  <a:pt x="45681" y="620638"/>
                </a:lnTo>
                <a:lnTo>
                  <a:pt x="43388" y="620638"/>
                </a:lnTo>
                <a:lnTo>
                  <a:pt x="41105" y="620638"/>
                </a:lnTo>
                <a:lnTo>
                  <a:pt x="38831" y="620638"/>
                </a:lnTo>
                <a:lnTo>
                  <a:pt x="36538" y="620638"/>
                </a:lnTo>
                <a:lnTo>
                  <a:pt x="34263" y="620638"/>
                </a:lnTo>
                <a:lnTo>
                  <a:pt x="34263" y="622920"/>
                </a:lnTo>
                <a:lnTo>
                  <a:pt x="31970" y="622920"/>
                </a:lnTo>
                <a:lnTo>
                  <a:pt x="29687" y="620638"/>
                </a:lnTo>
                <a:lnTo>
                  <a:pt x="29687" y="618356"/>
                </a:lnTo>
                <a:lnTo>
                  <a:pt x="29687" y="616074"/>
                </a:lnTo>
                <a:lnTo>
                  <a:pt x="29687" y="609228"/>
                </a:lnTo>
                <a:lnTo>
                  <a:pt x="29687" y="606946"/>
                </a:lnTo>
                <a:lnTo>
                  <a:pt x="27403" y="606946"/>
                </a:lnTo>
                <a:lnTo>
                  <a:pt x="29687" y="604664"/>
                </a:lnTo>
                <a:lnTo>
                  <a:pt x="27403" y="600101"/>
                </a:lnTo>
                <a:lnTo>
                  <a:pt x="27403" y="597819"/>
                </a:lnTo>
                <a:lnTo>
                  <a:pt x="27403" y="595537"/>
                </a:lnTo>
                <a:lnTo>
                  <a:pt x="15985" y="597819"/>
                </a:lnTo>
                <a:lnTo>
                  <a:pt x="13702" y="597819"/>
                </a:lnTo>
                <a:lnTo>
                  <a:pt x="9134" y="597819"/>
                </a:lnTo>
                <a:lnTo>
                  <a:pt x="9134" y="595537"/>
                </a:lnTo>
                <a:lnTo>
                  <a:pt x="9134" y="593255"/>
                </a:lnTo>
                <a:lnTo>
                  <a:pt x="9134" y="590973"/>
                </a:lnTo>
                <a:lnTo>
                  <a:pt x="9134" y="588691"/>
                </a:lnTo>
                <a:lnTo>
                  <a:pt x="6851" y="586409"/>
                </a:lnTo>
                <a:lnTo>
                  <a:pt x="4567" y="586409"/>
                </a:lnTo>
                <a:lnTo>
                  <a:pt x="4567" y="588691"/>
                </a:lnTo>
                <a:lnTo>
                  <a:pt x="4567" y="586409"/>
                </a:lnTo>
                <a:lnTo>
                  <a:pt x="2284" y="584127"/>
                </a:lnTo>
                <a:lnTo>
                  <a:pt x="2284" y="581846"/>
                </a:lnTo>
                <a:lnTo>
                  <a:pt x="2284" y="579564"/>
                </a:lnTo>
                <a:lnTo>
                  <a:pt x="0" y="577282"/>
                </a:lnTo>
                <a:lnTo>
                  <a:pt x="9134" y="575000"/>
                </a:lnTo>
                <a:lnTo>
                  <a:pt x="11418" y="577282"/>
                </a:lnTo>
                <a:lnTo>
                  <a:pt x="9134" y="575000"/>
                </a:lnTo>
                <a:lnTo>
                  <a:pt x="13702" y="575000"/>
                </a:lnTo>
                <a:lnTo>
                  <a:pt x="15985" y="575000"/>
                </a:lnTo>
                <a:lnTo>
                  <a:pt x="15985" y="572718"/>
                </a:lnTo>
                <a:lnTo>
                  <a:pt x="18269" y="572718"/>
                </a:lnTo>
                <a:lnTo>
                  <a:pt x="20552" y="572718"/>
                </a:lnTo>
                <a:lnTo>
                  <a:pt x="27403" y="568164"/>
                </a:lnTo>
                <a:lnTo>
                  <a:pt x="27403" y="563600"/>
                </a:lnTo>
                <a:lnTo>
                  <a:pt x="25119" y="549908"/>
                </a:lnTo>
                <a:lnTo>
                  <a:pt x="25119" y="547627"/>
                </a:lnTo>
                <a:lnTo>
                  <a:pt x="25119" y="543063"/>
                </a:lnTo>
                <a:lnTo>
                  <a:pt x="22836" y="536217"/>
                </a:lnTo>
                <a:lnTo>
                  <a:pt x="18269" y="531653"/>
                </a:lnTo>
                <a:lnTo>
                  <a:pt x="11418" y="515680"/>
                </a:lnTo>
                <a:lnTo>
                  <a:pt x="18269" y="511116"/>
                </a:lnTo>
                <a:lnTo>
                  <a:pt x="20552" y="508834"/>
                </a:lnTo>
                <a:lnTo>
                  <a:pt x="22836" y="506552"/>
                </a:lnTo>
                <a:lnTo>
                  <a:pt x="25119" y="504271"/>
                </a:lnTo>
                <a:lnTo>
                  <a:pt x="27403" y="501989"/>
                </a:lnTo>
                <a:lnTo>
                  <a:pt x="29687" y="499707"/>
                </a:lnTo>
                <a:lnTo>
                  <a:pt x="36538" y="495143"/>
                </a:lnTo>
                <a:lnTo>
                  <a:pt x="38831" y="495143"/>
                </a:lnTo>
                <a:lnTo>
                  <a:pt x="41105" y="492861"/>
                </a:lnTo>
                <a:lnTo>
                  <a:pt x="43388" y="490579"/>
                </a:lnTo>
                <a:lnTo>
                  <a:pt x="45681" y="490579"/>
                </a:lnTo>
                <a:lnTo>
                  <a:pt x="47956" y="490579"/>
                </a:lnTo>
                <a:lnTo>
                  <a:pt x="47956" y="488297"/>
                </a:lnTo>
                <a:lnTo>
                  <a:pt x="50249" y="488297"/>
                </a:lnTo>
                <a:lnTo>
                  <a:pt x="52532" y="486015"/>
                </a:lnTo>
                <a:lnTo>
                  <a:pt x="54816" y="486015"/>
                </a:lnTo>
                <a:lnTo>
                  <a:pt x="57099" y="483734"/>
                </a:lnTo>
                <a:lnTo>
                  <a:pt x="59383" y="481452"/>
                </a:lnTo>
                <a:lnTo>
                  <a:pt x="61666" y="479170"/>
                </a:lnTo>
                <a:lnTo>
                  <a:pt x="63950" y="479170"/>
                </a:lnTo>
                <a:lnTo>
                  <a:pt x="63950" y="476888"/>
                </a:lnTo>
                <a:lnTo>
                  <a:pt x="63950" y="474606"/>
                </a:lnTo>
                <a:lnTo>
                  <a:pt x="63950" y="472324"/>
                </a:lnTo>
                <a:lnTo>
                  <a:pt x="61666" y="470042"/>
                </a:lnTo>
                <a:lnTo>
                  <a:pt x="61666" y="467760"/>
                </a:lnTo>
                <a:lnTo>
                  <a:pt x="61666" y="465478"/>
                </a:lnTo>
                <a:lnTo>
                  <a:pt x="59383" y="465478"/>
                </a:lnTo>
                <a:lnTo>
                  <a:pt x="59383" y="460915"/>
                </a:lnTo>
                <a:lnTo>
                  <a:pt x="57099" y="458633"/>
                </a:lnTo>
                <a:lnTo>
                  <a:pt x="57099" y="454069"/>
                </a:lnTo>
                <a:lnTo>
                  <a:pt x="54816" y="444941"/>
                </a:lnTo>
                <a:lnTo>
                  <a:pt x="52532" y="435814"/>
                </a:lnTo>
                <a:lnTo>
                  <a:pt x="50249" y="422122"/>
                </a:lnTo>
                <a:lnTo>
                  <a:pt x="54816" y="422122"/>
                </a:lnTo>
                <a:lnTo>
                  <a:pt x="57099" y="422122"/>
                </a:lnTo>
                <a:lnTo>
                  <a:pt x="59383" y="422122"/>
                </a:lnTo>
                <a:lnTo>
                  <a:pt x="61666" y="422122"/>
                </a:lnTo>
                <a:lnTo>
                  <a:pt x="63950" y="422122"/>
                </a:lnTo>
                <a:lnTo>
                  <a:pt x="63950" y="424404"/>
                </a:lnTo>
                <a:lnTo>
                  <a:pt x="66234" y="424404"/>
                </a:lnTo>
                <a:lnTo>
                  <a:pt x="68517" y="424404"/>
                </a:lnTo>
                <a:lnTo>
                  <a:pt x="70792" y="424404"/>
                </a:lnTo>
                <a:lnTo>
                  <a:pt x="73085" y="424404"/>
                </a:lnTo>
                <a:lnTo>
                  <a:pt x="75368" y="424404"/>
                </a:lnTo>
                <a:lnTo>
                  <a:pt x="75368" y="422122"/>
                </a:lnTo>
                <a:lnTo>
                  <a:pt x="75368" y="419840"/>
                </a:lnTo>
                <a:lnTo>
                  <a:pt x="75368" y="417559"/>
                </a:lnTo>
                <a:lnTo>
                  <a:pt x="75368" y="415277"/>
                </a:lnTo>
                <a:lnTo>
                  <a:pt x="75368" y="412995"/>
                </a:lnTo>
                <a:lnTo>
                  <a:pt x="75368" y="410713"/>
                </a:lnTo>
                <a:lnTo>
                  <a:pt x="75368" y="408440"/>
                </a:lnTo>
                <a:lnTo>
                  <a:pt x="82219" y="408440"/>
                </a:lnTo>
                <a:lnTo>
                  <a:pt x="86786" y="410713"/>
                </a:lnTo>
                <a:lnTo>
                  <a:pt x="89070" y="410713"/>
                </a:lnTo>
                <a:lnTo>
                  <a:pt x="91353" y="410713"/>
                </a:lnTo>
                <a:lnTo>
                  <a:pt x="98204" y="410713"/>
                </a:lnTo>
                <a:lnTo>
                  <a:pt x="98204" y="408440"/>
                </a:lnTo>
                <a:lnTo>
                  <a:pt x="98204" y="406158"/>
                </a:lnTo>
                <a:lnTo>
                  <a:pt x="98204" y="403877"/>
                </a:lnTo>
                <a:lnTo>
                  <a:pt x="98204" y="399313"/>
                </a:lnTo>
                <a:lnTo>
                  <a:pt x="100488" y="399313"/>
                </a:lnTo>
                <a:lnTo>
                  <a:pt x="100488" y="397031"/>
                </a:lnTo>
                <a:lnTo>
                  <a:pt x="100488" y="394749"/>
                </a:lnTo>
                <a:lnTo>
                  <a:pt x="100488" y="392467"/>
                </a:lnTo>
                <a:lnTo>
                  <a:pt x="100488" y="390185"/>
                </a:lnTo>
                <a:lnTo>
                  <a:pt x="100488" y="387903"/>
                </a:lnTo>
                <a:lnTo>
                  <a:pt x="102771" y="387903"/>
                </a:lnTo>
                <a:lnTo>
                  <a:pt x="102771" y="385622"/>
                </a:lnTo>
                <a:lnTo>
                  <a:pt x="102771" y="383340"/>
                </a:lnTo>
                <a:lnTo>
                  <a:pt x="102771" y="381058"/>
                </a:lnTo>
                <a:lnTo>
                  <a:pt x="102771" y="378776"/>
                </a:lnTo>
                <a:lnTo>
                  <a:pt x="102771" y="376494"/>
                </a:lnTo>
                <a:lnTo>
                  <a:pt x="102771" y="374212"/>
                </a:lnTo>
                <a:lnTo>
                  <a:pt x="102771" y="371930"/>
                </a:lnTo>
                <a:lnTo>
                  <a:pt x="105055" y="371930"/>
                </a:lnTo>
                <a:lnTo>
                  <a:pt x="105055" y="367366"/>
                </a:lnTo>
                <a:lnTo>
                  <a:pt x="107339" y="367366"/>
                </a:lnTo>
                <a:lnTo>
                  <a:pt x="109622" y="369648"/>
                </a:lnTo>
                <a:lnTo>
                  <a:pt x="109622" y="365084"/>
                </a:lnTo>
                <a:lnTo>
                  <a:pt x="109622" y="362802"/>
                </a:lnTo>
                <a:lnTo>
                  <a:pt x="109622" y="360521"/>
                </a:lnTo>
                <a:lnTo>
                  <a:pt x="111906" y="353675"/>
                </a:lnTo>
                <a:lnTo>
                  <a:pt x="111906" y="351393"/>
                </a:lnTo>
                <a:lnTo>
                  <a:pt x="111906" y="349111"/>
                </a:lnTo>
                <a:lnTo>
                  <a:pt x="111906" y="346829"/>
                </a:lnTo>
                <a:lnTo>
                  <a:pt x="111906" y="344547"/>
                </a:lnTo>
                <a:lnTo>
                  <a:pt x="111906" y="342265"/>
                </a:lnTo>
                <a:lnTo>
                  <a:pt x="111906" y="339984"/>
                </a:lnTo>
                <a:lnTo>
                  <a:pt x="111906" y="330856"/>
                </a:lnTo>
                <a:lnTo>
                  <a:pt x="109622" y="328574"/>
                </a:lnTo>
                <a:lnTo>
                  <a:pt x="111906" y="328574"/>
                </a:lnTo>
                <a:lnTo>
                  <a:pt x="114189" y="328574"/>
                </a:lnTo>
                <a:lnTo>
                  <a:pt x="114189" y="326292"/>
                </a:lnTo>
                <a:lnTo>
                  <a:pt x="114189" y="324010"/>
                </a:lnTo>
                <a:lnTo>
                  <a:pt x="111906" y="321728"/>
                </a:lnTo>
                <a:lnTo>
                  <a:pt x="111906" y="319446"/>
                </a:lnTo>
                <a:lnTo>
                  <a:pt x="111906" y="317165"/>
                </a:lnTo>
                <a:lnTo>
                  <a:pt x="114189" y="317165"/>
                </a:lnTo>
                <a:lnTo>
                  <a:pt x="116473" y="314883"/>
                </a:lnTo>
                <a:lnTo>
                  <a:pt x="116473" y="312601"/>
                </a:lnTo>
                <a:lnTo>
                  <a:pt x="114189" y="308037"/>
                </a:lnTo>
                <a:lnTo>
                  <a:pt x="116473" y="308037"/>
                </a:lnTo>
                <a:lnTo>
                  <a:pt x="118756" y="305755"/>
                </a:lnTo>
                <a:lnTo>
                  <a:pt x="123324" y="305755"/>
                </a:lnTo>
                <a:lnTo>
                  <a:pt x="125607" y="305755"/>
                </a:lnTo>
                <a:lnTo>
                  <a:pt x="127891" y="303473"/>
                </a:lnTo>
                <a:lnTo>
                  <a:pt x="127891" y="305755"/>
                </a:lnTo>
                <a:lnTo>
                  <a:pt x="130175" y="305755"/>
                </a:lnTo>
                <a:lnTo>
                  <a:pt x="132458" y="305755"/>
                </a:lnTo>
                <a:lnTo>
                  <a:pt x="139309" y="301191"/>
                </a:lnTo>
                <a:lnTo>
                  <a:pt x="141593" y="301191"/>
                </a:lnTo>
                <a:lnTo>
                  <a:pt x="143876" y="301191"/>
                </a:lnTo>
                <a:lnTo>
                  <a:pt x="146160" y="301191"/>
                </a:lnTo>
                <a:lnTo>
                  <a:pt x="146160" y="298909"/>
                </a:lnTo>
                <a:lnTo>
                  <a:pt x="148443" y="298909"/>
                </a:lnTo>
                <a:lnTo>
                  <a:pt x="150727" y="296628"/>
                </a:lnTo>
                <a:lnTo>
                  <a:pt x="153010" y="296628"/>
                </a:lnTo>
                <a:lnTo>
                  <a:pt x="155294" y="294346"/>
                </a:lnTo>
                <a:lnTo>
                  <a:pt x="157578" y="294346"/>
                </a:lnTo>
                <a:lnTo>
                  <a:pt x="157578" y="292064"/>
                </a:lnTo>
                <a:lnTo>
                  <a:pt x="159861" y="292064"/>
                </a:lnTo>
                <a:lnTo>
                  <a:pt x="162145" y="289782"/>
                </a:lnTo>
                <a:lnTo>
                  <a:pt x="164429" y="289782"/>
                </a:lnTo>
                <a:lnTo>
                  <a:pt x="164429" y="287500"/>
                </a:lnTo>
                <a:lnTo>
                  <a:pt x="164429" y="285218"/>
                </a:lnTo>
                <a:lnTo>
                  <a:pt x="166712" y="282936"/>
                </a:lnTo>
                <a:lnTo>
                  <a:pt x="168996" y="282936"/>
                </a:lnTo>
                <a:lnTo>
                  <a:pt x="171279" y="280654"/>
                </a:lnTo>
                <a:lnTo>
                  <a:pt x="173563" y="280654"/>
                </a:lnTo>
                <a:lnTo>
                  <a:pt x="175846" y="280654"/>
                </a:lnTo>
                <a:lnTo>
                  <a:pt x="178130" y="278372"/>
                </a:lnTo>
                <a:lnTo>
                  <a:pt x="180414" y="278372"/>
                </a:lnTo>
                <a:lnTo>
                  <a:pt x="182697" y="285218"/>
                </a:lnTo>
                <a:lnTo>
                  <a:pt x="180414" y="285218"/>
                </a:lnTo>
                <a:lnTo>
                  <a:pt x="182697" y="287500"/>
                </a:lnTo>
                <a:lnTo>
                  <a:pt x="182697" y="292064"/>
                </a:lnTo>
                <a:lnTo>
                  <a:pt x="182697" y="294346"/>
                </a:lnTo>
                <a:lnTo>
                  <a:pt x="182697" y="296628"/>
                </a:lnTo>
                <a:lnTo>
                  <a:pt x="184981" y="296628"/>
                </a:lnTo>
                <a:lnTo>
                  <a:pt x="184981" y="298909"/>
                </a:lnTo>
                <a:lnTo>
                  <a:pt x="182697" y="298909"/>
                </a:lnTo>
                <a:lnTo>
                  <a:pt x="184981" y="298909"/>
                </a:lnTo>
                <a:lnTo>
                  <a:pt x="187264" y="298909"/>
                </a:lnTo>
                <a:lnTo>
                  <a:pt x="187264" y="296628"/>
                </a:lnTo>
                <a:lnTo>
                  <a:pt x="189548" y="296628"/>
                </a:lnTo>
                <a:lnTo>
                  <a:pt x="189548" y="298909"/>
                </a:lnTo>
                <a:lnTo>
                  <a:pt x="191832" y="303473"/>
                </a:lnTo>
                <a:lnTo>
                  <a:pt x="194115" y="305755"/>
                </a:lnTo>
                <a:lnTo>
                  <a:pt x="194115" y="308037"/>
                </a:lnTo>
                <a:lnTo>
                  <a:pt x="196399" y="310319"/>
                </a:lnTo>
                <a:lnTo>
                  <a:pt x="198683" y="310319"/>
                </a:lnTo>
                <a:lnTo>
                  <a:pt x="200966" y="308037"/>
                </a:lnTo>
                <a:lnTo>
                  <a:pt x="203250" y="308037"/>
                </a:lnTo>
                <a:lnTo>
                  <a:pt x="205533" y="308037"/>
                </a:lnTo>
                <a:lnTo>
                  <a:pt x="205533" y="305755"/>
                </a:lnTo>
                <a:lnTo>
                  <a:pt x="207817" y="305755"/>
                </a:lnTo>
                <a:lnTo>
                  <a:pt x="210100" y="305755"/>
                </a:lnTo>
                <a:lnTo>
                  <a:pt x="212384" y="303473"/>
                </a:lnTo>
                <a:lnTo>
                  <a:pt x="214668" y="303473"/>
                </a:lnTo>
                <a:lnTo>
                  <a:pt x="216951" y="301191"/>
                </a:lnTo>
                <a:lnTo>
                  <a:pt x="219235" y="301191"/>
                </a:lnTo>
                <a:lnTo>
                  <a:pt x="219235" y="305755"/>
                </a:lnTo>
                <a:lnTo>
                  <a:pt x="219235" y="314883"/>
                </a:lnTo>
                <a:lnTo>
                  <a:pt x="219235" y="319446"/>
                </a:lnTo>
                <a:lnTo>
                  <a:pt x="223802" y="317165"/>
                </a:lnTo>
                <a:lnTo>
                  <a:pt x="232936" y="312601"/>
                </a:lnTo>
                <a:lnTo>
                  <a:pt x="235220" y="310319"/>
                </a:lnTo>
                <a:lnTo>
                  <a:pt x="242071" y="308037"/>
                </a:lnTo>
                <a:lnTo>
                  <a:pt x="251205" y="305755"/>
                </a:lnTo>
                <a:lnTo>
                  <a:pt x="255772" y="301191"/>
                </a:lnTo>
                <a:lnTo>
                  <a:pt x="258056" y="298909"/>
                </a:lnTo>
                <a:lnTo>
                  <a:pt x="258056" y="296628"/>
                </a:lnTo>
                <a:lnTo>
                  <a:pt x="260339" y="292064"/>
                </a:lnTo>
                <a:lnTo>
                  <a:pt x="260339" y="289782"/>
                </a:lnTo>
                <a:lnTo>
                  <a:pt x="260339" y="287500"/>
                </a:lnTo>
                <a:lnTo>
                  <a:pt x="264907" y="287500"/>
                </a:lnTo>
                <a:lnTo>
                  <a:pt x="264907" y="289782"/>
                </a:lnTo>
                <a:lnTo>
                  <a:pt x="267190" y="289782"/>
                </a:lnTo>
                <a:lnTo>
                  <a:pt x="271758" y="289782"/>
                </a:lnTo>
                <a:lnTo>
                  <a:pt x="274041" y="289782"/>
                </a:lnTo>
                <a:lnTo>
                  <a:pt x="274041" y="292064"/>
                </a:lnTo>
                <a:lnTo>
                  <a:pt x="271758" y="294346"/>
                </a:lnTo>
                <a:lnTo>
                  <a:pt x="271758" y="296628"/>
                </a:lnTo>
                <a:lnTo>
                  <a:pt x="269474" y="298909"/>
                </a:lnTo>
                <a:lnTo>
                  <a:pt x="271758" y="301191"/>
                </a:lnTo>
                <a:lnTo>
                  <a:pt x="271758" y="303473"/>
                </a:lnTo>
                <a:lnTo>
                  <a:pt x="269474" y="303473"/>
                </a:lnTo>
                <a:lnTo>
                  <a:pt x="269474" y="305755"/>
                </a:lnTo>
                <a:lnTo>
                  <a:pt x="271758" y="305755"/>
                </a:lnTo>
                <a:lnTo>
                  <a:pt x="274041" y="305755"/>
                </a:lnTo>
                <a:lnTo>
                  <a:pt x="276325" y="305755"/>
                </a:lnTo>
                <a:lnTo>
                  <a:pt x="276325" y="303473"/>
                </a:lnTo>
                <a:lnTo>
                  <a:pt x="276325" y="301191"/>
                </a:lnTo>
                <a:lnTo>
                  <a:pt x="276325" y="298909"/>
                </a:lnTo>
                <a:lnTo>
                  <a:pt x="276325" y="296628"/>
                </a:lnTo>
                <a:lnTo>
                  <a:pt x="292310" y="296628"/>
                </a:lnTo>
                <a:lnTo>
                  <a:pt x="290026" y="294346"/>
                </a:lnTo>
                <a:lnTo>
                  <a:pt x="287743" y="292064"/>
                </a:lnTo>
                <a:lnTo>
                  <a:pt x="285459" y="289782"/>
                </a:lnTo>
                <a:lnTo>
                  <a:pt x="292310" y="289782"/>
                </a:lnTo>
                <a:lnTo>
                  <a:pt x="294593" y="287500"/>
                </a:lnTo>
                <a:lnTo>
                  <a:pt x="296877" y="287500"/>
                </a:lnTo>
                <a:lnTo>
                  <a:pt x="299161" y="287500"/>
                </a:lnTo>
                <a:lnTo>
                  <a:pt x="299161" y="280654"/>
                </a:lnTo>
                <a:lnTo>
                  <a:pt x="301444" y="280654"/>
                </a:lnTo>
                <a:lnTo>
                  <a:pt x="299161" y="278372"/>
                </a:lnTo>
                <a:lnTo>
                  <a:pt x="301444" y="276090"/>
                </a:lnTo>
                <a:lnTo>
                  <a:pt x="299161" y="276090"/>
                </a:lnTo>
                <a:lnTo>
                  <a:pt x="296877" y="276090"/>
                </a:lnTo>
                <a:lnTo>
                  <a:pt x="296877" y="273809"/>
                </a:lnTo>
                <a:lnTo>
                  <a:pt x="296877" y="271527"/>
                </a:lnTo>
                <a:lnTo>
                  <a:pt x="296877" y="269245"/>
                </a:lnTo>
                <a:lnTo>
                  <a:pt x="294593" y="266963"/>
                </a:lnTo>
                <a:lnTo>
                  <a:pt x="294593" y="264681"/>
                </a:lnTo>
                <a:lnTo>
                  <a:pt x="296877" y="264681"/>
                </a:lnTo>
                <a:lnTo>
                  <a:pt x="296877" y="262399"/>
                </a:lnTo>
                <a:lnTo>
                  <a:pt x="299161" y="262399"/>
                </a:lnTo>
                <a:lnTo>
                  <a:pt x="301444" y="262399"/>
                </a:lnTo>
                <a:lnTo>
                  <a:pt x="303728" y="262399"/>
                </a:lnTo>
                <a:lnTo>
                  <a:pt x="306012" y="262399"/>
                </a:lnTo>
                <a:lnTo>
                  <a:pt x="306012" y="260117"/>
                </a:lnTo>
                <a:lnTo>
                  <a:pt x="306012" y="257835"/>
                </a:lnTo>
                <a:lnTo>
                  <a:pt x="303728" y="257835"/>
                </a:lnTo>
                <a:lnTo>
                  <a:pt x="303728" y="255553"/>
                </a:lnTo>
                <a:lnTo>
                  <a:pt x="303728" y="253281"/>
                </a:lnTo>
                <a:lnTo>
                  <a:pt x="301444" y="250999"/>
                </a:lnTo>
                <a:lnTo>
                  <a:pt x="296877" y="244153"/>
                </a:lnTo>
                <a:lnTo>
                  <a:pt x="296877" y="239590"/>
                </a:lnTo>
                <a:lnTo>
                  <a:pt x="294593" y="237308"/>
                </a:lnTo>
                <a:lnTo>
                  <a:pt x="296877" y="237308"/>
                </a:lnTo>
                <a:lnTo>
                  <a:pt x="299161" y="237308"/>
                </a:lnTo>
                <a:lnTo>
                  <a:pt x="299161" y="235026"/>
                </a:lnTo>
                <a:lnTo>
                  <a:pt x="296877" y="230462"/>
                </a:lnTo>
                <a:lnTo>
                  <a:pt x="296877" y="228180"/>
                </a:lnTo>
                <a:lnTo>
                  <a:pt x="296877" y="225898"/>
                </a:lnTo>
                <a:lnTo>
                  <a:pt x="296877" y="223616"/>
                </a:lnTo>
                <a:lnTo>
                  <a:pt x="296877" y="221334"/>
                </a:lnTo>
                <a:lnTo>
                  <a:pt x="296877" y="219053"/>
                </a:lnTo>
                <a:lnTo>
                  <a:pt x="299161" y="219053"/>
                </a:lnTo>
                <a:lnTo>
                  <a:pt x="299161" y="216771"/>
                </a:lnTo>
                <a:lnTo>
                  <a:pt x="301444" y="216771"/>
                </a:lnTo>
                <a:lnTo>
                  <a:pt x="301444" y="214489"/>
                </a:lnTo>
                <a:lnTo>
                  <a:pt x="301444" y="212207"/>
                </a:lnTo>
                <a:lnTo>
                  <a:pt x="303728" y="212207"/>
                </a:lnTo>
                <a:lnTo>
                  <a:pt x="306012" y="212207"/>
                </a:lnTo>
                <a:lnTo>
                  <a:pt x="308295" y="212207"/>
                </a:lnTo>
                <a:lnTo>
                  <a:pt x="306012" y="209925"/>
                </a:lnTo>
                <a:lnTo>
                  <a:pt x="306012" y="207643"/>
                </a:lnTo>
                <a:lnTo>
                  <a:pt x="306012" y="205361"/>
                </a:lnTo>
                <a:lnTo>
                  <a:pt x="306012" y="203079"/>
                </a:lnTo>
                <a:lnTo>
                  <a:pt x="306012" y="200797"/>
                </a:lnTo>
                <a:lnTo>
                  <a:pt x="303728" y="198516"/>
                </a:lnTo>
                <a:lnTo>
                  <a:pt x="301444" y="196234"/>
                </a:lnTo>
                <a:lnTo>
                  <a:pt x="299161" y="196234"/>
                </a:lnTo>
                <a:lnTo>
                  <a:pt x="299161" y="193952"/>
                </a:lnTo>
                <a:lnTo>
                  <a:pt x="301444" y="193952"/>
                </a:lnTo>
                <a:lnTo>
                  <a:pt x="301444" y="191670"/>
                </a:lnTo>
                <a:lnTo>
                  <a:pt x="301444" y="189388"/>
                </a:lnTo>
                <a:lnTo>
                  <a:pt x="303728" y="187106"/>
                </a:lnTo>
                <a:lnTo>
                  <a:pt x="303728" y="182542"/>
                </a:lnTo>
                <a:lnTo>
                  <a:pt x="306012" y="182542"/>
                </a:lnTo>
                <a:lnTo>
                  <a:pt x="306012" y="180260"/>
                </a:lnTo>
                <a:lnTo>
                  <a:pt x="306012" y="177978"/>
                </a:lnTo>
                <a:lnTo>
                  <a:pt x="308295" y="175697"/>
                </a:lnTo>
                <a:lnTo>
                  <a:pt x="312862" y="177978"/>
                </a:lnTo>
                <a:lnTo>
                  <a:pt x="317429" y="177978"/>
                </a:lnTo>
                <a:lnTo>
                  <a:pt x="317429" y="180260"/>
                </a:lnTo>
                <a:lnTo>
                  <a:pt x="319713" y="180260"/>
                </a:lnTo>
                <a:lnTo>
                  <a:pt x="321997" y="180260"/>
                </a:lnTo>
                <a:lnTo>
                  <a:pt x="324280" y="180260"/>
                </a:lnTo>
                <a:lnTo>
                  <a:pt x="326564" y="182542"/>
                </a:lnTo>
                <a:lnTo>
                  <a:pt x="328847" y="182542"/>
                </a:lnTo>
                <a:lnTo>
                  <a:pt x="331131" y="182542"/>
                </a:lnTo>
                <a:lnTo>
                  <a:pt x="333414" y="182542"/>
                </a:lnTo>
                <a:lnTo>
                  <a:pt x="333414" y="180260"/>
                </a:lnTo>
                <a:lnTo>
                  <a:pt x="333414" y="177978"/>
                </a:lnTo>
                <a:lnTo>
                  <a:pt x="333414" y="173415"/>
                </a:lnTo>
                <a:lnTo>
                  <a:pt x="331131" y="173415"/>
                </a:lnTo>
                <a:lnTo>
                  <a:pt x="331131" y="171133"/>
                </a:lnTo>
                <a:lnTo>
                  <a:pt x="328847" y="171133"/>
                </a:lnTo>
                <a:lnTo>
                  <a:pt x="326564" y="171133"/>
                </a:lnTo>
                <a:lnTo>
                  <a:pt x="324280" y="171133"/>
                </a:lnTo>
                <a:lnTo>
                  <a:pt x="321997" y="168851"/>
                </a:lnTo>
                <a:lnTo>
                  <a:pt x="319713" y="168851"/>
                </a:lnTo>
                <a:lnTo>
                  <a:pt x="317429" y="166569"/>
                </a:lnTo>
                <a:lnTo>
                  <a:pt x="315146" y="166569"/>
                </a:lnTo>
                <a:lnTo>
                  <a:pt x="312862" y="166569"/>
                </a:lnTo>
                <a:lnTo>
                  <a:pt x="312862" y="164287"/>
                </a:lnTo>
                <a:lnTo>
                  <a:pt x="315146" y="157441"/>
                </a:lnTo>
                <a:lnTo>
                  <a:pt x="315146" y="155159"/>
                </a:lnTo>
                <a:lnTo>
                  <a:pt x="317429" y="152878"/>
                </a:lnTo>
                <a:lnTo>
                  <a:pt x="317429" y="150596"/>
                </a:lnTo>
                <a:lnTo>
                  <a:pt x="319713" y="150596"/>
                </a:lnTo>
                <a:lnTo>
                  <a:pt x="321997" y="148314"/>
                </a:lnTo>
                <a:lnTo>
                  <a:pt x="328847" y="146032"/>
                </a:lnTo>
                <a:lnTo>
                  <a:pt x="326564" y="141468"/>
                </a:lnTo>
                <a:lnTo>
                  <a:pt x="324280" y="141468"/>
                </a:lnTo>
                <a:lnTo>
                  <a:pt x="324280" y="139186"/>
                </a:lnTo>
                <a:lnTo>
                  <a:pt x="319713" y="136904"/>
                </a:lnTo>
                <a:lnTo>
                  <a:pt x="319713" y="134622"/>
                </a:lnTo>
                <a:lnTo>
                  <a:pt x="317429" y="134622"/>
                </a:lnTo>
                <a:lnTo>
                  <a:pt x="317429" y="132341"/>
                </a:lnTo>
                <a:lnTo>
                  <a:pt x="315146" y="130059"/>
                </a:lnTo>
                <a:lnTo>
                  <a:pt x="312862" y="127777"/>
                </a:lnTo>
                <a:lnTo>
                  <a:pt x="310579" y="127777"/>
                </a:lnTo>
                <a:lnTo>
                  <a:pt x="308295" y="130059"/>
                </a:lnTo>
                <a:lnTo>
                  <a:pt x="306012" y="130059"/>
                </a:lnTo>
                <a:lnTo>
                  <a:pt x="306012" y="132341"/>
                </a:lnTo>
                <a:lnTo>
                  <a:pt x="303728" y="132341"/>
                </a:lnTo>
                <a:lnTo>
                  <a:pt x="301444" y="130059"/>
                </a:lnTo>
                <a:lnTo>
                  <a:pt x="301444" y="127777"/>
                </a:lnTo>
                <a:lnTo>
                  <a:pt x="299161" y="127777"/>
                </a:lnTo>
                <a:lnTo>
                  <a:pt x="299161" y="125495"/>
                </a:lnTo>
                <a:lnTo>
                  <a:pt x="296877" y="125495"/>
                </a:lnTo>
                <a:lnTo>
                  <a:pt x="296877" y="123213"/>
                </a:lnTo>
                <a:lnTo>
                  <a:pt x="296877" y="120931"/>
                </a:lnTo>
                <a:lnTo>
                  <a:pt x="294593" y="118649"/>
                </a:lnTo>
                <a:lnTo>
                  <a:pt x="296877" y="118649"/>
                </a:lnTo>
                <a:lnTo>
                  <a:pt x="296877" y="116367"/>
                </a:lnTo>
                <a:lnTo>
                  <a:pt x="296877" y="114085"/>
                </a:lnTo>
                <a:lnTo>
                  <a:pt x="299161" y="111803"/>
                </a:lnTo>
                <a:lnTo>
                  <a:pt x="299161" y="109522"/>
                </a:lnTo>
                <a:lnTo>
                  <a:pt x="301444" y="107240"/>
                </a:lnTo>
                <a:lnTo>
                  <a:pt x="303728" y="104958"/>
                </a:lnTo>
                <a:lnTo>
                  <a:pt x="303728" y="102676"/>
                </a:lnTo>
                <a:lnTo>
                  <a:pt x="308295" y="100404"/>
                </a:lnTo>
                <a:lnTo>
                  <a:pt x="310579" y="100404"/>
                </a:lnTo>
                <a:lnTo>
                  <a:pt x="315146" y="100404"/>
                </a:lnTo>
                <a:lnTo>
                  <a:pt x="317429" y="102676"/>
                </a:lnTo>
                <a:lnTo>
                  <a:pt x="319713" y="102676"/>
                </a:lnTo>
                <a:lnTo>
                  <a:pt x="319713" y="104958"/>
                </a:lnTo>
                <a:lnTo>
                  <a:pt x="321997" y="104958"/>
                </a:lnTo>
                <a:lnTo>
                  <a:pt x="324280" y="107240"/>
                </a:lnTo>
                <a:lnTo>
                  <a:pt x="326564" y="111803"/>
                </a:lnTo>
                <a:lnTo>
                  <a:pt x="328847" y="116367"/>
                </a:lnTo>
                <a:lnTo>
                  <a:pt x="331131" y="116367"/>
                </a:lnTo>
                <a:lnTo>
                  <a:pt x="331131" y="118649"/>
                </a:lnTo>
                <a:lnTo>
                  <a:pt x="333414" y="116367"/>
                </a:lnTo>
                <a:lnTo>
                  <a:pt x="335698" y="116367"/>
                </a:lnTo>
                <a:lnTo>
                  <a:pt x="337982" y="116367"/>
                </a:lnTo>
                <a:lnTo>
                  <a:pt x="340265" y="114085"/>
                </a:lnTo>
                <a:lnTo>
                  <a:pt x="342549" y="114085"/>
                </a:lnTo>
                <a:lnTo>
                  <a:pt x="344833" y="111803"/>
                </a:lnTo>
                <a:lnTo>
                  <a:pt x="347116" y="111803"/>
                </a:lnTo>
                <a:lnTo>
                  <a:pt x="356251" y="102676"/>
                </a:lnTo>
                <a:lnTo>
                  <a:pt x="356251" y="109522"/>
                </a:lnTo>
                <a:lnTo>
                  <a:pt x="363101" y="107240"/>
                </a:lnTo>
                <a:lnTo>
                  <a:pt x="367668" y="107240"/>
                </a:lnTo>
                <a:lnTo>
                  <a:pt x="367668" y="104958"/>
                </a:lnTo>
                <a:lnTo>
                  <a:pt x="369952" y="104958"/>
                </a:lnTo>
                <a:lnTo>
                  <a:pt x="376803" y="104958"/>
                </a:lnTo>
                <a:lnTo>
                  <a:pt x="379087" y="104958"/>
                </a:lnTo>
                <a:lnTo>
                  <a:pt x="381370" y="102676"/>
                </a:lnTo>
                <a:lnTo>
                  <a:pt x="381370" y="93558"/>
                </a:lnTo>
                <a:lnTo>
                  <a:pt x="381370" y="91276"/>
                </a:lnTo>
                <a:lnTo>
                  <a:pt x="381370" y="88994"/>
                </a:lnTo>
                <a:lnTo>
                  <a:pt x="390504" y="86712"/>
                </a:lnTo>
                <a:lnTo>
                  <a:pt x="395072" y="91276"/>
                </a:lnTo>
                <a:lnTo>
                  <a:pt x="397355" y="93558"/>
                </a:lnTo>
                <a:lnTo>
                  <a:pt x="399639" y="98112"/>
                </a:lnTo>
                <a:lnTo>
                  <a:pt x="401922" y="98112"/>
                </a:lnTo>
                <a:lnTo>
                  <a:pt x="408773" y="95840"/>
                </a:lnTo>
                <a:lnTo>
                  <a:pt x="411057" y="95840"/>
                </a:lnTo>
                <a:lnTo>
                  <a:pt x="415624" y="95840"/>
                </a:lnTo>
                <a:lnTo>
                  <a:pt x="420191" y="93558"/>
                </a:lnTo>
                <a:lnTo>
                  <a:pt x="420191" y="91276"/>
                </a:lnTo>
                <a:lnTo>
                  <a:pt x="422475" y="93558"/>
                </a:lnTo>
                <a:lnTo>
                  <a:pt x="424758" y="93558"/>
                </a:lnTo>
                <a:lnTo>
                  <a:pt x="427042" y="93558"/>
                </a:lnTo>
                <a:lnTo>
                  <a:pt x="427042" y="91276"/>
                </a:lnTo>
                <a:lnTo>
                  <a:pt x="427042" y="88994"/>
                </a:lnTo>
                <a:lnTo>
                  <a:pt x="427042" y="86712"/>
                </a:lnTo>
                <a:lnTo>
                  <a:pt x="427042" y="84430"/>
                </a:lnTo>
                <a:lnTo>
                  <a:pt x="427042" y="82148"/>
                </a:lnTo>
                <a:lnTo>
                  <a:pt x="433893" y="79866"/>
                </a:lnTo>
                <a:lnTo>
                  <a:pt x="436176" y="79866"/>
                </a:lnTo>
                <a:lnTo>
                  <a:pt x="438460" y="77584"/>
                </a:lnTo>
                <a:lnTo>
                  <a:pt x="440743" y="77584"/>
                </a:lnTo>
                <a:lnTo>
                  <a:pt x="456729" y="73021"/>
                </a:lnTo>
                <a:lnTo>
                  <a:pt x="456729" y="75303"/>
                </a:lnTo>
                <a:lnTo>
                  <a:pt x="456729" y="77584"/>
                </a:lnTo>
                <a:lnTo>
                  <a:pt x="456729" y="79866"/>
                </a:lnTo>
                <a:lnTo>
                  <a:pt x="456729" y="82148"/>
                </a:lnTo>
                <a:lnTo>
                  <a:pt x="459012" y="84430"/>
                </a:lnTo>
                <a:lnTo>
                  <a:pt x="459012" y="86712"/>
                </a:lnTo>
                <a:lnTo>
                  <a:pt x="461296" y="86712"/>
                </a:lnTo>
                <a:lnTo>
                  <a:pt x="463580" y="86712"/>
                </a:lnTo>
                <a:lnTo>
                  <a:pt x="468147" y="86712"/>
                </a:lnTo>
                <a:lnTo>
                  <a:pt x="472714" y="86712"/>
                </a:lnTo>
                <a:lnTo>
                  <a:pt x="477281" y="86712"/>
                </a:lnTo>
                <a:lnTo>
                  <a:pt x="479565" y="82148"/>
                </a:lnTo>
                <a:lnTo>
                  <a:pt x="481848" y="82148"/>
                </a:lnTo>
                <a:lnTo>
                  <a:pt x="488699" y="82148"/>
                </a:lnTo>
                <a:lnTo>
                  <a:pt x="490983" y="82148"/>
                </a:lnTo>
                <a:lnTo>
                  <a:pt x="502401" y="82148"/>
                </a:lnTo>
                <a:lnTo>
                  <a:pt x="502401" y="77584"/>
                </a:lnTo>
                <a:lnTo>
                  <a:pt x="502401" y="73021"/>
                </a:lnTo>
                <a:lnTo>
                  <a:pt x="502401" y="70739"/>
                </a:lnTo>
                <a:lnTo>
                  <a:pt x="502401" y="68457"/>
                </a:lnTo>
                <a:lnTo>
                  <a:pt x="502401" y="66175"/>
                </a:lnTo>
                <a:lnTo>
                  <a:pt x="502401" y="63893"/>
                </a:lnTo>
                <a:lnTo>
                  <a:pt x="504684" y="61611"/>
                </a:lnTo>
                <a:lnTo>
                  <a:pt x="506968" y="59329"/>
                </a:lnTo>
                <a:lnTo>
                  <a:pt x="513819" y="59329"/>
                </a:lnTo>
                <a:lnTo>
                  <a:pt x="516102" y="59329"/>
                </a:lnTo>
                <a:lnTo>
                  <a:pt x="520670" y="59329"/>
                </a:lnTo>
                <a:lnTo>
                  <a:pt x="522953" y="59329"/>
                </a:lnTo>
                <a:lnTo>
                  <a:pt x="525237" y="59329"/>
                </a:lnTo>
                <a:lnTo>
                  <a:pt x="525237" y="57047"/>
                </a:lnTo>
                <a:lnTo>
                  <a:pt x="529804" y="57047"/>
                </a:lnTo>
                <a:lnTo>
                  <a:pt x="534371" y="57047"/>
                </a:lnTo>
                <a:lnTo>
                  <a:pt x="536655" y="57047"/>
                </a:lnTo>
                <a:lnTo>
                  <a:pt x="538938" y="59329"/>
                </a:lnTo>
                <a:lnTo>
                  <a:pt x="541222" y="59329"/>
                </a:lnTo>
                <a:lnTo>
                  <a:pt x="543505" y="61611"/>
                </a:lnTo>
                <a:lnTo>
                  <a:pt x="545789" y="63893"/>
                </a:lnTo>
                <a:lnTo>
                  <a:pt x="550356" y="70739"/>
                </a:lnTo>
                <a:lnTo>
                  <a:pt x="552640" y="70739"/>
                </a:lnTo>
                <a:lnTo>
                  <a:pt x="552640" y="68457"/>
                </a:lnTo>
                <a:lnTo>
                  <a:pt x="552640" y="66175"/>
                </a:lnTo>
                <a:lnTo>
                  <a:pt x="554923" y="66175"/>
                </a:lnTo>
                <a:lnTo>
                  <a:pt x="554923" y="63893"/>
                </a:lnTo>
                <a:lnTo>
                  <a:pt x="557207" y="61611"/>
                </a:lnTo>
                <a:lnTo>
                  <a:pt x="557207" y="59329"/>
                </a:lnTo>
                <a:lnTo>
                  <a:pt x="559491" y="57047"/>
                </a:lnTo>
                <a:lnTo>
                  <a:pt x="561774" y="54766"/>
                </a:lnTo>
                <a:lnTo>
                  <a:pt x="561774" y="52484"/>
                </a:lnTo>
                <a:lnTo>
                  <a:pt x="561774" y="54766"/>
                </a:lnTo>
                <a:lnTo>
                  <a:pt x="564058" y="59329"/>
                </a:lnTo>
                <a:lnTo>
                  <a:pt x="566341" y="57047"/>
                </a:lnTo>
                <a:lnTo>
                  <a:pt x="566341" y="54766"/>
                </a:lnTo>
                <a:lnTo>
                  <a:pt x="566341" y="52484"/>
                </a:lnTo>
                <a:lnTo>
                  <a:pt x="568625" y="52484"/>
                </a:lnTo>
                <a:lnTo>
                  <a:pt x="568625" y="50202"/>
                </a:lnTo>
                <a:lnTo>
                  <a:pt x="568625" y="47920"/>
                </a:lnTo>
                <a:lnTo>
                  <a:pt x="568625" y="45638"/>
                </a:lnTo>
                <a:lnTo>
                  <a:pt x="568625" y="43356"/>
                </a:lnTo>
                <a:lnTo>
                  <a:pt x="568625" y="41074"/>
                </a:lnTo>
                <a:lnTo>
                  <a:pt x="564058" y="43356"/>
                </a:lnTo>
                <a:lnTo>
                  <a:pt x="559491" y="43356"/>
                </a:lnTo>
                <a:lnTo>
                  <a:pt x="559491" y="38792"/>
                </a:lnTo>
                <a:lnTo>
                  <a:pt x="557207" y="38792"/>
                </a:lnTo>
                <a:lnTo>
                  <a:pt x="554923" y="34228"/>
                </a:lnTo>
                <a:lnTo>
                  <a:pt x="554923" y="31947"/>
                </a:lnTo>
                <a:lnTo>
                  <a:pt x="554923" y="29665"/>
                </a:lnTo>
                <a:lnTo>
                  <a:pt x="552640" y="27383"/>
                </a:lnTo>
                <a:lnTo>
                  <a:pt x="550356" y="22819"/>
                </a:lnTo>
                <a:lnTo>
                  <a:pt x="545789" y="18255"/>
                </a:lnTo>
                <a:lnTo>
                  <a:pt x="545789" y="15973"/>
                </a:lnTo>
                <a:lnTo>
                  <a:pt x="548072" y="15973"/>
                </a:lnTo>
                <a:lnTo>
                  <a:pt x="550356" y="15973"/>
                </a:lnTo>
                <a:lnTo>
                  <a:pt x="552640" y="15973"/>
                </a:lnTo>
                <a:lnTo>
                  <a:pt x="559491" y="13691"/>
                </a:lnTo>
                <a:lnTo>
                  <a:pt x="561774" y="13691"/>
                </a:lnTo>
                <a:lnTo>
                  <a:pt x="566341" y="11410"/>
                </a:lnTo>
                <a:lnTo>
                  <a:pt x="568625" y="11410"/>
                </a:lnTo>
                <a:lnTo>
                  <a:pt x="570909" y="9128"/>
                </a:lnTo>
                <a:lnTo>
                  <a:pt x="573192" y="9128"/>
                </a:lnTo>
                <a:lnTo>
                  <a:pt x="573192" y="6846"/>
                </a:lnTo>
                <a:lnTo>
                  <a:pt x="575476" y="6846"/>
                </a:lnTo>
                <a:lnTo>
                  <a:pt x="577759" y="4564"/>
                </a:lnTo>
                <a:lnTo>
                  <a:pt x="582326" y="2282"/>
                </a:lnTo>
                <a:lnTo>
                  <a:pt x="589177" y="2282"/>
                </a:lnTo>
                <a:lnTo>
                  <a:pt x="591461" y="0"/>
                </a:lnTo>
                <a:lnTo>
                  <a:pt x="593745" y="0"/>
                </a:lnTo>
                <a:lnTo>
                  <a:pt x="596028" y="6846"/>
                </a:lnTo>
                <a:lnTo>
                  <a:pt x="598312" y="13691"/>
                </a:lnTo>
                <a:lnTo>
                  <a:pt x="598312" y="15973"/>
                </a:lnTo>
                <a:close/>
              </a:path>
            </a:pathLst>
          </a:custGeom>
          <a:solidFill>
            <a:srgbClr val="D2F4C7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4" name="Freeform 6">
            <a:extLst>
              <a:ext uri="{FF2B5EF4-FFF2-40B4-BE49-F238E27FC236}">
                <a16:creationId xmlns:a16="http://schemas.microsoft.com/office/drawing/2014/main" id="{69AB4110-6247-47EA-AE6A-6A6D67A9BFB4}"/>
              </a:ext>
            </a:extLst>
          </p:cNvPr>
          <p:cNvSpPr/>
          <p:nvPr/>
        </p:nvSpPr>
        <p:spPr>
          <a:xfrm>
            <a:off x="5775421" y="4128863"/>
            <a:ext cx="2507098" cy="1477037"/>
          </a:xfrm>
          <a:custGeom>
            <a:avLst/>
            <a:gdLst>
              <a:gd name="connsiteX0" fmla="*/ 1226301 w 2601035"/>
              <a:gd name="connsiteY0" fmla="*/ 1569849 h 1729572"/>
              <a:gd name="connsiteX1" fmla="*/ 1226301 w 2601035"/>
              <a:gd name="connsiteY1" fmla="*/ 1572131 h 1729572"/>
              <a:gd name="connsiteX2" fmla="*/ 1226301 w 2601035"/>
              <a:gd name="connsiteY2" fmla="*/ 1569849 h 1729572"/>
              <a:gd name="connsiteX3" fmla="*/ 1226301 w 2601035"/>
              <a:gd name="connsiteY3" fmla="*/ 1572131 h 1729572"/>
              <a:gd name="connsiteX4" fmla="*/ 1224017 w 2601035"/>
              <a:gd name="connsiteY4" fmla="*/ 1572131 h 1729572"/>
              <a:gd name="connsiteX5" fmla="*/ 1224017 w 2601035"/>
              <a:gd name="connsiteY5" fmla="*/ 1569849 h 1729572"/>
              <a:gd name="connsiteX6" fmla="*/ 1226301 w 2601035"/>
              <a:gd name="connsiteY6" fmla="*/ 1569849 h 1729572"/>
              <a:gd name="connsiteX7" fmla="*/ 1226301 w 2601035"/>
              <a:gd name="connsiteY7" fmla="*/ 1569849 h 1729572"/>
              <a:gd name="connsiteX8" fmla="*/ 1025344 w 2601035"/>
              <a:gd name="connsiteY8" fmla="*/ 1558440 h 1729572"/>
              <a:gd name="connsiteX9" fmla="*/ 1025344 w 2601035"/>
              <a:gd name="connsiteY9" fmla="*/ 1556158 h 1729572"/>
              <a:gd name="connsiteX10" fmla="*/ 1025344 w 2601035"/>
              <a:gd name="connsiteY10" fmla="*/ 1558440 h 1729572"/>
              <a:gd name="connsiteX11" fmla="*/ 1025344 w 2601035"/>
              <a:gd name="connsiteY11" fmla="*/ 1558440 h 1729572"/>
              <a:gd name="connsiteX12" fmla="*/ 1048180 w 2601035"/>
              <a:gd name="connsiteY12" fmla="*/ 1553876 h 1729572"/>
              <a:gd name="connsiteX13" fmla="*/ 1048180 w 2601035"/>
              <a:gd name="connsiteY13" fmla="*/ 1556158 h 1729572"/>
              <a:gd name="connsiteX14" fmla="*/ 1045897 w 2601035"/>
              <a:gd name="connsiteY14" fmla="*/ 1556158 h 1729572"/>
              <a:gd name="connsiteX15" fmla="*/ 1048180 w 2601035"/>
              <a:gd name="connsiteY15" fmla="*/ 1556158 h 1729572"/>
              <a:gd name="connsiteX16" fmla="*/ 1048180 w 2601035"/>
              <a:gd name="connsiteY16" fmla="*/ 1553876 h 1729572"/>
              <a:gd name="connsiteX17" fmla="*/ 1045897 w 2601035"/>
              <a:gd name="connsiteY17" fmla="*/ 1553876 h 1729572"/>
              <a:gd name="connsiteX18" fmla="*/ 1048180 w 2601035"/>
              <a:gd name="connsiteY18" fmla="*/ 1553876 h 1729572"/>
              <a:gd name="connsiteX19" fmla="*/ 1045897 w 2601035"/>
              <a:gd name="connsiteY19" fmla="*/ 1553876 h 1729572"/>
              <a:gd name="connsiteX20" fmla="*/ 1048180 w 2601035"/>
              <a:gd name="connsiteY20" fmla="*/ 1553876 h 1729572"/>
              <a:gd name="connsiteX21" fmla="*/ 1048180 w 2601035"/>
              <a:gd name="connsiteY21" fmla="*/ 1553876 h 1729572"/>
              <a:gd name="connsiteX22" fmla="*/ 2598751 w 2601035"/>
              <a:gd name="connsiteY22" fmla="*/ 454069 h 1729572"/>
              <a:gd name="connsiteX23" fmla="*/ 2598751 w 2601035"/>
              <a:gd name="connsiteY23" fmla="*/ 451787 h 1729572"/>
              <a:gd name="connsiteX24" fmla="*/ 2598751 w 2601035"/>
              <a:gd name="connsiteY24" fmla="*/ 454069 h 1729572"/>
              <a:gd name="connsiteX25" fmla="*/ 2598751 w 2601035"/>
              <a:gd name="connsiteY25" fmla="*/ 454069 h 1729572"/>
              <a:gd name="connsiteX26" fmla="*/ 2224242 w 2601035"/>
              <a:gd name="connsiteY26" fmla="*/ 38792 h 1729572"/>
              <a:gd name="connsiteX27" fmla="*/ 2226526 w 2601035"/>
              <a:gd name="connsiteY27" fmla="*/ 38792 h 1729572"/>
              <a:gd name="connsiteX28" fmla="*/ 2226526 w 2601035"/>
              <a:gd name="connsiteY28" fmla="*/ 41074 h 1729572"/>
              <a:gd name="connsiteX29" fmla="*/ 2228809 w 2601035"/>
              <a:gd name="connsiteY29" fmla="*/ 41074 h 1729572"/>
              <a:gd name="connsiteX30" fmla="*/ 2226526 w 2601035"/>
              <a:gd name="connsiteY30" fmla="*/ 41074 h 1729572"/>
              <a:gd name="connsiteX31" fmla="*/ 2226526 w 2601035"/>
              <a:gd name="connsiteY31" fmla="*/ 43356 h 1729572"/>
              <a:gd name="connsiteX32" fmla="*/ 2226526 w 2601035"/>
              <a:gd name="connsiteY32" fmla="*/ 41074 h 1729572"/>
              <a:gd name="connsiteX33" fmla="*/ 2224242 w 2601035"/>
              <a:gd name="connsiteY33" fmla="*/ 41074 h 1729572"/>
              <a:gd name="connsiteX34" fmla="*/ 2224242 w 2601035"/>
              <a:gd name="connsiteY34" fmla="*/ 43356 h 1729572"/>
              <a:gd name="connsiteX35" fmla="*/ 2226526 w 2601035"/>
              <a:gd name="connsiteY35" fmla="*/ 43356 h 1729572"/>
              <a:gd name="connsiteX36" fmla="*/ 2226526 w 2601035"/>
              <a:gd name="connsiteY36" fmla="*/ 45638 h 1729572"/>
              <a:gd name="connsiteX37" fmla="*/ 2224242 w 2601035"/>
              <a:gd name="connsiteY37" fmla="*/ 45638 h 1729572"/>
              <a:gd name="connsiteX38" fmla="*/ 2226526 w 2601035"/>
              <a:gd name="connsiteY38" fmla="*/ 45638 h 1729572"/>
              <a:gd name="connsiteX39" fmla="*/ 2226526 w 2601035"/>
              <a:gd name="connsiteY39" fmla="*/ 47920 h 1729572"/>
              <a:gd name="connsiteX40" fmla="*/ 2226526 w 2601035"/>
              <a:gd name="connsiteY40" fmla="*/ 50202 h 1729572"/>
              <a:gd name="connsiteX41" fmla="*/ 2226526 w 2601035"/>
              <a:gd name="connsiteY41" fmla="*/ 52484 h 1729572"/>
              <a:gd name="connsiteX42" fmla="*/ 2226526 w 2601035"/>
              <a:gd name="connsiteY42" fmla="*/ 54765 h 1729572"/>
              <a:gd name="connsiteX43" fmla="*/ 2226526 w 2601035"/>
              <a:gd name="connsiteY43" fmla="*/ 57047 h 1729572"/>
              <a:gd name="connsiteX44" fmla="*/ 2226526 w 2601035"/>
              <a:gd name="connsiteY44" fmla="*/ 59329 h 1729572"/>
              <a:gd name="connsiteX45" fmla="*/ 2226526 w 2601035"/>
              <a:gd name="connsiteY45" fmla="*/ 57047 h 1729572"/>
              <a:gd name="connsiteX46" fmla="*/ 2226526 w 2601035"/>
              <a:gd name="connsiteY46" fmla="*/ 59329 h 1729572"/>
              <a:gd name="connsiteX47" fmla="*/ 2226526 w 2601035"/>
              <a:gd name="connsiteY47" fmla="*/ 61611 h 1729572"/>
              <a:gd name="connsiteX48" fmla="*/ 2224242 w 2601035"/>
              <a:gd name="connsiteY48" fmla="*/ 61611 h 1729572"/>
              <a:gd name="connsiteX49" fmla="*/ 2224242 w 2601035"/>
              <a:gd name="connsiteY49" fmla="*/ 63893 h 1729572"/>
              <a:gd name="connsiteX50" fmla="*/ 2226526 w 2601035"/>
              <a:gd name="connsiteY50" fmla="*/ 63893 h 1729572"/>
              <a:gd name="connsiteX51" fmla="*/ 2226526 w 2601035"/>
              <a:gd name="connsiteY51" fmla="*/ 66175 h 1729572"/>
              <a:gd name="connsiteX52" fmla="*/ 2224242 w 2601035"/>
              <a:gd name="connsiteY52" fmla="*/ 66175 h 1729572"/>
              <a:gd name="connsiteX53" fmla="*/ 2224242 w 2601035"/>
              <a:gd name="connsiteY53" fmla="*/ 68457 h 1729572"/>
              <a:gd name="connsiteX54" fmla="*/ 2221958 w 2601035"/>
              <a:gd name="connsiteY54" fmla="*/ 68457 h 1729572"/>
              <a:gd name="connsiteX55" fmla="*/ 2221958 w 2601035"/>
              <a:gd name="connsiteY55" fmla="*/ 70739 h 1729572"/>
              <a:gd name="connsiteX56" fmla="*/ 2221958 w 2601035"/>
              <a:gd name="connsiteY56" fmla="*/ 73021 h 1729572"/>
              <a:gd name="connsiteX57" fmla="*/ 2221958 w 2601035"/>
              <a:gd name="connsiteY57" fmla="*/ 70739 h 1729572"/>
              <a:gd name="connsiteX58" fmla="*/ 2219675 w 2601035"/>
              <a:gd name="connsiteY58" fmla="*/ 70739 h 1729572"/>
              <a:gd name="connsiteX59" fmla="*/ 2219675 w 2601035"/>
              <a:gd name="connsiteY59" fmla="*/ 73021 h 1729572"/>
              <a:gd name="connsiteX60" fmla="*/ 2221958 w 2601035"/>
              <a:gd name="connsiteY60" fmla="*/ 73021 h 1729572"/>
              <a:gd name="connsiteX61" fmla="*/ 2221958 w 2601035"/>
              <a:gd name="connsiteY61" fmla="*/ 75302 h 1729572"/>
              <a:gd name="connsiteX62" fmla="*/ 2224242 w 2601035"/>
              <a:gd name="connsiteY62" fmla="*/ 75302 h 1729572"/>
              <a:gd name="connsiteX63" fmla="*/ 2224242 w 2601035"/>
              <a:gd name="connsiteY63" fmla="*/ 77584 h 1729572"/>
              <a:gd name="connsiteX64" fmla="*/ 2226526 w 2601035"/>
              <a:gd name="connsiteY64" fmla="*/ 77584 h 1729572"/>
              <a:gd name="connsiteX65" fmla="*/ 2226526 w 2601035"/>
              <a:gd name="connsiteY65" fmla="*/ 79866 h 1729572"/>
              <a:gd name="connsiteX66" fmla="*/ 2224242 w 2601035"/>
              <a:gd name="connsiteY66" fmla="*/ 79866 h 1729572"/>
              <a:gd name="connsiteX67" fmla="*/ 2224242 w 2601035"/>
              <a:gd name="connsiteY67" fmla="*/ 82148 h 1729572"/>
              <a:gd name="connsiteX68" fmla="*/ 2224242 w 2601035"/>
              <a:gd name="connsiteY68" fmla="*/ 84430 h 1729572"/>
              <a:gd name="connsiteX69" fmla="*/ 2224242 w 2601035"/>
              <a:gd name="connsiteY69" fmla="*/ 86712 h 1729572"/>
              <a:gd name="connsiteX70" fmla="*/ 2224242 w 2601035"/>
              <a:gd name="connsiteY70" fmla="*/ 84430 h 1729572"/>
              <a:gd name="connsiteX71" fmla="*/ 2226526 w 2601035"/>
              <a:gd name="connsiteY71" fmla="*/ 84430 h 1729572"/>
              <a:gd name="connsiteX72" fmla="*/ 2226526 w 2601035"/>
              <a:gd name="connsiteY72" fmla="*/ 86712 h 1729572"/>
              <a:gd name="connsiteX73" fmla="*/ 2228809 w 2601035"/>
              <a:gd name="connsiteY73" fmla="*/ 86712 h 1729572"/>
              <a:gd name="connsiteX74" fmla="*/ 2231093 w 2601035"/>
              <a:gd name="connsiteY74" fmla="*/ 86712 h 1729572"/>
              <a:gd name="connsiteX75" fmla="*/ 2231093 w 2601035"/>
              <a:gd name="connsiteY75" fmla="*/ 88994 h 1729572"/>
              <a:gd name="connsiteX76" fmla="*/ 2228809 w 2601035"/>
              <a:gd name="connsiteY76" fmla="*/ 88994 h 1729572"/>
              <a:gd name="connsiteX77" fmla="*/ 2226526 w 2601035"/>
              <a:gd name="connsiteY77" fmla="*/ 88994 h 1729572"/>
              <a:gd name="connsiteX78" fmla="*/ 2226526 w 2601035"/>
              <a:gd name="connsiteY78" fmla="*/ 91276 h 1729572"/>
              <a:gd name="connsiteX79" fmla="*/ 2228809 w 2601035"/>
              <a:gd name="connsiteY79" fmla="*/ 91276 h 1729572"/>
              <a:gd name="connsiteX80" fmla="*/ 2228809 w 2601035"/>
              <a:gd name="connsiteY80" fmla="*/ 93558 h 1729572"/>
              <a:gd name="connsiteX81" fmla="*/ 2231093 w 2601035"/>
              <a:gd name="connsiteY81" fmla="*/ 93558 h 1729572"/>
              <a:gd name="connsiteX82" fmla="*/ 2231093 w 2601035"/>
              <a:gd name="connsiteY82" fmla="*/ 95840 h 1729572"/>
              <a:gd name="connsiteX83" fmla="*/ 2228809 w 2601035"/>
              <a:gd name="connsiteY83" fmla="*/ 95840 h 1729572"/>
              <a:gd name="connsiteX84" fmla="*/ 2228809 w 2601035"/>
              <a:gd name="connsiteY84" fmla="*/ 98121 h 1729572"/>
              <a:gd name="connsiteX85" fmla="*/ 2228809 w 2601035"/>
              <a:gd name="connsiteY85" fmla="*/ 100403 h 1729572"/>
              <a:gd name="connsiteX86" fmla="*/ 2228809 w 2601035"/>
              <a:gd name="connsiteY86" fmla="*/ 102685 h 1729572"/>
              <a:gd name="connsiteX87" fmla="*/ 2231093 w 2601035"/>
              <a:gd name="connsiteY87" fmla="*/ 102685 h 1729572"/>
              <a:gd name="connsiteX88" fmla="*/ 2231093 w 2601035"/>
              <a:gd name="connsiteY88" fmla="*/ 104967 h 1729572"/>
              <a:gd name="connsiteX89" fmla="*/ 2231093 w 2601035"/>
              <a:gd name="connsiteY89" fmla="*/ 107249 h 1729572"/>
              <a:gd name="connsiteX90" fmla="*/ 2233376 w 2601035"/>
              <a:gd name="connsiteY90" fmla="*/ 107249 h 1729572"/>
              <a:gd name="connsiteX91" fmla="*/ 2235660 w 2601035"/>
              <a:gd name="connsiteY91" fmla="*/ 107249 h 1729572"/>
              <a:gd name="connsiteX92" fmla="*/ 2235660 w 2601035"/>
              <a:gd name="connsiteY92" fmla="*/ 104967 h 1729572"/>
              <a:gd name="connsiteX93" fmla="*/ 2237943 w 2601035"/>
              <a:gd name="connsiteY93" fmla="*/ 104967 h 1729572"/>
              <a:gd name="connsiteX94" fmla="*/ 2237943 w 2601035"/>
              <a:gd name="connsiteY94" fmla="*/ 107249 h 1729572"/>
              <a:gd name="connsiteX95" fmla="*/ 2237943 w 2601035"/>
              <a:gd name="connsiteY95" fmla="*/ 109531 h 1729572"/>
              <a:gd name="connsiteX96" fmla="*/ 2240227 w 2601035"/>
              <a:gd name="connsiteY96" fmla="*/ 109531 h 1729572"/>
              <a:gd name="connsiteX97" fmla="*/ 2237943 w 2601035"/>
              <a:gd name="connsiteY97" fmla="*/ 107249 h 1729572"/>
              <a:gd name="connsiteX98" fmla="*/ 2240227 w 2601035"/>
              <a:gd name="connsiteY98" fmla="*/ 107249 h 1729572"/>
              <a:gd name="connsiteX99" fmla="*/ 2242511 w 2601035"/>
              <a:gd name="connsiteY99" fmla="*/ 107249 h 1729572"/>
              <a:gd name="connsiteX100" fmla="*/ 2240227 w 2601035"/>
              <a:gd name="connsiteY100" fmla="*/ 109531 h 1729572"/>
              <a:gd name="connsiteX101" fmla="*/ 2237943 w 2601035"/>
              <a:gd name="connsiteY101" fmla="*/ 109531 h 1729572"/>
              <a:gd name="connsiteX102" fmla="*/ 2240227 w 2601035"/>
              <a:gd name="connsiteY102" fmla="*/ 109531 h 1729572"/>
              <a:gd name="connsiteX103" fmla="*/ 2240227 w 2601035"/>
              <a:gd name="connsiteY103" fmla="*/ 111813 h 1729572"/>
              <a:gd name="connsiteX104" fmla="*/ 2242511 w 2601035"/>
              <a:gd name="connsiteY104" fmla="*/ 111813 h 1729572"/>
              <a:gd name="connsiteX105" fmla="*/ 2240227 w 2601035"/>
              <a:gd name="connsiteY105" fmla="*/ 111813 h 1729572"/>
              <a:gd name="connsiteX106" fmla="*/ 2240227 w 2601035"/>
              <a:gd name="connsiteY106" fmla="*/ 114085 h 1729572"/>
              <a:gd name="connsiteX107" fmla="*/ 2240227 w 2601035"/>
              <a:gd name="connsiteY107" fmla="*/ 111813 h 1729572"/>
              <a:gd name="connsiteX108" fmla="*/ 2240227 w 2601035"/>
              <a:gd name="connsiteY108" fmla="*/ 114085 h 1729572"/>
              <a:gd name="connsiteX109" fmla="*/ 2237943 w 2601035"/>
              <a:gd name="connsiteY109" fmla="*/ 114085 h 1729572"/>
              <a:gd name="connsiteX110" fmla="*/ 2240227 w 2601035"/>
              <a:gd name="connsiteY110" fmla="*/ 114085 h 1729572"/>
              <a:gd name="connsiteX111" fmla="*/ 2242511 w 2601035"/>
              <a:gd name="connsiteY111" fmla="*/ 114085 h 1729572"/>
              <a:gd name="connsiteX112" fmla="*/ 2242511 w 2601035"/>
              <a:gd name="connsiteY112" fmla="*/ 116367 h 1729572"/>
              <a:gd name="connsiteX113" fmla="*/ 2244794 w 2601035"/>
              <a:gd name="connsiteY113" fmla="*/ 116367 h 1729572"/>
              <a:gd name="connsiteX114" fmla="*/ 2244794 w 2601035"/>
              <a:gd name="connsiteY114" fmla="*/ 114085 h 1729572"/>
              <a:gd name="connsiteX115" fmla="*/ 2244794 w 2601035"/>
              <a:gd name="connsiteY115" fmla="*/ 116367 h 1729572"/>
              <a:gd name="connsiteX116" fmla="*/ 2247078 w 2601035"/>
              <a:gd name="connsiteY116" fmla="*/ 116367 h 1729572"/>
              <a:gd name="connsiteX117" fmla="*/ 2247078 w 2601035"/>
              <a:gd name="connsiteY117" fmla="*/ 118649 h 1729572"/>
              <a:gd name="connsiteX118" fmla="*/ 2249362 w 2601035"/>
              <a:gd name="connsiteY118" fmla="*/ 118649 h 1729572"/>
              <a:gd name="connsiteX119" fmla="*/ 2251645 w 2601035"/>
              <a:gd name="connsiteY119" fmla="*/ 118649 h 1729572"/>
              <a:gd name="connsiteX120" fmla="*/ 2253929 w 2601035"/>
              <a:gd name="connsiteY120" fmla="*/ 118649 h 1729572"/>
              <a:gd name="connsiteX121" fmla="*/ 2253929 w 2601035"/>
              <a:gd name="connsiteY121" fmla="*/ 120931 h 1729572"/>
              <a:gd name="connsiteX122" fmla="*/ 2256212 w 2601035"/>
              <a:gd name="connsiteY122" fmla="*/ 120931 h 1729572"/>
              <a:gd name="connsiteX123" fmla="*/ 2258496 w 2601035"/>
              <a:gd name="connsiteY123" fmla="*/ 120931 h 1729572"/>
              <a:gd name="connsiteX124" fmla="*/ 2260779 w 2601035"/>
              <a:gd name="connsiteY124" fmla="*/ 120931 h 1729572"/>
              <a:gd name="connsiteX125" fmla="*/ 2263063 w 2601035"/>
              <a:gd name="connsiteY125" fmla="*/ 120931 h 1729572"/>
              <a:gd name="connsiteX126" fmla="*/ 2263063 w 2601035"/>
              <a:gd name="connsiteY126" fmla="*/ 123213 h 1729572"/>
              <a:gd name="connsiteX127" fmla="*/ 2265347 w 2601035"/>
              <a:gd name="connsiteY127" fmla="*/ 123213 h 1729572"/>
              <a:gd name="connsiteX128" fmla="*/ 2265347 w 2601035"/>
              <a:gd name="connsiteY128" fmla="*/ 125495 h 1729572"/>
              <a:gd name="connsiteX129" fmla="*/ 2267630 w 2601035"/>
              <a:gd name="connsiteY129" fmla="*/ 125495 h 1729572"/>
              <a:gd name="connsiteX130" fmla="*/ 2269914 w 2601035"/>
              <a:gd name="connsiteY130" fmla="*/ 125495 h 1729572"/>
              <a:gd name="connsiteX131" fmla="*/ 2272197 w 2601035"/>
              <a:gd name="connsiteY131" fmla="*/ 125495 h 1729572"/>
              <a:gd name="connsiteX132" fmla="*/ 2274481 w 2601035"/>
              <a:gd name="connsiteY132" fmla="*/ 125495 h 1729572"/>
              <a:gd name="connsiteX133" fmla="*/ 2272197 w 2601035"/>
              <a:gd name="connsiteY133" fmla="*/ 125495 h 1729572"/>
              <a:gd name="connsiteX134" fmla="*/ 2272197 w 2601035"/>
              <a:gd name="connsiteY134" fmla="*/ 123213 h 1729572"/>
              <a:gd name="connsiteX135" fmla="*/ 2272197 w 2601035"/>
              <a:gd name="connsiteY135" fmla="*/ 120931 h 1729572"/>
              <a:gd name="connsiteX136" fmla="*/ 2269914 w 2601035"/>
              <a:gd name="connsiteY136" fmla="*/ 120931 h 1729572"/>
              <a:gd name="connsiteX137" fmla="*/ 2269914 w 2601035"/>
              <a:gd name="connsiteY137" fmla="*/ 118649 h 1729572"/>
              <a:gd name="connsiteX138" fmla="*/ 2269914 w 2601035"/>
              <a:gd name="connsiteY138" fmla="*/ 116367 h 1729572"/>
              <a:gd name="connsiteX139" fmla="*/ 2267630 w 2601035"/>
              <a:gd name="connsiteY139" fmla="*/ 116367 h 1729572"/>
              <a:gd name="connsiteX140" fmla="*/ 2267630 w 2601035"/>
              <a:gd name="connsiteY140" fmla="*/ 114085 h 1729572"/>
              <a:gd name="connsiteX141" fmla="*/ 2267630 w 2601035"/>
              <a:gd name="connsiteY141" fmla="*/ 111813 h 1729572"/>
              <a:gd name="connsiteX142" fmla="*/ 2265347 w 2601035"/>
              <a:gd name="connsiteY142" fmla="*/ 111813 h 1729572"/>
              <a:gd name="connsiteX143" fmla="*/ 2265347 w 2601035"/>
              <a:gd name="connsiteY143" fmla="*/ 109531 h 1729572"/>
              <a:gd name="connsiteX144" fmla="*/ 2267630 w 2601035"/>
              <a:gd name="connsiteY144" fmla="*/ 109531 h 1729572"/>
              <a:gd name="connsiteX145" fmla="*/ 2269914 w 2601035"/>
              <a:gd name="connsiteY145" fmla="*/ 111813 h 1729572"/>
              <a:gd name="connsiteX146" fmla="*/ 2272197 w 2601035"/>
              <a:gd name="connsiteY146" fmla="*/ 111813 h 1729572"/>
              <a:gd name="connsiteX147" fmla="*/ 2274481 w 2601035"/>
              <a:gd name="connsiteY147" fmla="*/ 114085 h 1729572"/>
              <a:gd name="connsiteX148" fmla="*/ 2276765 w 2601035"/>
              <a:gd name="connsiteY148" fmla="*/ 114085 h 1729572"/>
              <a:gd name="connsiteX149" fmla="*/ 2276765 w 2601035"/>
              <a:gd name="connsiteY149" fmla="*/ 116367 h 1729572"/>
              <a:gd name="connsiteX150" fmla="*/ 2279048 w 2601035"/>
              <a:gd name="connsiteY150" fmla="*/ 116367 h 1729572"/>
              <a:gd name="connsiteX151" fmla="*/ 2279048 w 2601035"/>
              <a:gd name="connsiteY151" fmla="*/ 118649 h 1729572"/>
              <a:gd name="connsiteX152" fmla="*/ 2281332 w 2601035"/>
              <a:gd name="connsiteY152" fmla="*/ 118649 h 1729572"/>
              <a:gd name="connsiteX153" fmla="*/ 2281332 w 2601035"/>
              <a:gd name="connsiteY153" fmla="*/ 120931 h 1729572"/>
              <a:gd name="connsiteX154" fmla="*/ 2283616 w 2601035"/>
              <a:gd name="connsiteY154" fmla="*/ 123213 h 1729572"/>
              <a:gd name="connsiteX155" fmla="*/ 2283616 w 2601035"/>
              <a:gd name="connsiteY155" fmla="*/ 125495 h 1729572"/>
              <a:gd name="connsiteX156" fmla="*/ 2285899 w 2601035"/>
              <a:gd name="connsiteY156" fmla="*/ 125495 h 1729572"/>
              <a:gd name="connsiteX157" fmla="*/ 2285899 w 2601035"/>
              <a:gd name="connsiteY157" fmla="*/ 127777 h 1729572"/>
              <a:gd name="connsiteX158" fmla="*/ 2288183 w 2601035"/>
              <a:gd name="connsiteY158" fmla="*/ 127777 h 1729572"/>
              <a:gd name="connsiteX159" fmla="*/ 2288183 w 2601035"/>
              <a:gd name="connsiteY159" fmla="*/ 130058 h 1729572"/>
              <a:gd name="connsiteX160" fmla="*/ 2290466 w 2601035"/>
              <a:gd name="connsiteY160" fmla="*/ 130058 h 1729572"/>
              <a:gd name="connsiteX161" fmla="*/ 2290466 w 2601035"/>
              <a:gd name="connsiteY161" fmla="*/ 132340 h 1729572"/>
              <a:gd name="connsiteX162" fmla="*/ 2290466 w 2601035"/>
              <a:gd name="connsiteY162" fmla="*/ 134622 h 1729572"/>
              <a:gd name="connsiteX163" fmla="*/ 2290466 w 2601035"/>
              <a:gd name="connsiteY163" fmla="*/ 136904 h 1729572"/>
              <a:gd name="connsiteX164" fmla="*/ 2288183 w 2601035"/>
              <a:gd name="connsiteY164" fmla="*/ 139186 h 1729572"/>
              <a:gd name="connsiteX165" fmla="*/ 2288183 w 2601035"/>
              <a:gd name="connsiteY165" fmla="*/ 141468 h 1729572"/>
              <a:gd name="connsiteX166" fmla="*/ 2285899 w 2601035"/>
              <a:gd name="connsiteY166" fmla="*/ 141468 h 1729572"/>
              <a:gd name="connsiteX167" fmla="*/ 2285899 w 2601035"/>
              <a:gd name="connsiteY167" fmla="*/ 143750 h 1729572"/>
              <a:gd name="connsiteX168" fmla="*/ 2288183 w 2601035"/>
              <a:gd name="connsiteY168" fmla="*/ 143750 h 1729572"/>
              <a:gd name="connsiteX169" fmla="*/ 2288183 w 2601035"/>
              <a:gd name="connsiteY169" fmla="*/ 146032 h 1729572"/>
              <a:gd name="connsiteX170" fmla="*/ 2290466 w 2601035"/>
              <a:gd name="connsiteY170" fmla="*/ 146032 h 1729572"/>
              <a:gd name="connsiteX171" fmla="*/ 2290466 w 2601035"/>
              <a:gd name="connsiteY171" fmla="*/ 148314 h 1729572"/>
              <a:gd name="connsiteX172" fmla="*/ 2290466 w 2601035"/>
              <a:gd name="connsiteY172" fmla="*/ 150596 h 1729572"/>
              <a:gd name="connsiteX173" fmla="*/ 2290466 w 2601035"/>
              <a:gd name="connsiteY173" fmla="*/ 152877 h 1729572"/>
              <a:gd name="connsiteX174" fmla="*/ 2290466 w 2601035"/>
              <a:gd name="connsiteY174" fmla="*/ 155159 h 1729572"/>
              <a:gd name="connsiteX175" fmla="*/ 2290466 w 2601035"/>
              <a:gd name="connsiteY175" fmla="*/ 157441 h 1729572"/>
              <a:gd name="connsiteX176" fmla="*/ 2288183 w 2601035"/>
              <a:gd name="connsiteY176" fmla="*/ 157441 h 1729572"/>
              <a:gd name="connsiteX177" fmla="*/ 2285899 w 2601035"/>
              <a:gd name="connsiteY177" fmla="*/ 157441 h 1729572"/>
              <a:gd name="connsiteX178" fmla="*/ 2285899 w 2601035"/>
              <a:gd name="connsiteY178" fmla="*/ 155159 h 1729572"/>
              <a:gd name="connsiteX179" fmla="*/ 2283616 w 2601035"/>
              <a:gd name="connsiteY179" fmla="*/ 155159 h 1729572"/>
              <a:gd name="connsiteX180" fmla="*/ 2281332 w 2601035"/>
              <a:gd name="connsiteY180" fmla="*/ 155159 h 1729572"/>
              <a:gd name="connsiteX181" fmla="*/ 2281332 w 2601035"/>
              <a:gd name="connsiteY181" fmla="*/ 157441 h 1729572"/>
              <a:gd name="connsiteX182" fmla="*/ 2281332 w 2601035"/>
              <a:gd name="connsiteY182" fmla="*/ 159723 h 1729572"/>
              <a:gd name="connsiteX183" fmla="*/ 2283616 w 2601035"/>
              <a:gd name="connsiteY183" fmla="*/ 162005 h 1729572"/>
              <a:gd name="connsiteX184" fmla="*/ 2283616 w 2601035"/>
              <a:gd name="connsiteY184" fmla="*/ 164287 h 1729572"/>
              <a:gd name="connsiteX185" fmla="*/ 2281332 w 2601035"/>
              <a:gd name="connsiteY185" fmla="*/ 164287 h 1729572"/>
              <a:gd name="connsiteX186" fmla="*/ 2279048 w 2601035"/>
              <a:gd name="connsiteY186" fmla="*/ 164287 h 1729572"/>
              <a:gd name="connsiteX187" fmla="*/ 2276765 w 2601035"/>
              <a:gd name="connsiteY187" fmla="*/ 164287 h 1729572"/>
              <a:gd name="connsiteX188" fmla="*/ 2274481 w 2601035"/>
              <a:gd name="connsiteY188" fmla="*/ 164287 h 1729572"/>
              <a:gd name="connsiteX189" fmla="*/ 2272197 w 2601035"/>
              <a:gd name="connsiteY189" fmla="*/ 164287 h 1729572"/>
              <a:gd name="connsiteX190" fmla="*/ 2272197 w 2601035"/>
              <a:gd name="connsiteY190" fmla="*/ 166569 h 1729572"/>
              <a:gd name="connsiteX191" fmla="*/ 2269914 w 2601035"/>
              <a:gd name="connsiteY191" fmla="*/ 166569 h 1729572"/>
              <a:gd name="connsiteX192" fmla="*/ 2267630 w 2601035"/>
              <a:gd name="connsiteY192" fmla="*/ 166569 h 1729572"/>
              <a:gd name="connsiteX193" fmla="*/ 2265347 w 2601035"/>
              <a:gd name="connsiteY193" fmla="*/ 166569 h 1729572"/>
              <a:gd name="connsiteX194" fmla="*/ 2265347 w 2601035"/>
              <a:gd name="connsiteY194" fmla="*/ 168851 h 1729572"/>
              <a:gd name="connsiteX195" fmla="*/ 2263063 w 2601035"/>
              <a:gd name="connsiteY195" fmla="*/ 168851 h 1729572"/>
              <a:gd name="connsiteX196" fmla="*/ 2263063 w 2601035"/>
              <a:gd name="connsiteY196" fmla="*/ 171133 h 1729572"/>
              <a:gd name="connsiteX197" fmla="*/ 2263063 w 2601035"/>
              <a:gd name="connsiteY197" fmla="*/ 173414 h 1729572"/>
              <a:gd name="connsiteX198" fmla="*/ 2263063 w 2601035"/>
              <a:gd name="connsiteY198" fmla="*/ 175697 h 1729572"/>
              <a:gd name="connsiteX199" fmla="*/ 2260779 w 2601035"/>
              <a:gd name="connsiteY199" fmla="*/ 175697 h 1729572"/>
              <a:gd name="connsiteX200" fmla="*/ 2260779 w 2601035"/>
              <a:gd name="connsiteY200" fmla="*/ 173414 h 1729572"/>
              <a:gd name="connsiteX201" fmla="*/ 2258496 w 2601035"/>
              <a:gd name="connsiteY201" fmla="*/ 173414 h 1729572"/>
              <a:gd name="connsiteX202" fmla="*/ 2258496 w 2601035"/>
              <a:gd name="connsiteY202" fmla="*/ 175697 h 1729572"/>
              <a:gd name="connsiteX203" fmla="*/ 2256212 w 2601035"/>
              <a:gd name="connsiteY203" fmla="*/ 175697 h 1729572"/>
              <a:gd name="connsiteX204" fmla="*/ 2253929 w 2601035"/>
              <a:gd name="connsiteY204" fmla="*/ 175697 h 1729572"/>
              <a:gd name="connsiteX205" fmla="*/ 2253929 w 2601035"/>
              <a:gd name="connsiteY205" fmla="*/ 177978 h 1729572"/>
              <a:gd name="connsiteX206" fmla="*/ 2251645 w 2601035"/>
              <a:gd name="connsiteY206" fmla="*/ 177978 h 1729572"/>
              <a:gd name="connsiteX207" fmla="*/ 2251645 w 2601035"/>
              <a:gd name="connsiteY207" fmla="*/ 180260 h 1729572"/>
              <a:gd name="connsiteX208" fmla="*/ 2251645 w 2601035"/>
              <a:gd name="connsiteY208" fmla="*/ 182542 h 1729572"/>
              <a:gd name="connsiteX209" fmla="*/ 2251645 w 2601035"/>
              <a:gd name="connsiteY209" fmla="*/ 184824 h 1729572"/>
              <a:gd name="connsiteX210" fmla="*/ 2251645 w 2601035"/>
              <a:gd name="connsiteY210" fmla="*/ 187106 h 1729572"/>
              <a:gd name="connsiteX211" fmla="*/ 2251645 w 2601035"/>
              <a:gd name="connsiteY211" fmla="*/ 189388 h 1729572"/>
              <a:gd name="connsiteX212" fmla="*/ 2251645 w 2601035"/>
              <a:gd name="connsiteY212" fmla="*/ 191670 h 1729572"/>
              <a:gd name="connsiteX213" fmla="*/ 2251645 w 2601035"/>
              <a:gd name="connsiteY213" fmla="*/ 193952 h 1729572"/>
              <a:gd name="connsiteX214" fmla="*/ 2249362 w 2601035"/>
              <a:gd name="connsiteY214" fmla="*/ 193952 h 1729572"/>
              <a:gd name="connsiteX215" fmla="*/ 2249362 w 2601035"/>
              <a:gd name="connsiteY215" fmla="*/ 196233 h 1729572"/>
              <a:gd name="connsiteX216" fmla="*/ 2249362 w 2601035"/>
              <a:gd name="connsiteY216" fmla="*/ 198515 h 1729572"/>
              <a:gd name="connsiteX217" fmla="*/ 2247078 w 2601035"/>
              <a:gd name="connsiteY217" fmla="*/ 200797 h 1729572"/>
              <a:gd name="connsiteX218" fmla="*/ 2247078 w 2601035"/>
              <a:gd name="connsiteY218" fmla="*/ 203079 h 1729572"/>
              <a:gd name="connsiteX219" fmla="*/ 2247078 w 2601035"/>
              <a:gd name="connsiteY219" fmla="*/ 205361 h 1729572"/>
              <a:gd name="connsiteX220" fmla="*/ 2247078 w 2601035"/>
              <a:gd name="connsiteY220" fmla="*/ 207643 h 1729572"/>
              <a:gd name="connsiteX221" fmla="*/ 2244794 w 2601035"/>
              <a:gd name="connsiteY221" fmla="*/ 209925 h 1729572"/>
              <a:gd name="connsiteX222" fmla="*/ 2244794 w 2601035"/>
              <a:gd name="connsiteY222" fmla="*/ 212207 h 1729572"/>
              <a:gd name="connsiteX223" fmla="*/ 2242511 w 2601035"/>
              <a:gd name="connsiteY223" fmla="*/ 212207 h 1729572"/>
              <a:gd name="connsiteX224" fmla="*/ 2240227 w 2601035"/>
              <a:gd name="connsiteY224" fmla="*/ 209925 h 1729572"/>
              <a:gd name="connsiteX225" fmla="*/ 2237943 w 2601035"/>
              <a:gd name="connsiteY225" fmla="*/ 209925 h 1729572"/>
              <a:gd name="connsiteX226" fmla="*/ 2235660 w 2601035"/>
              <a:gd name="connsiteY226" fmla="*/ 209925 h 1729572"/>
              <a:gd name="connsiteX227" fmla="*/ 2233376 w 2601035"/>
              <a:gd name="connsiteY227" fmla="*/ 209925 h 1729572"/>
              <a:gd name="connsiteX228" fmla="*/ 2233376 w 2601035"/>
              <a:gd name="connsiteY228" fmla="*/ 212207 h 1729572"/>
              <a:gd name="connsiteX229" fmla="*/ 2233376 w 2601035"/>
              <a:gd name="connsiteY229" fmla="*/ 214489 h 1729572"/>
              <a:gd name="connsiteX230" fmla="*/ 2233376 w 2601035"/>
              <a:gd name="connsiteY230" fmla="*/ 216770 h 1729572"/>
              <a:gd name="connsiteX231" fmla="*/ 2231093 w 2601035"/>
              <a:gd name="connsiteY231" fmla="*/ 216770 h 1729572"/>
              <a:gd name="connsiteX232" fmla="*/ 2231093 w 2601035"/>
              <a:gd name="connsiteY232" fmla="*/ 219053 h 1729572"/>
              <a:gd name="connsiteX233" fmla="*/ 2233376 w 2601035"/>
              <a:gd name="connsiteY233" fmla="*/ 219053 h 1729572"/>
              <a:gd name="connsiteX234" fmla="*/ 2233376 w 2601035"/>
              <a:gd name="connsiteY234" fmla="*/ 216770 h 1729572"/>
              <a:gd name="connsiteX235" fmla="*/ 2233376 w 2601035"/>
              <a:gd name="connsiteY235" fmla="*/ 219053 h 1729572"/>
              <a:gd name="connsiteX236" fmla="*/ 2233376 w 2601035"/>
              <a:gd name="connsiteY236" fmla="*/ 221334 h 1729572"/>
              <a:gd name="connsiteX237" fmla="*/ 2233376 w 2601035"/>
              <a:gd name="connsiteY237" fmla="*/ 223616 h 1729572"/>
              <a:gd name="connsiteX238" fmla="*/ 2235660 w 2601035"/>
              <a:gd name="connsiteY238" fmla="*/ 223616 h 1729572"/>
              <a:gd name="connsiteX239" fmla="*/ 2235660 w 2601035"/>
              <a:gd name="connsiteY239" fmla="*/ 225898 h 1729572"/>
              <a:gd name="connsiteX240" fmla="*/ 2235660 w 2601035"/>
              <a:gd name="connsiteY240" fmla="*/ 228180 h 1729572"/>
              <a:gd name="connsiteX241" fmla="*/ 2237943 w 2601035"/>
              <a:gd name="connsiteY241" fmla="*/ 228180 h 1729572"/>
              <a:gd name="connsiteX242" fmla="*/ 2237943 w 2601035"/>
              <a:gd name="connsiteY242" fmla="*/ 225898 h 1729572"/>
              <a:gd name="connsiteX243" fmla="*/ 2237943 w 2601035"/>
              <a:gd name="connsiteY243" fmla="*/ 223616 h 1729572"/>
              <a:gd name="connsiteX244" fmla="*/ 2237943 w 2601035"/>
              <a:gd name="connsiteY244" fmla="*/ 225898 h 1729572"/>
              <a:gd name="connsiteX245" fmla="*/ 2237943 w 2601035"/>
              <a:gd name="connsiteY245" fmla="*/ 223616 h 1729572"/>
              <a:gd name="connsiteX246" fmla="*/ 2237943 w 2601035"/>
              <a:gd name="connsiteY246" fmla="*/ 221334 h 1729572"/>
              <a:gd name="connsiteX247" fmla="*/ 2237943 w 2601035"/>
              <a:gd name="connsiteY247" fmla="*/ 223616 h 1729572"/>
              <a:gd name="connsiteX248" fmla="*/ 2240227 w 2601035"/>
              <a:gd name="connsiteY248" fmla="*/ 223616 h 1729572"/>
              <a:gd name="connsiteX249" fmla="*/ 2240227 w 2601035"/>
              <a:gd name="connsiteY249" fmla="*/ 221334 h 1729572"/>
              <a:gd name="connsiteX250" fmla="*/ 2240227 w 2601035"/>
              <a:gd name="connsiteY250" fmla="*/ 223616 h 1729572"/>
              <a:gd name="connsiteX251" fmla="*/ 2242511 w 2601035"/>
              <a:gd name="connsiteY251" fmla="*/ 223616 h 1729572"/>
              <a:gd name="connsiteX252" fmla="*/ 2242511 w 2601035"/>
              <a:gd name="connsiteY252" fmla="*/ 225898 h 1729572"/>
              <a:gd name="connsiteX253" fmla="*/ 2242511 w 2601035"/>
              <a:gd name="connsiteY253" fmla="*/ 228180 h 1729572"/>
              <a:gd name="connsiteX254" fmla="*/ 2240227 w 2601035"/>
              <a:gd name="connsiteY254" fmla="*/ 228180 h 1729572"/>
              <a:gd name="connsiteX255" fmla="*/ 2237943 w 2601035"/>
              <a:gd name="connsiteY255" fmla="*/ 228180 h 1729572"/>
              <a:gd name="connsiteX256" fmla="*/ 2237943 w 2601035"/>
              <a:gd name="connsiteY256" fmla="*/ 230462 h 1729572"/>
              <a:gd name="connsiteX257" fmla="*/ 2235660 w 2601035"/>
              <a:gd name="connsiteY257" fmla="*/ 230462 h 1729572"/>
              <a:gd name="connsiteX258" fmla="*/ 2233376 w 2601035"/>
              <a:gd name="connsiteY258" fmla="*/ 230462 h 1729572"/>
              <a:gd name="connsiteX259" fmla="*/ 2231093 w 2601035"/>
              <a:gd name="connsiteY259" fmla="*/ 232744 h 1729572"/>
              <a:gd name="connsiteX260" fmla="*/ 2228809 w 2601035"/>
              <a:gd name="connsiteY260" fmla="*/ 232744 h 1729572"/>
              <a:gd name="connsiteX261" fmla="*/ 2226526 w 2601035"/>
              <a:gd name="connsiteY261" fmla="*/ 235026 h 1729572"/>
              <a:gd name="connsiteX262" fmla="*/ 2224242 w 2601035"/>
              <a:gd name="connsiteY262" fmla="*/ 235026 h 1729572"/>
              <a:gd name="connsiteX263" fmla="*/ 2224242 w 2601035"/>
              <a:gd name="connsiteY263" fmla="*/ 237308 h 1729572"/>
              <a:gd name="connsiteX264" fmla="*/ 2221958 w 2601035"/>
              <a:gd name="connsiteY264" fmla="*/ 237308 h 1729572"/>
              <a:gd name="connsiteX265" fmla="*/ 2224242 w 2601035"/>
              <a:gd name="connsiteY265" fmla="*/ 239590 h 1729572"/>
              <a:gd name="connsiteX266" fmla="*/ 2224242 w 2601035"/>
              <a:gd name="connsiteY266" fmla="*/ 241871 h 1729572"/>
              <a:gd name="connsiteX267" fmla="*/ 2226526 w 2601035"/>
              <a:gd name="connsiteY267" fmla="*/ 241871 h 1729572"/>
              <a:gd name="connsiteX268" fmla="*/ 2228809 w 2601035"/>
              <a:gd name="connsiteY268" fmla="*/ 241871 h 1729572"/>
              <a:gd name="connsiteX269" fmla="*/ 2231093 w 2601035"/>
              <a:gd name="connsiteY269" fmla="*/ 244153 h 1729572"/>
              <a:gd name="connsiteX270" fmla="*/ 2233376 w 2601035"/>
              <a:gd name="connsiteY270" fmla="*/ 244153 h 1729572"/>
              <a:gd name="connsiteX271" fmla="*/ 2228809 w 2601035"/>
              <a:gd name="connsiteY271" fmla="*/ 246435 h 1729572"/>
              <a:gd name="connsiteX272" fmla="*/ 2228809 w 2601035"/>
              <a:gd name="connsiteY272" fmla="*/ 248717 h 1729572"/>
              <a:gd name="connsiteX273" fmla="*/ 2231093 w 2601035"/>
              <a:gd name="connsiteY273" fmla="*/ 248717 h 1729572"/>
              <a:gd name="connsiteX274" fmla="*/ 2233376 w 2601035"/>
              <a:gd name="connsiteY274" fmla="*/ 248717 h 1729572"/>
              <a:gd name="connsiteX275" fmla="*/ 2235660 w 2601035"/>
              <a:gd name="connsiteY275" fmla="*/ 250999 h 1729572"/>
              <a:gd name="connsiteX276" fmla="*/ 2237943 w 2601035"/>
              <a:gd name="connsiteY276" fmla="*/ 250999 h 1729572"/>
              <a:gd name="connsiteX277" fmla="*/ 2240227 w 2601035"/>
              <a:gd name="connsiteY277" fmla="*/ 250999 h 1729572"/>
              <a:gd name="connsiteX278" fmla="*/ 2240227 w 2601035"/>
              <a:gd name="connsiteY278" fmla="*/ 253281 h 1729572"/>
              <a:gd name="connsiteX279" fmla="*/ 2240227 w 2601035"/>
              <a:gd name="connsiteY279" fmla="*/ 255563 h 1729572"/>
              <a:gd name="connsiteX280" fmla="*/ 2242511 w 2601035"/>
              <a:gd name="connsiteY280" fmla="*/ 255563 h 1729572"/>
              <a:gd name="connsiteX281" fmla="*/ 2244794 w 2601035"/>
              <a:gd name="connsiteY281" fmla="*/ 255563 h 1729572"/>
              <a:gd name="connsiteX282" fmla="*/ 2244794 w 2601035"/>
              <a:gd name="connsiteY282" fmla="*/ 253281 h 1729572"/>
              <a:gd name="connsiteX283" fmla="*/ 2247078 w 2601035"/>
              <a:gd name="connsiteY283" fmla="*/ 253281 h 1729572"/>
              <a:gd name="connsiteX284" fmla="*/ 2247078 w 2601035"/>
              <a:gd name="connsiteY284" fmla="*/ 255563 h 1729572"/>
              <a:gd name="connsiteX285" fmla="*/ 2244794 w 2601035"/>
              <a:gd name="connsiteY285" fmla="*/ 255563 h 1729572"/>
              <a:gd name="connsiteX286" fmla="*/ 2244794 w 2601035"/>
              <a:gd name="connsiteY286" fmla="*/ 257845 h 1729572"/>
              <a:gd name="connsiteX287" fmla="*/ 2244794 w 2601035"/>
              <a:gd name="connsiteY287" fmla="*/ 260126 h 1729572"/>
              <a:gd name="connsiteX288" fmla="*/ 2244794 w 2601035"/>
              <a:gd name="connsiteY288" fmla="*/ 262409 h 1729572"/>
              <a:gd name="connsiteX289" fmla="*/ 2247078 w 2601035"/>
              <a:gd name="connsiteY289" fmla="*/ 262409 h 1729572"/>
              <a:gd name="connsiteX290" fmla="*/ 2249362 w 2601035"/>
              <a:gd name="connsiteY290" fmla="*/ 262409 h 1729572"/>
              <a:gd name="connsiteX291" fmla="*/ 2249362 w 2601035"/>
              <a:gd name="connsiteY291" fmla="*/ 260126 h 1729572"/>
              <a:gd name="connsiteX292" fmla="*/ 2251645 w 2601035"/>
              <a:gd name="connsiteY292" fmla="*/ 260126 h 1729572"/>
              <a:gd name="connsiteX293" fmla="*/ 2251645 w 2601035"/>
              <a:gd name="connsiteY293" fmla="*/ 257845 h 1729572"/>
              <a:gd name="connsiteX294" fmla="*/ 2249362 w 2601035"/>
              <a:gd name="connsiteY294" fmla="*/ 257845 h 1729572"/>
              <a:gd name="connsiteX295" fmla="*/ 2249362 w 2601035"/>
              <a:gd name="connsiteY295" fmla="*/ 255563 h 1729572"/>
              <a:gd name="connsiteX296" fmla="*/ 2251645 w 2601035"/>
              <a:gd name="connsiteY296" fmla="*/ 255563 h 1729572"/>
              <a:gd name="connsiteX297" fmla="*/ 2253929 w 2601035"/>
              <a:gd name="connsiteY297" fmla="*/ 255563 h 1729572"/>
              <a:gd name="connsiteX298" fmla="*/ 2256212 w 2601035"/>
              <a:gd name="connsiteY298" fmla="*/ 255563 h 1729572"/>
              <a:gd name="connsiteX299" fmla="*/ 2258496 w 2601035"/>
              <a:gd name="connsiteY299" fmla="*/ 255563 h 1729572"/>
              <a:gd name="connsiteX300" fmla="*/ 2258496 w 2601035"/>
              <a:gd name="connsiteY300" fmla="*/ 253281 h 1729572"/>
              <a:gd name="connsiteX301" fmla="*/ 2258496 w 2601035"/>
              <a:gd name="connsiteY301" fmla="*/ 255563 h 1729572"/>
              <a:gd name="connsiteX302" fmla="*/ 2260779 w 2601035"/>
              <a:gd name="connsiteY302" fmla="*/ 255563 h 1729572"/>
              <a:gd name="connsiteX303" fmla="*/ 2263063 w 2601035"/>
              <a:gd name="connsiteY303" fmla="*/ 255563 h 1729572"/>
              <a:gd name="connsiteX304" fmla="*/ 2265347 w 2601035"/>
              <a:gd name="connsiteY304" fmla="*/ 255563 h 1729572"/>
              <a:gd name="connsiteX305" fmla="*/ 2267630 w 2601035"/>
              <a:gd name="connsiteY305" fmla="*/ 255563 h 1729572"/>
              <a:gd name="connsiteX306" fmla="*/ 2269914 w 2601035"/>
              <a:gd name="connsiteY306" fmla="*/ 255563 h 1729572"/>
              <a:gd name="connsiteX307" fmla="*/ 2272197 w 2601035"/>
              <a:gd name="connsiteY307" fmla="*/ 255563 h 1729572"/>
              <a:gd name="connsiteX308" fmla="*/ 2274481 w 2601035"/>
              <a:gd name="connsiteY308" fmla="*/ 255563 h 1729572"/>
              <a:gd name="connsiteX309" fmla="*/ 2274481 w 2601035"/>
              <a:gd name="connsiteY309" fmla="*/ 257845 h 1729572"/>
              <a:gd name="connsiteX310" fmla="*/ 2276765 w 2601035"/>
              <a:gd name="connsiteY310" fmla="*/ 257845 h 1729572"/>
              <a:gd name="connsiteX311" fmla="*/ 2276765 w 2601035"/>
              <a:gd name="connsiteY311" fmla="*/ 260126 h 1729572"/>
              <a:gd name="connsiteX312" fmla="*/ 2279048 w 2601035"/>
              <a:gd name="connsiteY312" fmla="*/ 260126 h 1729572"/>
              <a:gd name="connsiteX313" fmla="*/ 2279048 w 2601035"/>
              <a:gd name="connsiteY313" fmla="*/ 262409 h 1729572"/>
              <a:gd name="connsiteX314" fmla="*/ 2281332 w 2601035"/>
              <a:gd name="connsiteY314" fmla="*/ 262409 h 1729572"/>
              <a:gd name="connsiteX315" fmla="*/ 2283616 w 2601035"/>
              <a:gd name="connsiteY315" fmla="*/ 262409 h 1729572"/>
              <a:gd name="connsiteX316" fmla="*/ 2285899 w 2601035"/>
              <a:gd name="connsiteY316" fmla="*/ 262409 h 1729572"/>
              <a:gd name="connsiteX317" fmla="*/ 2288183 w 2601035"/>
              <a:gd name="connsiteY317" fmla="*/ 262409 h 1729572"/>
              <a:gd name="connsiteX318" fmla="*/ 2288183 w 2601035"/>
              <a:gd name="connsiteY318" fmla="*/ 264690 h 1729572"/>
              <a:gd name="connsiteX319" fmla="*/ 2290466 w 2601035"/>
              <a:gd name="connsiteY319" fmla="*/ 264690 h 1729572"/>
              <a:gd name="connsiteX320" fmla="*/ 2292750 w 2601035"/>
              <a:gd name="connsiteY320" fmla="*/ 264690 h 1729572"/>
              <a:gd name="connsiteX321" fmla="*/ 2295033 w 2601035"/>
              <a:gd name="connsiteY321" fmla="*/ 266972 h 1729572"/>
              <a:gd name="connsiteX322" fmla="*/ 2295033 w 2601035"/>
              <a:gd name="connsiteY322" fmla="*/ 264690 h 1729572"/>
              <a:gd name="connsiteX323" fmla="*/ 2295033 w 2601035"/>
              <a:gd name="connsiteY323" fmla="*/ 266972 h 1729572"/>
              <a:gd name="connsiteX324" fmla="*/ 2297317 w 2601035"/>
              <a:gd name="connsiteY324" fmla="*/ 266972 h 1729572"/>
              <a:gd name="connsiteX325" fmla="*/ 2297317 w 2601035"/>
              <a:gd name="connsiteY325" fmla="*/ 269254 h 1729572"/>
              <a:gd name="connsiteX326" fmla="*/ 2299601 w 2601035"/>
              <a:gd name="connsiteY326" fmla="*/ 271526 h 1729572"/>
              <a:gd name="connsiteX327" fmla="*/ 2301884 w 2601035"/>
              <a:gd name="connsiteY327" fmla="*/ 273809 h 1729572"/>
              <a:gd name="connsiteX328" fmla="*/ 2301884 w 2601035"/>
              <a:gd name="connsiteY328" fmla="*/ 276090 h 1729572"/>
              <a:gd name="connsiteX329" fmla="*/ 2304168 w 2601035"/>
              <a:gd name="connsiteY329" fmla="*/ 276090 h 1729572"/>
              <a:gd name="connsiteX330" fmla="*/ 2308735 w 2601035"/>
              <a:gd name="connsiteY330" fmla="*/ 271526 h 1729572"/>
              <a:gd name="connsiteX331" fmla="*/ 2311018 w 2601035"/>
              <a:gd name="connsiteY331" fmla="*/ 269254 h 1729572"/>
              <a:gd name="connsiteX332" fmla="*/ 2313302 w 2601035"/>
              <a:gd name="connsiteY332" fmla="*/ 266972 h 1729572"/>
              <a:gd name="connsiteX333" fmla="*/ 2315586 w 2601035"/>
              <a:gd name="connsiteY333" fmla="*/ 269254 h 1729572"/>
              <a:gd name="connsiteX334" fmla="*/ 2317869 w 2601035"/>
              <a:gd name="connsiteY334" fmla="*/ 269254 h 1729572"/>
              <a:gd name="connsiteX335" fmla="*/ 2322437 w 2601035"/>
              <a:gd name="connsiteY335" fmla="*/ 264690 h 1729572"/>
              <a:gd name="connsiteX336" fmla="*/ 2324720 w 2601035"/>
              <a:gd name="connsiteY336" fmla="*/ 264690 h 1729572"/>
              <a:gd name="connsiteX337" fmla="*/ 2327004 w 2601035"/>
              <a:gd name="connsiteY337" fmla="*/ 264690 h 1729572"/>
              <a:gd name="connsiteX338" fmla="*/ 2329287 w 2601035"/>
              <a:gd name="connsiteY338" fmla="*/ 264690 h 1729572"/>
              <a:gd name="connsiteX339" fmla="*/ 2331571 w 2601035"/>
              <a:gd name="connsiteY339" fmla="*/ 264690 h 1729572"/>
              <a:gd name="connsiteX340" fmla="*/ 2333855 w 2601035"/>
              <a:gd name="connsiteY340" fmla="*/ 264690 h 1729572"/>
              <a:gd name="connsiteX341" fmla="*/ 2336138 w 2601035"/>
              <a:gd name="connsiteY341" fmla="*/ 264690 h 1729572"/>
              <a:gd name="connsiteX342" fmla="*/ 2338422 w 2601035"/>
              <a:gd name="connsiteY342" fmla="*/ 264690 h 1729572"/>
              <a:gd name="connsiteX343" fmla="*/ 2345272 w 2601035"/>
              <a:gd name="connsiteY343" fmla="*/ 260126 h 1729572"/>
              <a:gd name="connsiteX344" fmla="*/ 2347556 w 2601035"/>
              <a:gd name="connsiteY344" fmla="*/ 257845 h 1729572"/>
              <a:gd name="connsiteX345" fmla="*/ 2349840 w 2601035"/>
              <a:gd name="connsiteY345" fmla="*/ 257845 h 1729572"/>
              <a:gd name="connsiteX346" fmla="*/ 2352123 w 2601035"/>
              <a:gd name="connsiteY346" fmla="*/ 257845 h 1729572"/>
              <a:gd name="connsiteX347" fmla="*/ 2354407 w 2601035"/>
              <a:gd name="connsiteY347" fmla="*/ 257845 h 1729572"/>
              <a:gd name="connsiteX348" fmla="*/ 2356691 w 2601035"/>
              <a:gd name="connsiteY348" fmla="*/ 257845 h 1729572"/>
              <a:gd name="connsiteX349" fmla="*/ 2358974 w 2601035"/>
              <a:gd name="connsiteY349" fmla="*/ 257845 h 1729572"/>
              <a:gd name="connsiteX350" fmla="*/ 2363541 w 2601035"/>
              <a:gd name="connsiteY350" fmla="*/ 255563 h 1729572"/>
              <a:gd name="connsiteX351" fmla="*/ 2365825 w 2601035"/>
              <a:gd name="connsiteY351" fmla="*/ 266972 h 1729572"/>
              <a:gd name="connsiteX352" fmla="*/ 2368108 w 2601035"/>
              <a:gd name="connsiteY352" fmla="*/ 266972 h 1729572"/>
              <a:gd name="connsiteX353" fmla="*/ 2374959 w 2601035"/>
              <a:gd name="connsiteY353" fmla="*/ 269254 h 1729572"/>
              <a:gd name="connsiteX354" fmla="*/ 2384094 w 2601035"/>
              <a:gd name="connsiteY354" fmla="*/ 271526 h 1729572"/>
              <a:gd name="connsiteX355" fmla="*/ 2384094 w 2601035"/>
              <a:gd name="connsiteY355" fmla="*/ 273809 h 1729572"/>
              <a:gd name="connsiteX356" fmla="*/ 2384094 w 2601035"/>
              <a:gd name="connsiteY356" fmla="*/ 271526 h 1729572"/>
              <a:gd name="connsiteX357" fmla="*/ 2386377 w 2601035"/>
              <a:gd name="connsiteY357" fmla="*/ 271526 h 1729572"/>
              <a:gd name="connsiteX358" fmla="*/ 2388661 w 2601035"/>
              <a:gd name="connsiteY358" fmla="*/ 271526 h 1729572"/>
              <a:gd name="connsiteX359" fmla="*/ 2388661 w 2601035"/>
              <a:gd name="connsiteY359" fmla="*/ 273809 h 1729572"/>
              <a:gd name="connsiteX360" fmla="*/ 2390945 w 2601035"/>
              <a:gd name="connsiteY360" fmla="*/ 273809 h 1729572"/>
              <a:gd name="connsiteX361" fmla="*/ 2390945 w 2601035"/>
              <a:gd name="connsiteY361" fmla="*/ 276090 h 1729572"/>
              <a:gd name="connsiteX362" fmla="*/ 2390945 w 2601035"/>
              <a:gd name="connsiteY362" fmla="*/ 278372 h 1729572"/>
              <a:gd name="connsiteX363" fmla="*/ 2390945 w 2601035"/>
              <a:gd name="connsiteY363" fmla="*/ 280654 h 1729572"/>
              <a:gd name="connsiteX364" fmla="*/ 2390945 w 2601035"/>
              <a:gd name="connsiteY364" fmla="*/ 282936 h 1729572"/>
              <a:gd name="connsiteX365" fmla="*/ 2390945 w 2601035"/>
              <a:gd name="connsiteY365" fmla="*/ 285218 h 1729572"/>
              <a:gd name="connsiteX366" fmla="*/ 2393228 w 2601035"/>
              <a:gd name="connsiteY366" fmla="*/ 285218 h 1729572"/>
              <a:gd name="connsiteX367" fmla="*/ 2393228 w 2601035"/>
              <a:gd name="connsiteY367" fmla="*/ 287500 h 1729572"/>
              <a:gd name="connsiteX368" fmla="*/ 2393228 w 2601035"/>
              <a:gd name="connsiteY368" fmla="*/ 285218 h 1729572"/>
              <a:gd name="connsiteX369" fmla="*/ 2393228 w 2601035"/>
              <a:gd name="connsiteY369" fmla="*/ 287500 h 1729572"/>
              <a:gd name="connsiteX370" fmla="*/ 2393228 w 2601035"/>
              <a:gd name="connsiteY370" fmla="*/ 285218 h 1729572"/>
              <a:gd name="connsiteX371" fmla="*/ 2395512 w 2601035"/>
              <a:gd name="connsiteY371" fmla="*/ 285218 h 1729572"/>
              <a:gd name="connsiteX372" fmla="*/ 2397795 w 2601035"/>
              <a:gd name="connsiteY372" fmla="*/ 285218 h 1729572"/>
              <a:gd name="connsiteX373" fmla="*/ 2400079 w 2601035"/>
              <a:gd name="connsiteY373" fmla="*/ 285218 h 1729572"/>
              <a:gd name="connsiteX374" fmla="*/ 2402362 w 2601035"/>
              <a:gd name="connsiteY374" fmla="*/ 285218 h 1729572"/>
              <a:gd name="connsiteX375" fmla="*/ 2404646 w 2601035"/>
              <a:gd name="connsiteY375" fmla="*/ 285218 h 1729572"/>
              <a:gd name="connsiteX376" fmla="*/ 2406930 w 2601035"/>
              <a:gd name="connsiteY376" fmla="*/ 285218 h 1729572"/>
              <a:gd name="connsiteX377" fmla="*/ 2409213 w 2601035"/>
              <a:gd name="connsiteY377" fmla="*/ 285218 h 1729572"/>
              <a:gd name="connsiteX378" fmla="*/ 2411497 w 2601035"/>
              <a:gd name="connsiteY378" fmla="*/ 285218 h 1729572"/>
              <a:gd name="connsiteX379" fmla="*/ 2413780 w 2601035"/>
              <a:gd name="connsiteY379" fmla="*/ 285218 h 1729572"/>
              <a:gd name="connsiteX380" fmla="*/ 2413780 w 2601035"/>
              <a:gd name="connsiteY380" fmla="*/ 282936 h 1729572"/>
              <a:gd name="connsiteX381" fmla="*/ 2416064 w 2601035"/>
              <a:gd name="connsiteY381" fmla="*/ 282936 h 1729572"/>
              <a:gd name="connsiteX382" fmla="*/ 2416064 w 2601035"/>
              <a:gd name="connsiteY382" fmla="*/ 280654 h 1729572"/>
              <a:gd name="connsiteX383" fmla="*/ 2416064 w 2601035"/>
              <a:gd name="connsiteY383" fmla="*/ 282936 h 1729572"/>
              <a:gd name="connsiteX384" fmla="*/ 2416064 w 2601035"/>
              <a:gd name="connsiteY384" fmla="*/ 280654 h 1729572"/>
              <a:gd name="connsiteX385" fmla="*/ 2418347 w 2601035"/>
              <a:gd name="connsiteY385" fmla="*/ 280654 h 1729572"/>
              <a:gd name="connsiteX386" fmla="*/ 2418347 w 2601035"/>
              <a:gd name="connsiteY386" fmla="*/ 278372 h 1729572"/>
              <a:gd name="connsiteX387" fmla="*/ 2420631 w 2601035"/>
              <a:gd name="connsiteY387" fmla="*/ 278372 h 1729572"/>
              <a:gd name="connsiteX388" fmla="*/ 2420631 w 2601035"/>
              <a:gd name="connsiteY388" fmla="*/ 280654 h 1729572"/>
              <a:gd name="connsiteX389" fmla="*/ 2422915 w 2601035"/>
              <a:gd name="connsiteY389" fmla="*/ 280654 h 1729572"/>
              <a:gd name="connsiteX390" fmla="*/ 2422915 w 2601035"/>
              <a:gd name="connsiteY390" fmla="*/ 282936 h 1729572"/>
              <a:gd name="connsiteX391" fmla="*/ 2425198 w 2601035"/>
              <a:gd name="connsiteY391" fmla="*/ 282936 h 1729572"/>
              <a:gd name="connsiteX392" fmla="*/ 2422915 w 2601035"/>
              <a:gd name="connsiteY392" fmla="*/ 282936 h 1729572"/>
              <a:gd name="connsiteX393" fmla="*/ 2422915 w 2601035"/>
              <a:gd name="connsiteY393" fmla="*/ 285218 h 1729572"/>
              <a:gd name="connsiteX394" fmla="*/ 2422915 w 2601035"/>
              <a:gd name="connsiteY394" fmla="*/ 282936 h 1729572"/>
              <a:gd name="connsiteX395" fmla="*/ 2422915 w 2601035"/>
              <a:gd name="connsiteY395" fmla="*/ 285218 h 1729572"/>
              <a:gd name="connsiteX396" fmla="*/ 2425198 w 2601035"/>
              <a:gd name="connsiteY396" fmla="*/ 285218 h 1729572"/>
              <a:gd name="connsiteX397" fmla="*/ 2425198 w 2601035"/>
              <a:gd name="connsiteY397" fmla="*/ 287500 h 1729572"/>
              <a:gd name="connsiteX398" fmla="*/ 2425198 w 2601035"/>
              <a:gd name="connsiteY398" fmla="*/ 285218 h 1729572"/>
              <a:gd name="connsiteX399" fmla="*/ 2427482 w 2601035"/>
              <a:gd name="connsiteY399" fmla="*/ 285218 h 1729572"/>
              <a:gd name="connsiteX400" fmla="*/ 2427482 w 2601035"/>
              <a:gd name="connsiteY400" fmla="*/ 287500 h 1729572"/>
              <a:gd name="connsiteX401" fmla="*/ 2427482 w 2601035"/>
              <a:gd name="connsiteY401" fmla="*/ 289782 h 1729572"/>
              <a:gd name="connsiteX402" fmla="*/ 2427482 w 2601035"/>
              <a:gd name="connsiteY402" fmla="*/ 292064 h 1729572"/>
              <a:gd name="connsiteX403" fmla="*/ 2429766 w 2601035"/>
              <a:gd name="connsiteY403" fmla="*/ 292064 h 1729572"/>
              <a:gd name="connsiteX404" fmla="*/ 2427482 w 2601035"/>
              <a:gd name="connsiteY404" fmla="*/ 292064 h 1729572"/>
              <a:gd name="connsiteX405" fmla="*/ 2429766 w 2601035"/>
              <a:gd name="connsiteY405" fmla="*/ 292064 h 1729572"/>
              <a:gd name="connsiteX406" fmla="*/ 2429766 w 2601035"/>
              <a:gd name="connsiteY406" fmla="*/ 294345 h 1729572"/>
              <a:gd name="connsiteX407" fmla="*/ 2429766 w 2601035"/>
              <a:gd name="connsiteY407" fmla="*/ 292064 h 1729572"/>
              <a:gd name="connsiteX408" fmla="*/ 2432049 w 2601035"/>
              <a:gd name="connsiteY408" fmla="*/ 292064 h 1729572"/>
              <a:gd name="connsiteX409" fmla="*/ 2432049 w 2601035"/>
              <a:gd name="connsiteY409" fmla="*/ 294345 h 1729572"/>
              <a:gd name="connsiteX410" fmla="*/ 2434333 w 2601035"/>
              <a:gd name="connsiteY410" fmla="*/ 294345 h 1729572"/>
              <a:gd name="connsiteX411" fmla="*/ 2436616 w 2601035"/>
              <a:gd name="connsiteY411" fmla="*/ 294345 h 1729572"/>
              <a:gd name="connsiteX412" fmla="*/ 2438900 w 2601035"/>
              <a:gd name="connsiteY412" fmla="*/ 294345 h 1729572"/>
              <a:gd name="connsiteX413" fmla="*/ 2441184 w 2601035"/>
              <a:gd name="connsiteY413" fmla="*/ 294345 h 1729572"/>
              <a:gd name="connsiteX414" fmla="*/ 2441184 w 2601035"/>
              <a:gd name="connsiteY414" fmla="*/ 296627 h 1729572"/>
              <a:gd name="connsiteX415" fmla="*/ 2438900 w 2601035"/>
              <a:gd name="connsiteY415" fmla="*/ 296627 h 1729572"/>
              <a:gd name="connsiteX416" fmla="*/ 2438900 w 2601035"/>
              <a:gd name="connsiteY416" fmla="*/ 298909 h 1729572"/>
              <a:gd name="connsiteX417" fmla="*/ 2441184 w 2601035"/>
              <a:gd name="connsiteY417" fmla="*/ 298909 h 1729572"/>
              <a:gd name="connsiteX418" fmla="*/ 2443467 w 2601035"/>
              <a:gd name="connsiteY418" fmla="*/ 298909 h 1729572"/>
              <a:gd name="connsiteX419" fmla="*/ 2443467 w 2601035"/>
              <a:gd name="connsiteY419" fmla="*/ 301191 h 1729572"/>
              <a:gd name="connsiteX420" fmla="*/ 2445751 w 2601035"/>
              <a:gd name="connsiteY420" fmla="*/ 301191 h 1729572"/>
              <a:gd name="connsiteX421" fmla="*/ 2445751 w 2601035"/>
              <a:gd name="connsiteY421" fmla="*/ 298909 h 1729572"/>
              <a:gd name="connsiteX422" fmla="*/ 2445751 w 2601035"/>
              <a:gd name="connsiteY422" fmla="*/ 296627 h 1729572"/>
              <a:gd name="connsiteX423" fmla="*/ 2445751 w 2601035"/>
              <a:gd name="connsiteY423" fmla="*/ 294345 h 1729572"/>
              <a:gd name="connsiteX424" fmla="*/ 2448034 w 2601035"/>
              <a:gd name="connsiteY424" fmla="*/ 294345 h 1729572"/>
              <a:gd name="connsiteX425" fmla="*/ 2448034 w 2601035"/>
              <a:gd name="connsiteY425" fmla="*/ 296627 h 1729572"/>
              <a:gd name="connsiteX426" fmla="*/ 2448034 w 2601035"/>
              <a:gd name="connsiteY426" fmla="*/ 298909 h 1729572"/>
              <a:gd name="connsiteX427" fmla="*/ 2450318 w 2601035"/>
              <a:gd name="connsiteY427" fmla="*/ 298909 h 1729572"/>
              <a:gd name="connsiteX428" fmla="*/ 2450318 w 2601035"/>
              <a:gd name="connsiteY428" fmla="*/ 301191 h 1729572"/>
              <a:gd name="connsiteX429" fmla="*/ 2450318 w 2601035"/>
              <a:gd name="connsiteY429" fmla="*/ 298909 h 1729572"/>
              <a:gd name="connsiteX430" fmla="*/ 2452601 w 2601035"/>
              <a:gd name="connsiteY430" fmla="*/ 298909 h 1729572"/>
              <a:gd name="connsiteX431" fmla="*/ 2454885 w 2601035"/>
              <a:gd name="connsiteY431" fmla="*/ 298909 h 1729572"/>
              <a:gd name="connsiteX432" fmla="*/ 2452601 w 2601035"/>
              <a:gd name="connsiteY432" fmla="*/ 298909 h 1729572"/>
              <a:gd name="connsiteX433" fmla="*/ 2452601 w 2601035"/>
              <a:gd name="connsiteY433" fmla="*/ 296627 h 1729572"/>
              <a:gd name="connsiteX434" fmla="*/ 2454885 w 2601035"/>
              <a:gd name="connsiteY434" fmla="*/ 296627 h 1729572"/>
              <a:gd name="connsiteX435" fmla="*/ 2454885 w 2601035"/>
              <a:gd name="connsiteY435" fmla="*/ 294345 h 1729572"/>
              <a:gd name="connsiteX436" fmla="*/ 2457169 w 2601035"/>
              <a:gd name="connsiteY436" fmla="*/ 294345 h 1729572"/>
              <a:gd name="connsiteX437" fmla="*/ 2457169 w 2601035"/>
              <a:gd name="connsiteY437" fmla="*/ 296627 h 1729572"/>
              <a:gd name="connsiteX438" fmla="*/ 2459452 w 2601035"/>
              <a:gd name="connsiteY438" fmla="*/ 296627 h 1729572"/>
              <a:gd name="connsiteX439" fmla="*/ 2459452 w 2601035"/>
              <a:gd name="connsiteY439" fmla="*/ 294345 h 1729572"/>
              <a:gd name="connsiteX440" fmla="*/ 2457169 w 2601035"/>
              <a:gd name="connsiteY440" fmla="*/ 294345 h 1729572"/>
              <a:gd name="connsiteX441" fmla="*/ 2457169 w 2601035"/>
              <a:gd name="connsiteY441" fmla="*/ 292064 h 1729572"/>
              <a:gd name="connsiteX442" fmla="*/ 2457169 w 2601035"/>
              <a:gd name="connsiteY442" fmla="*/ 289782 h 1729572"/>
              <a:gd name="connsiteX443" fmla="*/ 2459452 w 2601035"/>
              <a:gd name="connsiteY443" fmla="*/ 289782 h 1729572"/>
              <a:gd name="connsiteX444" fmla="*/ 2459452 w 2601035"/>
              <a:gd name="connsiteY444" fmla="*/ 292064 h 1729572"/>
              <a:gd name="connsiteX445" fmla="*/ 2461736 w 2601035"/>
              <a:gd name="connsiteY445" fmla="*/ 292064 h 1729572"/>
              <a:gd name="connsiteX446" fmla="*/ 2461736 w 2601035"/>
              <a:gd name="connsiteY446" fmla="*/ 294345 h 1729572"/>
              <a:gd name="connsiteX447" fmla="*/ 2464020 w 2601035"/>
              <a:gd name="connsiteY447" fmla="*/ 294345 h 1729572"/>
              <a:gd name="connsiteX448" fmla="*/ 2464020 w 2601035"/>
              <a:gd name="connsiteY448" fmla="*/ 296627 h 1729572"/>
              <a:gd name="connsiteX449" fmla="*/ 2464020 w 2601035"/>
              <a:gd name="connsiteY449" fmla="*/ 294345 h 1729572"/>
              <a:gd name="connsiteX450" fmla="*/ 2466303 w 2601035"/>
              <a:gd name="connsiteY450" fmla="*/ 294345 h 1729572"/>
              <a:gd name="connsiteX451" fmla="*/ 2466303 w 2601035"/>
              <a:gd name="connsiteY451" fmla="*/ 292064 h 1729572"/>
              <a:gd name="connsiteX452" fmla="*/ 2468587 w 2601035"/>
              <a:gd name="connsiteY452" fmla="*/ 292064 h 1729572"/>
              <a:gd name="connsiteX453" fmla="*/ 2470870 w 2601035"/>
              <a:gd name="connsiteY453" fmla="*/ 294345 h 1729572"/>
              <a:gd name="connsiteX454" fmla="*/ 2468587 w 2601035"/>
              <a:gd name="connsiteY454" fmla="*/ 294345 h 1729572"/>
              <a:gd name="connsiteX455" fmla="*/ 2468587 w 2601035"/>
              <a:gd name="connsiteY455" fmla="*/ 296627 h 1729572"/>
              <a:gd name="connsiteX456" fmla="*/ 2466303 w 2601035"/>
              <a:gd name="connsiteY456" fmla="*/ 296627 h 1729572"/>
              <a:gd name="connsiteX457" fmla="*/ 2466303 w 2601035"/>
              <a:gd name="connsiteY457" fmla="*/ 298909 h 1729572"/>
              <a:gd name="connsiteX458" fmla="*/ 2466303 w 2601035"/>
              <a:gd name="connsiteY458" fmla="*/ 301191 h 1729572"/>
              <a:gd name="connsiteX459" fmla="*/ 2466303 w 2601035"/>
              <a:gd name="connsiteY459" fmla="*/ 303473 h 1729572"/>
              <a:gd name="connsiteX460" fmla="*/ 2466303 w 2601035"/>
              <a:gd name="connsiteY460" fmla="*/ 305755 h 1729572"/>
              <a:gd name="connsiteX461" fmla="*/ 2468587 w 2601035"/>
              <a:gd name="connsiteY461" fmla="*/ 305755 h 1729572"/>
              <a:gd name="connsiteX462" fmla="*/ 2468587 w 2601035"/>
              <a:gd name="connsiteY462" fmla="*/ 303473 h 1729572"/>
              <a:gd name="connsiteX463" fmla="*/ 2470870 w 2601035"/>
              <a:gd name="connsiteY463" fmla="*/ 303473 h 1729572"/>
              <a:gd name="connsiteX464" fmla="*/ 2470870 w 2601035"/>
              <a:gd name="connsiteY464" fmla="*/ 301191 h 1729572"/>
              <a:gd name="connsiteX465" fmla="*/ 2473154 w 2601035"/>
              <a:gd name="connsiteY465" fmla="*/ 301191 h 1729572"/>
              <a:gd name="connsiteX466" fmla="*/ 2473154 w 2601035"/>
              <a:gd name="connsiteY466" fmla="*/ 303473 h 1729572"/>
              <a:gd name="connsiteX467" fmla="*/ 2473154 w 2601035"/>
              <a:gd name="connsiteY467" fmla="*/ 305755 h 1729572"/>
              <a:gd name="connsiteX468" fmla="*/ 2473154 w 2601035"/>
              <a:gd name="connsiteY468" fmla="*/ 308037 h 1729572"/>
              <a:gd name="connsiteX469" fmla="*/ 2473154 w 2601035"/>
              <a:gd name="connsiteY469" fmla="*/ 305755 h 1729572"/>
              <a:gd name="connsiteX470" fmla="*/ 2475437 w 2601035"/>
              <a:gd name="connsiteY470" fmla="*/ 305755 h 1729572"/>
              <a:gd name="connsiteX471" fmla="*/ 2475437 w 2601035"/>
              <a:gd name="connsiteY471" fmla="*/ 308037 h 1729572"/>
              <a:gd name="connsiteX472" fmla="*/ 2475437 w 2601035"/>
              <a:gd name="connsiteY472" fmla="*/ 310319 h 1729572"/>
              <a:gd name="connsiteX473" fmla="*/ 2473154 w 2601035"/>
              <a:gd name="connsiteY473" fmla="*/ 310319 h 1729572"/>
              <a:gd name="connsiteX474" fmla="*/ 2475437 w 2601035"/>
              <a:gd name="connsiteY474" fmla="*/ 310319 h 1729572"/>
              <a:gd name="connsiteX475" fmla="*/ 2477721 w 2601035"/>
              <a:gd name="connsiteY475" fmla="*/ 310319 h 1729572"/>
              <a:gd name="connsiteX476" fmla="*/ 2480005 w 2601035"/>
              <a:gd name="connsiteY476" fmla="*/ 310319 h 1729572"/>
              <a:gd name="connsiteX477" fmla="*/ 2480005 w 2601035"/>
              <a:gd name="connsiteY477" fmla="*/ 308037 h 1729572"/>
              <a:gd name="connsiteX478" fmla="*/ 2482288 w 2601035"/>
              <a:gd name="connsiteY478" fmla="*/ 308037 h 1729572"/>
              <a:gd name="connsiteX479" fmla="*/ 2482288 w 2601035"/>
              <a:gd name="connsiteY479" fmla="*/ 310319 h 1729572"/>
              <a:gd name="connsiteX480" fmla="*/ 2482288 w 2601035"/>
              <a:gd name="connsiteY480" fmla="*/ 312601 h 1729572"/>
              <a:gd name="connsiteX481" fmla="*/ 2482288 w 2601035"/>
              <a:gd name="connsiteY481" fmla="*/ 314882 h 1729572"/>
              <a:gd name="connsiteX482" fmla="*/ 2480005 w 2601035"/>
              <a:gd name="connsiteY482" fmla="*/ 314882 h 1729572"/>
              <a:gd name="connsiteX483" fmla="*/ 2480005 w 2601035"/>
              <a:gd name="connsiteY483" fmla="*/ 317165 h 1729572"/>
              <a:gd name="connsiteX484" fmla="*/ 2482288 w 2601035"/>
              <a:gd name="connsiteY484" fmla="*/ 317165 h 1729572"/>
              <a:gd name="connsiteX485" fmla="*/ 2484572 w 2601035"/>
              <a:gd name="connsiteY485" fmla="*/ 317165 h 1729572"/>
              <a:gd name="connsiteX486" fmla="*/ 2486855 w 2601035"/>
              <a:gd name="connsiteY486" fmla="*/ 317165 h 1729572"/>
              <a:gd name="connsiteX487" fmla="*/ 2486855 w 2601035"/>
              <a:gd name="connsiteY487" fmla="*/ 314882 h 1729572"/>
              <a:gd name="connsiteX488" fmla="*/ 2489139 w 2601035"/>
              <a:gd name="connsiteY488" fmla="*/ 314882 h 1729572"/>
              <a:gd name="connsiteX489" fmla="*/ 2489139 w 2601035"/>
              <a:gd name="connsiteY489" fmla="*/ 317165 h 1729572"/>
              <a:gd name="connsiteX490" fmla="*/ 2491423 w 2601035"/>
              <a:gd name="connsiteY490" fmla="*/ 317165 h 1729572"/>
              <a:gd name="connsiteX491" fmla="*/ 2491423 w 2601035"/>
              <a:gd name="connsiteY491" fmla="*/ 319446 h 1729572"/>
              <a:gd name="connsiteX492" fmla="*/ 2493706 w 2601035"/>
              <a:gd name="connsiteY492" fmla="*/ 319446 h 1729572"/>
              <a:gd name="connsiteX493" fmla="*/ 2493706 w 2601035"/>
              <a:gd name="connsiteY493" fmla="*/ 317165 h 1729572"/>
              <a:gd name="connsiteX494" fmla="*/ 2495990 w 2601035"/>
              <a:gd name="connsiteY494" fmla="*/ 317165 h 1729572"/>
              <a:gd name="connsiteX495" fmla="*/ 2495990 w 2601035"/>
              <a:gd name="connsiteY495" fmla="*/ 319446 h 1729572"/>
              <a:gd name="connsiteX496" fmla="*/ 2498274 w 2601035"/>
              <a:gd name="connsiteY496" fmla="*/ 319446 h 1729572"/>
              <a:gd name="connsiteX497" fmla="*/ 2498274 w 2601035"/>
              <a:gd name="connsiteY497" fmla="*/ 321728 h 1729572"/>
              <a:gd name="connsiteX498" fmla="*/ 2495990 w 2601035"/>
              <a:gd name="connsiteY498" fmla="*/ 321728 h 1729572"/>
              <a:gd name="connsiteX499" fmla="*/ 2493706 w 2601035"/>
              <a:gd name="connsiteY499" fmla="*/ 321728 h 1729572"/>
              <a:gd name="connsiteX500" fmla="*/ 2493706 w 2601035"/>
              <a:gd name="connsiteY500" fmla="*/ 324010 h 1729572"/>
              <a:gd name="connsiteX501" fmla="*/ 2493706 w 2601035"/>
              <a:gd name="connsiteY501" fmla="*/ 326292 h 1729572"/>
              <a:gd name="connsiteX502" fmla="*/ 2493706 w 2601035"/>
              <a:gd name="connsiteY502" fmla="*/ 328574 h 1729572"/>
              <a:gd name="connsiteX503" fmla="*/ 2495990 w 2601035"/>
              <a:gd name="connsiteY503" fmla="*/ 328574 h 1729572"/>
              <a:gd name="connsiteX504" fmla="*/ 2495990 w 2601035"/>
              <a:gd name="connsiteY504" fmla="*/ 326292 h 1729572"/>
              <a:gd name="connsiteX505" fmla="*/ 2495990 w 2601035"/>
              <a:gd name="connsiteY505" fmla="*/ 324010 h 1729572"/>
              <a:gd name="connsiteX506" fmla="*/ 2498274 w 2601035"/>
              <a:gd name="connsiteY506" fmla="*/ 324010 h 1729572"/>
              <a:gd name="connsiteX507" fmla="*/ 2500557 w 2601035"/>
              <a:gd name="connsiteY507" fmla="*/ 324010 h 1729572"/>
              <a:gd name="connsiteX508" fmla="*/ 2502841 w 2601035"/>
              <a:gd name="connsiteY508" fmla="*/ 324010 h 1729572"/>
              <a:gd name="connsiteX509" fmla="*/ 2502841 w 2601035"/>
              <a:gd name="connsiteY509" fmla="*/ 321728 h 1729572"/>
              <a:gd name="connsiteX510" fmla="*/ 2505124 w 2601035"/>
              <a:gd name="connsiteY510" fmla="*/ 321728 h 1729572"/>
              <a:gd name="connsiteX511" fmla="*/ 2505124 w 2601035"/>
              <a:gd name="connsiteY511" fmla="*/ 324010 h 1729572"/>
              <a:gd name="connsiteX512" fmla="*/ 2502841 w 2601035"/>
              <a:gd name="connsiteY512" fmla="*/ 324010 h 1729572"/>
              <a:gd name="connsiteX513" fmla="*/ 2502841 w 2601035"/>
              <a:gd name="connsiteY513" fmla="*/ 326292 h 1729572"/>
              <a:gd name="connsiteX514" fmla="*/ 2502841 w 2601035"/>
              <a:gd name="connsiteY514" fmla="*/ 328574 h 1729572"/>
              <a:gd name="connsiteX515" fmla="*/ 2502841 w 2601035"/>
              <a:gd name="connsiteY515" fmla="*/ 330856 h 1729572"/>
              <a:gd name="connsiteX516" fmla="*/ 2500557 w 2601035"/>
              <a:gd name="connsiteY516" fmla="*/ 330856 h 1729572"/>
              <a:gd name="connsiteX517" fmla="*/ 2500557 w 2601035"/>
              <a:gd name="connsiteY517" fmla="*/ 333138 h 1729572"/>
              <a:gd name="connsiteX518" fmla="*/ 2502841 w 2601035"/>
              <a:gd name="connsiteY518" fmla="*/ 333138 h 1729572"/>
              <a:gd name="connsiteX519" fmla="*/ 2502841 w 2601035"/>
              <a:gd name="connsiteY519" fmla="*/ 330856 h 1729572"/>
              <a:gd name="connsiteX520" fmla="*/ 2505124 w 2601035"/>
              <a:gd name="connsiteY520" fmla="*/ 330856 h 1729572"/>
              <a:gd name="connsiteX521" fmla="*/ 2507408 w 2601035"/>
              <a:gd name="connsiteY521" fmla="*/ 330856 h 1729572"/>
              <a:gd name="connsiteX522" fmla="*/ 2507408 w 2601035"/>
              <a:gd name="connsiteY522" fmla="*/ 333138 h 1729572"/>
              <a:gd name="connsiteX523" fmla="*/ 2509691 w 2601035"/>
              <a:gd name="connsiteY523" fmla="*/ 333138 h 1729572"/>
              <a:gd name="connsiteX524" fmla="*/ 2509691 w 2601035"/>
              <a:gd name="connsiteY524" fmla="*/ 330856 h 1729572"/>
              <a:gd name="connsiteX525" fmla="*/ 2509691 w 2601035"/>
              <a:gd name="connsiteY525" fmla="*/ 328574 h 1729572"/>
              <a:gd name="connsiteX526" fmla="*/ 2509691 w 2601035"/>
              <a:gd name="connsiteY526" fmla="*/ 326292 h 1729572"/>
              <a:gd name="connsiteX527" fmla="*/ 2509691 w 2601035"/>
              <a:gd name="connsiteY527" fmla="*/ 324010 h 1729572"/>
              <a:gd name="connsiteX528" fmla="*/ 2507408 w 2601035"/>
              <a:gd name="connsiteY528" fmla="*/ 324010 h 1729572"/>
              <a:gd name="connsiteX529" fmla="*/ 2507408 w 2601035"/>
              <a:gd name="connsiteY529" fmla="*/ 321728 h 1729572"/>
              <a:gd name="connsiteX530" fmla="*/ 2509691 w 2601035"/>
              <a:gd name="connsiteY530" fmla="*/ 321728 h 1729572"/>
              <a:gd name="connsiteX531" fmla="*/ 2511975 w 2601035"/>
              <a:gd name="connsiteY531" fmla="*/ 321728 h 1729572"/>
              <a:gd name="connsiteX532" fmla="*/ 2514258 w 2601035"/>
              <a:gd name="connsiteY532" fmla="*/ 321728 h 1729572"/>
              <a:gd name="connsiteX533" fmla="*/ 2516542 w 2601035"/>
              <a:gd name="connsiteY533" fmla="*/ 321728 h 1729572"/>
              <a:gd name="connsiteX534" fmla="*/ 2516542 w 2601035"/>
              <a:gd name="connsiteY534" fmla="*/ 324010 h 1729572"/>
              <a:gd name="connsiteX535" fmla="*/ 2516542 w 2601035"/>
              <a:gd name="connsiteY535" fmla="*/ 326292 h 1729572"/>
              <a:gd name="connsiteX536" fmla="*/ 2516542 w 2601035"/>
              <a:gd name="connsiteY536" fmla="*/ 328574 h 1729572"/>
              <a:gd name="connsiteX537" fmla="*/ 2518826 w 2601035"/>
              <a:gd name="connsiteY537" fmla="*/ 328574 h 1729572"/>
              <a:gd name="connsiteX538" fmla="*/ 2518826 w 2601035"/>
              <a:gd name="connsiteY538" fmla="*/ 330856 h 1729572"/>
              <a:gd name="connsiteX539" fmla="*/ 2516542 w 2601035"/>
              <a:gd name="connsiteY539" fmla="*/ 330856 h 1729572"/>
              <a:gd name="connsiteX540" fmla="*/ 2514258 w 2601035"/>
              <a:gd name="connsiteY540" fmla="*/ 330856 h 1729572"/>
              <a:gd name="connsiteX541" fmla="*/ 2511975 w 2601035"/>
              <a:gd name="connsiteY541" fmla="*/ 330856 h 1729572"/>
              <a:gd name="connsiteX542" fmla="*/ 2511975 w 2601035"/>
              <a:gd name="connsiteY542" fmla="*/ 333138 h 1729572"/>
              <a:gd name="connsiteX543" fmla="*/ 2511975 w 2601035"/>
              <a:gd name="connsiteY543" fmla="*/ 335420 h 1729572"/>
              <a:gd name="connsiteX544" fmla="*/ 2509691 w 2601035"/>
              <a:gd name="connsiteY544" fmla="*/ 335420 h 1729572"/>
              <a:gd name="connsiteX545" fmla="*/ 2509691 w 2601035"/>
              <a:gd name="connsiteY545" fmla="*/ 337701 h 1729572"/>
              <a:gd name="connsiteX546" fmla="*/ 2511975 w 2601035"/>
              <a:gd name="connsiteY546" fmla="*/ 337701 h 1729572"/>
              <a:gd name="connsiteX547" fmla="*/ 2514258 w 2601035"/>
              <a:gd name="connsiteY547" fmla="*/ 337701 h 1729572"/>
              <a:gd name="connsiteX548" fmla="*/ 2514258 w 2601035"/>
              <a:gd name="connsiteY548" fmla="*/ 339983 h 1729572"/>
              <a:gd name="connsiteX549" fmla="*/ 2514258 w 2601035"/>
              <a:gd name="connsiteY549" fmla="*/ 337701 h 1729572"/>
              <a:gd name="connsiteX550" fmla="*/ 2514258 w 2601035"/>
              <a:gd name="connsiteY550" fmla="*/ 339983 h 1729572"/>
              <a:gd name="connsiteX551" fmla="*/ 2514258 w 2601035"/>
              <a:gd name="connsiteY551" fmla="*/ 337701 h 1729572"/>
              <a:gd name="connsiteX552" fmla="*/ 2516542 w 2601035"/>
              <a:gd name="connsiteY552" fmla="*/ 337701 h 1729572"/>
              <a:gd name="connsiteX553" fmla="*/ 2518826 w 2601035"/>
              <a:gd name="connsiteY553" fmla="*/ 337701 h 1729572"/>
              <a:gd name="connsiteX554" fmla="*/ 2521109 w 2601035"/>
              <a:gd name="connsiteY554" fmla="*/ 337701 h 1729572"/>
              <a:gd name="connsiteX555" fmla="*/ 2523393 w 2601035"/>
              <a:gd name="connsiteY555" fmla="*/ 337701 h 1729572"/>
              <a:gd name="connsiteX556" fmla="*/ 2523393 w 2601035"/>
              <a:gd name="connsiteY556" fmla="*/ 335420 h 1729572"/>
              <a:gd name="connsiteX557" fmla="*/ 2525676 w 2601035"/>
              <a:gd name="connsiteY557" fmla="*/ 335420 h 1729572"/>
              <a:gd name="connsiteX558" fmla="*/ 2525676 w 2601035"/>
              <a:gd name="connsiteY558" fmla="*/ 337701 h 1729572"/>
              <a:gd name="connsiteX559" fmla="*/ 2523393 w 2601035"/>
              <a:gd name="connsiteY559" fmla="*/ 337701 h 1729572"/>
              <a:gd name="connsiteX560" fmla="*/ 2523393 w 2601035"/>
              <a:gd name="connsiteY560" fmla="*/ 339983 h 1729572"/>
              <a:gd name="connsiteX561" fmla="*/ 2523393 w 2601035"/>
              <a:gd name="connsiteY561" fmla="*/ 342265 h 1729572"/>
              <a:gd name="connsiteX562" fmla="*/ 2521109 w 2601035"/>
              <a:gd name="connsiteY562" fmla="*/ 342265 h 1729572"/>
              <a:gd name="connsiteX563" fmla="*/ 2523393 w 2601035"/>
              <a:gd name="connsiteY563" fmla="*/ 342265 h 1729572"/>
              <a:gd name="connsiteX564" fmla="*/ 2523393 w 2601035"/>
              <a:gd name="connsiteY564" fmla="*/ 344547 h 1729572"/>
              <a:gd name="connsiteX565" fmla="*/ 2521109 w 2601035"/>
              <a:gd name="connsiteY565" fmla="*/ 344547 h 1729572"/>
              <a:gd name="connsiteX566" fmla="*/ 2518826 w 2601035"/>
              <a:gd name="connsiteY566" fmla="*/ 344547 h 1729572"/>
              <a:gd name="connsiteX567" fmla="*/ 2518826 w 2601035"/>
              <a:gd name="connsiteY567" fmla="*/ 346829 h 1729572"/>
              <a:gd name="connsiteX568" fmla="*/ 2521109 w 2601035"/>
              <a:gd name="connsiteY568" fmla="*/ 346829 h 1729572"/>
              <a:gd name="connsiteX569" fmla="*/ 2521109 w 2601035"/>
              <a:gd name="connsiteY569" fmla="*/ 349111 h 1729572"/>
              <a:gd name="connsiteX570" fmla="*/ 2523393 w 2601035"/>
              <a:gd name="connsiteY570" fmla="*/ 349111 h 1729572"/>
              <a:gd name="connsiteX571" fmla="*/ 2525676 w 2601035"/>
              <a:gd name="connsiteY571" fmla="*/ 349111 h 1729572"/>
              <a:gd name="connsiteX572" fmla="*/ 2525676 w 2601035"/>
              <a:gd name="connsiteY572" fmla="*/ 351393 h 1729572"/>
              <a:gd name="connsiteX573" fmla="*/ 2527960 w 2601035"/>
              <a:gd name="connsiteY573" fmla="*/ 351393 h 1729572"/>
              <a:gd name="connsiteX574" fmla="*/ 2527960 w 2601035"/>
              <a:gd name="connsiteY574" fmla="*/ 349111 h 1729572"/>
              <a:gd name="connsiteX575" fmla="*/ 2527960 w 2601035"/>
              <a:gd name="connsiteY575" fmla="*/ 351393 h 1729572"/>
              <a:gd name="connsiteX576" fmla="*/ 2530244 w 2601035"/>
              <a:gd name="connsiteY576" fmla="*/ 351393 h 1729572"/>
              <a:gd name="connsiteX577" fmla="*/ 2530244 w 2601035"/>
              <a:gd name="connsiteY577" fmla="*/ 349111 h 1729572"/>
              <a:gd name="connsiteX578" fmla="*/ 2532528 w 2601035"/>
              <a:gd name="connsiteY578" fmla="*/ 349111 h 1729572"/>
              <a:gd name="connsiteX579" fmla="*/ 2532528 w 2601035"/>
              <a:gd name="connsiteY579" fmla="*/ 351393 h 1729572"/>
              <a:gd name="connsiteX580" fmla="*/ 2534811 w 2601035"/>
              <a:gd name="connsiteY580" fmla="*/ 351393 h 1729572"/>
              <a:gd name="connsiteX581" fmla="*/ 2534811 w 2601035"/>
              <a:gd name="connsiteY581" fmla="*/ 349111 h 1729572"/>
              <a:gd name="connsiteX582" fmla="*/ 2534811 w 2601035"/>
              <a:gd name="connsiteY582" fmla="*/ 346829 h 1729572"/>
              <a:gd name="connsiteX583" fmla="*/ 2537095 w 2601035"/>
              <a:gd name="connsiteY583" fmla="*/ 346829 h 1729572"/>
              <a:gd name="connsiteX584" fmla="*/ 2537095 w 2601035"/>
              <a:gd name="connsiteY584" fmla="*/ 349111 h 1729572"/>
              <a:gd name="connsiteX585" fmla="*/ 2537095 w 2601035"/>
              <a:gd name="connsiteY585" fmla="*/ 351393 h 1729572"/>
              <a:gd name="connsiteX586" fmla="*/ 2537095 w 2601035"/>
              <a:gd name="connsiteY586" fmla="*/ 353675 h 1729572"/>
              <a:gd name="connsiteX587" fmla="*/ 2539378 w 2601035"/>
              <a:gd name="connsiteY587" fmla="*/ 353675 h 1729572"/>
              <a:gd name="connsiteX588" fmla="*/ 2539378 w 2601035"/>
              <a:gd name="connsiteY588" fmla="*/ 351393 h 1729572"/>
              <a:gd name="connsiteX589" fmla="*/ 2541662 w 2601035"/>
              <a:gd name="connsiteY589" fmla="*/ 351393 h 1729572"/>
              <a:gd name="connsiteX590" fmla="*/ 2541662 w 2601035"/>
              <a:gd name="connsiteY590" fmla="*/ 353675 h 1729572"/>
              <a:gd name="connsiteX591" fmla="*/ 2541662 w 2601035"/>
              <a:gd name="connsiteY591" fmla="*/ 355957 h 1729572"/>
              <a:gd name="connsiteX592" fmla="*/ 2541662 w 2601035"/>
              <a:gd name="connsiteY592" fmla="*/ 358238 h 1729572"/>
              <a:gd name="connsiteX593" fmla="*/ 2539378 w 2601035"/>
              <a:gd name="connsiteY593" fmla="*/ 358238 h 1729572"/>
              <a:gd name="connsiteX594" fmla="*/ 2541662 w 2601035"/>
              <a:gd name="connsiteY594" fmla="*/ 358238 h 1729572"/>
              <a:gd name="connsiteX595" fmla="*/ 2539378 w 2601035"/>
              <a:gd name="connsiteY595" fmla="*/ 358238 h 1729572"/>
              <a:gd name="connsiteX596" fmla="*/ 2541662 w 2601035"/>
              <a:gd name="connsiteY596" fmla="*/ 358238 h 1729572"/>
              <a:gd name="connsiteX597" fmla="*/ 2541662 w 2601035"/>
              <a:gd name="connsiteY597" fmla="*/ 355957 h 1729572"/>
              <a:gd name="connsiteX598" fmla="*/ 2543946 w 2601035"/>
              <a:gd name="connsiteY598" fmla="*/ 355957 h 1729572"/>
              <a:gd name="connsiteX599" fmla="*/ 2546229 w 2601035"/>
              <a:gd name="connsiteY599" fmla="*/ 355957 h 1729572"/>
              <a:gd name="connsiteX600" fmla="*/ 2546229 w 2601035"/>
              <a:gd name="connsiteY600" fmla="*/ 353675 h 1729572"/>
              <a:gd name="connsiteX601" fmla="*/ 2548513 w 2601035"/>
              <a:gd name="connsiteY601" fmla="*/ 353675 h 1729572"/>
              <a:gd name="connsiteX602" fmla="*/ 2548513 w 2601035"/>
              <a:gd name="connsiteY602" fmla="*/ 355957 h 1729572"/>
              <a:gd name="connsiteX603" fmla="*/ 2550796 w 2601035"/>
              <a:gd name="connsiteY603" fmla="*/ 355957 h 1729572"/>
              <a:gd name="connsiteX604" fmla="*/ 2553080 w 2601035"/>
              <a:gd name="connsiteY604" fmla="*/ 355957 h 1729572"/>
              <a:gd name="connsiteX605" fmla="*/ 2555363 w 2601035"/>
              <a:gd name="connsiteY605" fmla="*/ 355957 h 1729572"/>
              <a:gd name="connsiteX606" fmla="*/ 2557647 w 2601035"/>
              <a:gd name="connsiteY606" fmla="*/ 355957 h 1729572"/>
              <a:gd name="connsiteX607" fmla="*/ 2557647 w 2601035"/>
              <a:gd name="connsiteY607" fmla="*/ 358238 h 1729572"/>
              <a:gd name="connsiteX608" fmla="*/ 2557647 w 2601035"/>
              <a:gd name="connsiteY608" fmla="*/ 355957 h 1729572"/>
              <a:gd name="connsiteX609" fmla="*/ 2557647 w 2601035"/>
              <a:gd name="connsiteY609" fmla="*/ 358238 h 1729572"/>
              <a:gd name="connsiteX610" fmla="*/ 2559931 w 2601035"/>
              <a:gd name="connsiteY610" fmla="*/ 358238 h 1729572"/>
              <a:gd name="connsiteX611" fmla="*/ 2559931 w 2601035"/>
              <a:gd name="connsiteY611" fmla="*/ 360521 h 1729572"/>
              <a:gd name="connsiteX612" fmla="*/ 2559931 w 2601035"/>
              <a:gd name="connsiteY612" fmla="*/ 362802 h 1729572"/>
              <a:gd name="connsiteX613" fmla="*/ 2562214 w 2601035"/>
              <a:gd name="connsiteY613" fmla="*/ 362802 h 1729572"/>
              <a:gd name="connsiteX614" fmla="*/ 2564498 w 2601035"/>
              <a:gd name="connsiteY614" fmla="*/ 362802 h 1729572"/>
              <a:gd name="connsiteX615" fmla="*/ 2566781 w 2601035"/>
              <a:gd name="connsiteY615" fmla="*/ 362802 h 1729572"/>
              <a:gd name="connsiteX616" fmla="*/ 2566781 w 2601035"/>
              <a:gd name="connsiteY616" fmla="*/ 365084 h 1729572"/>
              <a:gd name="connsiteX617" fmla="*/ 2566781 w 2601035"/>
              <a:gd name="connsiteY617" fmla="*/ 367366 h 1729572"/>
              <a:gd name="connsiteX618" fmla="*/ 2564498 w 2601035"/>
              <a:gd name="connsiteY618" fmla="*/ 367366 h 1729572"/>
              <a:gd name="connsiteX619" fmla="*/ 2562214 w 2601035"/>
              <a:gd name="connsiteY619" fmla="*/ 367366 h 1729572"/>
              <a:gd name="connsiteX620" fmla="*/ 2562214 w 2601035"/>
              <a:gd name="connsiteY620" fmla="*/ 365084 h 1729572"/>
              <a:gd name="connsiteX621" fmla="*/ 2559931 w 2601035"/>
              <a:gd name="connsiteY621" fmla="*/ 365084 h 1729572"/>
              <a:gd name="connsiteX622" fmla="*/ 2557647 w 2601035"/>
              <a:gd name="connsiteY622" fmla="*/ 365084 h 1729572"/>
              <a:gd name="connsiteX623" fmla="*/ 2557647 w 2601035"/>
              <a:gd name="connsiteY623" fmla="*/ 367366 h 1729572"/>
              <a:gd name="connsiteX624" fmla="*/ 2559931 w 2601035"/>
              <a:gd name="connsiteY624" fmla="*/ 367366 h 1729572"/>
              <a:gd name="connsiteX625" fmla="*/ 2559931 w 2601035"/>
              <a:gd name="connsiteY625" fmla="*/ 369648 h 1729572"/>
              <a:gd name="connsiteX626" fmla="*/ 2562214 w 2601035"/>
              <a:gd name="connsiteY626" fmla="*/ 369648 h 1729572"/>
              <a:gd name="connsiteX627" fmla="*/ 2562214 w 2601035"/>
              <a:gd name="connsiteY627" fmla="*/ 371930 h 1729572"/>
              <a:gd name="connsiteX628" fmla="*/ 2564498 w 2601035"/>
              <a:gd name="connsiteY628" fmla="*/ 371930 h 1729572"/>
              <a:gd name="connsiteX629" fmla="*/ 2564498 w 2601035"/>
              <a:gd name="connsiteY629" fmla="*/ 369648 h 1729572"/>
              <a:gd name="connsiteX630" fmla="*/ 2566781 w 2601035"/>
              <a:gd name="connsiteY630" fmla="*/ 369648 h 1729572"/>
              <a:gd name="connsiteX631" fmla="*/ 2566781 w 2601035"/>
              <a:gd name="connsiteY631" fmla="*/ 371930 h 1729572"/>
              <a:gd name="connsiteX632" fmla="*/ 2569065 w 2601035"/>
              <a:gd name="connsiteY632" fmla="*/ 371930 h 1729572"/>
              <a:gd name="connsiteX633" fmla="*/ 2571348 w 2601035"/>
              <a:gd name="connsiteY633" fmla="*/ 371930 h 1729572"/>
              <a:gd name="connsiteX634" fmla="*/ 2573632 w 2601035"/>
              <a:gd name="connsiteY634" fmla="*/ 371930 h 1729572"/>
              <a:gd name="connsiteX635" fmla="*/ 2575916 w 2601035"/>
              <a:gd name="connsiteY635" fmla="*/ 371930 h 1729572"/>
              <a:gd name="connsiteX636" fmla="*/ 2575916 w 2601035"/>
              <a:gd name="connsiteY636" fmla="*/ 374212 h 1729572"/>
              <a:gd name="connsiteX637" fmla="*/ 2575916 w 2601035"/>
              <a:gd name="connsiteY637" fmla="*/ 376494 h 1729572"/>
              <a:gd name="connsiteX638" fmla="*/ 2573632 w 2601035"/>
              <a:gd name="connsiteY638" fmla="*/ 376494 h 1729572"/>
              <a:gd name="connsiteX639" fmla="*/ 2573632 w 2601035"/>
              <a:gd name="connsiteY639" fmla="*/ 378776 h 1729572"/>
              <a:gd name="connsiteX640" fmla="*/ 2575916 w 2601035"/>
              <a:gd name="connsiteY640" fmla="*/ 378776 h 1729572"/>
              <a:gd name="connsiteX641" fmla="*/ 2578199 w 2601035"/>
              <a:gd name="connsiteY641" fmla="*/ 378776 h 1729572"/>
              <a:gd name="connsiteX642" fmla="*/ 2578199 w 2601035"/>
              <a:gd name="connsiteY642" fmla="*/ 381058 h 1729572"/>
              <a:gd name="connsiteX643" fmla="*/ 2575916 w 2601035"/>
              <a:gd name="connsiteY643" fmla="*/ 381058 h 1729572"/>
              <a:gd name="connsiteX644" fmla="*/ 2578199 w 2601035"/>
              <a:gd name="connsiteY644" fmla="*/ 381058 h 1729572"/>
              <a:gd name="connsiteX645" fmla="*/ 2580483 w 2601035"/>
              <a:gd name="connsiteY645" fmla="*/ 381058 h 1729572"/>
              <a:gd name="connsiteX646" fmla="*/ 2580483 w 2601035"/>
              <a:gd name="connsiteY646" fmla="*/ 383339 h 1729572"/>
              <a:gd name="connsiteX647" fmla="*/ 2582766 w 2601035"/>
              <a:gd name="connsiteY647" fmla="*/ 383339 h 1729572"/>
              <a:gd name="connsiteX648" fmla="*/ 2582766 w 2601035"/>
              <a:gd name="connsiteY648" fmla="*/ 385621 h 1729572"/>
              <a:gd name="connsiteX649" fmla="*/ 2585050 w 2601035"/>
              <a:gd name="connsiteY649" fmla="*/ 385621 h 1729572"/>
              <a:gd name="connsiteX650" fmla="*/ 2585050 w 2601035"/>
              <a:gd name="connsiteY650" fmla="*/ 387903 h 1729572"/>
              <a:gd name="connsiteX651" fmla="*/ 2582766 w 2601035"/>
              <a:gd name="connsiteY651" fmla="*/ 387903 h 1729572"/>
              <a:gd name="connsiteX652" fmla="*/ 2582766 w 2601035"/>
              <a:gd name="connsiteY652" fmla="*/ 390185 h 1729572"/>
              <a:gd name="connsiteX653" fmla="*/ 2585050 w 2601035"/>
              <a:gd name="connsiteY653" fmla="*/ 390185 h 1729572"/>
              <a:gd name="connsiteX654" fmla="*/ 2585050 w 2601035"/>
              <a:gd name="connsiteY654" fmla="*/ 392467 h 1729572"/>
              <a:gd name="connsiteX655" fmla="*/ 2582766 w 2601035"/>
              <a:gd name="connsiteY655" fmla="*/ 392467 h 1729572"/>
              <a:gd name="connsiteX656" fmla="*/ 2582766 w 2601035"/>
              <a:gd name="connsiteY656" fmla="*/ 394749 h 1729572"/>
              <a:gd name="connsiteX657" fmla="*/ 2580483 w 2601035"/>
              <a:gd name="connsiteY657" fmla="*/ 394749 h 1729572"/>
              <a:gd name="connsiteX658" fmla="*/ 2582766 w 2601035"/>
              <a:gd name="connsiteY658" fmla="*/ 394749 h 1729572"/>
              <a:gd name="connsiteX659" fmla="*/ 2582766 w 2601035"/>
              <a:gd name="connsiteY659" fmla="*/ 397031 h 1729572"/>
              <a:gd name="connsiteX660" fmla="*/ 2582766 w 2601035"/>
              <a:gd name="connsiteY660" fmla="*/ 399313 h 1729572"/>
              <a:gd name="connsiteX661" fmla="*/ 2580483 w 2601035"/>
              <a:gd name="connsiteY661" fmla="*/ 399313 h 1729572"/>
              <a:gd name="connsiteX662" fmla="*/ 2580483 w 2601035"/>
              <a:gd name="connsiteY662" fmla="*/ 401594 h 1729572"/>
              <a:gd name="connsiteX663" fmla="*/ 2580483 w 2601035"/>
              <a:gd name="connsiteY663" fmla="*/ 403877 h 1729572"/>
              <a:gd name="connsiteX664" fmla="*/ 2582766 w 2601035"/>
              <a:gd name="connsiteY664" fmla="*/ 403877 h 1729572"/>
              <a:gd name="connsiteX665" fmla="*/ 2582766 w 2601035"/>
              <a:gd name="connsiteY665" fmla="*/ 406158 h 1729572"/>
              <a:gd name="connsiteX666" fmla="*/ 2585050 w 2601035"/>
              <a:gd name="connsiteY666" fmla="*/ 406158 h 1729572"/>
              <a:gd name="connsiteX667" fmla="*/ 2585050 w 2601035"/>
              <a:gd name="connsiteY667" fmla="*/ 408440 h 1729572"/>
              <a:gd name="connsiteX668" fmla="*/ 2587334 w 2601035"/>
              <a:gd name="connsiteY668" fmla="*/ 408440 h 1729572"/>
              <a:gd name="connsiteX669" fmla="*/ 2587334 w 2601035"/>
              <a:gd name="connsiteY669" fmla="*/ 410722 h 1729572"/>
              <a:gd name="connsiteX670" fmla="*/ 2587334 w 2601035"/>
              <a:gd name="connsiteY670" fmla="*/ 413004 h 1729572"/>
              <a:gd name="connsiteX671" fmla="*/ 2585050 w 2601035"/>
              <a:gd name="connsiteY671" fmla="*/ 413004 h 1729572"/>
              <a:gd name="connsiteX672" fmla="*/ 2582766 w 2601035"/>
              <a:gd name="connsiteY672" fmla="*/ 413004 h 1729572"/>
              <a:gd name="connsiteX673" fmla="*/ 2582766 w 2601035"/>
              <a:gd name="connsiteY673" fmla="*/ 415286 h 1729572"/>
              <a:gd name="connsiteX674" fmla="*/ 2582766 w 2601035"/>
              <a:gd name="connsiteY674" fmla="*/ 417568 h 1729572"/>
              <a:gd name="connsiteX675" fmla="*/ 2582766 w 2601035"/>
              <a:gd name="connsiteY675" fmla="*/ 419850 h 1729572"/>
              <a:gd name="connsiteX676" fmla="*/ 2585050 w 2601035"/>
              <a:gd name="connsiteY676" fmla="*/ 419850 h 1729572"/>
              <a:gd name="connsiteX677" fmla="*/ 2582766 w 2601035"/>
              <a:gd name="connsiteY677" fmla="*/ 419850 h 1729572"/>
              <a:gd name="connsiteX678" fmla="*/ 2582766 w 2601035"/>
              <a:gd name="connsiteY678" fmla="*/ 422132 h 1729572"/>
              <a:gd name="connsiteX679" fmla="*/ 2580483 w 2601035"/>
              <a:gd name="connsiteY679" fmla="*/ 422132 h 1729572"/>
              <a:gd name="connsiteX680" fmla="*/ 2580483 w 2601035"/>
              <a:gd name="connsiteY680" fmla="*/ 424404 h 1729572"/>
              <a:gd name="connsiteX681" fmla="*/ 2580483 w 2601035"/>
              <a:gd name="connsiteY681" fmla="*/ 426686 h 1729572"/>
              <a:gd name="connsiteX682" fmla="*/ 2580483 w 2601035"/>
              <a:gd name="connsiteY682" fmla="*/ 428968 h 1729572"/>
              <a:gd name="connsiteX683" fmla="*/ 2582766 w 2601035"/>
              <a:gd name="connsiteY683" fmla="*/ 428968 h 1729572"/>
              <a:gd name="connsiteX684" fmla="*/ 2582766 w 2601035"/>
              <a:gd name="connsiteY684" fmla="*/ 426686 h 1729572"/>
              <a:gd name="connsiteX685" fmla="*/ 2585050 w 2601035"/>
              <a:gd name="connsiteY685" fmla="*/ 426686 h 1729572"/>
              <a:gd name="connsiteX686" fmla="*/ 2585050 w 2601035"/>
              <a:gd name="connsiteY686" fmla="*/ 424404 h 1729572"/>
              <a:gd name="connsiteX687" fmla="*/ 2585050 w 2601035"/>
              <a:gd name="connsiteY687" fmla="*/ 426686 h 1729572"/>
              <a:gd name="connsiteX688" fmla="*/ 2587334 w 2601035"/>
              <a:gd name="connsiteY688" fmla="*/ 426686 h 1729572"/>
              <a:gd name="connsiteX689" fmla="*/ 2587334 w 2601035"/>
              <a:gd name="connsiteY689" fmla="*/ 428968 h 1729572"/>
              <a:gd name="connsiteX690" fmla="*/ 2589617 w 2601035"/>
              <a:gd name="connsiteY690" fmla="*/ 428968 h 1729572"/>
              <a:gd name="connsiteX691" fmla="*/ 2591901 w 2601035"/>
              <a:gd name="connsiteY691" fmla="*/ 428968 h 1729572"/>
              <a:gd name="connsiteX692" fmla="*/ 2591901 w 2601035"/>
              <a:gd name="connsiteY692" fmla="*/ 431250 h 1729572"/>
              <a:gd name="connsiteX693" fmla="*/ 2591901 w 2601035"/>
              <a:gd name="connsiteY693" fmla="*/ 433532 h 1729572"/>
              <a:gd name="connsiteX694" fmla="*/ 2591901 w 2601035"/>
              <a:gd name="connsiteY694" fmla="*/ 435813 h 1729572"/>
              <a:gd name="connsiteX695" fmla="*/ 2589617 w 2601035"/>
              <a:gd name="connsiteY695" fmla="*/ 435813 h 1729572"/>
              <a:gd name="connsiteX696" fmla="*/ 2589617 w 2601035"/>
              <a:gd name="connsiteY696" fmla="*/ 438095 h 1729572"/>
              <a:gd name="connsiteX697" fmla="*/ 2589617 w 2601035"/>
              <a:gd name="connsiteY697" fmla="*/ 440377 h 1729572"/>
              <a:gd name="connsiteX698" fmla="*/ 2589617 w 2601035"/>
              <a:gd name="connsiteY698" fmla="*/ 442659 h 1729572"/>
              <a:gd name="connsiteX699" fmla="*/ 2591901 w 2601035"/>
              <a:gd name="connsiteY699" fmla="*/ 442659 h 1729572"/>
              <a:gd name="connsiteX700" fmla="*/ 2591901 w 2601035"/>
              <a:gd name="connsiteY700" fmla="*/ 444941 h 1729572"/>
              <a:gd name="connsiteX701" fmla="*/ 2594184 w 2601035"/>
              <a:gd name="connsiteY701" fmla="*/ 444941 h 1729572"/>
              <a:gd name="connsiteX702" fmla="*/ 2594184 w 2601035"/>
              <a:gd name="connsiteY702" fmla="*/ 447223 h 1729572"/>
              <a:gd name="connsiteX703" fmla="*/ 2596468 w 2601035"/>
              <a:gd name="connsiteY703" fmla="*/ 447223 h 1729572"/>
              <a:gd name="connsiteX704" fmla="*/ 2598751 w 2601035"/>
              <a:gd name="connsiteY704" fmla="*/ 447223 h 1729572"/>
              <a:gd name="connsiteX705" fmla="*/ 2598751 w 2601035"/>
              <a:gd name="connsiteY705" fmla="*/ 449505 h 1729572"/>
              <a:gd name="connsiteX706" fmla="*/ 2598751 w 2601035"/>
              <a:gd name="connsiteY706" fmla="*/ 451787 h 1729572"/>
              <a:gd name="connsiteX707" fmla="*/ 2601036 w 2601035"/>
              <a:gd name="connsiteY707" fmla="*/ 451787 h 1729572"/>
              <a:gd name="connsiteX708" fmla="*/ 2598751 w 2601035"/>
              <a:gd name="connsiteY708" fmla="*/ 451787 h 1729572"/>
              <a:gd name="connsiteX709" fmla="*/ 2598751 w 2601035"/>
              <a:gd name="connsiteY709" fmla="*/ 454069 h 1729572"/>
              <a:gd name="connsiteX710" fmla="*/ 2598751 w 2601035"/>
              <a:gd name="connsiteY710" fmla="*/ 456350 h 1729572"/>
              <a:gd name="connsiteX711" fmla="*/ 2596468 w 2601035"/>
              <a:gd name="connsiteY711" fmla="*/ 456350 h 1729572"/>
              <a:gd name="connsiteX712" fmla="*/ 2596468 w 2601035"/>
              <a:gd name="connsiteY712" fmla="*/ 458633 h 1729572"/>
              <a:gd name="connsiteX713" fmla="*/ 2596468 w 2601035"/>
              <a:gd name="connsiteY713" fmla="*/ 460914 h 1729572"/>
              <a:gd name="connsiteX714" fmla="*/ 2594184 w 2601035"/>
              <a:gd name="connsiteY714" fmla="*/ 460914 h 1729572"/>
              <a:gd name="connsiteX715" fmla="*/ 2594184 w 2601035"/>
              <a:gd name="connsiteY715" fmla="*/ 463196 h 1729572"/>
              <a:gd name="connsiteX716" fmla="*/ 2591901 w 2601035"/>
              <a:gd name="connsiteY716" fmla="*/ 463196 h 1729572"/>
              <a:gd name="connsiteX717" fmla="*/ 2591901 w 2601035"/>
              <a:gd name="connsiteY717" fmla="*/ 465478 h 1729572"/>
              <a:gd name="connsiteX718" fmla="*/ 2591901 w 2601035"/>
              <a:gd name="connsiteY718" fmla="*/ 467760 h 1729572"/>
              <a:gd name="connsiteX719" fmla="*/ 2589617 w 2601035"/>
              <a:gd name="connsiteY719" fmla="*/ 467760 h 1729572"/>
              <a:gd name="connsiteX720" fmla="*/ 2587334 w 2601035"/>
              <a:gd name="connsiteY720" fmla="*/ 467760 h 1729572"/>
              <a:gd name="connsiteX721" fmla="*/ 2587334 w 2601035"/>
              <a:gd name="connsiteY721" fmla="*/ 470042 h 1729572"/>
              <a:gd name="connsiteX722" fmla="*/ 2587334 w 2601035"/>
              <a:gd name="connsiteY722" fmla="*/ 472324 h 1729572"/>
              <a:gd name="connsiteX723" fmla="*/ 2587334 w 2601035"/>
              <a:gd name="connsiteY723" fmla="*/ 474606 h 1729572"/>
              <a:gd name="connsiteX724" fmla="*/ 2585050 w 2601035"/>
              <a:gd name="connsiteY724" fmla="*/ 474606 h 1729572"/>
              <a:gd name="connsiteX725" fmla="*/ 2585050 w 2601035"/>
              <a:gd name="connsiteY725" fmla="*/ 476888 h 1729572"/>
              <a:gd name="connsiteX726" fmla="*/ 2582766 w 2601035"/>
              <a:gd name="connsiteY726" fmla="*/ 476888 h 1729572"/>
              <a:gd name="connsiteX727" fmla="*/ 2582766 w 2601035"/>
              <a:gd name="connsiteY727" fmla="*/ 479170 h 1729572"/>
              <a:gd name="connsiteX728" fmla="*/ 2580483 w 2601035"/>
              <a:gd name="connsiteY728" fmla="*/ 479170 h 1729572"/>
              <a:gd name="connsiteX729" fmla="*/ 2580483 w 2601035"/>
              <a:gd name="connsiteY729" fmla="*/ 481451 h 1729572"/>
              <a:gd name="connsiteX730" fmla="*/ 2578199 w 2601035"/>
              <a:gd name="connsiteY730" fmla="*/ 481451 h 1729572"/>
              <a:gd name="connsiteX731" fmla="*/ 2575916 w 2601035"/>
              <a:gd name="connsiteY731" fmla="*/ 483733 h 1729572"/>
              <a:gd name="connsiteX732" fmla="*/ 2573632 w 2601035"/>
              <a:gd name="connsiteY732" fmla="*/ 483733 h 1729572"/>
              <a:gd name="connsiteX733" fmla="*/ 2573632 w 2601035"/>
              <a:gd name="connsiteY733" fmla="*/ 486015 h 1729572"/>
              <a:gd name="connsiteX734" fmla="*/ 2575916 w 2601035"/>
              <a:gd name="connsiteY734" fmla="*/ 486015 h 1729572"/>
              <a:gd name="connsiteX735" fmla="*/ 2575916 w 2601035"/>
              <a:gd name="connsiteY735" fmla="*/ 488297 h 1729572"/>
              <a:gd name="connsiteX736" fmla="*/ 2573632 w 2601035"/>
              <a:gd name="connsiteY736" fmla="*/ 488297 h 1729572"/>
              <a:gd name="connsiteX737" fmla="*/ 2573632 w 2601035"/>
              <a:gd name="connsiteY737" fmla="*/ 490579 h 1729572"/>
              <a:gd name="connsiteX738" fmla="*/ 2571348 w 2601035"/>
              <a:gd name="connsiteY738" fmla="*/ 492861 h 1729572"/>
              <a:gd name="connsiteX739" fmla="*/ 2569065 w 2601035"/>
              <a:gd name="connsiteY739" fmla="*/ 492861 h 1729572"/>
              <a:gd name="connsiteX740" fmla="*/ 2569065 w 2601035"/>
              <a:gd name="connsiteY740" fmla="*/ 495143 h 1729572"/>
              <a:gd name="connsiteX741" fmla="*/ 2566781 w 2601035"/>
              <a:gd name="connsiteY741" fmla="*/ 495143 h 1729572"/>
              <a:gd name="connsiteX742" fmla="*/ 2564498 w 2601035"/>
              <a:gd name="connsiteY742" fmla="*/ 495143 h 1729572"/>
              <a:gd name="connsiteX743" fmla="*/ 2566781 w 2601035"/>
              <a:gd name="connsiteY743" fmla="*/ 495143 h 1729572"/>
              <a:gd name="connsiteX744" fmla="*/ 2566781 w 2601035"/>
              <a:gd name="connsiteY744" fmla="*/ 497425 h 1729572"/>
              <a:gd name="connsiteX745" fmla="*/ 2564498 w 2601035"/>
              <a:gd name="connsiteY745" fmla="*/ 497425 h 1729572"/>
              <a:gd name="connsiteX746" fmla="*/ 2564498 w 2601035"/>
              <a:gd name="connsiteY746" fmla="*/ 499706 h 1729572"/>
              <a:gd name="connsiteX747" fmla="*/ 2562214 w 2601035"/>
              <a:gd name="connsiteY747" fmla="*/ 499706 h 1729572"/>
              <a:gd name="connsiteX748" fmla="*/ 2562214 w 2601035"/>
              <a:gd name="connsiteY748" fmla="*/ 501989 h 1729572"/>
              <a:gd name="connsiteX749" fmla="*/ 2559931 w 2601035"/>
              <a:gd name="connsiteY749" fmla="*/ 501989 h 1729572"/>
              <a:gd name="connsiteX750" fmla="*/ 2559931 w 2601035"/>
              <a:gd name="connsiteY750" fmla="*/ 504270 h 1729572"/>
              <a:gd name="connsiteX751" fmla="*/ 2557647 w 2601035"/>
              <a:gd name="connsiteY751" fmla="*/ 504270 h 1729572"/>
              <a:gd name="connsiteX752" fmla="*/ 2557647 w 2601035"/>
              <a:gd name="connsiteY752" fmla="*/ 506552 h 1729572"/>
              <a:gd name="connsiteX753" fmla="*/ 2555363 w 2601035"/>
              <a:gd name="connsiteY753" fmla="*/ 506552 h 1729572"/>
              <a:gd name="connsiteX754" fmla="*/ 2555363 w 2601035"/>
              <a:gd name="connsiteY754" fmla="*/ 508834 h 1729572"/>
              <a:gd name="connsiteX755" fmla="*/ 2553080 w 2601035"/>
              <a:gd name="connsiteY755" fmla="*/ 508834 h 1729572"/>
              <a:gd name="connsiteX756" fmla="*/ 2553080 w 2601035"/>
              <a:gd name="connsiteY756" fmla="*/ 511116 h 1729572"/>
              <a:gd name="connsiteX757" fmla="*/ 2553080 w 2601035"/>
              <a:gd name="connsiteY757" fmla="*/ 513398 h 1729572"/>
              <a:gd name="connsiteX758" fmla="*/ 2553080 w 2601035"/>
              <a:gd name="connsiteY758" fmla="*/ 515680 h 1729572"/>
              <a:gd name="connsiteX759" fmla="*/ 2550796 w 2601035"/>
              <a:gd name="connsiteY759" fmla="*/ 515680 h 1729572"/>
              <a:gd name="connsiteX760" fmla="*/ 2550796 w 2601035"/>
              <a:gd name="connsiteY760" fmla="*/ 517962 h 1729572"/>
              <a:gd name="connsiteX761" fmla="*/ 2548513 w 2601035"/>
              <a:gd name="connsiteY761" fmla="*/ 517962 h 1729572"/>
              <a:gd name="connsiteX762" fmla="*/ 2546229 w 2601035"/>
              <a:gd name="connsiteY762" fmla="*/ 517962 h 1729572"/>
              <a:gd name="connsiteX763" fmla="*/ 2546229 w 2601035"/>
              <a:gd name="connsiteY763" fmla="*/ 520244 h 1729572"/>
              <a:gd name="connsiteX764" fmla="*/ 2546229 w 2601035"/>
              <a:gd name="connsiteY764" fmla="*/ 522526 h 1729572"/>
              <a:gd name="connsiteX765" fmla="*/ 2546229 w 2601035"/>
              <a:gd name="connsiteY765" fmla="*/ 524807 h 1729572"/>
              <a:gd name="connsiteX766" fmla="*/ 2543946 w 2601035"/>
              <a:gd name="connsiteY766" fmla="*/ 524807 h 1729572"/>
              <a:gd name="connsiteX767" fmla="*/ 2543946 w 2601035"/>
              <a:gd name="connsiteY767" fmla="*/ 527089 h 1729572"/>
              <a:gd name="connsiteX768" fmla="*/ 2541662 w 2601035"/>
              <a:gd name="connsiteY768" fmla="*/ 527089 h 1729572"/>
              <a:gd name="connsiteX769" fmla="*/ 2541662 w 2601035"/>
              <a:gd name="connsiteY769" fmla="*/ 529371 h 1729572"/>
              <a:gd name="connsiteX770" fmla="*/ 2539378 w 2601035"/>
              <a:gd name="connsiteY770" fmla="*/ 529371 h 1729572"/>
              <a:gd name="connsiteX771" fmla="*/ 2539378 w 2601035"/>
              <a:gd name="connsiteY771" fmla="*/ 531653 h 1729572"/>
              <a:gd name="connsiteX772" fmla="*/ 2537095 w 2601035"/>
              <a:gd name="connsiteY772" fmla="*/ 531653 h 1729572"/>
              <a:gd name="connsiteX773" fmla="*/ 2537095 w 2601035"/>
              <a:gd name="connsiteY773" fmla="*/ 533935 h 1729572"/>
              <a:gd name="connsiteX774" fmla="*/ 2534811 w 2601035"/>
              <a:gd name="connsiteY774" fmla="*/ 533935 h 1729572"/>
              <a:gd name="connsiteX775" fmla="*/ 2532528 w 2601035"/>
              <a:gd name="connsiteY775" fmla="*/ 536217 h 1729572"/>
              <a:gd name="connsiteX776" fmla="*/ 2532528 w 2601035"/>
              <a:gd name="connsiteY776" fmla="*/ 538499 h 1729572"/>
              <a:gd name="connsiteX777" fmla="*/ 2532528 w 2601035"/>
              <a:gd name="connsiteY777" fmla="*/ 540781 h 1729572"/>
              <a:gd name="connsiteX778" fmla="*/ 2530244 w 2601035"/>
              <a:gd name="connsiteY778" fmla="*/ 540781 h 1729572"/>
              <a:gd name="connsiteX779" fmla="*/ 2527960 w 2601035"/>
              <a:gd name="connsiteY779" fmla="*/ 543063 h 1729572"/>
              <a:gd name="connsiteX780" fmla="*/ 2527960 w 2601035"/>
              <a:gd name="connsiteY780" fmla="*/ 545345 h 1729572"/>
              <a:gd name="connsiteX781" fmla="*/ 2525676 w 2601035"/>
              <a:gd name="connsiteY781" fmla="*/ 543063 h 1729572"/>
              <a:gd name="connsiteX782" fmla="*/ 2525676 w 2601035"/>
              <a:gd name="connsiteY782" fmla="*/ 545345 h 1729572"/>
              <a:gd name="connsiteX783" fmla="*/ 2523393 w 2601035"/>
              <a:gd name="connsiteY783" fmla="*/ 545345 h 1729572"/>
              <a:gd name="connsiteX784" fmla="*/ 2523393 w 2601035"/>
              <a:gd name="connsiteY784" fmla="*/ 547626 h 1729572"/>
              <a:gd name="connsiteX785" fmla="*/ 2521109 w 2601035"/>
              <a:gd name="connsiteY785" fmla="*/ 547626 h 1729572"/>
              <a:gd name="connsiteX786" fmla="*/ 2518826 w 2601035"/>
              <a:gd name="connsiteY786" fmla="*/ 547626 h 1729572"/>
              <a:gd name="connsiteX787" fmla="*/ 2521109 w 2601035"/>
              <a:gd name="connsiteY787" fmla="*/ 547626 h 1729572"/>
              <a:gd name="connsiteX788" fmla="*/ 2518826 w 2601035"/>
              <a:gd name="connsiteY788" fmla="*/ 547626 h 1729572"/>
              <a:gd name="connsiteX789" fmla="*/ 2516542 w 2601035"/>
              <a:gd name="connsiteY789" fmla="*/ 547626 h 1729572"/>
              <a:gd name="connsiteX790" fmla="*/ 2516542 w 2601035"/>
              <a:gd name="connsiteY790" fmla="*/ 549908 h 1729572"/>
              <a:gd name="connsiteX791" fmla="*/ 2516542 w 2601035"/>
              <a:gd name="connsiteY791" fmla="*/ 552190 h 1729572"/>
              <a:gd name="connsiteX792" fmla="*/ 2516542 w 2601035"/>
              <a:gd name="connsiteY792" fmla="*/ 554472 h 1729572"/>
              <a:gd name="connsiteX793" fmla="*/ 2514258 w 2601035"/>
              <a:gd name="connsiteY793" fmla="*/ 554472 h 1729572"/>
              <a:gd name="connsiteX794" fmla="*/ 2514258 w 2601035"/>
              <a:gd name="connsiteY794" fmla="*/ 556754 h 1729572"/>
              <a:gd name="connsiteX795" fmla="*/ 2514258 w 2601035"/>
              <a:gd name="connsiteY795" fmla="*/ 559036 h 1729572"/>
              <a:gd name="connsiteX796" fmla="*/ 2511975 w 2601035"/>
              <a:gd name="connsiteY796" fmla="*/ 559036 h 1729572"/>
              <a:gd name="connsiteX797" fmla="*/ 2511975 w 2601035"/>
              <a:gd name="connsiteY797" fmla="*/ 561318 h 1729572"/>
              <a:gd name="connsiteX798" fmla="*/ 2509691 w 2601035"/>
              <a:gd name="connsiteY798" fmla="*/ 561318 h 1729572"/>
              <a:gd name="connsiteX799" fmla="*/ 2507408 w 2601035"/>
              <a:gd name="connsiteY799" fmla="*/ 561318 h 1729572"/>
              <a:gd name="connsiteX800" fmla="*/ 2507408 w 2601035"/>
              <a:gd name="connsiteY800" fmla="*/ 563600 h 1729572"/>
              <a:gd name="connsiteX801" fmla="*/ 2507408 w 2601035"/>
              <a:gd name="connsiteY801" fmla="*/ 565882 h 1729572"/>
              <a:gd name="connsiteX802" fmla="*/ 2505124 w 2601035"/>
              <a:gd name="connsiteY802" fmla="*/ 565882 h 1729572"/>
              <a:gd name="connsiteX803" fmla="*/ 2502841 w 2601035"/>
              <a:gd name="connsiteY803" fmla="*/ 565882 h 1729572"/>
              <a:gd name="connsiteX804" fmla="*/ 2502841 w 2601035"/>
              <a:gd name="connsiteY804" fmla="*/ 568163 h 1729572"/>
              <a:gd name="connsiteX805" fmla="*/ 2500557 w 2601035"/>
              <a:gd name="connsiteY805" fmla="*/ 568163 h 1729572"/>
              <a:gd name="connsiteX806" fmla="*/ 2500557 w 2601035"/>
              <a:gd name="connsiteY806" fmla="*/ 570445 h 1729572"/>
              <a:gd name="connsiteX807" fmla="*/ 2498274 w 2601035"/>
              <a:gd name="connsiteY807" fmla="*/ 570445 h 1729572"/>
              <a:gd name="connsiteX808" fmla="*/ 2498274 w 2601035"/>
              <a:gd name="connsiteY808" fmla="*/ 572727 h 1729572"/>
              <a:gd name="connsiteX809" fmla="*/ 2495990 w 2601035"/>
              <a:gd name="connsiteY809" fmla="*/ 572727 h 1729572"/>
              <a:gd name="connsiteX810" fmla="*/ 2493706 w 2601035"/>
              <a:gd name="connsiteY810" fmla="*/ 572727 h 1729572"/>
              <a:gd name="connsiteX811" fmla="*/ 2493706 w 2601035"/>
              <a:gd name="connsiteY811" fmla="*/ 575009 h 1729572"/>
              <a:gd name="connsiteX812" fmla="*/ 2495990 w 2601035"/>
              <a:gd name="connsiteY812" fmla="*/ 575009 h 1729572"/>
              <a:gd name="connsiteX813" fmla="*/ 2495990 w 2601035"/>
              <a:gd name="connsiteY813" fmla="*/ 577291 h 1729572"/>
              <a:gd name="connsiteX814" fmla="*/ 2493706 w 2601035"/>
              <a:gd name="connsiteY814" fmla="*/ 577291 h 1729572"/>
              <a:gd name="connsiteX815" fmla="*/ 2493706 w 2601035"/>
              <a:gd name="connsiteY815" fmla="*/ 579573 h 1729572"/>
              <a:gd name="connsiteX816" fmla="*/ 2491423 w 2601035"/>
              <a:gd name="connsiteY816" fmla="*/ 579573 h 1729572"/>
              <a:gd name="connsiteX817" fmla="*/ 2489139 w 2601035"/>
              <a:gd name="connsiteY817" fmla="*/ 579573 h 1729572"/>
              <a:gd name="connsiteX818" fmla="*/ 2489139 w 2601035"/>
              <a:gd name="connsiteY818" fmla="*/ 581855 h 1729572"/>
              <a:gd name="connsiteX819" fmla="*/ 2486855 w 2601035"/>
              <a:gd name="connsiteY819" fmla="*/ 581855 h 1729572"/>
              <a:gd name="connsiteX820" fmla="*/ 2484572 w 2601035"/>
              <a:gd name="connsiteY820" fmla="*/ 581855 h 1729572"/>
              <a:gd name="connsiteX821" fmla="*/ 2484572 w 2601035"/>
              <a:gd name="connsiteY821" fmla="*/ 584127 h 1729572"/>
              <a:gd name="connsiteX822" fmla="*/ 2482288 w 2601035"/>
              <a:gd name="connsiteY822" fmla="*/ 584127 h 1729572"/>
              <a:gd name="connsiteX823" fmla="*/ 2482288 w 2601035"/>
              <a:gd name="connsiteY823" fmla="*/ 586409 h 1729572"/>
              <a:gd name="connsiteX824" fmla="*/ 2482288 w 2601035"/>
              <a:gd name="connsiteY824" fmla="*/ 588691 h 1729572"/>
              <a:gd name="connsiteX825" fmla="*/ 2480005 w 2601035"/>
              <a:gd name="connsiteY825" fmla="*/ 588691 h 1729572"/>
              <a:gd name="connsiteX826" fmla="*/ 2480005 w 2601035"/>
              <a:gd name="connsiteY826" fmla="*/ 590973 h 1729572"/>
              <a:gd name="connsiteX827" fmla="*/ 2477721 w 2601035"/>
              <a:gd name="connsiteY827" fmla="*/ 590973 h 1729572"/>
              <a:gd name="connsiteX828" fmla="*/ 2477721 w 2601035"/>
              <a:gd name="connsiteY828" fmla="*/ 593255 h 1729572"/>
              <a:gd name="connsiteX829" fmla="*/ 2475437 w 2601035"/>
              <a:gd name="connsiteY829" fmla="*/ 593255 h 1729572"/>
              <a:gd name="connsiteX830" fmla="*/ 2473154 w 2601035"/>
              <a:gd name="connsiteY830" fmla="*/ 593255 h 1729572"/>
              <a:gd name="connsiteX831" fmla="*/ 2473154 w 2601035"/>
              <a:gd name="connsiteY831" fmla="*/ 595537 h 1729572"/>
              <a:gd name="connsiteX832" fmla="*/ 2470870 w 2601035"/>
              <a:gd name="connsiteY832" fmla="*/ 595537 h 1729572"/>
              <a:gd name="connsiteX833" fmla="*/ 2470870 w 2601035"/>
              <a:gd name="connsiteY833" fmla="*/ 597818 h 1729572"/>
              <a:gd name="connsiteX834" fmla="*/ 2468587 w 2601035"/>
              <a:gd name="connsiteY834" fmla="*/ 597818 h 1729572"/>
              <a:gd name="connsiteX835" fmla="*/ 2466303 w 2601035"/>
              <a:gd name="connsiteY835" fmla="*/ 597818 h 1729572"/>
              <a:gd name="connsiteX836" fmla="*/ 2464020 w 2601035"/>
              <a:gd name="connsiteY836" fmla="*/ 597818 h 1729572"/>
              <a:gd name="connsiteX837" fmla="*/ 2461736 w 2601035"/>
              <a:gd name="connsiteY837" fmla="*/ 597818 h 1729572"/>
              <a:gd name="connsiteX838" fmla="*/ 2459452 w 2601035"/>
              <a:gd name="connsiteY838" fmla="*/ 597818 h 1729572"/>
              <a:gd name="connsiteX839" fmla="*/ 2457169 w 2601035"/>
              <a:gd name="connsiteY839" fmla="*/ 597818 h 1729572"/>
              <a:gd name="connsiteX840" fmla="*/ 2454885 w 2601035"/>
              <a:gd name="connsiteY840" fmla="*/ 597818 h 1729572"/>
              <a:gd name="connsiteX841" fmla="*/ 2452601 w 2601035"/>
              <a:gd name="connsiteY841" fmla="*/ 597818 h 1729572"/>
              <a:gd name="connsiteX842" fmla="*/ 2450318 w 2601035"/>
              <a:gd name="connsiteY842" fmla="*/ 597818 h 1729572"/>
              <a:gd name="connsiteX843" fmla="*/ 2448034 w 2601035"/>
              <a:gd name="connsiteY843" fmla="*/ 600101 h 1729572"/>
              <a:gd name="connsiteX844" fmla="*/ 2445751 w 2601035"/>
              <a:gd name="connsiteY844" fmla="*/ 597818 h 1729572"/>
              <a:gd name="connsiteX845" fmla="*/ 2445751 w 2601035"/>
              <a:gd name="connsiteY845" fmla="*/ 600101 h 1729572"/>
              <a:gd name="connsiteX846" fmla="*/ 2443467 w 2601035"/>
              <a:gd name="connsiteY846" fmla="*/ 600101 h 1729572"/>
              <a:gd name="connsiteX847" fmla="*/ 2445751 w 2601035"/>
              <a:gd name="connsiteY847" fmla="*/ 600101 h 1729572"/>
              <a:gd name="connsiteX848" fmla="*/ 2443467 w 2601035"/>
              <a:gd name="connsiteY848" fmla="*/ 600101 h 1729572"/>
              <a:gd name="connsiteX849" fmla="*/ 2443467 w 2601035"/>
              <a:gd name="connsiteY849" fmla="*/ 602382 h 1729572"/>
              <a:gd name="connsiteX850" fmla="*/ 2443467 w 2601035"/>
              <a:gd name="connsiteY850" fmla="*/ 600101 h 1729572"/>
              <a:gd name="connsiteX851" fmla="*/ 2441184 w 2601035"/>
              <a:gd name="connsiteY851" fmla="*/ 600101 h 1729572"/>
              <a:gd name="connsiteX852" fmla="*/ 2441184 w 2601035"/>
              <a:gd name="connsiteY852" fmla="*/ 602382 h 1729572"/>
              <a:gd name="connsiteX853" fmla="*/ 2438900 w 2601035"/>
              <a:gd name="connsiteY853" fmla="*/ 602382 h 1729572"/>
              <a:gd name="connsiteX854" fmla="*/ 2438900 w 2601035"/>
              <a:gd name="connsiteY854" fmla="*/ 604664 h 1729572"/>
              <a:gd name="connsiteX855" fmla="*/ 2436616 w 2601035"/>
              <a:gd name="connsiteY855" fmla="*/ 606946 h 1729572"/>
              <a:gd name="connsiteX856" fmla="*/ 2434333 w 2601035"/>
              <a:gd name="connsiteY856" fmla="*/ 606946 h 1729572"/>
              <a:gd name="connsiteX857" fmla="*/ 2434333 w 2601035"/>
              <a:gd name="connsiteY857" fmla="*/ 604664 h 1729572"/>
              <a:gd name="connsiteX858" fmla="*/ 2434333 w 2601035"/>
              <a:gd name="connsiteY858" fmla="*/ 606946 h 1729572"/>
              <a:gd name="connsiteX859" fmla="*/ 2432049 w 2601035"/>
              <a:gd name="connsiteY859" fmla="*/ 609228 h 1729572"/>
              <a:gd name="connsiteX860" fmla="*/ 2432049 w 2601035"/>
              <a:gd name="connsiteY860" fmla="*/ 611510 h 1729572"/>
              <a:gd name="connsiteX861" fmla="*/ 2432049 w 2601035"/>
              <a:gd name="connsiteY861" fmla="*/ 613792 h 1729572"/>
              <a:gd name="connsiteX862" fmla="*/ 2429766 w 2601035"/>
              <a:gd name="connsiteY862" fmla="*/ 613792 h 1729572"/>
              <a:gd name="connsiteX863" fmla="*/ 2427482 w 2601035"/>
              <a:gd name="connsiteY863" fmla="*/ 613792 h 1729572"/>
              <a:gd name="connsiteX864" fmla="*/ 2427482 w 2601035"/>
              <a:gd name="connsiteY864" fmla="*/ 616074 h 1729572"/>
              <a:gd name="connsiteX865" fmla="*/ 2429766 w 2601035"/>
              <a:gd name="connsiteY865" fmla="*/ 616074 h 1729572"/>
              <a:gd name="connsiteX866" fmla="*/ 2427482 w 2601035"/>
              <a:gd name="connsiteY866" fmla="*/ 616074 h 1729572"/>
              <a:gd name="connsiteX867" fmla="*/ 2429766 w 2601035"/>
              <a:gd name="connsiteY867" fmla="*/ 616074 h 1729572"/>
              <a:gd name="connsiteX868" fmla="*/ 2429766 w 2601035"/>
              <a:gd name="connsiteY868" fmla="*/ 618356 h 1729572"/>
              <a:gd name="connsiteX869" fmla="*/ 2427482 w 2601035"/>
              <a:gd name="connsiteY869" fmla="*/ 618356 h 1729572"/>
              <a:gd name="connsiteX870" fmla="*/ 2425198 w 2601035"/>
              <a:gd name="connsiteY870" fmla="*/ 620638 h 1729572"/>
              <a:gd name="connsiteX871" fmla="*/ 2425198 w 2601035"/>
              <a:gd name="connsiteY871" fmla="*/ 622919 h 1729572"/>
              <a:gd name="connsiteX872" fmla="*/ 2422915 w 2601035"/>
              <a:gd name="connsiteY872" fmla="*/ 625201 h 1729572"/>
              <a:gd name="connsiteX873" fmla="*/ 2422915 w 2601035"/>
              <a:gd name="connsiteY873" fmla="*/ 627483 h 1729572"/>
              <a:gd name="connsiteX874" fmla="*/ 2420631 w 2601035"/>
              <a:gd name="connsiteY874" fmla="*/ 627483 h 1729572"/>
              <a:gd name="connsiteX875" fmla="*/ 2420631 w 2601035"/>
              <a:gd name="connsiteY875" fmla="*/ 629765 h 1729572"/>
              <a:gd name="connsiteX876" fmla="*/ 2418347 w 2601035"/>
              <a:gd name="connsiteY876" fmla="*/ 629765 h 1729572"/>
              <a:gd name="connsiteX877" fmla="*/ 2418347 w 2601035"/>
              <a:gd name="connsiteY877" fmla="*/ 632047 h 1729572"/>
              <a:gd name="connsiteX878" fmla="*/ 2416064 w 2601035"/>
              <a:gd name="connsiteY878" fmla="*/ 632047 h 1729572"/>
              <a:gd name="connsiteX879" fmla="*/ 2413780 w 2601035"/>
              <a:gd name="connsiteY879" fmla="*/ 632047 h 1729572"/>
              <a:gd name="connsiteX880" fmla="*/ 2413780 w 2601035"/>
              <a:gd name="connsiteY880" fmla="*/ 634329 h 1729572"/>
              <a:gd name="connsiteX881" fmla="*/ 2416064 w 2601035"/>
              <a:gd name="connsiteY881" fmla="*/ 634329 h 1729572"/>
              <a:gd name="connsiteX882" fmla="*/ 2413780 w 2601035"/>
              <a:gd name="connsiteY882" fmla="*/ 634329 h 1729572"/>
              <a:gd name="connsiteX883" fmla="*/ 2413780 w 2601035"/>
              <a:gd name="connsiteY883" fmla="*/ 636611 h 1729572"/>
              <a:gd name="connsiteX884" fmla="*/ 2411497 w 2601035"/>
              <a:gd name="connsiteY884" fmla="*/ 636611 h 1729572"/>
              <a:gd name="connsiteX885" fmla="*/ 2411497 w 2601035"/>
              <a:gd name="connsiteY885" fmla="*/ 638893 h 1729572"/>
              <a:gd name="connsiteX886" fmla="*/ 2409213 w 2601035"/>
              <a:gd name="connsiteY886" fmla="*/ 638893 h 1729572"/>
              <a:gd name="connsiteX887" fmla="*/ 2409213 w 2601035"/>
              <a:gd name="connsiteY887" fmla="*/ 641175 h 1729572"/>
              <a:gd name="connsiteX888" fmla="*/ 2406930 w 2601035"/>
              <a:gd name="connsiteY888" fmla="*/ 641175 h 1729572"/>
              <a:gd name="connsiteX889" fmla="*/ 2406930 w 2601035"/>
              <a:gd name="connsiteY889" fmla="*/ 638893 h 1729572"/>
              <a:gd name="connsiteX890" fmla="*/ 2406930 w 2601035"/>
              <a:gd name="connsiteY890" fmla="*/ 641175 h 1729572"/>
              <a:gd name="connsiteX891" fmla="*/ 2404646 w 2601035"/>
              <a:gd name="connsiteY891" fmla="*/ 641175 h 1729572"/>
              <a:gd name="connsiteX892" fmla="*/ 2404646 w 2601035"/>
              <a:gd name="connsiteY892" fmla="*/ 643457 h 1729572"/>
              <a:gd name="connsiteX893" fmla="*/ 2402362 w 2601035"/>
              <a:gd name="connsiteY893" fmla="*/ 643457 h 1729572"/>
              <a:gd name="connsiteX894" fmla="*/ 2400079 w 2601035"/>
              <a:gd name="connsiteY894" fmla="*/ 643457 h 1729572"/>
              <a:gd name="connsiteX895" fmla="*/ 2400079 w 2601035"/>
              <a:gd name="connsiteY895" fmla="*/ 645738 h 1729572"/>
              <a:gd name="connsiteX896" fmla="*/ 2397795 w 2601035"/>
              <a:gd name="connsiteY896" fmla="*/ 645738 h 1729572"/>
              <a:gd name="connsiteX897" fmla="*/ 2397795 w 2601035"/>
              <a:gd name="connsiteY897" fmla="*/ 648020 h 1729572"/>
              <a:gd name="connsiteX898" fmla="*/ 2395512 w 2601035"/>
              <a:gd name="connsiteY898" fmla="*/ 648020 h 1729572"/>
              <a:gd name="connsiteX899" fmla="*/ 2397795 w 2601035"/>
              <a:gd name="connsiteY899" fmla="*/ 648020 h 1729572"/>
              <a:gd name="connsiteX900" fmla="*/ 2395512 w 2601035"/>
              <a:gd name="connsiteY900" fmla="*/ 648020 h 1729572"/>
              <a:gd name="connsiteX901" fmla="*/ 2397795 w 2601035"/>
              <a:gd name="connsiteY901" fmla="*/ 648020 h 1729572"/>
              <a:gd name="connsiteX902" fmla="*/ 2395512 w 2601035"/>
              <a:gd name="connsiteY902" fmla="*/ 648020 h 1729572"/>
              <a:gd name="connsiteX903" fmla="*/ 2395512 w 2601035"/>
              <a:gd name="connsiteY903" fmla="*/ 650302 h 1729572"/>
              <a:gd name="connsiteX904" fmla="*/ 2395512 w 2601035"/>
              <a:gd name="connsiteY904" fmla="*/ 652584 h 1729572"/>
              <a:gd name="connsiteX905" fmla="*/ 2393228 w 2601035"/>
              <a:gd name="connsiteY905" fmla="*/ 652584 h 1729572"/>
              <a:gd name="connsiteX906" fmla="*/ 2393228 w 2601035"/>
              <a:gd name="connsiteY906" fmla="*/ 654866 h 1729572"/>
              <a:gd name="connsiteX907" fmla="*/ 2390945 w 2601035"/>
              <a:gd name="connsiteY907" fmla="*/ 654866 h 1729572"/>
              <a:gd name="connsiteX908" fmla="*/ 2390945 w 2601035"/>
              <a:gd name="connsiteY908" fmla="*/ 657148 h 1729572"/>
              <a:gd name="connsiteX909" fmla="*/ 2388661 w 2601035"/>
              <a:gd name="connsiteY909" fmla="*/ 657148 h 1729572"/>
              <a:gd name="connsiteX910" fmla="*/ 2386377 w 2601035"/>
              <a:gd name="connsiteY910" fmla="*/ 657148 h 1729572"/>
              <a:gd name="connsiteX911" fmla="*/ 2388661 w 2601035"/>
              <a:gd name="connsiteY911" fmla="*/ 657148 h 1729572"/>
              <a:gd name="connsiteX912" fmla="*/ 2388661 w 2601035"/>
              <a:gd name="connsiteY912" fmla="*/ 659430 h 1729572"/>
              <a:gd name="connsiteX913" fmla="*/ 2386377 w 2601035"/>
              <a:gd name="connsiteY913" fmla="*/ 659430 h 1729572"/>
              <a:gd name="connsiteX914" fmla="*/ 2384094 w 2601035"/>
              <a:gd name="connsiteY914" fmla="*/ 659430 h 1729572"/>
              <a:gd name="connsiteX915" fmla="*/ 2384094 w 2601035"/>
              <a:gd name="connsiteY915" fmla="*/ 661712 h 1729572"/>
              <a:gd name="connsiteX916" fmla="*/ 2381810 w 2601035"/>
              <a:gd name="connsiteY916" fmla="*/ 661712 h 1729572"/>
              <a:gd name="connsiteX917" fmla="*/ 2381810 w 2601035"/>
              <a:gd name="connsiteY917" fmla="*/ 663994 h 1729572"/>
              <a:gd name="connsiteX918" fmla="*/ 2379526 w 2601035"/>
              <a:gd name="connsiteY918" fmla="*/ 663994 h 1729572"/>
              <a:gd name="connsiteX919" fmla="*/ 2377243 w 2601035"/>
              <a:gd name="connsiteY919" fmla="*/ 663994 h 1729572"/>
              <a:gd name="connsiteX920" fmla="*/ 2374959 w 2601035"/>
              <a:gd name="connsiteY920" fmla="*/ 666275 h 1729572"/>
              <a:gd name="connsiteX921" fmla="*/ 2372676 w 2601035"/>
              <a:gd name="connsiteY921" fmla="*/ 666275 h 1729572"/>
              <a:gd name="connsiteX922" fmla="*/ 2372676 w 2601035"/>
              <a:gd name="connsiteY922" fmla="*/ 668557 h 1729572"/>
              <a:gd name="connsiteX923" fmla="*/ 2370392 w 2601035"/>
              <a:gd name="connsiteY923" fmla="*/ 668557 h 1729572"/>
              <a:gd name="connsiteX924" fmla="*/ 2368108 w 2601035"/>
              <a:gd name="connsiteY924" fmla="*/ 668557 h 1729572"/>
              <a:gd name="connsiteX925" fmla="*/ 2368108 w 2601035"/>
              <a:gd name="connsiteY925" fmla="*/ 670839 h 1729572"/>
              <a:gd name="connsiteX926" fmla="*/ 2365825 w 2601035"/>
              <a:gd name="connsiteY926" fmla="*/ 670839 h 1729572"/>
              <a:gd name="connsiteX927" fmla="*/ 2365825 w 2601035"/>
              <a:gd name="connsiteY927" fmla="*/ 673121 h 1729572"/>
              <a:gd name="connsiteX928" fmla="*/ 2368108 w 2601035"/>
              <a:gd name="connsiteY928" fmla="*/ 673121 h 1729572"/>
              <a:gd name="connsiteX929" fmla="*/ 2368108 w 2601035"/>
              <a:gd name="connsiteY929" fmla="*/ 675403 h 1729572"/>
              <a:gd name="connsiteX930" fmla="*/ 2365825 w 2601035"/>
              <a:gd name="connsiteY930" fmla="*/ 675403 h 1729572"/>
              <a:gd name="connsiteX931" fmla="*/ 2365825 w 2601035"/>
              <a:gd name="connsiteY931" fmla="*/ 677685 h 1729572"/>
              <a:gd name="connsiteX932" fmla="*/ 2363541 w 2601035"/>
              <a:gd name="connsiteY932" fmla="*/ 677685 h 1729572"/>
              <a:gd name="connsiteX933" fmla="*/ 2361258 w 2601035"/>
              <a:gd name="connsiteY933" fmla="*/ 677685 h 1729572"/>
              <a:gd name="connsiteX934" fmla="*/ 2361258 w 2601035"/>
              <a:gd name="connsiteY934" fmla="*/ 679967 h 1729572"/>
              <a:gd name="connsiteX935" fmla="*/ 2358974 w 2601035"/>
              <a:gd name="connsiteY935" fmla="*/ 679967 h 1729572"/>
              <a:gd name="connsiteX936" fmla="*/ 2356691 w 2601035"/>
              <a:gd name="connsiteY936" fmla="*/ 679967 h 1729572"/>
              <a:gd name="connsiteX937" fmla="*/ 2354407 w 2601035"/>
              <a:gd name="connsiteY937" fmla="*/ 679967 h 1729572"/>
              <a:gd name="connsiteX938" fmla="*/ 2354407 w 2601035"/>
              <a:gd name="connsiteY938" fmla="*/ 682249 h 1729572"/>
              <a:gd name="connsiteX939" fmla="*/ 2352123 w 2601035"/>
              <a:gd name="connsiteY939" fmla="*/ 682249 h 1729572"/>
              <a:gd name="connsiteX940" fmla="*/ 2349840 w 2601035"/>
              <a:gd name="connsiteY940" fmla="*/ 682249 h 1729572"/>
              <a:gd name="connsiteX941" fmla="*/ 2349840 w 2601035"/>
              <a:gd name="connsiteY941" fmla="*/ 684531 h 1729572"/>
              <a:gd name="connsiteX942" fmla="*/ 2349840 w 2601035"/>
              <a:gd name="connsiteY942" fmla="*/ 686813 h 1729572"/>
              <a:gd name="connsiteX943" fmla="*/ 2347556 w 2601035"/>
              <a:gd name="connsiteY943" fmla="*/ 686813 h 1729572"/>
              <a:gd name="connsiteX944" fmla="*/ 2345272 w 2601035"/>
              <a:gd name="connsiteY944" fmla="*/ 686813 h 1729572"/>
              <a:gd name="connsiteX945" fmla="*/ 2345272 w 2601035"/>
              <a:gd name="connsiteY945" fmla="*/ 689094 h 1729572"/>
              <a:gd name="connsiteX946" fmla="*/ 2342989 w 2601035"/>
              <a:gd name="connsiteY946" fmla="*/ 689094 h 1729572"/>
              <a:gd name="connsiteX947" fmla="*/ 2340705 w 2601035"/>
              <a:gd name="connsiteY947" fmla="*/ 689094 h 1729572"/>
              <a:gd name="connsiteX948" fmla="*/ 2340705 w 2601035"/>
              <a:gd name="connsiteY948" fmla="*/ 691376 h 1729572"/>
              <a:gd name="connsiteX949" fmla="*/ 2338422 w 2601035"/>
              <a:gd name="connsiteY949" fmla="*/ 691376 h 1729572"/>
              <a:gd name="connsiteX950" fmla="*/ 2336138 w 2601035"/>
              <a:gd name="connsiteY950" fmla="*/ 691376 h 1729572"/>
              <a:gd name="connsiteX951" fmla="*/ 2333855 w 2601035"/>
              <a:gd name="connsiteY951" fmla="*/ 691376 h 1729572"/>
              <a:gd name="connsiteX952" fmla="*/ 2331571 w 2601035"/>
              <a:gd name="connsiteY952" fmla="*/ 691376 h 1729572"/>
              <a:gd name="connsiteX953" fmla="*/ 2329287 w 2601035"/>
              <a:gd name="connsiteY953" fmla="*/ 691376 h 1729572"/>
              <a:gd name="connsiteX954" fmla="*/ 2329287 w 2601035"/>
              <a:gd name="connsiteY954" fmla="*/ 693658 h 1729572"/>
              <a:gd name="connsiteX955" fmla="*/ 2327004 w 2601035"/>
              <a:gd name="connsiteY955" fmla="*/ 693658 h 1729572"/>
              <a:gd name="connsiteX956" fmla="*/ 2324720 w 2601035"/>
              <a:gd name="connsiteY956" fmla="*/ 693658 h 1729572"/>
              <a:gd name="connsiteX957" fmla="*/ 2324720 w 2601035"/>
              <a:gd name="connsiteY957" fmla="*/ 695940 h 1729572"/>
              <a:gd name="connsiteX958" fmla="*/ 2322437 w 2601035"/>
              <a:gd name="connsiteY958" fmla="*/ 695940 h 1729572"/>
              <a:gd name="connsiteX959" fmla="*/ 2320153 w 2601035"/>
              <a:gd name="connsiteY959" fmla="*/ 695940 h 1729572"/>
              <a:gd name="connsiteX960" fmla="*/ 2322437 w 2601035"/>
              <a:gd name="connsiteY960" fmla="*/ 695940 h 1729572"/>
              <a:gd name="connsiteX961" fmla="*/ 2322437 w 2601035"/>
              <a:gd name="connsiteY961" fmla="*/ 698222 h 1729572"/>
              <a:gd name="connsiteX962" fmla="*/ 2320153 w 2601035"/>
              <a:gd name="connsiteY962" fmla="*/ 698222 h 1729572"/>
              <a:gd name="connsiteX963" fmla="*/ 2320153 w 2601035"/>
              <a:gd name="connsiteY963" fmla="*/ 700504 h 1729572"/>
              <a:gd name="connsiteX964" fmla="*/ 2320153 w 2601035"/>
              <a:gd name="connsiteY964" fmla="*/ 702786 h 1729572"/>
              <a:gd name="connsiteX965" fmla="*/ 2317869 w 2601035"/>
              <a:gd name="connsiteY965" fmla="*/ 702786 h 1729572"/>
              <a:gd name="connsiteX966" fmla="*/ 2317869 w 2601035"/>
              <a:gd name="connsiteY966" fmla="*/ 705068 h 1729572"/>
              <a:gd name="connsiteX967" fmla="*/ 2315586 w 2601035"/>
              <a:gd name="connsiteY967" fmla="*/ 705068 h 1729572"/>
              <a:gd name="connsiteX968" fmla="*/ 2315586 w 2601035"/>
              <a:gd name="connsiteY968" fmla="*/ 707350 h 1729572"/>
              <a:gd name="connsiteX969" fmla="*/ 2313302 w 2601035"/>
              <a:gd name="connsiteY969" fmla="*/ 707350 h 1729572"/>
              <a:gd name="connsiteX970" fmla="*/ 2313302 w 2601035"/>
              <a:gd name="connsiteY970" fmla="*/ 709631 h 1729572"/>
              <a:gd name="connsiteX971" fmla="*/ 2315586 w 2601035"/>
              <a:gd name="connsiteY971" fmla="*/ 709631 h 1729572"/>
              <a:gd name="connsiteX972" fmla="*/ 2313302 w 2601035"/>
              <a:gd name="connsiteY972" fmla="*/ 709631 h 1729572"/>
              <a:gd name="connsiteX973" fmla="*/ 2315586 w 2601035"/>
              <a:gd name="connsiteY973" fmla="*/ 709631 h 1729572"/>
              <a:gd name="connsiteX974" fmla="*/ 2315586 w 2601035"/>
              <a:gd name="connsiteY974" fmla="*/ 711913 h 1729572"/>
              <a:gd name="connsiteX975" fmla="*/ 2313302 w 2601035"/>
              <a:gd name="connsiteY975" fmla="*/ 711913 h 1729572"/>
              <a:gd name="connsiteX976" fmla="*/ 2313302 w 2601035"/>
              <a:gd name="connsiteY976" fmla="*/ 714195 h 1729572"/>
              <a:gd name="connsiteX977" fmla="*/ 2311018 w 2601035"/>
              <a:gd name="connsiteY977" fmla="*/ 714195 h 1729572"/>
              <a:gd name="connsiteX978" fmla="*/ 2311018 w 2601035"/>
              <a:gd name="connsiteY978" fmla="*/ 716477 h 1729572"/>
              <a:gd name="connsiteX979" fmla="*/ 2311018 w 2601035"/>
              <a:gd name="connsiteY979" fmla="*/ 714195 h 1729572"/>
              <a:gd name="connsiteX980" fmla="*/ 2311018 w 2601035"/>
              <a:gd name="connsiteY980" fmla="*/ 716477 h 1729572"/>
              <a:gd name="connsiteX981" fmla="*/ 2308735 w 2601035"/>
              <a:gd name="connsiteY981" fmla="*/ 716477 h 1729572"/>
              <a:gd name="connsiteX982" fmla="*/ 2308735 w 2601035"/>
              <a:gd name="connsiteY982" fmla="*/ 718759 h 1729572"/>
              <a:gd name="connsiteX983" fmla="*/ 2306451 w 2601035"/>
              <a:gd name="connsiteY983" fmla="*/ 718759 h 1729572"/>
              <a:gd name="connsiteX984" fmla="*/ 2304168 w 2601035"/>
              <a:gd name="connsiteY984" fmla="*/ 718759 h 1729572"/>
              <a:gd name="connsiteX985" fmla="*/ 2301884 w 2601035"/>
              <a:gd name="connsiteY985" fmla="*/ 718759 h 1729572"/>
              <a:gd name="connsiteX986" fmla="*/ 2301884 w 2601035"/>
              <a:gd name="connsiteY986" fmla="*/ 721041 h 1729572"/>
              <a:gd name="connsiteX987" fmla="*/ 2299601 w 2601035"/>
              <a:gd name="connsiteY987" fmla="*/ 721041 h 1729572"/>
              <a:gd name="connsiteX988" fmla="*/ 2299601 w 2601035"/>
              <a:gd name="connsiteY988" fmla="*/ 723323 h 1729572"/>
              <a:gd name="connsiteX989" fmla="*/ 2297317 w 2601035"/>
              <a:gd name="connsiteY989" fmla="*/ 723323 h 1729572"/>
              <a:gd name="connsiteX990" fmla="*/ 2297317 w 2601035"/>
              <a:gd name="connsiteY990" fmla="*/ 725605 h 1729572"/>
              <a:gd name="connsiteX991" fmla="*/ 2297317 w 2601035"/>
              <a:gd name="connsiteY991" fmla="*/ 727887 h 1729572"/>
              <a:gd name="connsiteX992" fmla="*/ 2297317 w 2601035"/>
              <a:gd name="connsiteY992" fmla="*/ 730169 h 1729572"/>
              <a:gd name="connsiteX993" fmla="*/ 2297317 w 2601035"/>
              <a:gd name="connsiteY993" fmla="*/ 732450 h 1729572"/>
              <a:gd name="connsiteX994" fmla="*/ 2297317 w 2601035"/>
              <a:gd name="connsiteY994" fmla="*/ 734723 h 1729572"/>
              <a:gd name="connsiteX995" fmla="*/ 2295033 w 2601035"/>
              <a:gd name="connsiteY995" fmla="*/ 737005 h 1729572"/>
              <a:gd name="connsiteX996" fmla="*/ 2292750 w 2601035"/>
              <a:gd name="connsiteY996" fmla="*/ 737005 h 1729572"/>
              <a:gd name="connsiteX997" fmla="*/ 2292750 w 2601035"/>
              <a:gd name="connsiteY997" fmla="*/ 739287 h 1729572"/>
              <a:gd name="connsiteX998" fmla="*/ 2295033 w 2601035"/>
              <a:gd name="connsiteY998" fmla="*/ 739287 h 1729572"/>
              <a:gd name="connsiteX999" fmla="*/ 2295033 w 2601035"/>
              <a:gd name="connsiteY999" fmla="*/ 741569 h 1729572"/>
              <a:gd name="connsiteX1000" fmla="*/ 2292750 w 2601035"/>
              <a:gd name="connsiteY1000" fmla="*/ 741569 h 1729572"/>
              <a:gd name="connsiteX1001" fmla="*/ 2292750 w 2601035"/>
              <a:gd name="connsiteY1001" fmla="*/ 743850 h 1729572"/>
              <a:gd name="connsiteX1002" fmla="*/ 2290466 w 2601035"/>
              <a:gd name="connsiteY1002" fmla="*/ 743850 h 1729572"/>
              <a:gd name="connsiteX1003" fmla="*/ 2288183 w 2601035"/>
              <a:gd name="connsiteY1003" fmla="*/ 743850 h 1729572"/>
              <a:gd name="connsiteX1004" fmla="*/ 2288183 w 2601035"/>
              <a:gd name="connsiteY1004" fmla="*/ 741569 h 1729572"/>
              <a:gd name="connsiteX1005" fmla="*/ 2288183 w 2601035"/>
              <a:gd name="connsiteY1005" fmla="*/ 743850 h 1729572"/>
              <a:gd name="connsiteX1006" fmla="*/ 2285899 w 2601035"/>
              <a:gd name="connsiteY1006" fmla="*/ 743850 h 1729572"/>
              <a:gd name="connsiteX1007" fmla="*/ 2283616 w 2601035"/>
              <a:gd name="connsiteY1007" fmla="*/ 743850 h 1729572"/>
              <a:gd name="connsiteX1008" fmla="*/ 2283616 w 2601035"/>
              <a:gd name="connsiteY1008" fmla="*/ 746132 h 1729572"/>
              <a:gd name="connsiteX1009" fmla="*/ 2281332 w 2601035"/>
              <a:gd name="connsiteY1009" fmla="*/ 746132 h 1729572"/>
              <a:gd name="connsiteX1010" fmla="*/ 2281332 w 2601035"/>
              <a:gd name="connsiteY1010" fmla="*/ 748414 h 1729572"/>
              <a:gd name="connsiteX1011" fmla="*/ 2281332 w 2601035"/>
              <a:gd name="connsiteY1011" fmla="*/ 750696 h 1729572"/>
              <a:gd name="connsiteX1012" fmla="*/ 2279048 w 2601035"/>
              <a:gd name="connsiteY1012" fmla="*/ 750696 h 1729572"/>
              <a:gd name="connsiteX1013" fmla="*/ 2279048 w 2601035"/>
              <a:gd name="connsiteY1013" fmla="*/ 752978 h 1729572"/>
              <a:gd name="connsiteX1014" fmla="*/ 2276765 w 2601035"/>
              <a:gd name="connsiteY1014" fmla="*/ 752978 h 1729572"/>
              <a:gd name="connsiteX1015" fmla="*/ 2274481 w 2601035"/>
              <a:gd name="connsiteY1015" fmla="*/ 752978 h 1729572"/>
              <a:gd name="connsiteX1016" fmla="*/ 2274481 w 2601035"/>
              <a:gd name="connsiteY1016" fmla="*/ 755260 h 1729572"/>
              <a:gd name="connsiteX1017" fmla="*/ 2274481 w 2601035"/>
              <a:gd name="connsiteY1017" fmla="*/ 757542 h 1729572"/>
              <a:gd name="connsiteX1018" fmla="*/ 2272197 w 2601035"/>
              <a:gd name="connsiteY1018" fmla="*/ 757542 h 1729572"/>
              <a:gd name="connsiteX1019" fmla="*/ 2272197 w 2601035"/>
              <a:gd name="connsiteY1019" fmla="*/ 759824 h 1729572"/>
              <a:gd name="connsiteX1020" fmla="*/ 2269914 w 2601035"/>
              <a:gd name="connsiteY1020" fmla="*/ 759824 h 1729572"/>
              <a:gd name="connsiteX1021" fmla="*/ 2269914 w 2601035"/>
              <a:gd name="connsiteY1021" fmla="*/ 762106 h 1729572"/>
              <a:gd name="connsiteX1022" fmla="*/ 2267630 w 2601035"/>
              <a:gd name="connsiteY1022" fmla="*/ 762106 h 1729572"/>
              <a:gd name="connsiteX1023" fmla="*/ 2267630 w 2601035"/>
              <a:gd name="connsiteY1023" fmla="*/ 764388 h 1729572"/>
              <a:gd name="connsiteX1024" fmla="*/ 2265347 w 2601035"/>
              <a:gd name="connsiteY1024" fmla="*/ 764388 h 1729572"/>
              <a:gd name="connsiteX1025" fmla="*/ 2265347 w 2601035"/>
              <a:gd name="connsiteY1025" fmla="*/ 766669 h 1729572"/>
              <a:gd name="connsiteX1026" fmla="*/ 2263063 w 2601035"/>
              <a:gd name="connsiteY1026" fmla="*/ 768951 h 1729572"/>
              <a:gd name="connsiteX1027" fmla="*/ 2265347 w 2601035"/>
              <a:gd name="connsiteY1027" fmla="*/ 771233 h 1729572"/>
              <a:gd name="connsiteX1028" fmla="*/ 2263063 w 2601035"/>
              <a:gd name="connsiteY1028" fmla="*/ 771233 h 1729572"/>
              <a:gd name="connsiteX1029" fmla="*/ 2263063 w 2601035"/>
              <a:gd name="connsiteY1029" fmla="*/ 773515 h 1729572"/>
              <a:gd name="connsiteX1030" fmla="*/ 2263063 w 2601035"/>
              <a:gd name="connsiteY1030" fmla="*/ 775797 h 1729572"/>
              <a:gd name="connsiteX1031" fmla="*/ 2260779 w 2601035"/>
              <a:gd name="connsiteY1031" fmla="*/ 775797 h 1729572"/>
              <a:gd name="connsiteX1032" fmla="*/ 2258496 w 2601035"/>
              <a:gd name="connsiteY1032" fmla="*/ 775797 h 1729572"/>
              <a:gd name="connsiteX1033" fmla="*/ 2258496 w 2601035"/>
              <a:gd name="connsiteY1033" fmla="*/ 778079 h 1729572"/>
              <a:gd name="connsiteX1034" fmla="*/ 2256212 w 2601035"/>
              <a:gd name="connsiteY1034" fmla="*/ 778079 h 1729572"/>
              <a:gd name="connsiteX1035" fmla="*/ 2258496 w 2601035"/>
              <a:gd name="connsiteY1035" fmla="*/ 778079 h 1729572"/>
              <a:gd name="connsiteX1036" fmla="*/ 2258496 w 2601035"/>
              <a:gd name="connsiteY1036" fmla="*/ 780361 h 1729572"/>
              <a:gd name="connsiteX1037" fmla="*/ 2256212 w 2601035"/>
              <a:gd name="connsiteY1037" fmla="*/ 780361 h 1729572"/>
              <a:gd name="connsiteX1038" fmla="*/ 2256212 w 2601035"/>
              <a:gd name="connsiteY1038" fmla="*/ 782643 h 1729572"/>
              <a:gd name="connsiteX1039" fmla="*/ 2253929 w 2601035"/>
              <a:gd name="connsiteY1039" fmla="*/ 782643 h 1729572"/>
              <a:gd name="connsiteX1040" fmla="*/ 2253929 w 2601035"/>
              <a:gd name="connsiteY1040" fmla="*/ 784925 h 1729572"/>
              <a:gd name="connsiteX1041" fmla="*/ 2253929 w 2601035"/>
              <a:gd name="connsiteY1041" fmla="*/ 787206 h 1729572"/>
              <a:gd name="connsiteX1042" fmla="*/ 2251645 w 2601035"/>
              <a:gd name="connsiteY1042" fmla="*/ 787206 h 1729572"/>
              <a:gd name="connsiteX1043" fmla="*/ 2251645 w 2601035"/>
              <a:gd name="connsiteY1043" fmla="*/ 789488 h 1729572"/>
              <a:gd name="connsiteX1044" fmla="*/ 2251645 w 2601035"/>
              <a:gd name="connsiteY1044" fmla="*/ 791770 h 1729572"/>
              <a:gd name="connsiteX1045" fmla="*/ 2249362 w 2601035"/>
              <a:gd name="connsiteY1045" fmla="*/ 791770 h 1729572"/>
              <a:gd name="connsiteX1046" fmla="*/ 2247078 w 2601035"/>
              <a:gd name="connsiteY1046" fmla="*/ 791770 h 1729572"/>
              <a:gd name="connsiteX1047" fmla="*/ 2247078 w 2601035"/>
              <a:gd name="connsiteY1047" fmla="*/ 794052 h 1729572"/>
              <a:gd name="connsiteX1048" fmla="*/ 2247078 w 2601035"/>
              <a:gd name="connsiteY1048" fmla="*/ 796334 h 1729572"/>
              <a:gd name="connsiteX1049" fmla="*/ 2247078 w 2601035"/>
              <a:gd name="connsiteY1049" fmla="*/ 798616 h 1729572"/>
              <a:gd name="connsiteX1050" fmla="*/ 2244794 w 2601035"/>
              <a:gd name="connsiteY1050" fmla="*/ 798616 h 1729572"/>
              <a:gd name="connsiteX1051" fmla="*/ 2242511 w 2601035"/>
              <a:gd name="connsiteY1051" fmla="*/ 798616 h 1729572"/>
              <a:gd name="connsiteX1052" fmla="*/ 2242511 w 2601035"/>
              <a:gd name="connsiteY1052" fmla="*/ 800898 h 1729572"/>
              <a:gd name="connsiteX1053" fmla="*/ 2240227 w 2601035"/>
              <a:gd name="connsiteY1053" fmla="*/ 800898 h 1729572"/>
              <a:gd name="connsiteX1054" fmla="*/ 2240227 w 2601035"/>
              <a:gd name="connsiteY1054" fmla="*/ 798616 h 1729572"/>
              <a:gd name="connsiteX1055" fmla="*/ 2240227 w 2601035"/>
              <a:gd name="connsiteY1055" fmla="*/ 800898 h 1729572"/>
              <a:gd name="connsiteX1056" fmla="*/ 2237943 w 2601035"/>
              <a:gd name="connsiteY1056" fmla="*/ 800898 h 1729572"/>
              <a:gd name="connsiteX1057" fmla="*/ 2235660 w 2601035"/>
              <a:gd name="connsiteY1057" fmla="*/ 800898 h 1729572"/>
              <a:gd name="connsiteX1058" fmla="*/ 2233376 w 2601035"/>
              <a:gd name="connsiteY1058" fmla="*/ 800898 h 1729572"/>
              <a:gd name="connsiteX1059" fmla="*/ 2235660 w 2601035"/>
              <a:gd name="connsiteY1059" fmla="*/ 800898 h 1729572"/>
              <a:gd name="connsiteX1060" fmla="*/ 2235660 w 2601035"/>
              <a:gd name="connsiteY1060" fmla="*/ 803180 h 1729572"/>
              <a:gd name="connsiteX1061" fmla="*/ 2233376 w 2601035"/>
              <a:gd name="connsiteY1061" fmla="*/ 803180 h 1729572"/>
              <a:gd name="connsiteX1062" fmla="*/ 2233376 w 2601035"/>
              <a:gd name="connsiteY1062" fmla="*/ 805462 h 1729572"/>
              <a:gd name="connsiteX1063" fmla="*/ 2231093 w 2601035"/>
              <a:gd name="connsiteY1063" fmla="*/ 805462 h 1729572"/>
              <a:gd name="connsiteX1064" fmla="*/ 2231093 w 2601035"/>
              <a:gd name="connsiteY1064" fmla="*/ 807744 h 1729572"/>
              <a:gd name="connsiteX1065" fmla="*/ 2228809 w 2601035"/>
              <a:gd name="connsiteY1065" fmla="*/ 807744 h 1729572"/>
              <a:gd name="connsiteX1066" fmla="*/ 2228809 w 2601035"/>
              <a:gd name="connsiteY1066" fmla="*/ 810025 h 1729572"/>
              <a:gd name="connsiteX1067" fmla="*/ 2228809 w 2601035"/>
              <a:gd name="connsiteY1067" fmla="*/ 812307 h 1729572"/>
              <a:gd name="connsiteX1068" fmla="*/ 2226526 w 2601035"/>
              <a:gd name="connsiteY1068" fmla="*/ 812307 h 1729572"/>
              <a:gd name="connsiteX1069" fmla="*/ 2224242 w 2601035"/>
              <a:gd name="connsiteY1069" fmla="*/ 812307 h 1729572"/>
              <a:gd name="connsiteX1070" fmla="*/ 2224242 w 2601035"/>
              <a:gd name="connsiteY1070" fmla="*/ 814589 h 1729572"/>
              <a:gd name="connsiteX1071" fmla="*/ 2224242 w 2601035"/>
              <a:gd name="connsiteY1071" fmla="*/ 816871 h 1729572"/>
              <a:gd name="connsiteX1072" fmla="*/ 2221958 w 2601035"/>
              <a:gd name="connsiteY1072" fmla="*/ 816871 h 1729572"/>
              <a:gd name="connsiteX1073" fmla="*/ 2219675 w 2601035"/>
              <a:gd name="connsiteY1073" fmla="*/ 816871 h 1729572"/>
              <a:gd name="connsiteX1074" fmla="*/ 2219675 w 2601035"/>
              <a:gd name="connsiteY1074" fmla="*/ 819153 h 1729572"/>
              <a:gd name="connsiteX1075" fmla="*/ 2217391 w 2601035"/>
              <a:gd name="connsiteY1075" fmla="*/ 819153 h 1729572"/>
              <a:gd name="connsiteX1076" fmla="*/ 2217391 w 2601035"/>
              <a:gd name="connsiteY1076" fmla="*/ 821435 h 1729572"/>
              <a:gd name="connsiteX1077" fmla="*/ 2219675 w 2601035"/>
              <a:gd name="connsiteY1077" fmla="*/ 821435 h 1729572"/>
              <a:gd name="connsiteX1078" fmla="*/ 2217391 w 2601035"/>
              <a:gd name="connsiteY1078" fmla="*/ 821435 h 1729572"/>
              <a:gd name="connsiteX1079" fmla="*/ 2219675 w 2601035"/>
              <a:gd name="connsiteY1079" fmla="*/ 821435 h 1729572"/>
              <a:gd name="connsiteX1080" fmla="*/ 2217391 w 2601035"/>
              <a:gd name="connsiteY1080" fmla="*/ 821435 h 1729572"/>
              <a:gd name="connsiteX1081" fmla="*/ 2217391 w 2601035"/>
              <a:gd name="connsiteY1081" fmla="*/ 823717 h 1729572"/>
              <a:gd name="connsiteX1082" fmla="*/ 2217391 w 2601035"/>
              <a:gd name="connsiteY1082" fmla="*/ 825999 h 1729572"/>
              <a:gd name="connsiteX1083" fmla="*/ 2215108 w 2601035"/>
              <a:gd name="connsiteY1083" fmla="*/ 825999 h 1729572"/>
              <a:gd name="connsiteX1084" fmla="*/ 2215108 w 2601035"/>
              <a:gd name="connsiteY1084" fmla="*/ 828281 h 1729572"/>
              <a:gd name="connsiteX1085" fmla="*/ 2215108 w 2601035"/>
              <a:gd name="connsiteY1085" fmla="*/ 830562 h 1729572"/>
              <a:gd name="connsiteX1086" fmla="*/ 2212824 w 2601035"/>
              <a:gd name="connsiteY1086" fmla="*/ 830562 h 1729572"/>
              <a:gd name="connsiteX1087" fmla="*/ 2212824 w 2601035"/>
              <a:gd name="connsiteY1087" fmla="*/ 832844 h 1729572"/>
              <a:gd name="connsiteX1088" fmla="*/ 2210540 w 2601035"/>
              <a:gd name="connsiteY1088" fmla="*/ 832844 h 1729572"/>
              <a:gd name="connsiteX1089" fmla="*/ 2210540 w 2601035"/>
              <a:gd name="connsiteY1089" fmla="*/ 835126 h 1729572"/>
              <a:gd name="connsiteX1090" fmla="*/ 2208257 w 2601035"/>
              <a:gd name="connsiteY1090" fmla="*/ 835126 h 1729572"/>
              <a:gd name="connsiteX1091" fmla="*/ 2210540 w 2601035"/>
              <a:gd name="connsiteY1091" fmla="*/ 835126 h 1729572"/>
              <a:gd name="connsiteX1092" fmla="*/ 2208257 w 2601035"/>
              <a:gd name="connsiteY1092" fmla="*/ 835126 h 1729572"/>
              <a:gd name="connsiteX1093" fmla="*/ 2210540 w 2601035"/>
              <a:gd name="connsiteY1093" fmla="*/ 835126 h 1729572"/>
              <a:gd name="connsiteX1094" fmla="*/ 2210540 w 2601035"/>
              <a:gd name="connsiteY1094" fmla="*/ 837408 h 1729572"/>
              <a:gd name="connsiteX1095" fmla="*/ 2210540 w 2601035"/>
              <a:gd name="connsiteY1095" fmla="*/ 835126 h 1729572"/>
              <a:gd name="connsiteX1096" fmla="*/ 2210540 w 2601035"/>
              <a:gd name="connsiteY1096" fmla="*/ 837408 h 1729572"/>
              <a:gd name="connsiteX1097" fmla="*/ 2208257 w 2601035"/>
              <a:gd name="connsiteY1097" fmla="*/ 837408 h 1729572"/>
              <a:gd name="connsiteX1098" fmla="*/ 2205973 w 2601035"/>
              <a:gd name="connsiteY1098" fmla="*/ 839690 h 1729572"/>
              <a:gd name="connsiteX1099" fmla="*/ 2208257 w 2601035"/>
              <a:gd name="connsiteY1099" fmla="*/ 839690 h 1729572"/>
              <a:gd name="connsiteX1100" fmla="*/ 2205973 w 2601035"/>
              <a:gd name="connsiteY1100" fmla="*/ 839690 h 1729572"/>
              <a:gd name="connsiteX1101" fmla="*/ 2205973 w 2601035"/>
              <a:gd name="connsiteY1101" fmla="*/ 841972 h 1729572"/>
              <a:gd name="connsiteX1102" fmla="*/ 2205973 w 2601035"/>
              <a:gd name="connsiteY1102" fmla="*/ 844254 h 1729572"/>
              <a:gd name="connsiteX1103" fmla="*/ 2203689 w 2601035"/>
              <a:gd name="connsiteY1103" fmla="*/ 844254 h 1729572"/>
              <a:gd name="connsiteX1104" fmla="*/ 2201406 w 2601035"/>
              <a:gd name="connsiteY1104" fmla="*/ 844254 h 1729572"/>
              <a:gd name="connsiteX1105" fmla="*/ 2201406 w 2601035"/>
              <a:gd name="connsiteY1105" fmla="*/ 846536 h 1729572"/>
              <a:gd name="connsiteX1106" fmla="*/ 2201406 w 2601035"/>
              <a:gd name="connsiteY1106" fmla="*/ 848818 h 1729572"/>
              <a:gd name="connsiteX1107" fmla="*/ 2201406 w 2601035"/>
              <a:gd name="connsiteY1107" fmla="*/ 851100 h 1729572"/>
              <a:gd name="connsiteX1108" fmla="*/ 2201406 w 2601035"/>
              <a:gd name="connsiteY1108" fmla="*/ 853382 h 1729572"/>
              <a:gd name="connsiteX1109" fmla="*/ 2199122 w 2601035"/>
              <a:gd name="connsiteY1109" fmla="*/ 853382 h 1729572"/>
              <a:gd name="connsiteX1110" fmla="*/ 2196839 w 2601035"/>
              <a:gd name="connsiteY1110" fmla="*/ 853382 h 1729572"/>
              <a:gd name="connsiteX1111" fmla="*/ 2196839 w 2601035"/>
              <a:gd name="connsiteY1111" fmla="*/ 855663 h 1729572"/>
              <a:gd name="connsiteX1112" fmla="*/ 2194555 w 2601035"/>
              <a:gd name="connsiteY1112" fmla="*/ 857945 h 1729572"/>
              <a:gd name="connsiteX1113" fmla="*/ 2194555 w 2601035"/>
              <a:gd name="connsiteY1113" fmla="*/ 860227 h 1729572"/>
              <a:gd name="connsiteX1114" fmla="*/ 2192272 w 2601035"/>
              <a:gd name="connsiteY1114" fmla="*/ 860227 h 1729572"/>
              <a:gd name="connsiteX1115" fmla="*/ 2194555 w 2601035"/>
              <a:gd name="connsiteY1115" fmla="*/ 860227 h 1729572"/>
              <a:gd name="connsiteX1116" fmla="*/ 2192272 w 2601035"/>
              <a:gd name="connsiteY1116" fmla="*/ 860227 h 1729572"/>
              <a:gd name="connsiteX1117" fmla="*/ 2192272 w 2601035"/>
              <a:gd name="connsiteY1117" fmla="*/ 862509 h 1729572"/>
              <a:gd name="connsiteX1118" fmla="*/ 2189988 w 2601035"/>
              <a:gd name="connsiteY1118" fmla="*/ 862509 h 1729572"/>
              <a:gd name="connsiteX1119" fmla="*/ 2187704 w 2601035"/>
              <a:gd name="connsiteY1119" fmla="*/ 862509 h 1729572"/>
              <a:gd name="connsiteX1120" fmla="*/ 2187704 w 2601035"/>
              <a:gd name="connsiteY1120" fmla="*/ 864791 h 1729572"/>
              <a:gd name="connsiteX1121" fmla="*/ 2185421 w 2601035"/>
              <a:gd name="connsiteY1121" fmla="*/ 864791 h 1729572"/>
              <a:gd name="connsiteX1122" fmla="*/ 2183137 w 2601035"/>
              <a:gd name="connsiteY1122" fmla="*/ 867073 h 1729572"/>
              <a:gd name="connsiteX1123" fmla="*/ 2180854 w 2601035"/>
              <a:gd name="connsiteY1123" fmla="*/ 867073 h 1729572"/>
              <a:gd name="connsiteX1124" fmla="*/ 2180854 w 2601035"/>
              <a:gd name="connsiteY1124" fmla="*/ 869355 h 1729572"/>
              <a:gd name="connsiteX1125" fmla="*/ 2178570 w 2601035"/>
              <a:gd name="connsiteY1125" fmla="*/ 869355 h 1729572"/>
              <a:gd name="connsiteX1126" fmla="*/ 2176286 w 2601035"/>
              <a:gd name="connsiteY1126" fmla="*/ 869355 h 1729572"/>
              <a:gd name="connsiteX1127" fmla="*/ 2176286 w 2601035"/>
              <a:gd name="connsiteY1127" fmla="*/ 871637 h 1729572"/>
              <a:gd name="connsiteX1128" fmla="*/ 2174003 w 2601035"/>
              <a:gd name="connsiteY1128" fmla="*/ 871637 h 1729572"/>
              <a:gd name="connsiteX1129" fmla="*/ 2174003 w 2601035"/>
              <a:gd name="connsiteY1129" fmla="*/ 873918 h 1729572"/>
              <a:gd name="connsiteX1130" fmla="*/ 2174003 w 2601035"/>
              <a:gd name="connsiteY1130" fmla="*/ 876200 h 1729572"/>
              <a:gd name="connsiteX1131" fmla="*/ 2171719 w 2601035"/>
              <a:gd name="connsiteY1131" fmla="*/ 876200 h 1729572"/>
              <a:gd name="connsiteX1132" fmla="*/ 2174003 w 2601035"/>
              <a:gd name="connsiteY1132" fmla="*/ 876200 h 1729572"/>
              <a:gd name="connsiteX1133" fmla="*/ 2171719 w 2601035"/>
              <a:gd name="connsiteY1133" fmla="*/ 876200 h 1729572"/>
              <a:gd name="connsiteX1134" fmla="*/ 2171719 w 2601035"/>
              <a:gd name="connsiteY1134" fmla="*/ 878482 h 1729572"/>
              <a:gd name="connsiteX1135" fmla="*/ 2174003 w 2601035"/>
              <a:gd name="connsiteY1135" fmla="*/ 878482 h 1729572"/>
              <a:gd name="connsiteX1136" fmla="*/ 2171719 w 2601035"/>
              <a:gd name="connsiteY1136" fmla="*/ 878482 h 1729572"/>
              <a:gd name="connsiteX1137" fmla="*/ 2171719 w 2601035"/>
              <a:gd name="connsiteY1137" fmla="*/ 880764 h 1729572"/>
              <a:gd name="connsiteX1138" fmla="*/ 2169436 w 2601035"/>
              <a:gd name="connsiteY1138" fmla="*/ 880764 h 1729572"/>
              <a:gd name="connsiteX1139" fmla="*/ 2169436 w 2601035"/>
              <a:gd name="connsiteY1139" fmla="*/ 883046 h 1729572"/>
              <a:gd name="connsiteX1140" fmla="*/ 2167152 w 2601035"/>
              <a:gd name="connsiteY1140" fmla="*/ 883046 h 1729572"/>
              <a:gd name="connsiteX1141" fmla="*/ 2167152 w 2601035"/>
              <a:gd name="connsiteY1141" fmla="*/ 885328 h 1729572"/>
              <a:gd name="connsiteX1142" fmla="*/ 2167152 w 2601035"/>
              <a:gd name="connsiteY1142" fmla="*/ 887610 h 1729572"/>
              <a:gd name="connsiteX1143" fmla="*/ 2167152 w 2601035"/>
              <a:gd name="connsiteY1143" fmla="*/ 889882 h 1729572"/>
              <a:gd name="connsiteX1144" fmla="*/ 2164868 w 2601035"/>
              <a:gd name="connsiteY1144" fmla="*/ 889882 h 1729572"/>
              <a:gd name="connsiteX1145" fmla="*/ 2162585 w 2601035"/>
              <a:gd name="connsiteY1145" fmla="*/ 889882 h 1729572"/>
              <a:gd name="connsiteX1146" fmla="*/ 2162585 w 2601035"/>
              <a:gd name="connsiteY1146" fmla="*/ 892164 h 1729572"/>
              <a:gd name="connsiteX1147" fmla="*/ 2160301 w 2601035"/>
              <a:gd name="connsiteY1147" fmla="*/ 892164 h 1729572"/>
              <a:gd name="connsiteX1148" fmla="*/ 2160301 w 2601035"/>
              <a:gd name="connsiteY1148" fmla="*/ 894446 h 1729572"/>
              <a:gd name="connsiteX1149" fmla="*/ 2158018 w 2601035"/>
              <a:gd name="connsiteY1149" fmla="*/ 894446 h 1729572"/>
              <a:gd name="connsiteX1150" fmla="*/ 2158018 w 2601035"/>
              <a:gd name="connsiteY1150" fmla="*/ 896728 h 1729572"/>
              <a:gd name="connsiteX1151" fmla="*/ 2155734 w 2601035"/>
              <a:gd name="connsiteY1151" fmla="*/ 896728 h 1729572"/>
              <a:gd name="connsiteX1152" fmla="*/ 2155734 w 2601035"/>
              <a:gd name="connsiteY1152" fmla="*/ 899010 h 1729572"/>
              <a:gd name="connsiteX1153" fmla="*/ 2153450 w 2601035"/>
              <a:gd name="connsiteY1153" fmla="*/ 899010 h 1729572"/>
              <a:gd name="connsiteX1154" fmla="*/ 2153450 w 2601035"/>
              <a:gd name="connsiteY1154" fmla="*/ 901292 h 1729572"/>
              <a:gd name="connsiteX1155" fmla="*/ 2151167 w 2601035"/>
              <a:gd name="connsiteY1155" fmla="*/ 901292 h 1729572"/>
              <a:gd name="connsiteX1156" fmla="*/ 2151167 w 2601035"/>
              <a:gd name="connsiteY1156" fmla="*/ 903574 h 1729572"/>
              <a:gd name="connsiteX1157" fmla="*/ 2151167 w 2601035"/>
              <a:gd name="connsiteY1157" fmla="*/ 905856 h 1729572"/>
              <a:gd name="connsiteX1158" fmla="*/ 2148883 w 2601035"/>
              <a:gd name="connsiteY1158" fmla="*/ 905856 h 1729572"/>
              <a:gd name="connsiteX1159" fmla="*/ 2151167 w 2601035"/>
              <a:gd name="connsiteY1159" fmla="*/ 905856 h 1729572"/>
              <a:gd name="connsiteX1160" fmla="*/ 2148883 w 2601035"/>
              <a:gd name="connsiteY1160" fmla="*/ 905856 h 1729572"/>
              <a:gd name="connsiteX1161" fmla="*/ 2148883 w 2601035"/>
              <a:gd name="connsiteY1161" fmla="*/ 908137 h 1729572"/>
              <a:gd name="connsiteX1162" fmla="*/ 2151167 w 2601035"/>
              <a:gd name="connsiteY1162" fmla="*/ 908137 h 1729572"/>
              <a:gd name="connsiteX1163" fmla="*/ 2148883 w 2601035"/>
              <a:gd name="connsiteY1163" fmla="*/ 908137 h 1729572"/>
              <a:gd name="connsiteX1164" fmla="*/ 2148883 w 2601035"/>
              <a:gd name="connsiteY1164" fmla="*/ 910419 h 1729572"/>
              <a:gd name="connsiteX1165" fmla="*/ 2146599 w 2601035"/>
              <a:gd name="connsiteY1165" fmla="*/ 910419 h 1729572"/>
              <a:gd name="connsiteX1166" fmla="*/ 2146599 w 2601035"/>
              <a:gd name="connsiteY1166" fmla="*/ 912701 h 1729572"/>
              <a:gd name="connsiteX1167" fmla="*/ 2144316 w 2601035"/>
              <a:gd name="connsiteY1167" fmla="*/ 912701 h 1729572"/>
              <a:gd name="connsiteX1168" fmla="*/ 2142032 w 2601035"/>
              <a:gd name="connsiteY1168" fmla="*/ 912701 h 1729572"/>
              <a:gd name="connsiteX1169" fmla="*/ 2144316 w 2601035"/>
              <a:gd name="connsiteY1169" fmla="*/ 912701 h 1729572"/>
              <a:gd name="connsiteX1170" fmla="*/ 2144316 w 2601035"/>
              <a:gd name="connsiteY1170" fmla="*/ 914983 h 1729572"/>
              <a:gd name="connsiteX1171" fmla="*/ 2142032 w 2601035"/>
              <a:gd name="connsiteY1171" fmla="*/ 914983 h 1729572"/>
              <a:gd name="connsiteX1172" fmla="*/ 2142032 w 2601035"/>
              <a:gd name="connsiteY1172" fmla="*/ 917265 h 1729572"/>
              <a:gd name="connsiteX1173" fmla="*/ 2139749 w 2601035"/>
              <a:gd name="connsiteY1173" fmla="*/ 917265 h 1729572"/>
              <a:gd name="connsiteX1174" fmla="*/ 2142032 w 2601035"/>
              <a:gd name="connsiteY1174" fmla="*/ 917265 h 1729572"/>
              <a:gd name="connsiteX1175" fmla="*/ 2142032 w 2601035"/>
              <a:gd name="connsiteY1175" fmla="*/ 919547 h 1729572"/>
              <a:gd name="connsiteX1176" fmla="*/ 2139749 w 2601035"/>
              <a:gd name="connsiteY1176" fmla="*/ 919547 h 1729572"/>
              <a:gd name="connsiteX1177" fmla="*/ 2137465 w 2601035"/>
              <a:gd name="connsiteY1177" fmla="*/ 919547 h 1729572"/>
              <a:gd name="connsiteX1178" fmla="*/ 2135182 w 2601035"/>
              <a:gd name="connsiteY1178" fmla="*/ 919547 h 1729572"/>
              <a:gd name="connsiteX1179" fmla="*/ 2135182 w 2601035"/>
              <a:gd name="connsiteY1179" fmla="*/ 921829 h 1729572"/>
              <a:gd name="connsiteX1180" fmla="*/ 2135182 w 2601035"/>
              <a:gd name="connsiteY1180" fmla="*/ 919547 h 1729572"/>
              <a:gd name="connsiteX1181" fmla="*/ 2132898 w 2601035"/>
              <a:gd name="connsiteY1181" fmla="*/ 919547 h 1729572"/>
              <a:gd name="connsiteX1182" fmla="*/ 2132898 w 2601035"/>
              <a:gd name="connsiteY1182" fmla="*/ 921829 h 1729572"/>
              <a:gd name="connsiteX1183" fmla="*/ 2132898 w 2601035"/>
              <a:gd name="connsiteY1183" fmla="*/ 924111 h 1729572"/>
              <a:gd name="connsiteX1184" fmla="*/ 2132898 w 2601035"/>
              <a:gd name="connsiteY1184" fmla="*/ 926393 h 1729572"/>
              <a:gd name="connsiteX1185" fmla="*/ 2130614 w 2601035"/>
              <a:gd name="connsiteY1185" fmla="*/ 926393 h 1729572"/>
              <a:gd name="connsiteX1186" fmla="*/ 2130614 w 2601035"/>
              <a:gd name="connsiteY1186" fmla="*/ 928674 h 1729572"/>
              <a:gd name="connsiteX1187" fmla="*/ 2128331 w 2601035"/>
              <a:gd name="connsiteY1187" fmla="*/ 928674 h 1729572"/>
              <a:gd name="connsiteX1188" fmla="*/ 2128331 w 2601035"/>
              <a:gd name="connsiteY1188" fmla="*/ 930957 h 1729572"/>
              <a:gd name="connsiteX1189" fmla="*/ 2128331 w 2601035"/>
              <a:gd name="connsiteY1189" fmla="*/ 933238 h 1729572"/>
              <a:gd name="connsiteX1190" fmla="*/ 2128331 w 2601035"/>
              <a:gd name="connsiteY1190" fmla="*/ 935520 h 1729572"/>
              <a:gd name="connsiteX1191" fmla="*/ 2128331 w 2601035"/>
              <a:gd name="connsiteY1191" fmla="*/ 933238 h 1729572"/>
              <a:gd name="connsiteX1192" fmla="*/ 2126047 w 2601035"/>
              <a:gd name="connsiteY1192" fmla="*/ 935520 h 1729572"/>
              <a:gd name="connsiteX1193" fmla="*/ 2123764 w 2601035"/>
              <a:gd name="connsiteY1193" fmla="*/ 935520 h 1729572"/>
              <a:gd name="connsiteX1194" fmla="*/ 2123764 w 2601035"/>
              <a:gd name="connsiteY1194" fmla="*/ 937802 h 1729572"/>
              <a:gd name="connsiteX1195" fmla="*/ 2121480 w 2601035"/>
              <a:gd name="connsiteY1195" fmla="*/ 937802 h 1729572"/>
              <a:gd name="connsiteX1196" fmla="*/ 2119197 w 2601035"/>
              <a:gd name="connsiteY1196" fmla="*/ 937802 h 1729572"/>
              <a:gd name="connsiteX1197" fmla="*/ 2119197 w 2601035"/>
              <a:gd name="connsiteY1197" fmla="*/ 940084 h 1729572"/>
              <a:gd name="connsiteX1198" fmla="*/ 2116913 w 2601035"/>
              <a:gd name="connsiteY1198" fmla="*/ 942366 h 1729572"/>
              <a:gd name="connsiteX1199" fmla="*/ 2114629 w 2601035"/>
              <a:gd name="connsiteY1199" fmla="*/ 942366 h 1729572"/>
              <a:gd name="connsiteX1200" fmla="*/ 2112346 w 2601035"/>
              <a:gd name="connsiteY1200" fmla="*/ 942366 h 1729572"/>
              <a:gd name="connsiteX1201" fmla="*/ 2112346 w 2601035"/>
              <a:gd name="connsiteY1201" fmla="*/ 944648 h 1729572"/>
              <a:gd name="connsiteX1202" fmla="*/ 2110062 w 2601035"/>
              <a:gd name="connsiteY1202" fmla="*/ 944648 h 1729572"/>
              <a:gd name="connsiteX1203" fmla="*/ 2107778 w 2601035"/>
              <a:gd name="connsiteY1203" fmla="*/ 946930 h 1729572"/>
              <a:gd name="connsiteX1204" fmla="*/ 2107778 w 2601035"/>
              <a:gd name="connsiteY1204" fmla="*/ 949212 h 1729572"/>
              <a:gd name="connsiteX1205" fmla="*/ 2105495 w 2601035"/>
              <a:gd name="connsiteY1205" fmla="*/ 949212 h 1729572"/>
              <a:gd name="connsiteX1206" fmla="*/ 2105495 w 2601035"/>
              <a:gd name="connsiteY1206" fmla="*/ 951494 h 1729572"/>
              <a:gd name="connsiteX1207" fmla="*/ 2103211 w 2601035"/>
              <a:gd name="connsiteY1207" fmla="*/ 951494 h 1729572"/>
              <a:gd name="connsiteX1208" fmla="*/ 2103211 w 2601035"/>
              <a:gd name="connsiteY1208" fmla="*/ 953775 h 1729572"/>
              <a:gd name="connsiteX1209" fmla="*/ 2103211 w 2601035"/>
              <a:gd name="connsiteY1209" fmla="*/ 956057 h 1729572"/>
              <a:gd name="connsiteX1210" fmla="*/ 2100928 w 2601035"/>
              <a:gd name="connsiteY1210" fmla="*/ 956057 h 1729572"/>
              <a:gd name="connsiteX1211" fmla="*/ 2098644 w 2601035"/>
              <a:gd name="connsiteY1211" fmla="*/ 956057 h 1729572"/>
              <a:gd name="connsiteX1212" fmla="*/ 2098644 w 2601035"/>
              <a:gd name="connsiteY1212" fmla="*/ 958339 h 1729572"/>
              <a:gd name="connsiteX1213" fmla="*/ 2096360 w 2601035"/>
              <a:gd name="connsiteY1213" fmla="*/ 958339 h 1729572"/>
              <a:gd name="connsiteX1214" fmla="*/ 2094077 w 2601035"/>
              <a:gd name="connsiteY1214" fmla="*/ 958339 h 1729572"/>
              <a:gd name="connsiteX1215" fmla="*/ 2091793 w 2601035"/>
              <a:gd name="connsiteY1215" fmla="*/ 960621 h 1729572"/>
              <a:gd name="connsiteX1216" fmla="*/ 2091793 w 2601035"/>
              <a:gd name="connsiteY1216" fmla="*/ 962903 h 1729572"/>
              <a:gd name="connsiteX1217" fmla="*/ 2089510 w 2601035"/>
              <a:gd name="connsiteY1217" fmla="*/ 962903 h 1729572"/>
              <a:gd name="connsiteX1218" fmla="*/ 2089510 w 2601035"/>
              <a:gd name="connsiteY1218" fmla="*/ 965185 h 1729572"/>
              <a:gd name="connsiteX1219" fmla="*/ 2089510 w 2601035"/>
              <a:gd name="connsiteY1219" fmla="*/ 967467 h 1729572"/>
              <a:gd name="connsiteX1220" fmla="*/ 2087226 w 2601035"/>
              <a:gd name="connsiteY1220" fmla="*/ 967467 h 1729572"/>
              <a:gd name="connsiteX1221" fmla="*/ 2084943 w 2601035"/>
              <a:gd name="connsiteY1221" fmla="*/ 967467 h 1729572"/>
              <a:gd name="connsiteX1222" fmla="*/ 2084943 w 2601035"/>
              <a:gd name="connsiteY1222" fmla="*/ 969749 h 1729572"/>
              <a:gd name="connsiteX1223" fmla="*/ 2082659 w 2601035"/>
              <a:gd name="connsiteY1223" fmla="*/ 972030 h 1729572"/>
              <a:gd name="connsiteX1224" fmla="*/ 2080375 w 2601035"/>
              <a:gd name="connsiteY1224" fmla="*/ 972030 h 1729572"/>
              <a:gd name="connsiteX1225" fmla="*/ 2080375 w 2601035"/>
              <a:gd name="connsiteY1225" fmla="*/ 974313 h 1729572"/>
              <a:gd name="connsiteX1226" fmla="*/ 2080375 w 2601035"/>
              <a:gd name="connsiteY1226" fmla="*/ 976594 h 1729572"/>
              <a:gd name="connsiteX1227" fmla="*/ 2080375 w 2601035"/>
              <a:gd name="connsiteY1227" fmla="*/ 978876 h 1729572"/>
              <a:gd name="connsiteX1228" fmla="*/ 2078092 w 2601035"/>
              <a:gd name="connsiteY1228" fmla="*/ 978876 h 1729572"/>
              <a:gd name="connsiteX1229" fmla="*/ 2080375 w 2601035"/>
              <a:gd name="connsiteY1229" fmla="*/ 978876 h 1729572"/>
              <a:gd name="connsiteX1230" fmla="*/ 2078092 w 2601035"/>
              <a:gd name="connsiteY1230" fmla="*/ 978876 h 1729572"/>
              <a:gd name="connsiteX1231" fmla="*/ 2080375 w 2601035"/>
              <a:gd name="connsiteY1231" fmla="*/ 978876 h 1729572"/>
              <a:gd name="connsiteX1232" fmla="*/ 2078092 w 2601035"/>
              <a:gd name="connsiteY1232" fmla="*/ 978876 h 1729572"/>
              <a:gd name="connsiteX1233" fmla="*/ 2080375 w 2601035"/>
              <a:gd name="connsiteY1233" fmla="*/ 978876 h 1729572"/>
              <a:gd name="connsiteX1234" fmla="*/ 2078092 w 2601035"/>
              <a:gd name="connsiteY1234" fmla="*/ 978876 h 1729572"/>
              <a:gd name="connsiteX1235" fmla="*/ 2080375 w 2601035"/>
              <a:gd name="connsiteY1235" fmla="*/ 978876 h 1729572"/>
              <a:gd name="connsiteX1236" fmla="*/ 2078092 w 2601035"/>
              <a:gd name="connsiteY1236" fmla="*/ 978876 h 1729572"/>
              <a:gd name="connsiteX1237" fmla="*/ 2078092 w 2601035"/>
              <a:gd name="connsiteY1237" fmla="*/ 981158 h 1729572"/>
              <a:gd name="connsiteX1238" fmla="*/ 2078092 w 2601035"/>
              <a:gd name="connsiteY1238" fmla="*/ 978876 h 1729572"/>
              <a:gd name="connsiteX1239" fmla="*/ 2078092 w 2601035"/>
              <a:gd name="connsiteY1239" fmla="*/ 981158 h 1729572"/>
              <a:gd name="connsiteX1240" fmla="*/ 2075808 w 2601035"/>
              <a:gd name="connsiteY1240" fmla="*/ 981158 h 1729572"/>
              <a:gd name="connsiteX1241" fmla="*/ 2075808 w 2601035"/>
              <a:gd name="connsiteY1241" fmla="*/ 983440 h 1729572"/>
              <a:gd name="connsiteX1242" fmla="*/ 2073524 w 2601035"/>
              <a:gd name="connsiteY1242" fmla="*/ 983440 h 1729572"/>
              <a:gd name="connsiteX1243" fmla="*/ 2071241 w 2601035"/>
              <a:gd name="connsiteY1243" fmla="*/ 983440 h 1729572"/>
              <a:gd name="connsiteX1244" fmla="*/ 2071241 w 2601035"/>
              <a:gd name="connsiteY1244" fmla="*/ 985722 h 1729572"/>
              <a:gd name="connsiteX1245" fmla="*/ 2068957 w 2601035"/>
              <a:gd name="connsiteY1245" fmla="*/ 985722 h 1729572"/>
              <a:gd name="connsiteX1246" fmla="*/ 2068957 w 2601035"/>
              <a:gd name="connsiteY1246" fmla="*/ 988004 h 1729572"/>
              <a:gd name="connsiteX1247" fmla="*/ 2066674 w 2601035"/>
              <a:gd name="connsiteY1247" fmla="*/ 988004 h 1729572"/>
              <a:gd name="connsiteX1248" fmla="*/ 2066674 w 2601035"/>
              <a:gd name="connsiteY1248" fmla="*/ 990286 h 1729572"/>
              <a:gd name="connsiteX1249" fmla="*/ 2064390 w 2601035"/>
              <a:gd name="connsiteY1249" fmla="*/ 990286 h 1729572"/>
              <a:gd name="connsiteX1250" fmla="*/ 2066674 w 2601035"/>
              <a:gd name="connsiteY1250" fmla="*/ 990286 h 1729572"/>
              <a:gd name="connsiteX1251" fmla="*/ 2064390 w 2601035"/>
              <a:gd name="connsiteY1251" fmla="*/ 990286 h 1729572"/>
              <a:gd name="connsiteX1252" fmla="*/ 2064390 w 2601035"/>
              <a:gd name="connsiteY1252" fmla="*/ 992568 h 1729572"/>
              <a:gd name="connsiteX1253" fmla="*/ 2062107 w 2601035"/>
              <a:gd name="connsiteY1253" fmla="*/ 992568 h 1729572"/>
              <a:gd name="connsiteX1254" fmla="*/ 2062107 w 2601035"/>
              <a:gd name="connsiteY1254" fmla="*/ 994850 h 1729572"/>
              <a:gd name="connsiteX1255" fmla="*/ 2059823 w 2601035"/>
              <a:gd name="connsiteY1255" fmla="*/ 994850 h 1729572"/>
              <a:gd name="connsiteX1256" fmla="*/ 2059823 w 2601035"/>
              <a:gd name="connsiteY1256" fmla="*/ 997131 h 1729572"/>
              <a:gd name="connsiteX1257" fmla="*/ 2057539 w 2601035"/>
              <a:gd name="connsiteY1257" fmla="*/ 997131 h 1729572"/>
              <a:gd name="connsiteX1258" fmla="*/ 2057539 w 2601035"/>
              <a:gd name="connsiteY1258" fmla="*/ 999413 h 1729572"/>
              <a:gd name="connsiteX1259" fmla="*/ 2055256 w 2601035"/>
              <a:gd name="connsiteY1259" fmla="*/ 999413 h 1729572"/>
              <a:gd name="connsiteX1260" fmla="*/ 2055256 w 2601035"/>
              <a:gd name="connsiteY1260" fmla="*/ 1001695 h 1729572"/>
              <a:gd name="connsiteX1261" fmla="*/ 2052972 w 2601035"/>
              <a:gd name="connsiteY1261" fmla="*/ 1001695 h 1729572"/>
              <a:gd name="connsiteX1262" fmla="*/ 2052972 w 2601035"/>
              <a:gd name="connsiteY1262" fmla="*/ 1003977 h 1729572"/>
              <a:gd name="connsiteX1263" fmla="*/ 2050689 w 2601035"/>
              <a:gd name="connsiteY1263" fmla="*/ 1003977 h 1729572"/>
              <a:gd name="connsiteX1264" fmla="*/ 2052972 w 2601035"/>
              <a:gd name="connsiteY1264" fmla="*/ 1003977 h 1729572"/>
              <a:gd name="connsiteX1265" fmla="*/ 2050689 w 2601035"/>
              <a:gd name="connsiteY1265" fmla="*/ 1003977 h 1729572"/>
              <a:gd name="connsiteX1266" fmla="*/ 2048405 w 2601035"/>
              <a:gd name="connsiteY1266" fmla="*/ 1006259 h 1729572"/>
              <a:gd name="connsiteX1267" fmla="*/ 2048405 w 2601035"/>
              <a:gd name="connsiteY1267" fmla="*/ 1008541 h 1729572"/>
              <a:gd name="connsiteX1268" fmla="*/ 2046121 w 2601035"/>
              <a:gd name="connsiteY1268" fmla="*/ 1008541 h 1729572"/>
              <a:gd name="connsiteX1269" fmla="*/ 2046121 w 2601035"/>
              <a:gd name="connsiteY1269" fmla="*/ 1010823 h 1729572"/>
              <a:gd name="connsiteX1270" fmla="*/ 2048405 w 2601035"/>
              <a:gd name="connsiteY1270" fmla="*/ 1010823 h 1729572"/>
              <a:gd name="connsiteX1271" fmla="*/ 2046121 w 2601035"/>
              <a:gd name="connsiteY1271" fmla="*/ 1010823 h 1729572"/>
              <a:gd name="connsiteX1272" fmla="*/ 2046121 w 2601035"/>
              <a:gd name="connsiteY1272" fmla="*/ 1013105 h 1729572"/>
              <a:gd name="connsiteX1273" fmla="*/ 2048405 w 2601035"/>
              <a:gd name="connsiteY1273" fmla="*/ 1013105 h 1729572"/>
              <a:gd name="connsiteX1274" fmla="*/ 2046121 w 2601035"/>
              <a:gd name="connsiteY1274" fmla="*/ 1013105 h 1729572"/>
              <a:gd name="connsiteX1275" fmla="*/ 2048405 w 2601035"/>
              <a:gd name="connsiteY1275" fmla="*/ 1013105 h 1729572"/>
              <a:gd name="connsiteX1276" fmla="*/ 2048405 w 2601035"/>
              <a:gd name="connsiteY1276" fmla="*/ 1015386 h 1729572"/>
              <a:gd name="connsiteX1277" fmla="*/ 2046121 w 2601035"/>
              <a:gd name="connsiteY1277" fmla="*/ 1015386 h 1729572"/>
              <a:gd name="connsiteX1278" fmla="*/ 2046121 w 2601035"/>
              <a:gd name="connsiteY1278" fmla="*/ 1013105 h 1729572"/>
              <a:gd name="connsiteX1279" fmla="*/ 2046121 w 2601035"/>
              <a:gd name="connsiteY1279" fmla="*/ 1015386 h 1729572"/>
              <a:gd name="connsiteX1280" fmla="*/ 2046121 w 2601035"/>
              <a:gd name="connsiteY1280" fmla="*/ 1013105 h 1729572"/>
              <a:gd name="connsiteX1281" fmla="*/ 2046121 w 2601035"/>
              <a:gd name="connsiteY1281" fmla="*/ 1015386 h 1729572"/>
              <a:gd name="connsiteX1282" fmla="*/ 2046121 w 2601035"/>
              <a:gd name="connsiteY1282" fmla="*/ 1017669 h 1729572"/>
              <a:gd name="connsiteX1283" fmla="*/ 2043838 w 2601035"/>
              <a:gd name="connsiteY1283" fmla="*/ 1017669 h 1729572"/>
              <a:gd name="connsiteX1284" fmla="*/ 2043838 w 2601035"/>
              <a:gd name="connsiteY1284" fmla="*/ 1015386 h 1729572"/>
              <a:gd name="connsiteX1285" fmla="*/ 2041554 w 2601035"/>
              <a:gd name="connsiteY1285" fmla="*/ 1015386 h 1729572"/>
              <a:gd name="connsiteX1286" fmla="*/ 2039270 w 2601035"/>
              <a:gd name="connsiteY1286" fmla="*/ 1017669 h 1729572"/>
              <a:gd name="connsiteX1287" fmla="*/ 2036987 w 2601035"/>
              <a:gd name="connsiteY1287" fmla="*/ 1017669 h 1729572"/>
              <a:gd name="connsiteX1288" fmla="*/ 2036987 w 2601035"/>
              <a:gd name="connsiteY1288" fmla="*/ 1019950 h 1729572"/>
              <a:gd name="connsiteX1289" fmla="*/ 2034703 w 2601035"/>
              <a:gd name="connsiteY1289" fmla="*/ 1019950 h 1729572"/>
              <a:gd name="connsiteX1290" fmla="*/ 2032420 w 2601035"/>
              <a:gd name="connsiteY1290" fmla="*/ 1019950 h 1729572"/>
              <a:gd name="connsiteX1291" fmla="*/ 2032420 w 2601035"/>
              <a:gd name="connsiteY1291" fmla="*/ 1022232 h 1729572"/>
              <a:gd name="connsiteX1292" fmla="*/ 2030136 w 2601035"/>
              <a:gd name="connsiteY1292" fmla="*/ 1022232 h 1729572"/>
              <a:gd name="connsiteX1293" fmla="*/ 2030136 w 2601035"/>
              <a:gd name="connsiteY1293" fmla="*/ 1024514 h 1729572"/>
              <a:gd name="connsiteX1294" fmla="*/ 2027853 w 2601035"/>
              <a:gd name="connsiteY1294" fmla="*/ 1024514 h 1729572"/>
              <a:gd name="connsiteX1295" fmla="*/ 2027853 w 2601035"/>
              <a:gd name="connsiteY1295" fmla="*/ 1026796 h 1729572"/>
              <a:gd name="connsiteX1296" fmla="*/ 2027853 w 2601035"/>
              <a:gd name="connsiteY1296" fmla="*/ 1029078 h 1729572"/>
              <a:gd name="connsiteX1297" fmla="*/ 2027853 w 2601035"/>
              <a:gd name="connsiteY1297" fmla="*/ 1031360 h 1729572"/>
              <a:gd name="connsiteX1298" fmla="*/ 2025569 w 2601035"/>
              <a:gd name="connsiteY1298" fmla="*/ 1031360 h 1729572"/>
              <a:gd name="connsiteX1299" fmla="*/ 2023285 w 2601035"/>
              <a:gd name="connsiteY1299" fmla="*/ 1031360 h 1729572"/>
              <a:gd name="connsiteX1300" fmla="*/ 2021002 w 2601035"/>
              <a:gd name="connsiteY1300" fmla="*/ 1031360 h 1729572"/>
              <a:gd name="connsiteX1301" fmla="*/ 2021002 w 2601035"/>
              <a:gd name="connsiteY1301" fmla="*/ 1033642 h 1729572"/>
              <a:gd name="connsiteX1302" fmla="*/ 2021002 w 2601035"/>
              <a:gd name="connsiteY1302" fmla="*/ 1035924 h 1729572"/>
              <a:gd name="connsiteX1303" fmla="*/ 2018718 w 2601035"/>
              <a:gd name="connsiteY1303" fmla="*/ 1035924 h 1729572"/>
              <a:gd name="connsiteX1304" fmla="*/ 2018718 w 2601035"/>
              <a:gd name="connsiteY1304" fmla="*/ 1038206 h 1729572"/>
              <a:gd name="connsiteX1305" fmla="*/ 2016435 w 2601035"/>
              <a:gd name="connsiteY1305" fmla="*/ 1040487 h 1729572"/>
              <a:gd name="connsiteX1306" fmla="*/ 2014151 w 2601035"/>
              <a:gd name="connsiteY1306" fmla="*/ 1042769 h 1729572"/>
              <a:gd name="connsiteX1307" fmla="*/ 2011868 w 2601035"/>
              <a:gd name="connsiteY1307" fmla="*/ 1042769 h 1729572"/>
              <a:gd name="connsiteX1308" fmla="*/ 2011868 w 2601035"/>
              <a:gd name="connsiteY1308" fmla="*/ 1045051 h 1729572"/>
              <a:gd name="connsiteX1309" fmla="*/ 2009584 w 2601035"/>
              <a:gd name="connsiteY1309" fmla="*/ 1047324 h 1729572"/>
              <a:gd name="connsiteX1310" fmla="*/ 2011868 w 2601035"/>
              <a:gd name="connsiteY1310" fmla="*/ 1047324 h 1729572"/>
              <a:gd name="connsiteX1311" fmla="*/ 2011868 w 2601035"/>
              <a:gd name="connsiteY1311" fmla="*/ 1049605 h 1729572"/>
              <a:gd name="connsiteX1312" fmla="*/ 2009584 w 2601035"/>
              <a:gd name="connsiteY1312" fmla="*/ 1049605 h 1729572"/>
              <a:gd name="connsiteX1313" fmla="*/ 2009584 w 2601035"/>
              <a:gd name="connsiteY1313" fmla="*/ 1051887 h 1729572"/>
              <a:gd name="connsiteX1314" fmla="*/ 2007300 w 2601035"/>
              <a:gd name="connsiteY1314" fmla="*/ 1051887 h 1729572"/>
              <a:gd name="connsiteX1315" fmla="*/ 2007300 w 2601035"/>
              <a:gd name="connsiteY1315" fmla="*/ 1054169 h 1729572"/>
              <a:gd name="connsiteX1316" fmla="*/ 2005017 w 2601035"/>
              <a:gd name="connsiteY1316" fmla="*/ 1054169 h 1729572"/>
              <a:gd name="connsiteX1317" fmla="*/ 2002733 w 2601035"/>
              <a:gd name="connsiteY1317" fmla="*/ 1054169 h 1729572"/>
              <a:gd name="connsiteX1318" fmla="*/ 2002733 w 2601035"/>
              <a:gd name="connsiteY1318" fmla="*/ 1056451 h 1729572"/>
              <a:gd name="connsiteX1319" fmla="*/ 2000449 w 2601035"/>
              <a:gd name="connsiteY1319" fmla="*/ 1056451 h 1729572"/>
              <a:gd name="connsiteX1320" fmla="*/ 2000449 w 2601035"/>
              <a:gd name="connsiteY1320" fmla="*/ 1058733 h 1729572"/>
              <a:gd name="connsiteX1321" fmla="*/ 2000449 w 2601035"/>
              <a:gd name="connsiteY1321" fmla="*/ 1061015 h 1729572"/>
              <a:gd name="connsiteX1322" fmla="*/ 1998166 w 2601035"/>
              <a:gd name="connsiteY1322" fmla="*/ 1061015 h 1729572"/>
              <a:gd name="connsiteX1323" fmla="*/ 1998166 w 2601035"/>
              <a:gd name="connsiteY1323" fmla="*/ 1063297 h 1729572"/>
              <a:gd name="connsiteX1324" fmla="*/ 1995882 w 2601035"/>
              <a:gd name="connsiteY1324" fmla="*/ 1063297 h 1729572"/>
              <a:gd name="connsiteX1325" fmla="*/ 1995882 w 2601035"/>
              <a:gd name="connsiteY1325" fmla="*/ 1065579 h 1729572"/>
              <a:gd name="connsiteX1326" fmla="*/ 1993599 w 2601035"/>
              <a:gd name="connsiteY1326" fmla="*/ 1065579 h 1729572"/>
              <a:gd name="connsiteX1327" fmla="*/ 1991315 w 2601035"/>
              <a:gd name="connsiteY1327" fmla="*/ 1065579 h 1729572"/>
              <a:gd name="connsiteX1328" fmla="*/ 1989031 w 2601035"/>
              <a:gd name="connsiteY1328" fmla="*/ 1065579 h 1729572"/>
              <a:gd name="connsiteX1329" fmla="*/ 1989031 w 2601035"/>
              <a:gd name="connsiteY1329" fmla="*/ 1067861 h 1729572"/>
              <a:gd name="connsiteX1330" fmla="*/ 1986748 w 2601035"/>
              <a:gd name="connsiteY1330" fmla="*/ 1067861 h 1729572"/>
              <a:gd name="connsiteX1331" fmla="*/ 1984464 w 2601035"/>
              <a:gd name="connsiteY1331" fmla="*/ 1067861 h 1729572"/>
              <a:gd name="connsiteX1332" fmla="*/ 1984464 w 2601035"/>
              <a:gd name="connsiteY1332" fmla="*/ 1070142 h 1729572"/>
              <a:gd name="connsiteX1333" fmla="*/ 1982181 w 2601035"/>
              <a:gd name="connsiteY1333" fmla="*/ 1070142 h 1729572"/>
              <a:gd name="connsiteX1334" fmla="*/ 1982181 w 2601035"/>
              <a:gd name="connsiteY1334" fmla="*/ 1072425 h 1729572"/>
              <a:gd name="connsiteX1335" fmla="*/ 1979897 w 2601035"/>
              <a:gd name="connsiteY1335" fmla="*/ 1072425 h 1729572"/>
              <a:gd name="connsiteX1336" fmla="*/ 1977614 w 2601035"/>
              <a:gd name="connsiteY1336" fmla="*/ 1072425 h 1729572"/>
              <a:gd name="connsiteX1337" fmla="*/ 1975330 w 2601035"/>
              <a:gd name="connsiteY1337" fmla="*/ 1072425 h 1729572"/>
              <a:gd name="connsiteX1338" fmla="*/ 1973046 w 2601035"/>
              <a:gd name="connsiteY1338" fmla="*/ 1074706 h 1729572"/>
              <a:gd name="connsiteX1339" fmla="*/ 1970763 w 2601035"/>
              <a:gd name="connsiteY1339" fmla="*/ 1074706 h 1729572"/>
              <a:gd name="connsiteX1340" fmla="*/ 1968479 w 2601035"/>
              <a:gd name="connsiteY1340" fmla="*/ 1074706 h 1729572"/>
              <a:gd name="connsiteX1341" fmla="*/ 1968479 w 2601035"/>
              <a:gd name="connsiteY1341" fmla="*/ 1076988 h 1729572"/>
              <a:gd name="connsiteX1342" fmla="*/ 1966195 w 2601035"/>
              <a:gd name="connsiteY1342" fmla="*/ 1076988 h 1729572"/>
              <a:gd name="connsiteX1343" fmla="*/ 1966195 w 2601035"/>
              <a:gd name="connsiteY1343" fmla="*/ 1079270 h 1729572"/>
              <a:gd name="connsiteX1344" fmla="*/ 1966195 w 2601035"/>
              <a:gd name="connsiteY1344" fmla="*/ 1081552 h 1729572"/>
              <a:gd name="connsiteX1345" fmla="*/ 1966195 w 2601035"/>
              <a:gd name="connsiteY1345" fmla="*/ 1083834 h 1729572"/>
              <a:gd name="connsiteX1346" fmla="*/ 1963912 w 2601035"/>
              <a:gd name="connsiteY1346" fmla="*/ 1083834 h 1729572"/>
              <a:gd name="connsiteX1347" fmla="*/ 1963912 w 2601035"/>
              <a:gd name="connsiteY1347" fmla="*/ 1086116 h 1729572"/>
              <a:gd name="connsiteX1348" fmla="*/ 1961628 w 2601035"/>
              <a:gd name="connsiteY1348" fmla="*/ 1086116 h 1729572"/>
              <a:gd name="connsiteX1349" fmla="*/ 1963912 w 2601035"/>
              <a:gd name="connsiteY1349" fmla="*/ 1086116 h 1729572"/>
              <a:gd name="connsiteX1350" fmla="*/ 1961628 w 2601035"/>
              <a:gd name="connsiteY1350" fmla="*/ 1086116 h 1729572"/>
              <a:gd name="connsiteX1351" fmla="*/ 1961628 w 2601035"/>
              <a:gd name="connsiteY1351" fmla="*/ 1088398 h 1729572"/>
              <a:gd name="connsiteX1352" fmla="*/ 1959345 w 2601035"/>
              <a:gd name="connsiteY1352" fmla="*/ 1088398 h 1729572"/>
              <a:gd name="connsiteX1353" fmla="*/ 1959345 w 2601035"/>
              <a:gd name="connsiteY1353" fmla="*/ 1090680 h 1729572"/>
              <a:gd name="connsiteX1354" fmla="*/ 1957061 w 2601035"/>
              <a:gd name="connsiteY1354" fmla="*/ 1090680 h 1729572"/>
              <a:gd name="connsiteX1355" fmla="*/ 1954778 w 2601035"/>
              <a:gd name="connsiteY1355" fmla="*/ 1090680 h 1729572"/>
              <a:gd name="connsiteX1356" fmla="*/ 1954778 w 2601035"/>
              <a:gd name="connsiteY1356" fmla="*/ 1092962 h 1729572"/>
              <a:gd name="connsiteX1357" fmla="*/ 1954778 w 2601035"/>
              <a:gd name="connsiteY1357" fmla="*/ 1095243 h 1729572"/>
              <a:gd name="connsiteX1358" fmla="*/ 1952494 w 2601035"/>
              <a:gd name="connsiteY1358" fmla="*/ 1095243 h 1729572"/>
              <a:gd name="connsiteX1359" fmla="*/ 1952494 w 2601035"/>
              <a:gd name="connsiteY1359" fmla="*/ 1097525 h 1729572"/>
              <a:gd name="connsiteX1360" fmla="*/ 1950210 w 2601035"/>
              <a:gd name="connsiteY1360" fmla="*/ 1097525 h 1729572"/>
              <a:gd name="connsiteX1361" fmla="*/ 1950210 w 2601035"/>
              <a:gd name="connsiteY1361" fmla="*/ 1099807 h 1729572"/>
              <a:gd name="connsiteX1362" fmla="*/ 1947927 w 2601035"/>
              <a:gd name="connsiteY1362" fmla="*/ 1099807 h 1729572"/>
              <a:gd name="connsiteX1363" fmla="*/ 1947927 w 2601035"/>
              <a:gd name="connsiteY1363" fmla="*/ 1102089 h 1729572"/>
              <a:gd name="connsiteX1364" fmla="*/ 1947927 w 2601035"/>
              <a:gd name="connsiteY1364" fmla="*/ 1104371 h 1729572"/>
              <a:gd name="connsiteX1365" fmla="*/ 1947927 w 2601035"/>
              <a:gd name="connsiteY1365" fmla="*/ 1106653 h 1729572"/>
              <a:gd name="connsiteX1366" fmla="*/ 1945643 w 2601035"/>
              <a:gd name="connsiteY1366" fmla="*/ 1106653 h 1729572"/>
              <a:gd name="connsiteX1367" fmla="*/ 1945643 w 2601035"/>
              <a:gd name="connsiteY1367" fmla="*/ 1108935 h 1729572"/>
              <a:gd name="connsiteX1368" fmla="*/ 1943360 w 2601035"/>
              <a:gd name="connsiteY1368" fmla="*/ 1108935 h 1729572"/>
              <a:gd name="connsiteX1369" fmla="*/ 1943360 w 2601035"/>
              <a:gd name="connsiteY1369" fmla="*/ 1106653 h 1729572"/>
              <a:gd name="connsiteX1370" fmla="*/ 1943360 w 2601035"/>
              <a:gd name="connsiteY1370" fmla="*/ 1108935 h 1729572"/>
              <a:gd name="connsiteX1371" fmla="*/ 1943360 w 2601035"/>
              <a:gd name="connsiteY1371" fmla="*/ 1106653 h 1729572"/>
              <a:gd name="connsiteX1372" fmla="*/ 1941076 w 2601035"/>
              <a:gd name="connsiteY1372" fmla="*/ 1106653 h 1729572"/>
              <a:gd name="connsiteX1373" fmla="*/ 1938792 w 2601035"/>
              <a:gd name="connsiteY1373" fmla="*/ 1106653 h 1729572"/>
              <a:gd name="connsiteX1374" fmla="*/ 1936509 w 2601035"/>
              <a:gd name="connsiteY1374" fmla="*/ 1106653 h 1729572"/>
              <a:gd name="connsiteX1375" fmla="*/ 1936509 w 2601035"/>
              <a:gd name="connsiteY1375" fmla="*/ 1108935 h 1729572"/>
              <a:gd name="connsiteX1376" fmla="*/ 1934225 w 2601035"/>
              <a:gd name="connsiteY1376" fmla="*/ 1108935 h 1729572"/>
              <a:gd name="connsiteX1377" fmla="*/ 1934225 w 2601035"/>
              <a:gd name="connsiteY1377" fmla="*/ 1111217 h 1729572"/>
              <a:gd name="connsiteX1378" fmla="*/ 1934225 w 2601035"/>
              <a:gd name="connsiteY1378" fmla="*/ 1108935 h 1729572"/>
              <a:gd name="connsiteX1379" fmla="*/ 1934225 w 2601035"/>
              <a:gd name="connsiteY1379" fmla="*/ 1111217 h 1729572"/>
              <a:gd name="connsiteX1380" fmla="*/ 1934225 w 2601035"/>
              <a:gd name="connsiteY1380" fmla="*/ 1108935 h 1729572"/>
              <a:gd name="connsiteX1381" fmla="*/ 1934225 w 2601035"/>
              <a:gd name="connsiteY1381" fmla="*/ 1111217 h 1729572"/>
              <a:gd name="connsiteX1382" fmla="*/ 1931941 w 2601035"/>
              <a:gd name="connsiteY1382" fmla="*/ 1111217 h 1729572"/>
              <a:gd name="connsiteX1383" fmla="*/ 1929658 w 2601035"/>
              <a:gd name="connsiteY1383" fmla="*/ 1111217 h 1729572"/>
              <a:gd name="connsiteX1384" fmla="*/ 1929658 w 2601035"/>
              <a:gd name="connsiteY1384" fmla="*/ 1113498 h 1729572"/>
              <a:gd name="connsiteX1385" fmla="*/ 1927374 w 2601035"/>
              <a:gd name="connsiteY1385" fmla="*/ 1113498 h 1729572"/>
              <a:gd name="connsiteX1386" fmla="*/ 1925091 w 2601035"/>
              <a:gd name="connsiteY1386" fmla="*/ 1113498 h 1729572"/>
              <a:gd name="connsiteX1387" fmla="*/ 1925091 w 2601035"/>
              <a:gd name="connsiteY1387" fmla="*/ 1115781 h 1729572"/>
              <a:gd name="connsiteX1388" fmla="*/ 1925091 w 2601035"/>
              <a:gd name="connsiteY1388" fmla="*/ 1113498 h 1729572"/>
              <a:gd name="connsiteX1389" fmla="*/ 1925091 w 2601035"/>
              <a:gd name="connsiteY1389" fmla="*/ 1115781 h 1729572"/>
              <a:gd name="connsiteX1390" fmla="*/ 1922807 w 2601035"/>
              <a:gd name="connsiteY1390" fmla="*/ 1115781 h 1729572"/>
              <a:gd name="connsiteX1391" fmla="*/ 1922807 w 2601035"/>
              <a:gd name="connsiteY1391" fmla="*/ 1118062 h 1729572"/>
              <a:gd name="connsiteX1392" fmla="*/ 1920524 w 2601035"/>
              <a:gd name="connsiteY1392" fmla="*/ 1118062 h 1729572"/>
              <a:gd name="connsiteX1393" fmla="*/ 1920524 w 2601035"/>
              <a:gd name="connsiteY1393" fmla="*/ 1120344 h 1729572"/>
              <a:gd name="connsiteX1394" fmla="*/ 1918240 w 2601035"/>
              <a:gd name="connsiteY1394" fmla="*/ 1120344 h 1729572"/>
              <a:gd name="connsiteX1395" fmla="*/ 1915956 w 2601035"/>
              <a:gd name="connsiteY1395" fmla="*/ 1120344 h 1729572"/>
              <a:gd name="connsiteX1396" fmla="*/ 1915956 w 2601035"/>
              <a:gd name="connsiteY1396" fmla="*/ 1122626 h 1729572"/>
              <a:gd name="connsiteX1397" fmla="*/ 1915956 w 2601035"/>
              <a:gd name="connsiteY1397" fmla="*/ 1124908 h 1729572"/>
              <a:gd name="connsiteX1398" fmla="*/ 1913673 w 2601035"/>
              <a:gd name="connsiteY1398" fmla="*/ 1124908 h 1729572"/>
              <a:gd name="connsiteX1399" fmla="*/ 1915956 w 2601035"/>
              <a:gd name="connsiteY1399" fmla="*/ 1124908 h 1729572"/>
              <a:gd name="connsiteX1400" fmla="*/ 1913673 w 2601035"/>
              <a:gd name="connsiteY1400" fmla="*/ 1124908 h 1729572"/>
              <a:gd name="connsiteX1401" fmla="*/ 1913673 w 2601035"/>
              <a:gd name="connsiteY1401" fmla="*/ 1127190 h 1729572"/>
              <a:gd name="connsiteX1402" fmla="*/ 1911389 w 2601035"/>
              <a:gd name="connsiteY1402" fmla="*/ 1127190 h 1729572"/>
              <a:gd name="connsiteX1403" fmla="*/ 1913673 w 2601035"/>
              <a:gd name="connsiteY1403" fmla="*/ 1127190 h 1729572"/>
              <a:gd name="connsiteX1404" fmla="*/ 1911389 w 2601035"/>
              <a:gd name="connsiteY1404" fmla="*/ 1127190 h 1729572"/>
              <a:gd name="connsiteX1405" fmla="*/ 1909106 w 2601035"/>
              <a:gd name="connsiteY1405" fmla="*/ 1127190 h 1729572"/>
              <a:gd name="connsiteX1406" fmla="*/ 1909106 w 2601035"/>
              <a:gd name="connsiteY1406" fmla="*/ 1129472 h 1729572"/>
              <a:gd name="connsiteX1407" fmla="*/ 1909106 w 2601035"/>
              <a:gd name="connsiteY1407" fmla="*/ 1127190 h 1729572"/>
              <a:gd name="connsiteX1408" fmla="*/ 1909106 w 2601035"/>
              <a:gd name="connsiteY1408" fmla="*/ 1129472 h 1729572"/>
              <a:gd name="connsiteX1409" fmla="*/ 1909106 w 2601035"/>
              <a:gd name="connsiteY1409" fmla="*/ 1127190 h 1729572"/>
              <a:gd name="connsiteX1410" fmla="*/ 1906822 w 2601035"/>
              <a:gd name="connsiteY1410" fmla="*/ 1127190 h 1729572"/>
              <a:gd name="connsiteX1411" fmla="*/ 1906822 w 2601035"/>
              <a:gd name="connsiteY1411" fmla="*/ 1129472 h 1729572"/>
              <a:gd name="connsiteX1412" fmla="*/ 1906822 w 2601035"/>
              <a:gd name="connsiteY1412" fmla="*/ 1127190 h 1729572"/>
              <a:gd name="connsiteX1413" fmla="*/ 1906822 w 2601035"/>
              <a:gd name="connsiteY1413" fmla="*/ 1129472 h 1729572"/>
              <a:gd name="connsiteX1414" fmla="*/ 1906822 w 2601035"/>
              <a:gd name="connsiteY1414" fmla="*/ 1127190 h 1729572"/>
              <a:gd name="connsiteX1415" fmla="*/ 1906822 w 2601035"/>
              <a:gd name="connsiteY1415" fmla="*/ 1129472 h 1729572"/>
              <a:gd name="connsiteX1416" fmla="*/ 1906822 w 2601035"/>
              <a:gd name="connsiteY1416" fmla="*/ 1127190 h 1729572"/>
              <a:gd name="connsiteX1417" fmla="*/ 1906822 w 2601035"/>
              <a:gd name="connsiteY1417" fmla="*/ 1129472 h 1729572"/>
              <a:gd name="connsiteX1418" fmla="*/ 1904538 w 2601035"/>
              <a:gd name="connsiteY1418" fmla="*/ 1129472 h 1729572"/>
              <a:gd name="connsiteX1419" fmla="*/ 1904538 w 2601035"/>
              <a:gd name="connsiteY1419" fmla="*/ 1131754 h 1729572"/>
              <a:gd name="connsiteX1420" fmla="*/ 1904538 w 2601035"/>
              <a:gd name="connsiteY1420" fmla="*/ 1129472 h 1729572"/>
              <a:gd name="connsiteX1421" fmla="*/ 1904538 w 2601035"/>
              <a:gd name="connsiteY1421" fmla="*/ 1131754 h 1729572"/>
              <a:gd name="connsiteX1422" fmla="*/ 1904538 w 2601035"/>
              <a:gd name="connsiteY1422" fmla="*/ 1129472 h 1729572"/>
              <a:gd name="connsiteX1423" fmla="*/ 1902255 w 2601035"/>
              <a:gd name="connsiteY1423" fmla="*/ 1129472 h 1729572"/>
              <a:gd name="connsiteX1424" fmla="*/ 1902255 w 2601035"/>
              <a:gd name="connsiteY1424" fmla="*/ 1131754 h 1729572"/>
              <a:gd name="connsiteX1425" fmla="*/ 1902255 w 2601035"/>
              <a:gd name="connsiteY1425" fmla="*/ 1129472 h 1729572"/>
              <a:gd name="connsiteX1426" fmla="*/ 1902255 w 2601035"/>
              <a:gd name="connsiteY1426" fmla="*/ 1131754 h 1729572"/>
              <a:gd name="connsiteX1427" fmla="*/ 1899971 w 2601035"/>
              <a:gd name="connsiteY1427" fmla="*/ 1131754 h 1729572"/>
              <a:gd name="connsiteX1428" fmla="*/ 1902255 w 2601035"/>
              <a:gd name="connsiteY1428" fmla="*/ 1131754 h 1729572"/>
              <a:gd name="connsiteX1429" fmla="*/ 1899971 w 2601035"/>
              <a:gd name="connsiteY1429" fmla="*/ 1131754 h 1729572"/>
              <a:gd name="connsiteX1430" fmla="*/ 1897688 w 2601035"/>
              <a:gd name="connsiteY1430" fmla="*/ 1131754 h 1729572"/>
              <a:gd name="connsiteX1431" fmla="*/ 1897688 w 2601035"/>
              <a:gd name="connsiteY1431" fmla="*/ 1134036 h 1729572"/>
              <a:gd name="connsiteX1432" fmla="*/ 1895404 w 2601035"/>
              <a:gd name="connsiteY1432" fmla="*/ 1134036 h 1729572"/>
              <a:gd name="connsiteX1433" fmla="*/ 1893120 w 2601035"/>
              <a:gd name="connsiteY1433" fmla="*/ 1134036 h 1729572"/>
              <a:gd name="connsiteX1434" fmla="*/ 1893120 w 2601035"/>
              <a:gd name="connsiteY1434" fmla="*/ 1136318 h 1729572"/>
              <a:gd name="connsiteX1435" fmla="*/ 1893120 w 2601035"/>
              <a:gd name="connsiteY1435" fmla="*/ 1134036 h 1729572"/>
              <a:gd name="connsiteX1436" fmla="*/ 1893120 w 2601035"/>
              <a:gd name="connsiteY1436" fmla="*/ 1136318 h 1729572"/>
              <a:gd name="connsiteX1437" fmla="*/ 1890837 w 2601035"/>
              <a:gd name="connsiteY1437" fmla="*/ 1136318 h 1729572"/>
              <a:gd name="connsiteX1438" fmla="*/ 1888553 w 2601035"/>
              <a:gd name="connsiteY1438" fmla="*/ 1136318 h 1729572"/>
              <a:gd name="connsiteX1439" fmla="*/ 1886270 w 2601035"/>
              <a:gd name="connsiteY1439" fmla="*/ 1136318 h 1729572"/>
              <a:gd name="connsiteX1440" fmla="*/ 1883986 w 2601035"/>
              <a:gd name="connsiteY1440" fmla="*/ 1136318 h 1729572"/>
              <a:gd name="connsiteX1441" fmla="*/ 1883986 w 2601035"/>
              <a:gd name="connsiteY1441" fmla="*/ 1138599 h 1729572"/>
              <a:gd name="connsiteX1442" fmla="*/ 1881702 w 2601035"/>
              <a:gd name="connsiteY1442" fmla="*/ 1138599 h 1729572"/>
              <a:gd name="connsiteX1443" fmla="*/ 1879419 w 2601035"/>
              <a:gd name="connsiteY1443" fmla="*/ 1138599 h 1729572"/>
              <a:gd name="connsiteX1444" fmla="*/ 1877135 w 2601035"/>
              <a:gd name="connsiteY1444" fmla="*/ 1138599 h 1729572"/>
              <a:gd name="connsiteX1445" fmla="*/ 1877135 w 2601035"/>
              <a:gd name="connsiteY1445" fmla="*/ 1140881 h 1729572"/>
              <a:gd name="connsiteX1446" fmla="*/ 1874852 w 2601035"/>
              <a:gd name="connsiteY1446" fmla="*/ 1140881 h 1729572"/>
              <a:gd name="connsiteX1447" fmla="*/ 1872568 w 2601035"/>
              <a:gd name="connsiteY1447" fmla="*/ 1140881 h 1729572"/>
              <a:gd name="connsiteX1448" fmla="*/ 1872568 w 2601035"/>
              <a:gd name="connsiteY1448" fmla="*/ 1143163 h 1729572"/>
              <a:gd name="connsiteX1449" fmla="*/ 1870285 w 2601035"/>
              <a:gd name="connsiteY1449" fmla="*/ 1143163 h 1729572"/>
              <a:gd name="connsiteX1450" fmla="*/ 1870285 w 2601035"/>
              <a:gd name="connsiteY1450" fmla="*/ 1145445 h 1729572"/>
              <a:gd name="connsiteX1451" fmla="*/ 1868001 w 2601035"/>
              <a:gd name="connsiteY1451" fmla="*/ 1145445 h 1729572"/>
              <a:gd name="connsiteX1452" fmla="*/ 1865717 w 2601035"/>
              <a:gd name="connsiteY1452" fmla="*/ 1145445 h 1729572"/>
              <a:gd name="connsiteX1453" fmla="*/ 1865717 w 2601035"/>
              <a:gd name="connsiteY1453" fmla="*/ 1147727 h 1729572"/>
              <a:gd name="connsiteX1454" fmla="*/ 1863434 w 2601035"/>
              <a:gd name="connsiteY1454" fmla="*/ 1147727 h 1729572"/>
              <a:gd name="connsiteX1455" fmla="*/ 1863434 w 2601035"/>
              <a:gd name="connsiteY1455" fmla="*/ 1150009 h 1729572"/>
              <a:gd name="connsiteX1456" fmla="*/ 1861150 w 2601035"/>
              <a:gd name="connsiteY1456" fmla="*/ 1150009 h 1729572"/>
              <a:gd name="connsiteX1457" fmla="*/ 1861150 w 2601035"/>
              <a:gd name="connsiteY1457" fmla="*/ 1152291 h 1729572"/>
              <a:gd name="connsiteX1458" fmla="*/ 1861150 w 2601035"/>
              <a:gd name="connsiteY1458" fmla="*/ 1154573 h 1729572"/>
              <a:gd name="connsiteX1459" fmla="*/ 1858866 w 2601035"/>
              <a:gd name="connsiteY1459" fmla="*/ 1154573 h 1729572"/>
              <a:gd name="connsiteX1460" fmla="*/ 1858866 w 2601035"/>
              <a:gd name="connsiteY1460" fmla="*/ 1156855 h 1729572"/>
              <a:gd name="connsiteX1461" fmla="*/ 1856583 w 2601035"/>
              <a:gd name="connsiteY1461" fmla="*/ 1156855 h 1729572"/>
              <a:gd name="connsiteX1462" fmla="*/ 1856583 w 2601035"/>
              <a:gd name="connsiteY1462" fmla="*/ 1159137 h 1729572"/>
              <a:gd name="connsiteX1463" fmla="*/ 1858866 w 2601035"/>
              <a:gd name="connsiteY1463" fmla="*/ 1159137 h 1729572"/>
              <a:gd name="connsiteX1464" fmla="*/ 1856583 w 2601035"/>
              <a:gd name="connsiteY1464" fmla="*/ 1159137 h 1729572"/>
              <a:gd name="connsiteX1465" fmla="*/ 1856583 w 2601035"/>
              <a:gd name="connsiteY1465" fmla="*/ 1161418 h 1729572"/>
              <a:gd name="connsiteX1466" fmla="*/ 1858866 w 2601035"/>
              <a:gd name="connsiteY1466" fmla="*/ 1161418 h 1729572"/>
              <a:gd name="connsiteX1467" fmla="*/ 1858866 w 2601035"/>
              <a:gd name="connsiteY1467" fmla="*/ 1163700 h 1729572"/>
              <a:gd name="connsiteX1468" fmla="*/ 1858866 w 2601035"/>
              <a:gd name="connsiteY1468" fmla="*/ 1165982 h 1729572"/>
              <a:gd name="connsiteX1469" fmla="*/ 1856583 w 2601035"/>
              <a:gd name="connsiteY1469" fmla="*/ 1165982 h 1729572"/>
              <a:gd name="connsiteX1470" fmla="*/ 1858866 w 2601035"/>
              <a:gd name="connsiteY1470" fmla="*/ 1165982 h 1729572"/>
              <a:gd name="connsiteX1471" fmla="*/ 1856583 w 2601035"/>
              <a:gd name="connsiteY1471" fmla="*/ 1165982 h 1729572"/>
              <a:gd name="connsiteX1472" fmla="*/ 1858866 w 2601035"/>
              <a:gd name="connsiteY1472" fmla="*/ 1165982 h 1729572"/>
              <a:gd name="connsiteX1473" fmla="*/ 1858866 w 2601035"/>
              <a:gd name="connsiteY1473" fmla="*/ 1168264 h 1729572"/>
              <a:gd name="connsiteX1474" fmla="*/ 1856583 w 2601035"/>
              <a:gd name="connsiteY1474" fmla="*/ 1168264 h 1729572"/>
              <a:gd name="connsiteX1475" fmla="*/ 1856583 w 2601035"/>
              <a:gd name="connsiteY1475" fmla="*/ 1170546 h 1729572"/>
              <a:gd name="connsiteX1476" fmla="*/ 1854299 w 2601035"/>
              <a:gd name="connsiteY1476" fmla="*/ 1170546 h 1729572"/>
              <a:gd name="connsiteX1477" fmla="*/ 1854299 w 2601035"/>
              <a:gd name="connsiteY1477" fmla="*/ 1172828 h 1729572"/>
              <a:gd name="connsiteX1478" fmla="*/ 1854299 w 2601035"/>
              <a:gd name="connsiteY1478" fmla="*/ 1175110 h 1729572"/>
              <a:gd name="connsiteX1479" fmla="*/ 1852016 w 2601035"/>
              <a:gd name="connsiteY1479" fmla="*/ 1175110 h 1729572"/>
              <a:gd name="connsiteX1480" fmla="*/ 1852016 w 2601035"/>
              <a:gd name="connsiteY1480" fmla="*/ 1177392 h 1729572"/>
              <a:gd name="connsiteX1481" fmla="*/ 1852016 w 2601035"/>
              <a:gd name="connsiteY1481" fmla="*/ 1179674 h 1729572"/>
              <a:gd name="connsiteX1482" fmla="*/ 1849732 w 2601035"/>
              <a:gd name="connsiteY1482" fmla="*/ 1179674 h 1729572"/>
              <a:gd name="connsiteX1483" fmla="*/ 1849732 w 2601035"/>
              <a:gd name="connsiteY1483" fmla="*/ 1181955 h 1729572"/>
              <a:gd name="connsiteX1484" fmla="*/ 1847448 w 2601035"/>
              <a:gd name="connsiteY1484" fmla="*/ 1181955 h 1729572"/>
              <a:gd name="connsiteX1485" fmla="*/ 1847448 w 2601035"/>
              <a:gd name="connsiteY1485" fmla="*/ 1184237 h 1729572"/>
              <a:gd name="connsiteX1486" fmla="*/ 1845165 w 2601035"/>
              <a:gd name="connsiteY1486" fmla="*/ 1184237 h 1729572"/>
              <a:gd name="connsiteX1487" fmla="*/ 1845165 w 2601035"/>
              <a:gd name="connsiteY1487" fmla="*/ 1186519 h 1729572"/>
              <a:gd name="connsiteX1488" fmla="*/ 1842881 w 2601035"/>
              <a:gd name="connsiteY1488" fmla="*/ 1186519 h 1729572"/>
              <a:gd name="connsiteX1489" fmla="*/ 1842881 w 2601035"/>
              <a:gd name="connsiteY1489" fmla="*/ 1188801 h 1729572"/>
              <a:gd name="connsiteX1490" fmla="*/ 1845165 w 2601035"/>
              <a:gd name="connsiteY1490" fmla="*/ 1188801 h 1729572"/>
              <a:gd name="connsiteX1491" fmla="*/ 1845165 w 2601035"/>
              <a:gd name="connsiteY1491" fmla="*/ 1191083 h 1729572"/>
              <a:gd name="connsiteX1492" fmla="*/ 1842881 w 2601035"/>
              <a:gd name="connsiteY1492" fmla="*/ 1191083 h 1729572"/>
              <a:gd name="connsiteX1493" fmla="*/ 1840598 w 2601035"/>
              <a:gd name="connsiteY1493" fmla="*/ 1191083 h 1729572"/>
              <a:gd name="connsiteX1494" fmla="*/ 1838314 w 2601035"/>
              <a:gd name="connsiteY1494" fmla="*/ 1191083 h 1729572"/>
              <a:gd name="connsiteX1495" fmla="*/ 1838314 w 2601035"/>
              <a:gd name="connsiteY1495" fmla="*/ 1193365 h 1729572"/>
              <a:gd name="connsiteX1496" fmla="*/ 1838314 w 2601035"/>
              <a:gd name="connsiteY1496" fmla="*/ 1191083 h 1729572"/>
              <a:gd name="connsiteX1497" fmla="*/ 1838314 w 2601035"/>
              <a:gd name="connsiteY1497" fmla="*/ 1193365 h 1729572"/>
              <a:gd name="connsiteX1498" fmla="*/ 1836031 w 2601035"/>
              <a:gd name="connsiteY1498" fmla="*/ 1193365 h 1729572"/>
              <a:gd name="connsiteX1499" fmla="*/ 1833747 w 2601035"/>
              <a:gd name="connsiteY1499" fmla="*/ 1193365 h 1729572"/>
              <a:gd name="connsiteX1500" fmla="*/ 1833747 w 2601035"/>
              <a:gd name="connsiteY1500" fmla="*/ 1195637 h 1729572"/>
              <a:gd name="connsiteX1501" fmla="*/ 1831463 w 2601035"/>
              <a:gd name="connsiteY1501" fmla="*/ 1195637 h 1729572"/>
              <a:gd name="connsiteX1502" fmla="*/ 1831463 w 2601035"/>
              <a:gd name="connsiteY1502" fmla="*/ 1197919 h 1729572"/>
              <a:gd name="connsiteX1503" fmla="*/ 1831463 w 2601035"/>
              <a:gd name="connsiteY1503" fmla="*/ 1195637 h 1729572"/>
              <a:gd name="connsiteX1504" fmla="*/ 1831463 w 2601035"/>
              <a:gd name="connsiteY1504" fmla="*/ 1197919 h 1729572"/>
              <a:gd name="connsiteX1505" fmla="*/ 1829180 w 2601035"/>
              <a:gd name="connsiteY1505" fmla="*/ 1197919 h 1729572"/>
              <a:gd name="connsiteX1506" fmla="*/ 1829180 w 2601035"/>
              <a:gd name="connsiteY1506" fmla="*/ 1200201 h 1729572"/>
              <a:gd name="connsiteX1507" fmla="*/ 1829180 w 2601035"/>
              <a:gd name="connsiteY1507" fmla="*/ 1197919 h 1729572"/>
              <a:gd name="connsiteX1508" fmla="*/ 1826896 w 2601035"/>
              <a:gd name="connsiteY1508" fmla="*/ 1197919 h 1729572"/>
              <a:gd name="connsiteX1509" fmla="*/ 1826896 w 2601035"/>
              <a:gd name="connsiteY1509" fmla="*/ 1200201 h 1729572"/>
              <a:gd name="connsiteX1510" fmla="*/ 1829180 w 2601035"/>
              <a:gd name="connsiteY1510" fmla="*/ 1200201 h 1729572"/>
              <a:gd name="connsiteX1511" fmla="*/ 1829180 w 2601035"/>
              <a:gd name="connsiteY1511" fmla="*/ 1202483 h 1729572"/>
              <a:gd name="connsiteX1512" fmla="*/ 1826896 w 2601035"/>
              <a:gd name="connsiteY1512" fmla="*/ 1202483 h 1729572"/>
              <a:gd name="connsiteX1513" fmla="*/ 1824612 w 2601035"/>
              <a:gd name="connsiteY1513" fmla="*/ 1202483 h 1729572"/>
              <a:gd name="connsiteX1514" fmla="*/ 1824612 w 2601035"/>
              <a:gd name="connsiteY1514" fmla="*/ 1204765 h 1729572"/>
              <a:gd name="connsiteX1515" fmla="*/ 1822329 w 2601035"/>
              <a:gd name="connsiteY1515" fmla="*/ 1204765 h 1729572"/>
              <a:gd name="connsiteX1516" fmla="*/ 1822329 w 2601035"/>
              <a:gd name="connsiteY1516" fmla="*/ 1207047 h 1729572"/>
              <a:gd name="connsiteX1517" fmla="*/ 1822329 w 2601035"/>
              <a:gd name="connsiteY1517" fmla="*/ 1204765 h 1729572"/>
              <a:gd name="connsiteX1518" fmla="*/ 1822329 w 2601035"/>
              <a:gd name="connsiteY1518" fmla="*/ 1207047 h 1729572"/>
              <a:gd name="connsiteX1519" fmla="*/ 1820045 w 2601035"/>
              <a:gd name="connsiteY1519" fmla="*/ 1207047 h 1729572"/>
              <a:gd name="connsiteX1520" fmla="*/ 1817762 w 2601035"/>
              <a:gd name="connsiteY1520" fmla="*/ 1207047 h 1729572"/>
              <a:gd name="connsiteX1521" fmla="*/ 1817762 w 2601035"/>
              <a:gd name="connsiteY1521" fmla="*/ 1209329 h 1729572"/>
              <a:gd name="connsiteX1522" fmla="*/ 1815478 w 2601035"/>
              <a:gd name="connsiteY1522" fmla="*/ 1209329 h 1729572"/>
              <a:gd name="connsiteX1523" fmla="*/ 1813195 w 2601035"/>
              <a:gd name="connsiteY1523" fmla="*/ 1209329 h 1729572"/>
              <a:gd name="connsiteX1524" fmla="*/ 1813195 w 2601035"/>
              <a:gd name="connsiteY1524" fmla="*/ 1211610 h 1729572"/>
              <a:gd name="connsiteX1525" fmla="*/ 1810911 w 2601035"/>
              <a:gd name="connsiteY1525" fmla="*/ 1211610 h 1729572"/>
              <a:gd name="connsiteX1526" fmla="*/ 1813195 w 2601035"/>
              <a:gd name="connsiteY1526" fmla="*/ 1213893 h 1729572"/>
              <a:gd name="connsiteX1527" fmla="*/ 1810911 w 2601035"/>
              <a:gd name="connsiteY1527" fmla="*/ 1213893 h 1729572"/>
              <a:gd name="connsiteX1528" fmla="*/ 1808627 w 2601035"/>
              <a:gd name="connsiteY1528" fmla="*/ 1213893 h 1729572"/>
              <a:gd name="connsiteX1529" fmla="*/ 1806344 w 2601035"/>
              <a:gd name="connsiteY1529" fmla="*/ 1213893 h 1729572"/>
              <a:gd name="connsiteX1530" fmla="*/ 1806344 w 2601035"/>
              <a:gd name="connsiteY1530" fmla="*/ 1216174 h 1729572"/>
              <a:gd name="connsiteX1531" fmla="*/ 1806344 w 2601035"/>
              <a:gd name="connsiteY1531" fmla="*/ 1213893 h 1729572"/>
              <a:gd name="connsiteX1532" fmla="*/ 1806344 w 2601035"/>
              <a:gd name="connsiteY1532" fmla="*/ 1216174 h 1729572"/>
              <a:gd name="connsiteX1533" fmla="*/ 1804060 w 2601035"/>
              <a:gd name="connsiteY1533" fmla="*/ 1216174 h 1729572"/>
              <a:gd name="connsiteX1534" fmla="*/ 1801777 w 2601035"/>
              <a:gd name="connsiteY1534" fmla="*/ 1216174 h 1729572"/>
              <a:gd name="connsiteX1535" fmla="*/ 1801777 w 2601035"/>
              <a:gd name="connsiteY1535" fmla="*/ 1218456 h 1729572"/>
              <a:gd name="connsiteX1536" fmla="*/ 1801777 w 2601035"/>
              <a:gd name="connsiteY1536" fmla="*/ 1220738 h 1729572"/>
              <a:gd name="connsiteX1537" fmla="*/ 1799493 w 2601035"/>
              <a:gd name="connsiteY1537" fmla="*/ 1220738 h 1729572"/>
              <a:gd name="connsiteX1538" fmla="*/ 1799493 w 2601035"/>
              <a:gd name="connsiteY1538" fmla="*/ 1223020 h 1729572"/>
              <a:gd name="connsiteX1539" fmla="*/ 1799493 w 2601035"/>
              <a:gd name="connsiteY1539" fmla="*/ 1225302 h 1729572"/>
              <a:gd name="connsiteX1540" fmla="*/ 1797209 w 2601035"/>
              <a:gd name="connsiteY1540" fmla="*/ 1225302 h 1729572"/>
              <a:gd name="connsiteX1541" fmla="*/ 1797209 w 2601035"/>
              <a:gd name="connsiteY1541" fmla="*/ 1227584 h 1729572"/>
              <a:gd name="connsiteX1542" fmla="*/ 1794926 w 2601035"/>
              <a:gd name="connsiteY1542" fmla="*/ 1227584 h 1729572"/>
              <a:gd name="connsiteX1543" fmla="*/ 1792642 w 2601035"/>
              <a:gd name="connsiteY1543" fmla="*/ 1227584 h 1729572"/>
              <a:gd name="connsiteX1544" fmla="*/ 1792642 w 2601035"/>
              <a:gd name="connsiteY1544" fmla="*/ 1229866 h 1729572"/>
              <a:gd name="connsiteX1545" fmla="*/ 1790358 w 2601035"/>
              <a:gd name="connsiteY1545" fmla="*/ 1229866 h 1729572"/>
              <a:gd name="connsiteX1546" fmla="*/ 1790358 w 2601035"/>
              <a:gd name="connsiteY1546" fmla="*/ 1232148 h 1729572"/>
              <a:gd name="connsiteX1547" fmla="*/ 1788075 w 2601035"/>
              <a:gd name="connsiteY1547" fmla="*/ 1232148 h 1729572"/>
              <a:gd name="connsiteX1548" fmla="*/ 1790358 w 2601035"/>
              <a:gd name="connsiteY1548" fmla="*/ 1232148 h 1729572"/>
              <a:gd name="connsiteX1549" fmla="*/ 1788075 w 2601035"/>
              <a:gd name="connsiteY1549" fmla="*/ 1232148 h 1729572"/>
              <a:gd name="connsiteX1550" fmla="*/ 1788075 w 2601035"/>
              <a:gd name="connsiteY1550" fmla="*/ 1234430 h 1729572"/>
              <a:gd name="connsiteX1551" fmla="*/ 1788075 w 2601035"/>
              <a:gd name="connsiteY1551" fmla="*/ 1236711 h 1729572"/>
              <a:gd name="connsiteX1552" fmla="*/ 1790358 w 2601035"/>
              <a:gd name="connsiteY1552" fmla="*/ 1236711 h 1729572"/>
              <a:gd name="connsiteX1553" fmla="*/ 1788075 w 2601035"/>
              <a:gd name="connsiteY1553" fmla="*/ 1236711 h 1729572"/>
              <a:gd name="connsiteX1554" fmla="*/ 1788075 w 2601035"/>
              <a:gd name="connsiteY1554" fmla="*/ 1238993 h 1729572"/>
              <a:gd name="connsiteX1555" fmla="*/ 1788075 w 2601035"/>
              <a:gd name="connsiteY1555" fmla="*/ 1236711 h 1729572"/>
              <a:gd name="connsiteX1556" fmla="*/ 1788075 w 2601035"/>
              <a:gd name="connsiteY1556" fmla="*/ 1238993 h 1729572"/>
              <a:gd name="connsiteX1557" fmla="*/ 1785791 w 2601035"/>
              <a:gd name="connsiteY1557" fmla="*/ 1238993 h 1729572"/>
              <a:gd name="connsiteX1558" fmla="*/ 1785791 w 2601035"/>
              <a:gd name="connsiteY1558" fmla="*/ 1241275 h 1729572"/>
              <a:gd name="connsiteX1559" fmla="*/ 1783508 w 2601035"/>
              <a:gd name="connsiteY1559" fmla="*/ 1241275 h 1729572"/>
              <a:gd name="connsiteX1560" fmla="*/ 1783508 w 2601035"/>
              <a:gd name="connsiteY1560" fmla="*/ 1243557 h 1729572"/>
              <a:gd name="connsiteX1561" fmla="*/ 1781224 w 2601035"/>
              <a:gd name="connsiteY1561" fmla="*/ 1243557 h 1729572"/>
              <a:gd name="connsiteX1562" fmla="*/ 1778941 w 2601035"/>
              <a:gd name="connsiteY1562" fmla="*/ 1243557 h 1729572"/>
              <a:gd name="connsiteX1563" fmla="*/ 1776657 w 2601035"/>
              <a:gd name="connsiteY1563" fmla="*/ 1243557 h 1729572"/>
              <a:gd name="connsiteX1564" fmla="*/ 1776657 w 2601035"/>
              <a:gd name="connsiteY1564" fmla="*/ 1245839 h 1729572"/>
              <a:gd name="connsiteX1565" fmla="*/ 1776657 w 2601035"/>
              <a:gd name="connsiteY1565" fmla="*/ 1243557 h 1729572"/>
              <a:gd name="connsiteX1566" fmla="*/ 1776657 w 2601035"/>
              <a:gd name="connsiteY1566" fmla="*/ 1245839 h 1729572"/>
              <a:gd name="connsiteX1567" fmla="*/ 1774373 w 2601035"/>
              <a:gd name="connsiteY1567" fmla="*/ 1245839 h 1729572"/>
              <a:gd name="connsiteX1568" fmla="*/ 1772090 w 2601035"/>
              <a:gd name="connsiteY1568" fmla="*/ 1245839 h 1729572"/>
              <a:gd name="connsiteX1569" fmla="*/ 1772090 w 2601035"/>
              <a:gd name="connsiteY1569" fmla="*/ 1248121 h 1729572"/>
              <a:gd name="connsiteX1570" fmla="*/ 1769806 w 2601035"/>
              <a:gd name="connsiteY1570" fmla="*/ 1248121 h 1729572"/>
              <a:gd name="connsiteX1571" fmla="*/ 1769806 w 2601035"/>
              <a:gd name="connsiteY1571" fmla="*/ 1250403 h 1729572"/>
              <a:gd name="connsiteX1572" fmla="*/ 1767522 w 2601035"/>
              <a:gd name="connsiteY1572" fmla="*/ 1250403 h 1729572"/>
              <a:gd name="connsiteX1573" fmla="*/ 1765239 w 2601035"/>
              <a:gd name="connsiteY1573" fmla="*/ 1250403 h 1729572"/>
              <a:gd name="connsiteX1574" fmla="*/ 1765239 w 2601035"/>
              <a:gd name="connsiteY1574" fmla="*/ 1252685 h 1729572"/>
              <a:gd name="connsiteX1575" fmla="*/ 1762955 w 2601035"/>
              <a:gd name="connsiteY1575" fmla="*/ 1252685 h 1729572"/>
              <a:gd name="connsiteX1576" fmla="*/ 1762955 w 2601035"/>
              <a:gd name="connsiteY1576" fmla="*/ 1254967 h 1729572"/>
              <a:gd name="connsiteX1577" fmla="*/ 1760672 w 2601035"/>
              <a:gd name="connsiteY1577" fmla="*/ 1254967 h 1729572"/>
              <a:gd name="connsiteX1578" fmla="*/ 1758388 w 2601035"/>
              <a:gd name="connsiteY1578" fmla="*/ 1254967 h 1729572"/>
              <a:gd name="connsiteX1579" fmla="*/ 1758388 w 2601035"/>
              <a:gd name="connsiteY1579" fmla="*/ 1257249 h 1729572"/>
              <a:gd name="connsiteX1580" fmla="*/ 1756105 w 2601035"/>
              <a:gd name="connsiteY1580" fmla="*/ 1257249 h 1729572"/>
              <a:gd name="connsiteX1581" fmla="*/ 1756105 w 2601035"/>
              <a:gd name="connsiteY1581" fmla="*/ 1259530 h 1729572"/>
              <a:gd name="connsiteX1582" fmla="*/ 1756105 w 2601035"/>
              <a:gd name="connsiteY1582" fmla="*/ 1261812 h 1729572"/>
              <a:gd name="connsiteX1583" fmla="*/ 1753821 w 2601035"/>
              <a:gd name="connsiteY1583" fmla="*/ 1261812 h 1729572"/>
              <a:gd name="connsiteX1584" fmla="*/ 1751537 w 2601035"/>
              <a:gd name="connsiteY1584" fmla="*/ 1261812 h 1729572"/>
              <a:gd name="connsiteX1585" fmla="*/ 1749254 w 2601035"/>
              <a:gd name="connsiteY1585" fmla="*/ 1261812 h 1729572"/>
              <a:gd name="connsiteX1586" fmla="*/ 1746970 w 2601035"/>
              <a:gd name="connsiteY1586" fmla="*/ 1261812 h 1729572"/>
              <a:gd name="connsiteX1587" fmla="*/ 1746970 w 2601035"/>
              <a:gd name="connsiteY1587" fmla="*/ 1264094 h 1729572"/>
              <a:gd name="connsiteX1588" fmla="*/ 1744687 w 2601035"/>
              <a:gd name="connsiteY1588" fmla="*/ 1264094 h 1729572"/>
              <a:gd name="connsiteX1589" fmla="*/ 1744687 w 2601035"/>
              <a:gd name="connsiteY1589" fmla="*/ 1266376 h 1729572"/>
              <a:gd name="connsiteX1590" fmla="*/ 1742403 w 2601035"/>
              <a:gd name="connsiteY1590" fmla="*/ 1266376 h 1729572"/>
              <a:gd name="connsiteX1591" fmla="*/ 1740119 w 2601035"/>
              <a:gd name="connsiteY1591" fmla="*/ 1266376 h 1729572"/>
              <a:gd name="connsiteX1592" fmla="*/ 1740119 w 2601035"/>
              <a:gd name="connsiteY1592" fmla="*/ 1268658 h 1729572"/>
              <a:gd name="connsiteX1593" fmla="*/ 1740119 w 2601035"/>
              <a:gd name="connsiteY1593" fmla="*/ 1266376 h 1729572"/>
              <a:gd name="connsiteX1594" fmla="*/ 1740119 w 2601035"/>
              <a:gd name="connsiteY1594" fmla="*/ 1268658 h 1729572"/>
              <a:gd name="connsiteX1595" fmla="*/ 1740119 w 2601035"/>
              <a:gd name="connsiteY1595" fmla="*/ 1266376 h 1729572"/>
              <a:gd name="connsiteX1596" fmla="*/ 1740119 w 2601035"/>
              <a:gd name="connsiteY1596" fmla="*/ 1268658 h 1729572"/>
              <a:gd name="connsiteX1597" fmla="*/ 1740119 w 2601035"/>
              <a:gd name="connsiteY1597" fmla="*/ 1266376 h 1729572"/>
              <a:gd name="connsiteX1598" fmla="*/ 1740119 w 2601035"/>
              <a:gd name="connsiteY1598" fmla="*/ 1268658 h 1729572"/>
              <a:gd name="connsiteX1599" fmla="*/ 1740119 w 2601035"/>
              <a:gd name="connsiteY1599" fmla="*/ 1266376 h 1729572"/>
              <a:gd name="connsiteX1600" fmla="*/ 1737836 w 2601035"/>
              <a:gd name="connsiteY1600" fmla="*/ 1266376 h 1729572"/>
              <a:gd name="connsiteX1601" fmla="*/ 1737836 w 2601035"/>
              <a:gd name="connsiteY1601" fmla="*/ 1268658 h 1729572"/>
              <a:gd name="connsiteX1602" fmla="*/ 1735552 w 2601035"/>
              <a:gd name="connsiteY1602" fmla="*/ 1268658 h 1729572"/>
              <a:gd name="connsiteX1603" fmla="*/ 1733268 w 2601035"/>
              <a:gd name="connsiteY1603" fmla="*/ 1268658 h 1729572"/>
              <a:gd name="connsiteX1604" fmla="*/ 1730985 w 2601035"/>
              <a:gd name="connsiteY1604" fmla="*/ 1268658 h 1729572"/>
              <a:gd name="connsiteX1605" fmla="*/ 1730985 w 2601035"/>
              <a:gd name="connsiteY1605" fmla="*/ 1270940 h 1729572"/>
              <a:gd name="connsiteX1606" fmla="*/ 1730985 w 2601035"/>
              <a:gd name="connsiteY1606" fmla="*/ 1268658 h 1729572"/>
              <a:gd name="connsiteX1607" fmla="*/ 1730985 w 2601035"/>
              <a:gd name="connsiteY1607" fmla="*/ 1270940 h 1729572"/>
              <a:gd name="connsiteX1608" fmla="*/ 1728701 w 2601035"/>
              <a:gd name="connsiteY1608" fmla="*/ 1270940 h 1729572"/>
              <a:gd name="connsiteX1609" fmla="*/ 1728701 w 2601035"/>
              <a:gd name="connsiteY1609" fmla="*/ 1273222 h 1729572"/>
              <a:gd name="connsiteX1610" fmla="*/ 1726418 w 2601035"/>
              <a:gd name="connsiteY1610" fmla="*/ 1273222 h 1729572"/>
              <a:gd name="connsiteX1611" fmla="*/ 1724134 w 2601035"/>
              <a:gd name="connsiteY1611" fmla="*/ 1273222 h 1729572"/>
              <a:gd name="connsiteX1612" fmla="*/ 1724134 w 2601035"/>
              <a:gd name="connsiteY1612" fmla="*/ 1275504 h 1729572"/>
              <a:gd name="connsiteX1613" fmla="*/ 1721851 w 2601035"/>
              <a:gd name="connsiteY1613" fmla="*/ 1275504 h 1729572"/>
              <a:gd name="connsiteX1614" fmla="*/ 1721851 w 2601035"/>
              <a:gd name="connsiteY1614" fmla="*/ 1277786 h 1729572"/>
              <a:gd name="connsiteX1615" fmla="*/ 1719567 w 2601035"/>
              <a:gd name="connsiteY1615" fmla="*/ 1277786 h 1729572"/>
              <a:gd name="connsiteX1616" fmla="*/ 1719567 w 2601035"/>
              <a:gd name="connsiteY1616" fmla="*/ 1280067 h 1729572"/>
              <a:gd name="connsiteX1617" fmla="*/ 1717283 w 2601035"/>
              <a:gd name="connsiteY1617" fmla="*/ 1280067 h 1729572"/>
              <a:gd name="connsiteX1618" fmla="*/ 1717283 w 2601035"/>
              <a:gd name="connsiteY1618" fmla="*/ 1282349 h 1729572"/>
              <a:gd name="connsiteX1619" fmla="*/ 1715000 w 2601035"/>
              <a:gd name="connsiteY1619" fmla="*/ 1282349 h 1729572"/>
              <a:gd name="connsiteX1620" fmla="*/ 1715000 w 2601035"/>
              <a:gd name="connsiteY1620" fmla="*/ 1284631 h 1729572"/>
              <a:gd name="connsiteX1621" fmla="*/ 1712716 w 2601035"/>
              <a:gd name="connsiteY1621" fmla="*/ 1284631 h 1729572"/>
              <a:gd name="connsiteX1622" fmla="*/ 1712716 w 2601035"/>
              <a:gd name="connsiteY1622" fmla="*/ 1286913 h 1729572"/>
              <a:gd name="connsiteX1623" fmla="*/ 1712716 w 2601035"/>
              <a:gd name="connsiteY1623" fmla="*/ 1289195 h 1729572"/>
              <a:gd name="connsiteX1624" fmla="*/ 1710433 w 2601035"/>
              <a:gd name="connsiteY1624" fmla="*/ 1289195 h 1729572"/>
              <a:gd name="connsiteX1625" fmla="*/ 1708149 w 2601035"/>
              <a:gd name="connsiteY1625" fmla="*/ 1289195 h 1729572"/>
              <a:gd name="connsiteX1626" fmla="*/ 1705866 w 2601035"/>
              <a:gd name="connsiteY1626" fmla="*/ 1289195 h 1729572"/>
              <a:gd name="connsiteX1627" fmla="*/ 1705866 w 2601035"/>
              <a:gd name="connsiteY1627" fmla="*/ 1291477 h 1729572"/>
              <a:gd name="connsiteX1628" fmla="*/ 1703582 w 2601035"/>
              <a:gd name="connsiteY1628" fmla="*/ 1291477 h 1729572"/>
              <a:gd name="connsiteX1629" fmla="*/ 1703582 w 2601035"/>
              <a:gd name="connsiteY1629" fmla="*/ 1293759 h 1729572"/>
              <a:gd name="connsiteX1630" fmla="*/ 1705866 w 2601035"/>
              <a:gd name="connsiteY1630" fmla="*/ 1293759 h 1729572"/>
              <a:gd name="connsiteX1631" fmla="*/ 1703582 w 2601035"/>
              <a:gd name="connsiteY1631" fmla="*/ 1293759 h 1729572"/>
              <a:gd name="connsiteX1632" fmla="*/ 1701298 w 2601035"/>
              <a:gd name="connsiteY1632" fmla="*/ 1293759 h 1729572"/>
              <a:gd name="connsiteX1633" fmla="*/ 1701298 w 2601035"/>
              <a:gd name="connsiteY1633" fmla="*/ 1296041 h 1729572"/>
              <a:gd name="connsiteX1634" fmla="*/ 1699015 w 2601035"/>
              <a:gd name="connsiteY1634" fmla="*/ 1296041 h 1729572"/>
              <a:gd name="connsiteX1635" fmla="*/ 1699015 w 2601035"/>
              <a:gd name="connsiteY1635" fmla="*/ 1298323 h 1729572"/>
              <a:gd name="connsiteX1636" fmla="*/ 1696731 w 2601035"/>
              <a:gd name="connsiteY1636" fmla="*/ 1298323 h 1729572"/>
              <a:gd name="connsiteX1637" fmla="*/ 1696731 w 2601035"/>
              <a:gd name="connsiteY1637" fmla="*/ 1300605 h 1729572"/>
              <a:gd name="connsiteX1638" fmla="*/ 1694447 w 2601035"/>
              <a:gd name="connsiteY1638" fmla="*/ 1300605 h 1729572"/>
              <a:gd name="connsiteX1639" fmla="*/ 1694447 w 2601035"/>
              <a:gd name="connsiteY1639" fmla="*/ 1302886 h 1729572"/>
              <a:gd name="connsiteX1640" fmla="*/ 1692164 w 2601035"/>
              <a:gd name="connsiteY1640" fmla="*/ 1302886 h 1729572"/>
              <a:gd name="connsiteX1641" fmla="*/ 1692164 w 2601035"/>
              <a:gd name="connsiteY1641" fmla="*/ 1305168 h 1729572"/>
              <a:gd name="connsiteX1642" fmla="*/ 1689880 w 2601035"/>
              <a:gd name="connsiteY1642" fmla="*/ 1305168 h 1729572"/>
              <a:gd name="connsiteX1643" fmla="*/ 1689880 w 2601035"/>
              <a:gd name="connsiteY1643" fmla="*/ 1307450 h 1729572"/>
              <a:gd name="connsiteX1644" fmla="*/ 1687597 w 2601035"/>
              <a:gd name="connsiteY1644" fmla="*/ 1307450 h 1729572"/>
              <a:gd name="connsiteX1645" fmla="*/ 1687597 w 2601035"/>
              <a:gd name="connsiteY1645" fmla="*/ 1309732 h 1729572"/>
              <a:gd name="connsiteX1646" fmla="*/ 1687597 w 2601035"/>
              <a:gd name="connsiteY1646" fmla="*/ 1307450 h 1729572"/>
              <a:gd name="connsiteX1647" fmla="*/ 1687597 w 2601035"/>
              <a:gd name="connsiteY1647" fmla="*/ 1309732 h 1729572"/>
              <a:gd name="connsiteX1648" fmla="*/ 1685313 w 2601035"/>
              <a:gd name="connsiteY1648" fmla="*/ 1309732 h 1729572"/>
              <a:gd name="connsiteX1649" fmla="*/ 1683029 w 2601035"/>
              <a:gd name="connsiteY1649" fmla="*/ 1309732 h 1729572"/>
              <a:gd name="connsiteX1650" fmla="*/ 1683029 w 2601035"/>
              <a:gd name="connsiteY1650" fmla="*/ 1312014 h 1729572"/>
              <a:gd name="connsiteX1651" fmla="*/ 1680746 w 2601035"/>
              <a:gd name="connsiteY1651" fmla="*/ 1312014 h 1729572"/>
              <a:gd name="connsiteX1652" fmla="*/ 1680746 w 2601035"/>
              <a:gd name="connsiteY1652" fmla="*/ 1314296 h 1729572"/>
              <a:gd name="connsiteX1653" fmla="*/ 1678462 w 2601035"/>
              <a:gd name="connsiteY1653" fmla="*/ 1314296 h 1729572"/>
              <a:gd name="connsiteX1654" fmla="*/ 1678462 w 2601035"/>
              <a:gd name="connsiteY1654" fmla="*/ 1316578 h 1729572"/>
              <a:gd name="connsiteX1655" fmla="*/ 1676179 w 2601035"/>
              <a:gd name="connsiteY1655" fmla="*/ 1316578 h 1729572"/>
              <a:gd name="connsiteX1656" fmla="*/ 1673895 w 2601035"/>
              <a:gd name="connsiteY1656" fmla="*/ 1316578 h 1729572"/>
              <a:gd name="connsiteX1657" fmla="*/ 1671612 w 2601035"/>
              <a:gd name="connsiteY1657" fmla="*/ 1316578 h 1729572"/>
              <a:gd name="connsiteX1658" fmla="*/ 1671612 w 2601035"/>
              <a:gd name="connsiteY1658" fmla="*/ 1318860 h 1729572"/>
              <a:gd name="connsiteX1659" fmla="*/ 1669328 w 2601035"/>
              <a:gd name="connsiteY1659" fmla="*/ 1318860 h 1729572"/>
              <a:gd name="connsiteX1660" fmla="*/ 1669328 w 2601035"/>
              <a:gd name="connsiteY1660" fmla="*/ 1321142 h 1729572"/>
              <a:gd name="connsiteX1661" fmla="*/ 1669328 w 2601035"/>
              <a:gd name="connsiteY1661" fmla="*/ 1318860 h 1729572"/>
              <a:gd name="connsiteX1662" fmla="*/ 1669328 w 2601035"/>
              <a:gd name="connsiteY1662" fmla="*/ 1321142 h 1729572"/>
              <a:gd name="connsiteX1663" fmla="*/ 1667044 w 2601035"/>
              <a:gd name="connsiteY1663" fmla="*/ 1321142 h 1729572"/>
              <a:gd name="connsiteX1664" fmla="*/ 1667044 w 2601035"/>
              <a:gd name="connsiteY1664" fmla="*/ 1323423 h 1729572"/>
              <a:gd name="connsiteX1665" fmla="*/ 1664761 w 2601035"/>
              <a:gd name="connsiteY1665" fmla="*/ 1323423 h 1729572"/>
              <a:gd name="connsiteX1666" fmla="*/ 1662477 w 2601035"/>
              <a:gd name="connsiteY1666" fmla="*/ 1323423 h 1729572"/>
              <a:gd name="connsiteX1667" fmla="*/ 1662477 w 2601035"/>
              <a:gd name="connsiteY1667" fmla="*/ 1325705 h 1729572"/>
              <a:gd name="connsiteX1668" fmla="*/ 1660193 w 2601035"/>
              <a:gd name="connsiteY1668" fmla="*/ 1325705 h 1729572"/>
              <a:gd name="connsiteX1669" fmla="*/ 1657910 w 2601035"/>
              <a:gd name="connsiteY1669" fmla="*/ 1327987 h 1729572"/>
              <a:gd name="connsiteX1670" fmla="*/ 1655626 w 2601035"/>
              <a:gd name="connsiteY1670" fmla="*/ 1327987 h 1729572"/>
              <a:gd name="connsiteX1671" fmla="*/ 1653343 w 2601035"/>
              <a:gd name="connsiteY1671" fmla="*/ 1327987 h 1729572"/>
              <a:gd name="connsiteX1672" fmla="*/ 1653343 w 2601035"/>
              <a:gd name="connsiteY1672" fmla="*/ 1330269 h 1729572"/>
              <a:gd name="connsiteX1673" fmla="*/ 1651059 w 2601035"/>
              <a:gd name="connsiteY1673" fmla="*/ 1330269 h 1729572"/>
              <a:gd name="connsiteX1674" fmla="*/ 1651059 w 2601035"/>
              <a:gd name="connsiteY1674" fmla="*/ 1332551 h 1729572"/>
              <a:gd name="connsiteX1675" fmla="*/ 1648776 w 2601035"/>
              <a:gd name="connsiteY1675" fmla="*/ 1332551 h 1729572"/>
              <a:gd name="connsiteX1676" fmla="*/ 1648776 w 2601035"/>
              <a:gd name="connsiteY1676" fmla="*/ 1334833 h 1729572"/>
              <a:gd name="connsiteX1677" fmla="*/ 1646492 w 2601035"/>
              <a:gd name="connsiteY1677" fmla="*/ 1334833 h 1729572"/>
              <a:gd name="connsiteX1678" fmla="*/ 1646492 w 2601035"/>
              <a:gd name="connsiteY1678" fmla="*/ 1337115 h 1729572"/>
              <a:gd name="connsiteX1679" fmla="*/ 1644208 w 2601035"/>
              <a:gd name="connsiteY1679" fmla="*/ 1337115 h 1729572"/>
              <a:gd name="connsiteX1680" fmla="*/ 1644208 w 2601035"/>
              <a:gd name="connsiteY1680" fmla="*/ 1339397 h 1729572"/>
              <a:gd name="connsiteX1681" fmla="*/ 1641925 w 2601035"/>
              <a:gd name="connsiteY1681" fmla="*/ 1339397 h 1729572"/>
              <a:gd name="connsiteX1682" fmla="*/ 1639641 w 2601035"/>
              <a:gd name="connsiteY1682" fmla="*/ 1339397 h 1729572"/>
              <a:gd name="connsiteX1683" fmla="*/ 1639641 w 2601035"/>
              <a:gd name="connsiteY1683" fmla="*/ 1341679 h 1729572"/>
              <a:gd name="connsiteX1684" fmla="*/ 1637358 w 2601035"/>
              <a:gd name="connsiteY1684" fmla="*/ 1341679 h 1729572"/>
              <a:gd name="connsiteX1685" fmla="*/ 1637358 w 2601035"/>
              <a:gd name="connsiteY1685" fmla="*/ 1343961 h 1729572"/>
              <a:gd name="connsiteX1686" fmla="*/ 1635074 w 2601035"/>
              <a:gd name="connsiteY1686" fmla="*/ 1343961 h 1729572"/>
              <a:gd name="connsiteX1687" fmla="*/ 1637358 w 2601035"/>
              <a:gd name="connsiteY1687" fmla="*/ 1343961 h 1729572"/>
              <a:gd name="connsiteX1688" fmla="*/ 1637358 w 2601035"/>
              <a:gd name="connsiteY1688" fmla="*/ 1346242 h 1729572"/>
              <a:gd name="connsiteX1689" fmla="*/ 1635074 w 2601035"/>
              <a:gd name="connsiteY1689" fmla="*/ 1346242 h 1729572"/>
              <a:gd name="connsiteX1690" fmla="*/ 1637358 w 2601035"/>
              <a:gd name="connsiteY1690" fmla="*/ 1346242 h 1729572"/>
              <a:gd name="connsiteX1691" fmla="*/ 1635074 w 2601035"/>
              <a:gd name="connsiteY1691" fmla="*/ 1346242 h 1729572"/>
              <a:gd name="connsiteX1692" fmla="*/ 1637358 w 2601035"/>
              <a:gd name="connsiteY1692" fmla="*/ 1346242 h 1729572"/>
              <a:gd name="connsiteX1693" fmla="*/ 1635074 w 2601035"/>
              <a:gd name="connsiteY1693" fmla="*/ 1346242 h 1729572"/>
              <a:gd name="connsiteX1694" fmla="*/ 1637358 w 2601035"/>
              <a:gd name="connsiteY1694" fmla="*/ 1346242 h 1729572"/>
              <a:gd name="connsiteX1695" fmla="*/ 1635074 w 2601035"/>
              <a:gd name="connsiteY1695" fmla="*/ 1346242 h 1729572"/>
              <a:gd name="connsiteX1696" fmla="*/ 1635074 w 2601035"/>
              <a:gd name="connsiteY1696" fmla="*/ 1348524 h 1729572"/>
              <a:gd name="connsiteX1697" fmla="*/ 1632790 w 2601035"/>
              <a:gd name="connsiteY1697" fmla="*/ 1348524 h 1729572"/>
              <a:gd name="connsiteX1698" fmla="*/ 1632790 w 2601035"/>
              <a:gd name="connsiteY1698" fmla="*/ 1350797 h 1729572"/>
              <a:gd name="connsiteX1699" fmla="*/ 1630507 w 2601035"/>
              <a:gd name="connsiteY1699" fmla="*/ 1350797 h 1729572"/>
              <a:gd name="connsiteX1700" fmla="*/ 1628223 w 2601035"/>
              <a:gd name="connsiteY1700" fmla="*/ 1350797 h 1729572"/>
              <a:gd name="connsiteX1701" fmla="*/ 1625939 w 2601035"/>
              <a:gd name="connsiteY1701" fmla="*/ 1350797 h 1729572"/>
              <a:gd name="connsiteX1702" fmla="*/ 1625939 w 2601035"/>
              <a:gd name="connsiteY1702" fmla="*/ 1353088 h 1729572"/>
              <a:gd name="connsiteX1703" fmla="*/ 1623656 w 2601035"/>
              <a:gd name="connsiteY1703" fmla="*/ 1353088 h 1729572"/>
              <a:gd name="connsiteX1704" fmla="*/ 1621372 w 2601035"/>
              <a:gd name="connsiteY1704" fmla="*/ 1353088 h 1729572"/>
              <a:gd name="connsiteX1705" fmla="*/ 1621372 w 2601035"/>
              <a:gd name="connsiteY1705" fmla="*/ 1355361 h 1729572"/>
              <a:gd name="connsiteX1706" fmla="*/ 1619089 w 2601035"/>
              <a:gd name="connsiteY1706" fmla="*/ 1355361 h 1729572"/>
              <a:gd name="connsiteX1707" fmla="*/ 1619089 w 2601035"/>
              <a:gd name="connsiteY1707" fmla="*/ 1357642 h 1729572"/>
              <a:gd name="connsiteX1708" fmla="*/ 1616805 w 2601035"/>
              <a:gd name="connsiteY1708" fmla="*/ 1357642 h 1729572"/>
              <a:gd name="connsiteX1709" fmla="*/ 1616805 w 2601035"/>
              <a:gd name="connsiteY1709" fmla="*/ 1359924 h 1729572"/>
              <a:gd name="connsiteX1710" fmla="*/ 1616805 w 2601035"/>
              <a:gd name="connsiteY1710" fmla="*/ 1362206 h 1729572"/>
              <a:gd name="connsiteX1711" fmla="*/ 1614522 w 2601035"/>
              <a:gd name="connsiteY1711" fmla="*/ 1362206 h 1729572"/>
              <a:gd name="connsiteX1712" fmla="*/ 1612238 w 2601035"/>
              <a:gd name="connsiteY1712" fmla="*/ 1362206 h 1729572"/>
              <a:gd name="connsiteX1713" fmla="*/ 1612238 w 2601035"/>
              <a:gd name="connsiteY1713" fmla="*/ 1364488 h 1729572"/>
              <a:gd name="connsiteX1714" fmla="*/ 1609954 w 2601035"/>
              <a:gd name="connsiteY1714" fmla="*/ 1364488 h 1729572"/>
              <a:gd name="connsiteX1715" fmla="*/ 1607671 w 2601035"/>
              <a:gd name="connsiteY1715" fmla="*/ 1364488 h 1729572"/>
              <a:gd name="connsiteX1716" fmla="*/ 1607671 w 2601035"/>
              <a:gd name="connsiteY1716" fmla="*/ 1366770 h 1729572"/>
              <a:gd name="connsiteX1717" fmla="*/ 1605387 w 2601035"/>
              <a:gd name="connsiteY1717" fmla="*/ 1366770 h 1729572"/>
              <a:gd name="connsiteX1718" fmla="*/ 1605387 w 2601035"/>
              <a:gd name="connsiteY1718" fmla="*/ 1369052 h 1729572"/>
              <a:gd name="connsiteX1719" fmla="*/ 1603104 w 2601035"/>
              <a:gd name="connsiteY1719" fmla="*/ 1369052 h 1729572"/>
              <a:gd name="connsiteX1720" fmla="*/ 1600820 w 2601035"/>
              <a:gd name="connsiteY1720" fmla="*/ 1369052 h 1729572"/>
              <a:gd name="connsiteX1721" fmla="*/ 1600820 w 2601035"/>
              <a:gd name="connsiteY1721" fmla="*/ 1371334 h 1729572"/>
              <a:gd name="connsiteX1722" fmla="*/ 1598537 w 2601035"/>
              <a:gd name="connsiteY1722" fmla="*/ 1371334 h 1729572"/>
              <a:gd name="connsiteX1723" fmla="*/ 1596253 w 2601035"/>
              <a:gd name="connsiteY1723" fmla="*/ 1371334 h 1729572"/>
              <a:gd name="connsiteX1724" fmla="*/ 1596253 w 2601035"/>
              <a:gd name="connsiteY1724" fmla="*/ 1373616 h 1729572"/>
              <a:gd name="connsiteX1725" fmla="*/ 1593969 w 2601035"/>
              <a:gd name="connsiteY1725" fmla="*/ 1373616 h 1729572"/>
              <a:gd name="connsiteX1726" fmla="*/ 1591686 w 2601035"/>
              <a:gd name="connsiteY1726" fmla="*/ 1373616 h 1729572"/>
              <a:gd name="connsiteX1727" fmla="*/ 1591686 w 2601035"/>
              <a:gd name="connsiteY1727" fmla="*/ 1375898 h 1729572"/>
              <a:gd name="connsiteX1728" fmla="*/ 1589402 w 2601035"/>
              <a:gd name="connsiteY1728" fmla="*/ 1375898 h 1729572"/>
              <a:gd name="connsiteX1729" fmla="*/ 1589402 w 2601035"/>
              <a:gd name="connsiteY1729" fmla="*/ 1378179 h 1729572"/>
              <a:gd name="connsiteX1730" fmla="*/ 1587118 w 2601035"/>
              <a:gd name="connsiteY1730" fmla="*/ 1378179 h 1729572"/>
              <a:gd name="connsiteX1731" fmla="*/ 1587118 w 2601035"/>
              <a:gd name="connsiteY1731" fmla="*/ 1380461 h 1729572"/>
              <a:gd name="connsiteX1732" fmla="*/ 1584835 w 2601035"/>
              <a:gd name="connsiteY1732" fmla="*/ 1380461 h 1729572"/>
              <a:gd name="connsiteX1733" fmla="*/ 1582551 w 2601035"/>
              <a:gd name="connsiteY1733" fmla="*/ 1380461 h 1729572"/>
              <a:gd name="connsiteX1734" fmla="*/ 1582551 w 2601035"/>
              <a:gd name="connsiteY1734" fmla="*/ 1382743 h 1729572"/>
              <a:gd name="connsiteX1735" fmla="*/ 1580268 w 2601035"/>
              <a:gd name="connsiteY1735" fmla="*/ 1382743 h 1729572"/>
              <a:gd name="connsiteX1736" fmla="*/ 1580268 w 2601035"/>
              <a:gd name="connsiteY1736" fmla="*/ 1385025 h 1729572"/>
              <a:gd name="connsiteX1737" fmla="*/ 1577984 w 2601035"/>
              <a:gd name="connsiteY1737" fmla="*/ 1385025 h 1729572"/>
              <a:gd name="connsiteX1738" fmla="*/ 1575700 w 2601035"/>
              <a:gd name="connsiteY1738" fmla="*/ 1385025 h 1729572"/>
              <a:gd name="connsiteX1739" fmla="*/ 1575700 w 2601035"/>
              <a:gd name="connsiteY1739" fmla="*/ 1387307 h 1729572"/>
              <a:gd name="connsiteX1740" fmla="*/ 1573417 w 2601035"/>
              <a:gd name="connsiteY1740" fmla="*/ 1387307 h 1729572"/>
              <a:gd name="connsiteX1741" fmla="*/ 1573417 w 2601035"/>
              <a:gd name="connsiteY1741" fmla="*/ 1389589 h 1729572"/>
              <a:gd name="connsiteX1742" fmla="*/ 1571133 w 2601035"/>
              <a:gd name="connsiteY1742" fmla="*/ 1389589 h 1729572"/>
              <a:gd name="connsiteX1743" fmla="*/ 1571133 w 2601035"/>
              <a:gd name="connsiteY1743" fmla="*/ 1391871 h 1729572"/>
              <a:gd name="connsiteX1744" fmla="*/ 1568850 w 2601035"/>
              <a:gd name="connsiteY1744" fmla="*/ 1391871 h 1729572"/>
              <a:gd name="connsiteX1745" fmla="*/ 1566566 w 2601035"/>
              <a:gd name="connsiteY1745" fmla="*/ 1391871 h 1729572"/>
              <a:gd name="connsiteX1746" fmla="*/ 1566566 w 2601035"/>
              <a:gd name="connsiteY1746" fmla="*/ 1394153 h 1729572"/>
              <a:gd name="connsiteX1747" fmla="*/ 1564283 w 2601035"/>
              <a:gd name="connsiteY1747" fmla="*/ 1394153 h 1729572"/>
              <a:gd name="connsiteX1748" fmla="*/ 1564283 w 2601035"/>
              <a:gd name="connsiteY1748" fmla="*/ 1396435 h 1729572"/>
              <a:gd name="connsiteX1749" fmla="*/ 1561999 w 2601035"/>
              <a:gd name="connsiteY1749" fmla="*/ 1396435 h 1729572"/>
              <a:gd name="connsiteX1750" fmla="*/ 1561999 w 2601035"/>
              <a:gd name="connsiteY1750" fmla="*/ 1398717 h 1729572"/>
              <a:gd name="connsiteX1751" fmla="*/ 1559715 w 2601035"/>
              <a:gd name="connsiteY1751" fmla="*/ 1398717 h 1729572"/>
              <a:gd name="connsiteX1752" fmla="*/ 1557432 w 2601035"/>
              <a:gd name="connsiteY1752" fmla="*/ 1398717 h 1729572"/>
              <a:gd name="connsiteX1753" fmla="*/ 1557432 w 2601035"/>
              <a:gd name="connsiteY1753" fmla="*/ 1400998 h 1729572"/>
              <a:gd name="connsiteX1754" fmla="*/ 1555148 w 2601035"/>
              <a:gd name="connsiteY1754" fmla="*/ 1400998 h 1729572"/>
              <a:gd name="connsiteX1755" fmla="*/ 1552864 w 2601035"/>
              <a:gd name="connsiteY1755" fmla="*/ 1400998 h 1729572"/>
              <a:gd name="connsiteX1756" fmla="*/ 1552864 w 2601035"/>
              <a:gd name="connsiteY1756" fmla="*/ 1403280 h 1729572"/>
              <a:gd name="connsiteX1757" fmla="*/ 1550581 w 2601035"/>
              <a:gd name="connsiteY1757" fmla="*/ 1403280 h 1729572"/>
              <a:gd name="connsiteX1758" fmla="*/ 1550581 w 2601035"/>
              <a:gd name="connsiteY1758" fmla="*/ 1405562 h 1729572"/>
              <a:gd name="connsiteX1759" fmla="*/ 1548297 w 2601035"/>
              <a:gd name="connsiteY1759" fmla="*/ 1405562 h 1729572"/>
              <a:gd name="connsiteX1760" fmla="*/ 1548297 w 2601035"/>
              <a:gd name="connsiteY1760" fmla="*/ 1407844 h 1729572"/>
              <a:gd name="connsiteX1761" fmla="*/ 1548297 w 2601035"/>
              <a:gd name="connsiteY1761" fmla="*/ 1410126 h 1729572"/>
              <a:gd name="connsiteX1762" fmla="*/ 1546014 w 2601035"/>
              <a:gd name="connsiteY1762" fmla="*/ 1410126 h 1729572"/>
              <a:gd name="connsiteX1763" fmla="*/ 1546014 w 2601035"/>
              <a:gd name="connsiteY1763" fmla="*/ 1412408 h 1729572"/>
              <a:gd name="connsiteX1764" fmla="*/ 1543730 w 2601035"/>
              <a:gd name="connsiteY1764" fmla="*/ 1412408 h 1729572"/>
              <a:gd name="connsiteX1765" fmla="*/ 1543730 w 2601035"/>
              <a:gd name="connsiteY1765" fmla="*/ 1414690 h 1729572"/>
              <a:gd name="connsiteX1766" fmla="*/ 1541447 w 2601035"/>
              <a:gd name="connsiteY1766" fmla="*/ 1414690 h 1729572"/>
              <a:gd name="connsiteX1767" fmla="*/ 1539163 w 2601035"/>
              <a:gd name="connsiteY1767" fmla="*/ 1414690 h 1729572"/>
              <a:gd name="connsiteX1768" fmla="*/ 1536879 w 2601035"/>
              <a:gd name="connsiteY1768" fmla="*/ 1414690 h 1729572"/>
              <a:gd name="connsiteX1769" fmla="*/ 1534596 w 2601035"/>
              <a:gd name="connsiteY1769" fmla="*/ 1414690 h 1729572"/>
              <a:gd name="connsiteX1770" fmla="*/ 1534596 w 2601035"/>
              <a:gd name="connsiteY1770" fmla="*/ 1416972 h 1729572"/>
              <a:gd name="connsiteX1771" fmla="*/ 1532312 w 2601035"/>
              <a:gd name="connsiteY1771" fmla="*/ 1416972 h 1729572"/>
              <a:gd name="connsiteX1772" fmla="*/ 1530029 w 2601035"/>
              <a:gd name="connsiteY1772" fmla="*/ 1416972 h 1729572"/>
              <a:gd name="connsiteX1773" fmla="*/ 1530029 w 2601035"/>
              <a:gd name="connsiteY1773" fmla="*/ 1419254 h 1729572"/>
              <a:gd name="connsiteX1774" fmla="*/ 1530029 w 2601035"/>
              <a:gd name="connsiteY1774" fmla="*/ 1416972 h 1729572"/>
              <a:gd name="connsiteX1775" fmla="*/ 1527745 w 2601035"/>
              <a:gd name="connsiteY1775" fmla="*/ 1416972 h 1729572"/>
              <a:gd name="connsiteX1776" fmla="*/ 1527745 w 2601035"/>
              <a:gd name="connsiteY1776" fmla="*/ 1419254 h 1729572"/>
              <a:gd name="connsiteX1777" fmla="*/ 1525461 w 2601035"/>
              <a:gd name="connsiteY1777" fmla="*/ 1419254 h 1729572"/>
              <a:gd name="connsiteX1778" fmla="*/ 1525461 w 2601035"/>
              <a:gd name="connsiteY1778" fmla="*/ 1421535 h 1729572"/>
              <a:gd name="connsiteX1779" fmla="*/ 1523178 w 2601035"/>
              <a:gd name="connsiteY1779" fmla="*/ 1421535 h 1729572"/>
              <a:gd name="connsiteX1780" fmla="*/ 1523178 w 2601035"/>
              <a:gd name="connsiteY1780" fmla="*/ 1423817 h 1729572"/>
              <a:gd name="connsiteX1781" fmla="*/ 1523178 w 2601035"/>
              <a:gd name="connsiteY1781" fmla="*/ 1421535 h 1729572"/>
              <a:gd name="connsiteX1782" fmla="*/ 1523178 w 2601035"/>
              <a:gd name="connsiteY1782" fmla="*/ 1423817 h 1729572"/>
              <a:gd name="connsiteX1783" fmla="*/ 1520894 w 2601035"/>
              <a:gd name="connsiteY1783" fmla="*/ 1423817 h 1729572"/>
              <a:gd name="connsiteX1784" fmla="*/ 1520894 w 2601035"/>
              <a:gd name="connsiteY1784" fmla="*/ 1421535 h 1729572"/>
              <a:gd name="connsiteX1785" fmla="*/ 1520894 w 2601035"/>
              <a:gd name="connsiteY1785" fmla="*/ 1423817 h 1729572"/>
              <a:gd name="connsiteX1786" fmla="*/ 1518610 w 2601035"/>
              <a:gd name="connsiteY1786" fmla="*/ 1423817 h 1729572"/>
              <a:gd name="connsiteX1787" fmla="*/ 1518610 w 2601035"/>
              <a:gd name="connsiteY1787" fmla="*/ 1426099 h 1729572"/>
              <a:gd name="connsiteX1788" fmla="*/ 1518610 w 2601035"/>
              <a:gd name="connsiteY1788" fmla="*/ 1428381 h 1729572"/>
              <a:gd name="connsiteX1789" fmla="*/ 1516327 w 2601035"/>
              <a:gd name="connsiteY1789" fmla="*/ 1428381 h 1729572"/>
              <a:gd name="connsiteX1790" fmla="*/ 1516327 w 2601035"/>
              <a:gd name="connsiteY1790" fmla="*/ 1430663 h 1729572"/>
              <a:gd name="connsiteX1791" fmla="*/ 1516327 w 2601035"/>
              <a:gd name="connsiteY1791" fmla="*/ 1432945 h 1729572"/>
              <a:gd name="connsiteX1792" fmla="*/ 1516327 w 2601035"/>
              <a:gd name="connsiteY1792" fmla="*/ 1430663 h 1729572"/>
              <a:gd name="connsiteX1793" fmla="*/ 1514043 w 2601035"/>
              <a:gd name="connsiteY1793" fmla="*/ 1430663 h 1729572"/>
              <a:gd name="connsiteX1794" fmla="*/ 1514043 w 2601035"/>
              <a:gd name="connsiteY1794" fmla="*/ 1432945 h 1729572"/>
              <a:gd name="connsiteX1795" fmla="*/ 1511760 w 2601035"/>
              <a:gd name="connsiteY1795" fmla="*/ 1432945 h 1729572"/>
              <a:gd name="connsiteX1796" fmla="*/ 1511760 w 2601035"/>
              <a:gd name="connsiteY1796" fmla="*/ 1435227 h 1729572"/>
              <a:gd name="connsiteX1797" fmla="*/ 1511760 w 2601035"/>
              <a:gd name="connsiteY1797" fmla="*/ 1437509 h 1729572"/>
              <a:gd name="connsiteX1798" fmla="*/ 1509476 w 2601035"/>
              <a:gd name="connsiteY1798" fmla="*/ 1437509 h 1729572"/>
              <a:gd name="connsiteX1799" fmla="*/ 1509476 w 2601035"/>
              <a:gd name="connsiteY1799" fmla="*/ 1439791 h 1729572"/>
              <a:gd name="connsiteX1800" fmla="*/ 1507193 w 2601035"/>
              <a:gd name="connsiteY1800" fmla="*/ 1439791 h 1729572"/>
              <a:gd name="connsiteX1801" fmla="*/ 1504909 w 2601035"/>
              <a:gd name="connsiteY1801" fmla="*/ 1439791 h 1729572"/>
              <a:gd name="connsiteX1802" fmla="*/ 1502625 w 2601035"/>
              <a:gd name="connsiteY1802" fmla="*/ 1439791 h 1729572"/>
              <a:gd name="connsiteX1803" fmla="*/ 1502625 w 2601035"/>
              <a:gd name="connsiteY1803" fmla="*/ 1442073 h 1729572"/>
              <a:gd name="connsiteX1804" fmla="*/ 1502625 w 2601035"/>
              <a:gd name="connsiteY1804" fmla="*/ 1439791 h 1729572"/>
              <a:gd name="connsiteX1805" fmla="*/ 1500342 w 2601035"/>
              <a:gd name="connsiteY1805" fmla="*/ 1442073 h 1729572"/>
              <a:gd name="connsiteX1806" fmla="*/ 1498058 w 2601035"/>
              <a:gd name="connsiteY1806" fmla="*/ 1442073 h 1729572"/>
              <a:gd name="connsiteX1807" fmla="*/ 1495775 w 2601035"/>
              <a:gd name="connsiteY1807" fmla="*/ 1442073 h 1729572"/>
              <a:gd name="connsiteX1808" fmla="*/ 1493491 w 2601035"/>
              <a:gd name="connsiteY1808" fmla="*/ 1442073 h 1729572"/>
              <a:gd name="connsiteX1809" fmla="*/ 1493491 w 2601035"/>
              <a:gd name="connsiteY1809" fmla="*/ 1444354 h 1729572"/>
              <a:gd name="connsiteX1810" fmla="*/ 1491208 w 2601035"/>
              <a:gd name="connsiteY1810" fmla="*/ 1444354 h 1729572"/>
              <a:gd name="connsiteX1811" fmla="*/ 1488924 w 2601035"/>
              <a:gd name="connsiteY1811" fmla="*/ 1444354 h 1729572"/>
              <a:gd name="connsiteX1812" fmla="*/ 1488924 w 2601035"/>
              <a:gd name="connsiteY1812" fmla="*/ 1446636 h 1729572"/>
              <a:gd name="connsiteX1813" fmla="*/ 1486640 w 2601035"/>
              <a:gd name="connsiteY1813" fmla="*/ 1446636 h 1729572"/>
              <a:gd name="connsiteX1814" fmla="*/ 1484357 w 2601035"/>
              <a:gd name="connsiteY1814" fmla="*/ 1448918 h 1729572"/>
              <a:gd name="connsiteX1815" fmla="*/ 1484357 w 2601035"/>
              <a:gd name="connsiteY1815" fmla="*/ 1451200 h 1729572"/>
              <a:gd name="connsiteX1816" fmla="*/ 1482073 w 2601035"/>
              <a:gd name="connsiteY1816" fmla="*/ 1451200 h 1729572"/>
              <a:gd name="connsiteX1817" fmla="*/ 1482073 w 2601035"/>
              <a:gd name="connsiteY1817" fmla="*/ 1453482 h 1729572"/>
              <a:gd name="connsiteX1818" fmla="*/ 1479789 w 2601035"/>
              <a:gd name="connsiteY1818" fmla="*/ 1453482 h 1729572"/>
              <a:gd name="connsiteX1819" fmla="*/ 1477506 w 2601035"/>
              <a:gd name="connsiteY1819" fmla="*/ 1453482 h 1729572"/>
              <a:gd name="connsiteX1820" fmla="*/ 1475222 w 2601035"/>
              <a:gd name="connsiteY1820" fmla="*/ 1455764 h 1729572"/>
              <a:gd name="connsiteX1821" fmla="*/ 1472939 w 2601035"/>
              <a:gd name="connsiteY1821" fmla="*/ 1455764 h 1729572"/>
              <a:gd name="connsiteX1822" fmla="*/ 1472939 w 2601035"/>
              <a:gd name="connsiteY1822" fmla="*/ 1458046 h 1729572"/>
              <a:gd name="connsiteX1823" fmla="*/ 1470655 w 2601035"/>
              <a:gd name="connsiteY1823" fmla="*/ 1458046 h 1729572"/>
              <a:gd name="connsiteX1824" fmla="*/ 1468371 w 2601035"/>
              <a:gd name="connsiteY1824" fmla="*/ 1458046 h 1729572"/>
              <a:gd name="connsiteX1825" fmla="*/ 1466088 w 2601035"/>
              <a:gd name="connsiteY1825" fmla="*/ 1458046 h 1729572"/>
              <a:gd name="connsiteX1826" fmla="*/ 1463804 w 2601035"/>
              <a:gd name="connsiteY1826" fmla="*/ 1458046 h 1729572"/>
              <a:gd name="connsiteX1827" fmla="*/ 1461521 w 2601035"/>
              <a:gd name="connsiteY1827" fmla="*/ 1460328 h 1729572"/>
              <a:gd name="connsiteX1828" fmla="*/ 1459227 w 2601035"/>
              <a:gd name="connsiteY1828" fmla="*/ 1460328 h 1729572"/>
              <a:gd name="connsiteX1829" fmla="*/ 1456954 w 2601035"/>
              <a:gd name="connsiteY1829" fmla="*/ 1460328 h 1729572"/>
              <a:gd name="connsiteX1830" fmla="*/ 1454660 w 2601035"/>
              <a:gd name="connsiteY1830" fmla="*/ 1460328 h 1729572"/>
              <a:gd name="connsiteX1831" fmla="*/ 1454660 w 2601035"/>
              <a:gd name="connsiteY1831" fmla="*/ 1462610 h 1729572"/>
              <a:gd name="connsiteX1832" fmla="*/ 1452377 w 2601035"/>
              <a:gd name="connsiteY1832" fmla="*/ 1462610 h 1729572"/>
              <a:gd name="connsiteX1833" fmla="*/ 1450103 w 2601035"/>
              <a:gd name="connsiteY1833" fmla="*/ 1462610 h 1729572"/>
              <a:gd name="connsiteX1834" fmla="*/ 1447810 w 2601035"/>
              <a:gd name="connsiteY1834" fmla="*/ 1462610 h 1729572"/>
              <a:gd name="connsiteX1835" fmla="*/ 1447810 w 2601035"/>
              <a:gd name="connsiteY1835" fmla="*/ 1464891 h 1729572"/>
              <a:gd name="connsiteX1836" fmla="*/ 1445526 w 2601035"/>
              <a:gd name="connsiteY1836" fmla="*/ 1464891 h 1729572"/>
              <a:gd name="connsiteX1837" fmla="*/ 1445526 w 2601035"/>
              <a:gd name="connsiteY1837" fmla="*/ 1467174 h 1729572"/>
              <a:gd name="connsiteX1838" fmla="*/ 1443252 w 2601035"/>
              <a:gd name="connsiteY1838" fmla="*/ 1467174 h 1729572"/>
              <a:gd name="connsiteX1839" fmla="*/ 1443252 w 2601035"/>
              <a:gd name="connsiteY1839" fmla="*/ 1469455 h 1729572"/>
              <a:gd name="connsiteX1840" fmla="*/ 1440959 w 2601035"/>
              <a:gd name="connsiteY1840" fmla="*/ 1469455 h 1729572"/>
              <a:gd name="connsiteX1841" fmla="*/ 1438675 w 2601035"/>
              <a:gd name="connsiteY1841" fmla="*/ 1469455 h 1729572"/>
              <a:gd name="connsiteX1842" fmla="*/ 1436392 w 2601035"/>
              <a:gd name="connsiteY1842" fmla="*/ 1469455 h 1729572"/>
              <a:gd name="connsiteX1843" fmla="*/ 1436392 w 2601035"/>
              <a:gd name="connsiteY1843" fmla="*/ 1471737 h 1729572"/>
              <a:gd name="connsiteX1844" fmla="*/ 1436392 w 2601035"/>
              <a:gd name="connsiteY1844" fmla="*/ 1474019 h 1729572"/>
              <a:gd name="connsiteX1845" fmla="*/ 1434108 w 2601035"/>
              <a:gd name="connsiteY1845" fmla="*/ 1474019 h 1729572"/>
              <a:gd name="connsiteX1846" fmla="*/ 1431824 w 2601035"/>
              <a:gd name="connsiteY1846" fmla="*/ 1474019 h 1729572"/>
              <a:gd name="connsiteX1847" fmla="*/ 1431824 w 2601035"/>
              <a:gd name="connsiteY1847" fmla="*/ 1476301 h 1729572"/>
              <a:gd name="connsiteX1848" fmla="*/ 1429541 w 2601035"/>
              <a:gd name="connsiteY1848" fmla="*/ 1476301 h 1729572"/>
              <a:gd name="connsiteX1849" fmla="*/ 1429541 w 2601035"/>
              <a:gd name="connsiteY1849" fmla="*/ 1478583 h 1729572"/>
              <a:gd name="connsiteX1850" fmla="*/ 1427257 w 2601035"/>
              <a:gd name="connsiteY1850" fmla="*/ 1478583 h 1729572"/>
              <a:gd name="connsiteX1851" fmla="*/ 1427257 w 2601035"/>
              <a:gd name="connsiteY1851" fmla="*/ 1480865 h 1729572"/>
              <a:gd name="connsiteX1852" fmla="*/ 1424983 w 2601035"/>
              <a:gd name="connsiteY1852" fmla="*/ 1480865 h 1729572"/>
              <a:gd name="connsiteX1853" fmla="*/ 1422690 w 2601035"/>
              <a:gd name="connsiteY1853" fmla="*/ 1480865 h 1729572"/>
              <a:gd name="connsiteX1854" fmla="*/ 1420406 w 2601035"/>
              <a:gd name="connsiteY1854" fmla="*/ 1480865 h 1729572"/>
              <a:gd name="connsiteX1855" fmla="*/ 1420406 w 2601035"/>
              <a:gd name="connsiteY1855" fmla="*/ 1483147 h 1729572"/>
              <a:gd name="connsiteX1856" fmla="*/ 1418123 w 2601035"/>
              <a:gd name="connsiteY1856" fmla="*/ 1483147 h 1729572"/>
              <a:gd name="connsiteX1857" fmla="*/ 1415839 w 2601035"/>
              <a:gd name="connsiteY1857" fmla="*/ 1483147 h 1729572"/>
              <a:gd name="connsiteX1858" fmla="*/ 1413556 w 2601035"/>
              <a:gd name="connsiteY1858" fmla="*/ 1483147 h 1729572"/>
              <a:gd name="connsiteX1859" fmla="*/ 1411272 w 2601035"/>
              <a:gd name="connsiteY1859" fmla="*/ 1483147 h 1729572"/>
              <a:gd name="connsiteX1860" fmla="*/ 1408988 w 2601035"/>
              <a:gd name="connsiteY1860" fmla="*/ 1483147 h 1729572"/>
              <a:gd name="connsiteX1861" fmla="*/ 1408988 w 2601035"/>
              <a:gd name="connsiteY1861" fmla="*/ 1485429 h 1729572"/>
              <a:gd name="connsiteX1862" fmla="*/ 1406705 w 2601035"/>
              <a:gd name="connsiteY1862" fmla="*/ 1485429 h 1729572"/>
              <a:gd name="connsiteX1863" fmla="*/ 1404421 w 2601035"/>
              <a:gd name="connsiteY1863" fmla="*/ 1485429 h 1729572"/>
              <a:gd name="connsiteX1864" fmla="*/ 1402138 w 2601035"/>
              <a:gd name="connsiteY1864" fmla="*/ 1485429 h 1729572"/>
              <a:gd name="connsiteX1865" fmla="*/ 1402138 w 2601035"/>
              <a:gd name="connsiteY1865" fmla="*/ 1487710 h 1729572"/>
              <a:gd name="connsiteX1866" fmla="*/ 1399854 w 2601035"/>
              <a:gd name="connsiteY1866" fmla="*/ 1487710 h 1729572"/>
              <a:gd name="connsiteX1867" fmla="*/ 1397571 w 2601035"/>
              <a:gd name="connsiteY1867" fmla="*/ 1487710 h 1729572"/>
              <a:gd name="connsiteX1868" fmla="*/ 1395287 w 2601035"/>
              <a:gd name="connsiteY1868" fmla="*/ 1487710 h 1729572"/>
              <a:gd name="connsiteX1869" fmla="*/ 1395287 w 2601035"/>
              <a:gd name="connsiteY1869" fmla="*/ 1489992 h 1729572"/>
              <a:gd name="connsiteX1870" fmla="*/ 1393003 w 2601035"/>
              <a:gd name="connsiteY1870" fmla="*/ 1489992 h 1729572"/>
              <a:gd name="connsiteX1871" fmla="*/ 1390720 w 2601035"/>
              <a:gd name="connsiteY1871" fmla="*/ 1489992 h 1729572"/>
              <a:gd name="connsiteX1872" fmla="*/ 1388436 w 2601035"/>
              <a:gd name="connsiteY1872" fmla="*/ 1489992 h 1729572"/>
              <a:gd name="connsiteX1873" fmla="*/ 1386152 w 2601035"/>
              <a:gd name="connsiteY1873" fmla="*/ 1489992 h 1729572"/>
              <a:gd name="connsiteX1874" fmla="*/ 1386152 w 2601035"/>
              <a:gd name="connsiteY1874" fmla="*/ 1492274 h 1729572"/>
              <a:gd name="connsiteX1875" fmla="*/ 1383869 w 2601035"/>
              <a:gd name="connsiteY1875" fmla="*/ 1492274 h 1729572"/>
              <a:gd name="connsiteX1876" fmla="*/ 1381585 w 2601035"/>
              <a:gd name="connsiteY1876" fmla="*/ 1492274 h 1729572"/>
              <a:gd name="connsiteX1877" fmla="*/ 1379302 w 2601035"/>
              <a:gd name="connsiteY1877" fmla="*/ 1492274 h 1729572"/>
              <a:gd name="connsiteX1878" fmla="*/ 1379302 w 2601035"/>
              <a:gd name="connsiteY1878" fmla="*/ 1494556 h 1729572"/>
              <a:gd name="connsiteX1879" fmla="*/ 1377018 w 2601035"/>
              <a:gd name="connsiteY1879" fmla="*/ 1494556 h 1729572"/>
              <a:gd name="connsiteX1880" fmla="*/ 1379302 w 2601035"/>
              <a:gd name="connsiteY1880" fmla="*/ 1494556 h 1729572"/>
              <a:gd name="connsiteX1881" fmla="*/ 1377018 w 2601035"/>
              <a:gd name="connsiteY1881" fmla="*/ 1494556 h 1729572"/>
              <a:gd name="connsiteX1882" fmla="*/ 1377018 w 2601035"/>
              <a:gd name="connsiteY1882" fmla="*/ 1496838 h 1729572"/>
              <a:gd name="connsiteX1883" fmla="*/ 1374734 w 2601035"/>
              <a:gd name="connsiteY1883" fmla="*/ 1496838 h 1729572"/>
              <a:gd name="connsiteX1884" fmla="*/ 1374734 w 2601035"/>
              <a:gd name="connsiteY1884" fmla="*/ 1499120 h 1729572"/>
              <a:gd name="connsiteX1885" fmla="*/ 1372451 w 2601035"/>
              <a:gd name="connsiteY1885" fmla="*/ 1499120 h 1729572"/>
              <a:gd name="connsiteX1886" fmla="*/ 1370167 w 2601035"/>
              <a:gd name="connsiteY1886" fmla="*/ 1499120 h 1729572"/>
              <a:gd name="connsiteX1887" fmla="*/ 1367884 w 2601035"/>
              <a:gd name="connsiteY1887" fmla="*/ 1499120 h 1729572"/>
              <a:gd name="connsiteX1888" fmla="*/ 1367884 w 2601035"/>
              <a:gd name="connsiteY1888" fmla="*/ 1501402 h 1729572"/>
              <a:gd name="connsiteX1889" fmla="*/ 1367884 w 2601035"/>
              <a:gd name="connsiteY1889" fmla="*/ 1503684 h 1729572"/>
              <a:gd name="connsiteX1890" fmla="*/ 1365600 w 2601035"/>
              <a:gd name="connsiteY1890" fmla="*/ 1503684 h 1729572"/>
              <a:gd name="connsiteX1891" fmla="*/ 1363317 w 2601035"/>
              <a:gd name="connsiteY1891" fmla="*/ 1503684 h 1729572"/>
              <a:gd name="connsiteX1892" fmla="*/ 1363317 w 2601035"/>
              <a:gd name="connsiteY1892" fmla="*/ 1505956 h 1729572"/>
              <a:gd name="connsiteX1893" fmla="*/ 1361033 w 2601035"/>
              <a:gd name="connsiteY1893" fmla="*/ 1505956 h 1729572"/>
              <a:gd name="connsiteX1894" fmla="*/ 1358749 w 2601035"/>
              <a:gd name="connsiteY1894" fmla="*/ 1505956 h 1729572"/>
              <a:gd name="connsiteX1895" fmla="*/ 1358749 w 2601035"/>
              <a:gd name="connsiteY1895" fmla="*/ 1508247 h 1729572"/>
              <a:gd name="connsiteX1896" fmla="*/ 1356466 w 2601035"/>
              <a:gd name="connsiteY1896" fmla="*/ 1508247 h 1729572"/>
              <a:gd name="connsiteX1897" fmla="*/ 1356466 w 2601035"/>
              <a:gd name="connsiteY1897" fmla="*/ 1510520 h 1729572"/>
              <a:gd name="connsiteX1898" fmla="*/ 1354182 w 2601035"/>
              <a:gd name="connsiteY1898" fmla="*/ 1510520 h 1729572"/>
              <a:gd name="connsiteX1899" fmla="*/ 1351898 w 2601035"/>
              <a:gd name="connsiteY1899" fmla="*/ 1510520 h 1729572"/>
              <a:gd name="connsiteX1900" fmla="*/ 1349615 w 2601035"/>
              <a:gd name="connsiteY1900" fmla="*/ 1510520 h 1729572"/>
              <a:gd name="connsiteX1901" fmla="*/ 1349615 w 2601035"/>
              <a:gd name="connsiteY1901" fmla="*/ 1512802 h 1729572"/>
              <a:gd name="connsiteX1902" fmla="*/ 1347331 w 2601035"/>
              <a:gd name="connsiteY1902" fmla="*/ 1512802 h 1729572"/>
              <a:gd name="connsiteX1903" fmla="*/ 1347331 w 2601035"/>
              <a:gd name="connsiteY1903" fmla="*/ 1515084 h 1729572"/>
              <a:gd name="connsiteX1904" fmla="*/ 1345048 w 2601035"/>
              <a:gd name="connsiteY1904" fmla="*/ 1515084 h 1729572"/>
              <a:gd name="connsiteX1905" fmla="*/ 1342764 w 2601035"/>
              <a:gd name="connsiteY1905" fmla="*/ 1515084 h 1729572"/>
              <a:gd name="connsiteX1906" fmla="*/ 1342764 w 2601035"/>
              <a:gd name="connsiteY1906" fmla="*/ 1517366 h 1729572"/>
              <a:gd name="connsiteX1907" fmla="*/ 1342764 w 2601035"/>
              <a:gd name="connsiteY1907" fmla="*/ 1519648 h 1729572"/>
              <a:gd name="connsiteX1908" fmla="*/ 1340481 w 2601035"/>
              <a:gd name="connsiteY1908" fmla="*/ 1519648 h 1729572"/>
              <a:gd name="connsiteX1909" fmla="*/ 1338197 w 2601035"/>
              <a:gd name="connsiteY1909" fmla="*/ 1519648 h 1729572"/>
              <a:gd name="connsiteX1910" fmla="*/ 1335913 w 2601035"/>
              <a:gd name="connsiteY1910" fmla="*/ 1519648 h 1729572"/>
              <a:gd name="connsiteX1911" fmla="*/ 1333630 w 2601035"/>
              <a:gd name="connsiteY1911" fmla="*/ 1519648 h 1729572"/>
              <a:gd name="connsiteX1912" fmla="*/ 1331346 w 2601035"/>
              <a:gd name="connsiteY1912" fmla="*/ 1519648 h 1729572"/>
              <a:gd name="connsiteX1913" fmla="*/ 1331346 w 2601035"/>
              <a:gd name="connsiteY1913" fmla="*/ 1521929 h 1729572"/>
              <a:gd name="connsiteX1914" fmla="*/ 1329063 w 2601035"/>
              <a:gd name="connsiteY1914" fmla="*/ 1521929 h 1729572"/>
              <a:gd name="connsiteX1915" fmla="*/ 1329063 w 2601035"/>
              <a:gd name="connsiteY1915" fmla="*/ 1524211 h 1729572"/>
              <a:gd name="connsiteX1916" fmla="*/ 1326779 w 2601035"/>
              <a:gd name="connsiteY1916" fmla="*/ 1524211 h 1729572"/>
              <a:gd name="connsiteX1917" fmla="*/ 1326779 w 2601035"/>
              <a:gd name="connsiteY1917" fmla="*/ 1526493 h 1729572"/>
              <a:gd name="connsiteX1918" fmla="*/ 1324495 w 2601035"/>
              <a:gd name="connsiteY1918" fmla="*/ 1526493 h 1729572"/>
              <a:gd name="connsiteX1919" fmla="*/ 1324495 w 2601035"/>
              <a:gd name="connsiteY1919" fmla="*/ 1528775 h 1729572"/>
              <a:gd name="connsiteX1920" fmla="*/ 1322212 w 2601035"/>
              <a:gd name="connsiteY1920" fmla="*/ 1528775 h 1729572"/>
              <a:gd name="connsiteX1921" fmla="*/ 1319928 w 2601035"/>
              <a:gd name="connsiteY1921" fmla="*/ 1528775 h 1729572"/>
              <a:gd name="connsiteX1922" fmla="*/ 1319928 w 2601035"/>
              <a:gd name="connsiteY1922" fmla="*/ 1531057 h 1729572"/>
              <a:gd name="connsiteX1923" fmla="*/ 1317644 w 2601035"/>
              <a:gd name="connsiteY1923" fmla="*/ 1531057 h 1729572"/>
              <a:gd name="connsiteX1924" fmla="*/ 1317644 w 2601035"/>
              <a:gd name="connsiteY1924" fmla="*/ 1533339 h 1729572"/>
              <a:gd name="connsiteX1925" fmla="*/ 1315361 w 2601035"/>
              <a:gd name="connsiteY1925" fmla="*/ 1533339 h 1729572"/>
              <a:gd name="connsiteX1926" fmla="*/ 1313077 w 2601035"/>
              <a:gd name="connsiteY1926" fmla="*/ 1533339 h 1729572"/>
              <a:gd name="connsiteX1927" fmla="*/ 1310794 w 2601035"/>
              <a:gd name="connsiteY1927" fmla="*/ 1533339 h 1729572"/>
              <a:gd name="connsiteX1928" fmla="*/ 1308510 w 2601035"/>
              <a:gd name="connsiteY1928" fmla="*/ 1533339 h 1729572"/>
              <a:gd name="connsiteX1929" fmla="*/ 1308510 w 2601035"/>
              <a:gd name="connsiteY1929" fmla="*/ 1535621 h 1729572"/>
              <a:gd name="connsiteX1930" fmla="*/ 1306227 w 2601035"/>
              <a:gd name="connsiteY1930" fmla="*/ 1535621 h 1729572"/>
              <a:gd name="connsiteX1931" fmla="*/ 1303943 w 2601035"/>
              <a:gd name="connsiteY1931" fmla="*/ 1535621 h 1729572"/>
              <a:gd name="connsiteX1932" fmla="*/ 1301659 w 2601035"/>
              <a:gd name="connsiteY1932" fmla="*/ 1535621 h 1729572"/>
              <a:gd name="connsiteX1933" fmla="*/ 1301659 w 2601035"/>
              <a:gd name="connsiteY1933" fmla="*/ 1537903 h 1729572"/>
              <a:gd name="connsiteX1934" fmla="*/ 1299376 w 2601035"/>
              <a:gd name="connsiteY1934" fmla="*/ 1537903 h 1729572"/>
              <a:gd name="connsiteX1935" fmla="*/ 1297092 w 2601035"/>
              <a:gd name="connsiteY1935" fmla="*/ 1537903 h 1729572"/>
              <a:gd name="connsiteX1936" fmla="*/ 1297092 w 2601035"/>
              <a:gd name="connsiteY1936" fmla="*/ 1540185 h 1729572"/>
              <a:gd name="connsiteX1937" fmla="*/ 1297092 w 2601035"/>
              <a:gd name="connsiteY1937" fmla="*/ 1537903 h 1729572"/>
              <a:gd name="connsiteX1938" fmla="*/ 1294809 w 2601035"/>
              <a:gd name="connsiteY1938" fmla="*/ 1537903 h 1729572"/>
              <a:gd name="connsiteX1939" fmla="*/ 1292525 w 2601035"/>
              <a:gd name="connsiteY1939" fmla="*/ 1540185 h 1729572"/>
              <a:gd name="connsiteX1940" fmla="*/ 1290242 w 2601035"/>
              <a:gd name="connsiteY1940" fmla="*/ 1540185 h 1729572"/>
              <a:gd name="connsiteX1941" fmla="*/ 1287958 w 2601035"/>
              <a:gd name="connsiteY1941" fmla="*/ 1540185 h 1729572"/>
              <a:gd name="connsiteX1942" fmla="*/ 1287958 w 2601035"/>
              <a:gd name="connsiteY1942" fmla="*/ 1542466 h 1729572"/>
              <a:gd name="connsiteX1943" fmla="*/ 1287958 w 2601035"/>
              <a:gd name="connsiteY1943" fmla="*/ 1540185 h 1729572"/>
              <a:gd name="connsiteX1944" fmla="*/ 1287958 w 2601035"/>
              <a:gd name="connsiteY1944" fmla="*/ 1542466 h 1729572"/>
              <a:gd name="connsiteX1945" fmla="*/ 1285674 w 2601035"/>
              <a:gd name="connsiteY1945" fmla="*/ 1542466 h 1729572"/>
              <a:gd name="connsiteX1946" fmla="*/ 1283391 w 2601035"/>
              <a:gd name="connsiteY1946" fmla="*/ 1542466 h 1729572"/>
              <a:gd name="connsiteX1947" fmla="*/ 1283391 w 2601035"/>
              <a:gd name="connsiteY1947" fmla="*/ 1540185 h 1729572"/>
              <a:gd name="connsiteX1948" fmla="*/ 1283391 w 2601035"/>
              <a:gd name="connsiteY1948" fmla="*/ 1542466 h 1729572"/>
              <a:gd name="connsiteX1949" fmla="*/ 1281107 w 2601035"/>
              <a:gd name="connsiteY1949" fmla="*/ 1542466 h 1729572"/>
              <a:gd name="connsiteX1950" fmla="*/ 1281107 w 2601035"/>
              <a:gd name="connsiteY1950" fmla="*/ 1540185 h 1729572"/>
              <a:gd name="connsiteX1951" fmla="*/ 1278823 w 2601035"/>
              <a:gd name="connsiteY1951" fmla="*/ 1540185 h 1729572"/>
              <a:gd name="connsiteX1952" fmla="*/ 1276540 w 2601035"/>
              <a:gd name="connsiteY1952" fmla="*/ 1540185 h 1729572"/>
              <a:gd name="connsiteX1953" fmla="*/ 1274256 w 2601035"/>
              <a:gd name="connsiteY1953" fmla="*/ 1540185 h 1729572"/>
              <a:gd name="connsiteX1954" fmla="*/ 1274256 w 2601035"/>
              <a:gd name="connsiteY1954" fmla="*/ 1537903 h 1729572"/>
              <a:gd name="connsiteX1955" fmla="*/ 1271973 w 2601035"/>
              <a:gd name="connsiteY1955" fmla="*/ 1537903 h 1729572"/>
              <a:gd name="connsiteX1956" fmla="*/ 1269689 w 2601035"/>
              <a:gd name="connsiteY1956" fmla="*/ 1537903 h 1729572"/>
              <a:gd name="connsiteX1957" fmla="*/ 1267405 w 2601035"/>
              <a:gd name="connsiteY1957" fmla="*/ 1537903 h 1729572"/>
              <a:gd name="connsiteX1958" fmla="*/ 1265122 w 2601035"/>
              <a:gd name="connsiteY1958" fmla="*/ 1537903 h 1729572"/>
              <a:gd name="connsiteX1959" fmla="*/ 1262838 w 2601035"/>
              <a:gd name="connsiteY1959" fmla="*/ 1537903 h 1729572"/>
              <a:gd name="connsiteX1960" fmla="*/ 1260555 w 2601035"/>
              <a:gd name="connsiteY1960" fmla="*/ 1537903 h 1729572"/>
              <a:gd name="connsiteX1961" fmla="*/ 1258271 w 2601035"/>
              <a:gd name="connsiteY1961" fmla="*/ 1537903 h 1729572"/>
              <a:gd name="connsiteX1962" fmla="*/ 1255988 w 2601035"/>
              <a:gd name="connsiteY1962" fmla="*/ 1537903 h 1729572"/>
              <a:gd name="connsiteX1963" fmla="*/ 1255988 w 2601035"/>
              <a:gd name="connsiteY1963" fmla="*/ 1535621 h 1729572"/>
              <a:gd name="connsiteX1964" fmla="*/ 1255988 w 2601035"/>
              <a:gd name="connsiteY1964" fmla="*/ 1537903 h 1729572"/>
              <a:gd name="connsiteX1965" fmla="*/ 1255988 w 2601035"/>
              <a:gd name="connsiteY1965" fmla="*/ 1535621 h 1729572"/>
              <a:gd name="connsiteX1966" fmla="*/ 1255988 w 2601035"/>
              <a:gd name="connsiteY1966" fmla="*/ 1537903 h 1729572"/>
              <a:gd name="connsiteX1967" fmla="*/ 1253704 w 2601035"/>
              <a:gd name="connsiteY1967" fmla="*/ 1537903 h 1729572"/>
              <a:gd name="connsiteX1968" fmla="*/ 1251420 w 2601035"/>
              <a:gd name="connsiteY1968" fmla="*/ 1537903 h 1729572"/>
              <a:gd name="connsiteX1969" fmla="*/ 1249137 w 2601035"/>
              <a:gd name="connsiteY1969" fmla="*/ 1537903 h 1729572"/>
              <a:gd name="connsiteX1970" fmla="*/ 1246853 w 2601035"/>
              <a:gd name="connsiteY1970" fmla="*/ 1537903 h 1729572"/>
              <a:gd name="connsiteX1971" fmla="*/ 1244569 w 2601035"/>
              <a:gd name="connsiteY1971" fmla="*/ 1537903 h 1729572"/>
              <a:gd name="connsiteX1972" fmla="*/ 1244569 w 2601035"/>
              <a:gd name="connsiteY1972" fmla="*/ 1540185 h 1729572"/>
              <a:gd name="connsiteX1973" fmla="*/ 1242286 w 2601035"/>
              <a:gd name="connsiteY1973" fmla="*/ 1540185 h 1729572"/>
              <a:gd name="connsiteX1974" fmla="*/ 1240002 w 2601035"/>
              <a:gd name="connsiteY1974" fmla="*/ 1540185 h 1729572"/>
              <a:gd name="connsiteX1975" fmla="*/ 1237719 w 2601035"/>
              <a:gd name="connsiteY1975" fmla="*/ 1540185 h 1729572"/>
              <a:gd name="connsiteX1976" fmla="*/ 1235435 w 2601035"/>
              <a:gd name="connsiteY1976" fmla="*/ 1540185 h 1729572"/>
              <a:gd name="connsiteX1977" fmla="*/ 1233152 w 2601035"/>
              <a:gd name="connsiteY1977" fmla="*/ 1540185 h 1729572"/>
              <a:gd name="connsiteX1978" fmla="*/ 1230868 w 2601035"/>
              <a:gd name="connsiteY1978" fmla="*/ 1540185 h 1729572"/>
              <a:gd name="connsiteX1979" fmla="*/ 1230868 w 2601035"/>
              <a:gd name="connsiteY1979" fmla="*/ 1537903 h 1729572"/>
              <a:gd name="connsiteX1980" fmla="*/ 1230868 w 2601035"/>
              <a:gd name="connsiteY1980" fmla="*/ 1540185 h 1729572"/>
              <a:gd name="connsiteX1981" fmla="*/ 1230868 w 2601035"/>
              <a:gd name="connsiteY1981" fmla="*/ 1537903 h 1729572"/>
              <a:gd name="connsiteX1982" fmla="*/ 1228584 w 2601035"/>
              <a:gd name="connsiteY1982" fmla="*/ 1537903 h 1729572"/>
              <a:gd name="connsiteX1983" fmla="*/ 1226301 w 2601035"/>
              <a:gd name="connsiteY1983" fmla="*/ 1537903 h 1729572"/>
              <a:gd name="connsiteX1984" fmla="*/ 1224017 w 2601035"/>
              <a:gd name="connsiteY1984" fmla="*/ 1537903 h 1729572"/>
              <a:gd name="connsiteX1985" fmla="*/ 1224017 w 2601035"/>
              <a:gd name="connsiteY1985" fmla="*/ 1535621 h 1729572"/>
              <a:gd name="connsiteX1986" fmla="*/ 1221734 w 2601035"/>
              <a:gd name="connsiteY1986" fmla="*/ 1535621 h 1729572"/>
              <a:gd name="connsiteX1987" fmla="*/ 1219450 w 2601035"/>
              <a:gd name="connsiteY1987" fmla="*/ 1535621 h 1729572"/>
              <a:gd name="connsiteX1988" fmla="*/ 1219450 w 2601035"/>
              <a:gd name="connsiteY1988" fmla="*/ 1533339 h 1729572"/>
              <a:gd name="connsiteX1989" fmla="*/ 1217166 w 2601035"/>
              <a:gd name="connsiteY1989" fmla="*/ 1533339 h 1729572"/>
              <a:gd name="connsiteX1990" fmla="*/ 1214883 w 2601035"/>
              <a:gd name="connsiteY1990" fmla="*/ 1533339 h 1729572"/>
              <a:gd name="connsiteX1991" fmla="*/ 1214883 w 2601035"/>
              <a:gd name="connsiteY1991" fmla="*/ 1531057 h 1729572"/>
              <a:gd name="connsiteX1992" fmla="*/ 1212599 w 2601035"/>
              <a:gd name="connsiteY1992" fmla="*/ 1531057 h 1729572"/>
              <a:gd name="connsiteX1993" fmla="*/ 1210315 w 2601035"/>
              <a:gd name="connsiteY1993" fmla="*/ 1531057 h 1729572"/>
              <a:gd name="connsiteX1994" fmla="*/ 1208032 w 2601035"/>
              <a:gd name="connsiteY1994" fmla="*/ 1531057 h 1729572"/>
              <a:gd name="connsiteX1995" fmla="*/ 1208032 w 2601035"/>
              <a:gd name="connsiteY1995" fmla="*/ 1528775 h 1729572"/>
              <a:gd name="connsiteX1996" fmla="*/ 1205748 w 2601035"/>
              <a:gd name="connsiteY1996" fmla="*/ 1528775 h 1729572"/>
              <a:gd name="connsiteX1997" fmla="*/ 1203465 w 2601035"/>
              <a:gd name="connsiteY1997" fmla="*/ 1528775 h 1729572"/>
              <a:gd name="connsiteX1998" fmla="*/ 1203465 w 2601035"/>
              <a:gd name="connsiteY1998" fmla="*/ 1526493 h 1729572"/>
              <a:gd name="connsiteX1999" fmla="*/ 1201181 w 2601035"/>
              <a:gd name="connsiteY1999" fmla="*/ 1526493 h 1729572"/>
              <a:gd name="connsiteX2000" fmla="*/ 1198898 w 2601035"/>
              <a:gd name="connsiteY2000" fmla="*/ 1526493 h 1729572"/>
              <a:gd name="connsiteX2001" fmla="*/ 1196614 w 2601035"/>
              <a:gd name="connsiteY2001" fmla="*/ 1526493 h 1729572"/>
              <a:gd name="connsiteX2002" fmla="*/ 1196614 w 2601035"/>
              <a:gd name="connsiteY2002" fmla="*/ 1524211 h 1729572"/>
              <a:gd name="connsiteX2003" fmla="*/ 1194330 w 2601035"/>
              <a:gd name="connsiteY2003" fmla="*/ 1524211 h 1729572"/>
              <a:gd name="connsiteX2004" fmla="*/ 1192047 w 2601035"/>
              <a:gd name="connsiteY2004" fmla="*/ 1524211 h 1729572"/>
              <a:gd name="connsiteX2005" fmla="*/ 1189763 w 2601035"/>
              <a:gd name="connsiteY2005" fmla="*/ 1524211 h 1729572"/>
              <a:gd name="connsiteX2006" fmla="*/ 1189763 w 2601035"/>
              <a:gd name="connsiteY2006" fmla="*/ 1521929 h 1729572"/>
              <a:gd name="connsiteX2007" fmla="*/ 1187480 w 2601035"/>
              <a:gd name="connsiteY2007" fmla="*/ 1521929 h 1729572"/>
              <a:gd name="connsiteX2008" fmla="*/ 1185196 w 2601035"/>
              <a:gd name="connsiteY2008" fmla="*/ 1521929 h 1729572"/>
              <a:gd name="connsiteX2009" fmla="*/ 1182913 w 2601035"/>
              <a:gd name="connsiteY2009" fmla="*/ 1521929 h 1729572"/>
              <a:gd name="connsiteX2010" fmla="*/ 1180629 w 2601035"/>
              <a:gd name="connsiteY2010" fmla="*/ 1521929 h 1729572"/>
              <a:gd name="connsiteX2011" fmla="*/ 1180629 w 2601035"/>
              <a:gd name="connsiteY2011" fmla="*/ 1519648 h 1729572"/>
              <a:gd name="connsiteX2012" fmla="*/ 1178345 w 2601035"/>
              <a:gd name="connsiteY2012" fmla="*/ 1519648 h 1729572"/>
              <a:gd name="connsiteX2013" fmla="*/ 1176062 w 2601035"/>
              <a:gd name="connsiteY2013" fmla="*/ 1519648 h 1729572"/>
              <a:gd name="connsiteX2014" fmla="*/ 1173778 w 2601035"/>
              <a:gd name="connsiteY2014" fmla="*/ 1519648 h 1729572"/>
              <a:gd name="connsiteX2015" fmla="*/ 1171494 w 2601035"/>
              <a:gd name="connsiteY2015" fmla="*/ 1519648 h 1729572"/>
              <a:gd name="connsiteX2016" fmla="*/ 1171494 w 2601035"/>
              <a:gd name="connsiteY2016" fmla="*/ 1517366 h 1729572"/>
              <a:gd name="connsiteX2017" fmla="*/ 1169211 w 2601035"/>
              <a:gd name="connsiteY2017" fmla="*/ 1517366 h 1729572"/>
              <a:gd name="connsiteX2018" fmla="*/ 1166927 w 2601035"/>
              <a:gd name="connsiteY2018" fmla="*/ 1517366 h 1729572"/>
              <a:gd name="connsiteX2019" fmla="*/ 1164644 w 2601035"/>
              <a:gd name="connsiteY2019" fmla="*/ 1517366 h 1729572"/>
              <a:gd name="connsiteX2020" fmla="*/ 1162360 w 2601035"/>
              <a:gd name="connsiteY2020" fmla="*/ 1517366 h 1729572"/>
              <a:gd name="connsiteX2021" fmla="*/ 1160076 w 2601035"/>
              <a:gd name="connsiteY2021" fmla="*/ 1517366 h 1729572"/>
              <a:gd name="connsiteX2022" fmla="*/ 1157793 w 2601035"/>
              <a:gd name="connsiteY2022" fmla="*/ 1517366 h 1729572"/>
              <a:gd name="connsiteX2023" fmla="*/ 1155509 w 2601035"/>
              <a:gd name="connsiteY2023" fmla="*/ 1517366 h 1729572"/>
              <a:gd name="connsiteX2024" fmla="*/ 1155509 w 2601035"/>
              <a:gd name="connsiteY2024" fmla="*/ 1515084 h 1729572"/>
              <a:gd name="connsiteX2025" fmla="*/ 1155509 w 2601035"/>
              <a:gd name="connsiteY2025" fmla="*/ 1517366 h 1729572"/>
              <a:gd name="connsiteX2026" fmla="*/ 1155509 w 2601035"/>
              <a:gd name="connsiteY2026" fmla="*/ 1515084 h 1729572"/>
              <a:gd name="connsiteX2027" fmla="*/ 1153226 w 2601035"/>
              <a:gd name="connsiteY2027" fmla="*/ 1515084 h 1729572"/>
              <a:gd name="connsiteX2028" fmla="*/ 1150942 w 2601035"/>
              <a:gd name="connsiteY2028" fmla="*/ 1515084 h 1729572"/>
              <a:gd name="connsiteX2029" fmla="*/ 1148659 w 2601035"/>
              <a:gd name="connsiteY2029" fmla="*/ 1515084 h 1729572"/>
              <a:gd name="connsiteX2030" fmla="*/ 1146375 w 2601035"/>
              <a:gd name="connsiteY2030" fmla="*/ 1515084 h 1729572"/>
              <a:gd name="connsiteX2031" fmla="*/ 1144091 w 2601035"/>
              <a:gd name="connsiteY2031" fmla="*/ 1515084 h 1729572"/>
              <a:gd name="connsiteX2032" fmla="*/ 1141808 w 2601035"/>
              <a:gd name="connsiteY2032" fmla="*/ 1515084 h 1729572"/>
              <a:gd name="connsiteX2033" fmla="*/ 1139524 w 2601035"/>
              <a:gd name="connsiteY2033" fmla="*/ 1515084 h 1729572"/>
              <a:gd name="connsiteX2034" fmla="*/ 1137240 w 2601035"/>
              <a:gd name="connsiteY2034" fmla="*/ 1515084 h 1729572"/>
              <a:gd name="connsiteX2035" fmla="*/ 1134957 w 2601035"/>
              <a:gd name="connsiteY2035" fmla="*/ 1515084 h 1729572"/>
              <a:gd name="connsiteX2036" fmla="*/ 1132673 w 2601035"/>
              <a:gd name="connsiteY2036" fmla="*/ 1515084 h 1729572"/>
              <a:gd name="connsiteX2037" fmla="*/ 1130390 w 2601035"/>
              <a:gd name="connsiteY2037" fmla="*/ 1515084 h 1729572"/>
              <a:gd name="connsiteX2038" fmla="*/ 1128106 w 2601035"/>
              <a:gd name="connsiteY2038" fmla="*/ 1515084 h 1729572"/>
              <a:gd name="connsiteX2039" fmla="*/ 1125823 w 2601035"/>
              <a:gd name="connsiteY2039" fmla="*/ 1515084 h 1729572"/>
              <a:gd name="connsiteX2040" fmla="*/ 1123539 w 2601035"/>
              <a:gd name="connsiteY2040" fmla="*/ 1515084 h 1729572"/>
              <a:gd name="connsiteX2041" fmla="*/ 1121255 w 2601035"/>
              <a:gd name="connsiteY2041" fmla="*/ 1515084 h 1729572"/>
              <a:gd name="connsiteX2042" fmla="*/ 1121255 w 2601035"/>
              <a:gd name="connsiteY2042" fmla="*/ 1517366 h 1729572"/>
              <a:gd name="connsiteX2043" fmla="*/ 1118972 w 2601035"/>
              <a:gd name="connsiteY2043" fmla="*/ 1517366 h 1729572"/>
              <a:gd name="connsiteX2044" fmla="*/ 1116688 w 2601035"/>
              <a:gd name="connsiteY2044" fmla="*/ 1517366 h 1729572"/>
              <a:gd name="connsiteX2045" fmla="*/ 1114405 w 2601035"/>
              <a:gd name="connsiteY2045" fmla="*/ 1517366 h 1729572"/>
              <a:gd name="connsiteX2046" fmla="*/ 1112121 w 2601035"/>
              <a:gd name="connsiteY2046" fmla="*/ 1517366 h 1729572"/>
              <a:gd name="connsiteX2047" fmla="*/ 1109837 w 2601035"/>
              <a:gd name="connsiteY2047" fmla="*/ 1517366 h 1729572"/>
              <a:gd name="connsiteX2048" fmla="*/ 1107554 w 2601035"/>
              <a:gd name="connsiteY2048" fmla="*/ 1517366 h 1729572"/>
              <a:gd name="connsiteX2049" fmla="*/ 1105270 w 2601035"/>
              <a:gd name="connsiteY2049" fmla="*/ 1517366 h 1729572"/>
              <a:gd name="connsiteX2050" fmla="*/ 1102986 w 2601035"/>
              <a:gd name="connsiteY2050" fmla="*/ 1517366 h 1729572"/>
              <a:gd name="connsiteX2051" fmla="*/ 1100703 w 2601035"/>
              <a:gd name="connsiteY2051" fmla="*/ 1517366 h 1729572"/>
              <a:gd name="connsiteX2052" fmla="*/ 1098419 w 2601035"/>
              <a:gd name="connsiteY2052" fmla="*/ 1517366 h 1729572"/>
              <a:gd name="connsiteX2053" fmla="*/ 1098419 w 2601035"/>
              <a:gd name="connsiteY2053" fmla="*/ 1519648 h 1729572"/>
              <a:gd name="connsiteX2054" fmla="*/ 1096136 w 2601035"/>
              <a:gd name="connsiteY2054" fmla="*/ 1519648 h 1729572"/>
              <a:gd name="connsiteX2055" fmla="*/ 1093852 w 2601035"/>
              <a:gd name="connsiteY2055" fmla="*/ 1519648 h 1729572"/>
              <a:gd name="connsiteX2056" fmla="*/ 1091569 w 2601035"/>
              <a:gd name="connsiteY2056" fmla="*/ 1519648 h 1729572"/>
              <a:gd name="connsiteX2057" fmla="*/ 1089285 w 2601035"/>
              <a:gd name="connsiteY2057" fmla="*/ 1519648 h 1729572"/>
              <a:gd name="connsiteX2058" fmla="*/ 1087001 w 2601035"/>
              <a:gd name="connsiteY2058" fmla="*/ 1519648 h 1729572"/>
              <a:gd name="connsiteX2059" fmla="*/ 1084718 w 2601035"/>
              <a:gd name="connsiteY2059" fmla="*/ 1521929 h 1729572"/>
              <a:gd name="connsiteX2060" fmla="*/ 1082434 w 2601035"/>
              <a:gd name="connsiteY2060" fmla="*/ 1521929 h 1729572"/>
              <a:gd name="connsiteX2061" fmla="*/ 1080151 w 2601035"/>
              <a:gd name="connsiteY2061" fmla="*/ 1521929 h 1729572"/>
              <a:gd name="connsiteX2062" fmla="*/ 1077867 w 2601035"/>
              <a:gd name="connsiteY2062" fmla="*/ 1521929 h 1729572"/>
              <a:gd name="connsiteX2063" fmla="*/ 1075584 w 2601035"/>
              <a:gd name="connsiteY2063" fmla="*/ 1521929 h 1729572"/>
              <a:gd name="connsiteX2064" fmla="*/ 1075584 w 2601035"/>
              <a:gd name="connsiteY2064" fmla="*/ 1524211 h 1729572"/>
              <a:gd name="connsiteX2065" fmla="*/ 1073300 w 2601035"/>
              <a:gd name="connsiteY2065" fmla="*/ 1524211 h 1729572"/>
              <a:gd name="connsiteX2066" fmla="*/ 1071016 w 2601035"/>
              <a:gd name="connsiteY2066" fmla="*/ 1524211 h 1729572"/>
              <a:gd name="connsiteX2067" fmla="*/ 1068733 w 2601035"/>
              <a:gd name="connsiteY2067" fmla="*/ 1524211 h 1729572"/>
              <a:gd name="connsiteX2068" fmla="*/ 1068733 w 2601035"/>
              <a:gd name="connsiteY2068" fmla="*/ 1526493 h 1729572"/>
              <a:gd name="connsiteX2069" fmla="*/ 1066449 w 2601035"/>
              <a:gd name="connsiteY2069" fmla="*/ 1526493 h 1729572"/>
              <a:gd name="connsiteX2070" fmla="*/ 1064165 w 2601035"/>
              <a:gd name="connsiteY2070" fmla="*/ 1526493 h 1729572"/>
              <a:gd name="connsiteX2071" fmla="*/ 1064165 w 2601035"/>
              <a:gd name="connsiteY2071" fmla="*/ 1528775 h 1729572"/>
              <a:gd name="connsiteX2072" fmla="*/ 1061882 w 2601035"/>
              <a:gd name="connsiteY2072" fmla="*/ 1528775 h 1729572"/>
              <a:gd name="connsiteX2073" fmla="*/ 1059598 w 2601035"/>
              <a:gd name="connsiteY2073" fmla="*/ 1528775 h 1729572"/>
              <a:gd name="connsiteX2074" fmla="*/ 1059598 w 2601035"/>
              <a:gd name="connsiteY2074" fmla="*/ 1531057 h 1729572"/>
              <a:gd name="connsiteX2075" fmla="*/ 1057315 w 2601035"/>
              <a:gd name="connsiteY2075" fmla="*/ 1531057 h 1729572"/>
              <a:gd name="connsiteX2076" fmla="*/ 1055031 w 2601035"/>
              <a:gd name="connsiteY2076" fmla="*/ 1531057 h 1729572"/>
              <a:gd name="connsiteX2077" fmla="*/ 1055031 w 2601035"/>
              <a:gd name="connsiteY2077" fmla="*/ 1533339 h 1729572"/>
              <a:gd name="connsiteX2078" fmla="*/ 1052747 w 2601035"/>
              <a:gd name="connsiteY2078" fmla="*/ 1533339 h 1729572"/>
              <a:gd name="connsiteX2079" fmla="*/ 1050464 w 2601035"/>
              <a:gd name="connsiteY2079" fmla="*/ 1533339 h 1729572"/>
              <a:gd name="connsiteX2080" fmla="*/ 1050464 w 2601035"/>
              <a:gd name="connsiteY2080" fmla="*/ 1535621 h 1729572"/>
              <a:gd name="connsiteX2081" fmla="*/ 1048180 w 2601035"/>
              <a:gd name="connsiteY2081" fmla="*/ 1535621 h 1729572"/>
              <a:gd name="connsiteX2082" fmla="*/ 1045897 w 2601035"/>
              <a:gd name="connsiteY2082" fmla="*/ 1537903 h 1729572"/>
              <a:gd name="connsiteX2083" fmla="*/ 1043613 w 2601035"/>
              <a:gd name="connsiteY2083" fmla="*/ 1540185 h 1729572"/>
              <a:gd name="connsiteX2084" fmla="*/ 1041330 w 2601035"/>
              <a:gd name="connsiteY2084" fmla="*/ 1540185 h 1729572"/>
              <a:gd name="connsiteX2085" fmla="*/ 1041330 w 2601035"/>
              <a:gd name="connsiteY2085" fmla="*/ 1542466 h 1729572"/>
              <a:gd name="connsiteX2086" fmla="*/ 1039046 w 2601035"/>
              <a:gd name="connsiteY2086" fmla="*/ 1542466 h 1729572"/>
              <a:gd name="connsiteX2087" fmla="*/ 1036762 w 2601035"/>
              <a:gd name="connsiteY2087" fmla="*/ 1542466 h 1729572"/>
              <a:gd name="connsiteX2088" fmla="*/ 1036762 w 2601035"/>
              <a:gd name="connsiteY2088" fmla="*/ 1544748 h 1729572"/>
              <a:gd name="connsiteX2089" fmla="*/ 1034479 w 2601035"/>
              <a:gd name="connsiteY2089" fmla="*/ 1544748 h 1729572"/>
              <a:gd name="connsiteX2090" fmla="*/ 1034479 w 2601035"/>
              <a:gd name="connsiteY2090" fmla="*/ 1547030 h 1729572"/>
              <a:gd name="connsiteX2091" fmla="*/ 1032195 w 2601035"/>
              <a:gd name="connsiteY2091" fmla="*/ 1547030 h 1729572"/>
              <a:gd name="connsiteX2092" fmla="*/ 1029911 w 2601035"/>
              <a:gd name="connsiteY2092" fmla="*/ 1547030 h 1729572"/>
              <a:gd name="connsiteX2093" fmla="*/ 1029911 w 2601035"/>
              <a:gd name="connsiteY2093" fmla="*/ 1549312 h 1729572"/>
              <a:gd name="connsiteX2094" fmla="*/ 1027628 w 2601035"/>
              <a:gd name="connsiteY2094" fmla="*/ 1549312 h 1729572"/>
              <a:gd name="connsiteX2095" fmla="*/ 1027628 w 2601035"/>
              <a:gd name="connsiteY2095" fmla="*/ 1551594 h 1729572"/>
              <a:gd name="connsiteX2096" fmla="*/ 1025344 w 2601035"/>
              <a:gd name="connsiteY2096" fmla="*/ 1551594 h 1729572"/>
              <a:gd name="connsiteX2097" fmla="*/ 1025344 w 2601035"/>
              <a:gd name="connsiteY2097" fmla="*/ 1553876 h 1729572"/>
              <a:gd name="connsiteX2098" fmla="*/ 1023061 w 2601035"/>
              <a:gd name="connsiteY2098" fmla="*/ 1553876 h 1729572"/>
              <a:gd name="connsiteX2099" fmla="*/ 1023061 w 2601035"/>
              <a:gd name="connsiteY2099" fmla="*/ 1556158 h 1729572"/>
              <a:gd name="connsiteX2100" fmla="*/ 1023061 w 2601035"/>
              <a:gd name="connsiteY2100" fmla="*/ 1563004 h 1729572"/>
              <a:gd name="connsiteX2101" fmla="*/ 1020777 w 2601035"/>
              <a:gd name="connsiteY2101" fmla="*/ 1563004 h 1729572"/>
              <a:gd name="connsiteX2102" fmla="*/ 1023061 w 2601035"/>
              <a:gd name="connsiteY2102" fmla="*/ 1560722 h 1729572"/>
              <a:gd name="connsiteX2103" fmla="*/ 1023061 w 2601035"/>
              <a:gd name="connsiteY2103" fmla="*/ 1558440 h 1729572"/>
              <a:gd name="connsiteX2104" fmla="*/ 1023061 w 2601035"/>
              <a:gd name="connsiteY2104" fmla="*/ 1556158 h 1729572"/>
              <a:gd name="connsiteX2105" fmla="*/ 1023061 w 2601035"/>
              <a:gd name="connsiteY2105" fmla="*/ 1553876 h 1729572"/>
              <a:gd name="connsiteX2106" fmla="*/ 1020777 w 2601035"/>
              <a:gd name="connsiteY2106" fmla="*/ 1553876 h 1729572"/>
              <a:gd name="connsiteX2107" fmla="*/ 1018494 w 2601035"/>
              <a:gd name="connsiteY2107" fmla="*/ 1553876 h 1729572"/>
              <a:gd name="connsiteX2108" fmla="*/ 1020777 w 2601035"/>
              <a:gd name="connsiteY2108" fmla="*/ 1556158 h 1729572"/>
              <a:gd name="connsiteX2109" fmla="*/ 1018494 w 2601035"/>
              <a:gd name="connsiteY2109" fmla="*/ 1553876 h 1729572"/>
              <a:gd name="connsiteX2110" fmla="*/ 1018494 w 2601035"/>
              <a:gd name="connsiteY2110" fmla="*/ 1556158 h 1729572"/>
              <a:gd name="connsiteX2111" fmla="*/ 1018494 w 2601035"/>
              <a:gd name="connsiteY2111" fmla="*/ 1558440 h 1729572"/>
              <a:gd name="connsiteX2112" fmla="*/ 1020777 w 2601035"/>
              <a:gd name="connsiteY2112" fmla="*/ 1558440 h 1729572"/>
              <a:gd name="connsiteX2113" fmla="*/ 1020777 w 2601035"/>
              <a:gd name="connsiteY2113" fmla="*/ 1560722 h 1729572"/>
              <a:gd name="connsiteX2114" fmla="*/ 1020777 w 2601035"/>
              <a:gd name="connsiteY2114" fmla="*/ 1558440 h 1729572"/>
              <a:gd name="connsiteX2115" fmla="*/ 1020777 w 2601035"/>
              <a:gd name="connsiteY2115" fmla="*/ 1560722 h 1729572"/>
              <a:gd name="connsiteX2116" fmla="*/ 1018494 w 2601035"/>
              <a:gd name="connsiteY2116" fmla="*/ 1560722 h 1729572"/>
              <a:gd name="connsiteX2117" fmla="*/ 1016210 w 2601035"/>
              <a:gd name="connsiteY2117" fmla="*/ 1560722 h 1729572"/>
              <a:gd name="connsiteX2118" fmla="*/ 1016210 w 2601035"/>
              <a:gd name="connsiteY2118" fmla="*/ 1558440 h 1729572"/>
              <a:gd name="connsiteX2119" fmla="*/ 1016210 w 2601035"/>
              <a:gd name="connsiteY2119" fmla="*/ 1560722 h 1729572"/>
              <a:gd name="connsiteX2120" fmla="*/ 1013926 w 2601035"/>
              <a:gd name="connsiteY2120" fmla="*/ 1560722 h 1729572"/>
              <a:gd name="connsiteX2121" fmla="*/ 1013926 w 2601035"/>
              <a:gd name="connsiteY2121" fmla="*/ 1563004 h 1729572"/>
              <a:gd name="connsiteX2122" fmla="*/ 1013926 w 2601035"/>
              <a:gd name="connsiteY2122" fmla="*/ 1565286 h 1729572"/>
              <a:gd name="connsiteX2123" fmla="*/ 1011643 w 2601035"/>
              <a:gd name="connsiteY2123" fmla="*/ 1565286 h 1729572"/>
              <a:gd name="connsiteX2124" fmla="*/ 1011643 w 2601035"/>
              <a:gd name="connsiteY2124" fmla="*/ 1567567 h 1729572"/>
              <a:gd name="connsiteX2125" fmla="*/ 1009359 w 2601035"/>
              <a:gd name="connsiteY2125" fmla="*/ 1567567 h 1729572"/>
              <a:gd name="connsiteX2126" fmla="*/ 1009359 w 2601035"/>
              <a:gd name="connsiteY2126" fmla="*/ 1569849 h 1729572"/>
              <a:gd name="connsiteX2127" fmla="*/ 1007076 w 2601035"/>
              <a:gd name="connsiteY2127" fmla="*/ 1569849 h 1729572"/>
              <a:gd name="connsiteX2128" fmla="*/ 1007076 w 2601035"/>
              <a:gd name="connsiteY2128" fmla="*/ 1572131 h 1729572"/>
              <a:gd name="connsiteX2129" fmla="*/ 1007076 w 2601035"/>
              <a:gd name="connsiteY2129" fmla="*/ 1574413 h 1729572"/>
              <a:gd name="connsiteX2130" fmla="*/ 1004792 w 2601035"/>
              <a:gd name="connsiteY2130" fmla="*/ 1574413 h 1729572"/>
              <a:gd name="connsiteX2131" fmla="*/ 1004792 w 2601035"/>
              <a:gd name="connsiteY2131" fmla="*/ 1576695 h 1729572"/>
              <a:gd name="connsiteX2132" fmla="*/ 1004792 w 2601035"/>
              <a:gd name="connsiteY2132" fmla="*/ 1578977 h 1729572"/>
              <a:gd name="connsiteX2133" fmla="*/ 1002508 w 2601035"/>
              <a:gd name="connsiteY2133" fmla="*/ 1578977 h 1729572"/>
              <a:gd name="connsiteX2134" fmla="*/ 1002508 w 2601035"/>
              <a:gd name="connsiteY2134" fmla="*/ 1581259 h 1729572"/>
              <a:gd name="connsiteX2135" fmla="*/ 1000225 w 2601035"/>
              <a:gd name="connsiteY2135" fmla="*/ 1581259 h 1729572"/>
              <a:gd name="connsiteX2136" fmla="*/ 1000225 w 2601035"/>
              <a:gd name="connsiteY2136" fmla="*/ 1583541 h 1729572"/>
              <a:gd name="connsiteX2137" fmla="*/ 1002508 w 2601035"/>
              <a:gd name="connsiteY2137" fmla="*/ 1583541 h 1729572"/>
              <a:gd name="connsiteX2138" fmla="*/ 1000225 w 2601035"/>
              <a:gd name="connsiteY2138" fmla="*/ 1583541 h 1729572"/>
              <a:gd name="connsiteX2139" fmla="*/ 1000225 w 2601035"/>
              <a:gd name="connsiteY2139" fmla="*/ 1585822 h 1729572"/>
              <a:gd name="connsiteX2140" fmla="*/ 1000225 w 2601035"/>
              <a:gd name="connsiteY2140" fmla="*/ 1588104 h 1729572"/>
              <a:gd name="connsiteX2141" fmla="*/ 1000225 w 2601035"/>
              <a:gd name="connsiteY2141" fmla="*/ 1590386 h 1729572"/>
              <a:gd name="connsiteX2142" fmla="*/ 997941 w 2601035"/>
              <a:gd name="connsiteY2142" fmla="*/ 1590386 h 1729572"/>
              <a:gd name="connsiteX2143" fmla="*/ 997941 w 2601035"/>
              <a:gd name="connsiteY2143" fmla="*/ 1592668 h 1729572"/>
              <a:gd name="connsiteX2144" fmla="*/ 997941 w 2601035"/>
              <a:gd name="connsiteY2144" fmla="*/ 1594950 h 1729572"/>
              <a:gd name="connsiteX2145" fmla="*/ 997941 w 2601035"/>
              <a:gd name="connsiteY2145" fmla="*/ 1597232 h 1729572"/>
              <a:gd name="connsiteX2146" fmla="*/ 995657 w 2601035"/>
              <a:gd name="connsiteY2146" fmla="*/ 1597232 h 1729572"/>
              <a:gd name="connsiteX2147" fmla="*/ 995657 w 2601035"/>
              <a:gd name="connsiteY2147" fmla="*/ 1599514 h 1729572"/>
              <a:gd name="connsiteX2148" fmla="*/ 995657 w 2601035"/>
              <a:gd name="connsiteY2148" fmla="*/ 1601796 h 1729572"/>
              <a:gd name="connsiteX2149" fmla="*/ 995657 w 2601035"/>
              <a:gd name="connsiteY2149" fmla="*/ 1604078 h 1729572"/>
              <a:gd name="connsiteX2150" fmla="*/ 995657 w 2601035"/>
              <a:gd name="connsiteY2150" fmla="*/ 1606360 h 1729572"/>
              <a:gd name="connsiteX2151" fmla="*/ 995657 w 2601035"/>
              <a:gd name="connsiteY2151" fmla="*/ 1608642 h 1729572"/>
              <a:gd name="connsiteX2152" fmla="*/ 993374 w 2601035"/>
              <a:gd name="connsiteY2152" fmla="*/ 1608642 h 1729572"/>
              <a:gd name="connsiteX2153" fmla="*/ 993374 w 2601035"/>
              <a:gd name="connsiteY2153" fmla="*/ 1610923 h 1729572"/>
              <a:gd name="connsiteX2154" fmla="*/ 993374 w 2601035"/>
              <a:gd name="connsiteY2154" fmla="*/ 1613205 h 1729572"/>
              <a:gd name="connsiteX2155" fmla="*/ 993374 w 2601035"/>
              <a:gd name="connsiteY2155" fmla="*/ 1615487 h 1729572"/>
              <a:gd name="connsiteX2156" fmla="*/ 995657 w 2601035"/>
              <a:gd name="connsiteY2156" fmla="*/ 1615487 h 1729572"/>
              <a:gd name="connsiteX2157" fmla="*/ 993374 w 2601035"/>
              <a:gd name="connsiteY2157" fmla="*/ 1615487 h 1729572"/>
              <a:gd name="connsiteX2158" fmla="*/ 995657 w 2601035"/>
              <a:gd name="connsiteY2158" fmla="*/ 1615487 h 1729572"/>
              <a:gd name="connsiteX2159" fmla="*/ 995657 w 2601035"/>
              <a:gd name="connsiteY2159" fmla="*/ 1617769 h 1729572"/>
              <a:gd name="connsiteX2160" fmla="*/ 997941 w 2601035"/>
              <a:gd name="connsiteY2160" fmla="*/ 1617769 h 1729572"/>
              <a:gd name="connsiteX2161" fmla="*/ 997941 w 2601035"/>
              <a:gd name="connsiteY2161" fmla="*/ 1620051 h 1729572"/>
              <a:gd name="connsiteX2162" fmla="*/ 1000225 w 2601035"/>
              <a:gd name="connsiteY2162" fmla="*/ 1620051 h 1729572"/>
              <a:gd name="connsiteX2163" fmla="*/ 1004792 w 2601035"/>
              <a:gd name="connsiteY2163" fmla="*/ 1620051 h 1729572"/>
              <a:gd name="connsiteX2164" fmla="*/ 1000225 w 2601035"/>
              <a:gd name="connsiteY2164" fmla="*/ 1622333 h 1729572"/>
              <a:gd name="connsiteX2165" fmla="*/ 1002508 w 2601035"/>
              <a:gd name="connsiteY2165" fmla="*/ 1622333 h 1729572"/>
              <a:gd name="connsiteX2166" fmla="*/ 1000225 w 2601035"/>
              <a:gd name="connsiteY2166" fmla="*/ 1622333 h 1729572"/>
              <a:gd name="connsiteX2167" fmla="*/ 1000225 w 2601035"/>
              <a:gd name="connsiteY2167" fmla="*/ 1624615 h 1729572"/>
              <a:gd name="connsiteX2168" fmla="*/ 1002508 w 2601035"/>
              <a:gd name="connsiteY2168" fmla="*/ 1624615 h 1729572"/>
              <a:gd name="connsiteX2169" fmla="*/ 1000225 w 2601035"/>
              <a:gd name="connsiteY2169" fmla="*/ 1624615 h 1729572"/>
              <a:gd name="connsiteX2170" fmla="*/ 1002508 w 2601035"/>
              <a:gd name="connsiteY2170" fmla="*/ 1624615 h 1729572"/>
              <a:gd name="connsiteX2171" fmla="*/ 1004792 w 2601035"/>
              <a:gd name="connsiteY2171" fmla="*/ 1624615 h 1729572"/>
              <a:gd name="connsiteX2172" fmla="*/ 1002508 w 2601035"/>
              <a:gd name="connsiteY2172" fmla="*/ 1624615 h 1729572"/>
              <a:gd name="connsiteX2173" fmla="*/ 1004792 w 2601035"/>
              <a:gd name="connsiteY2173" fmla="*/ 1624615 h 1729572"/>
              <a:gd name="connsiteX2174" fmla="*/ 1004792 w 2601035"/>
              <a:gd name="connsiteY2174" fmla="*/ 1622333 h 1729572"/>
              <a:gd name="connsiteX2175" fmla="*/ 1007076 w 2601035"/>
              <a:gd name="connsiteY2175" fmla="*/ 1622333 h 1729572"/>
              <a:gd name="connsiteX2176" fmla="*/ 1007076 w 2601035"/>
              <a:gd name="connsiteY2176" fmla="*/ 1620051 h 1729572"/>
              <a:gd name="connsiteX2177" fmla="*/ 1004792 w 2601035"/>
              <a:gd name="connsiteY2177" fmla="*/ 1620051 h 1729572"/>
              <a:gd name="connsiteX2178" fmla="*/ 1004792 w 2601035"/>
              <a:gd name="connsiteY2178" fmla="*/ 1617769 h 1729572"/>
              <a:gd name="connsiteX2179" fmla="*/ 1004792 w 2601035"/>
              <a:gd name="connsiteY2179" fmla="*/ 1620051 h 1729572"/>
              <a:gd name="connsiteX2180" fmla="*/ 1007076 w 2601035"/>
              <a:gd name="connsiteY2180" fmla="*/ 1620051 h 1729572"/>
              <a:gd name="connsiteX2181" fmla="*/ 1007076 w 2601035"/>
              <a:gd name="connsiteY2181" fmla="*/ 1622333 h 1729572"/>
              <a:gd name="connsiteX2182" fmla="*/ 1004792 w 2601035"/>
              <a:gd name="connsiteY2182" fmla="*/ 1622333 h 1729572"/>
              <a:gd name="connsiteX2183" fmla="*/ 1004792 w 2601035"/>
              <a:gd name="connsiteY2183" fmla="*/ 1624615 h 1729572"/>
              <a:gd name="connsiteX2184" fmla="*/ 1007076 w 2601035"/>
              <a:gd name="connsiteY2184" fmla="*/ 1624615 h 1729572"/>
              <a:gd name="connsiteX2185" fmla="*/ 1007076 w 2601035"/>
              <a:gd name="connsiteY2185" fmla="*/ 1626897 h 1729572"/>
              <a:gd name="connsiteX2186" fmla="*/ 1007076 w 2601035"/>
              <a:gd name="connsiteY2186" fmla="*/ 1629178 h 1729572"/>
              <a:gd name="connsiteX2187" fmla="*/ 1009359 w 2601035"/>
              <a:gd name="connsiteY2187" fmla="*/ 1629178 h 1729572"/>
              <a:gd name="connsiteX2188" fmla="*/ 1011643 w 2601035"/>
              <a:gd name="connsiteY2188" fmla="*/ 1629178 h 1729572"/>
              <a:gd name="connsiteX2189" fmla="*/ 1011643 w 2601035"/>
              <a:gd name="connsiteY2189" fmla="*/ 1631460 h 1729572"/>
              <a:gd name="connsiteX2190" fmla="*/ 1013926 w 2601035"/>
              <a:gd name="connsiteY2190" fmla="*/ 1631460 h 1729572"/>
              <a:gd name="connsiteX2191" fmla="*/ 1016210 w 2601035"/>
              <a:gd name="connsiteY2191" fmla="*/ 1631460 h 1729572"/>
              <a:gd name="connsiteX2192" fmla="*/ 1016210 w 2601035"/>
              <a:gd name="connsiteY2192" fmla="*/ 1633742 h 1729572"/>
              <a:gd name="connsiteX2193" fmla="*/ 1018494 w 2601035"/>
              <a:gd name="connsiteY2193" fmla="*/ 1633742 h 1729572"/>
              <a:gd name="connsiteX2194" fmla="*/ 1018494 w 2601035"/>
              <a:gd name="connsiteY2194" fmla="*/ 1636024 h 1729572"/>
              <a:gd name="connsiteX2195" fmla="*/ 1020777 w 2601035"/>
              <a:gd name="connsiteY2195" fmla="*/ 1636024 h 1729572"/>
              <a:gd name="connsiteX2196" fmla="*/ 1020777 w 2601035"/>
              <a:gd name="connsiteY2196" fmla="*/ 1638306 h 1729572"/>
              <a:gd name="connsiteX2197" fmla="*/ 1020777 w 2601035"/>
              <a:gd name="connsiteY2197" fmla="*/ 1640588 h 1729572"/>
              <a:gd name="connsiteX2198" fmla="*/ 1023061 w 2601035"/>
              <a:gd name="connsiteY2198" fmla="*/ 1640588 h 1729572"/>
              <a:gd name="connsiteX2199" fmla="*/ 1023061 w 2601035"/>
              <a:gd name="connsiteY2199" fmla="*/ 1642870 h 1729572"/>
              <a:gd name="connsiteX2200" fmla="*/ 1023061 w 2601035"/>
              <a:gd name="connsiteY2200" fmla="*/ 1645152 h 1729572"/>
              <a:gd name="connsiteX2201" fmla="*/ 1023061 w 2601035"/>
              <a:gd name="connsiteY2201" fmla="*/ 1647434 h 1729572"/>
              <a:gd name="connsiteX2202" fmla="*/ 1025344 w 2601035"/>
              <a:gd name="connsiteY2202" fmla="*/ 1647434 h 1729572"/>
              <a:gd name="connsiteX2203" fmla="*/ 1025344 w 2601035"/>
              <a:gd name="connsiteY2203" fmla="*/ 1649716 h 1729572"/>
              <a:gd name="connsiteX2204" fmla="*/ 1027628 w 2601035"/>
              <a:gd name="connsiteY2204" fmla="*/ 1649716 h 1729572"/>
              <a:gd name="connsiteX2205" fmla="*/ 1025344 w 2601035"/>
              <a:gd name="connsiteY2205" fmla="*/ 1649716 h 1729572"/>
              <a:gd name="connsiteX2206" fmla="*/ 1027628 w 2601035"/>
              <a:gd name="connsiteY2206" fmla="*/ 1649716 h 1729572"/>
              <a:gd name="connsiteX2207" fmla="*/ 1027628 w 2601035"/>
              <a:gd name="connsiteY2207" fmla="*/ 1651997 h 1729572"/>
              <a:gd name="connsiteX2208" fmla="*/ 1025344 w 2601035"/>
              <a:gd name="connsiteY2208" fmla="*/ 1651997 h 1729572"/>
              <a:gd name="connsiteX2209" fmla="*/ 1025344 w 2601035"/>
              <a:gd name="connsiteY2209" fmla="*/ 1649716 h 1729572"/>
              <a:gd name="connsiteX2210" fmla="*/ 1025344 w 2601035"/>
              <a:gd name="connsiteY2210" fmla="*/ 1651997 h 1729572"/>
              <a:gd name="connsiteX2211" fmla="*/ 1023061 w 2601035"/>
              <a:gd name="connsiteY2211" fmla="*/ 1651997 h 1729572"/>
              <a:gd name="connsiteX2212" fmla="*/ 1023061 w 2601035"/>
              <a:gd name="connsiteY2212" fmla="*/ 1649716 h 1729572"/>
              <a:gd name="connsiteX2213" fmla="*/ 1020777 w 2601035"/>
              <a:gd name="connsiteY2213" fmla="*/ 1649716 h 1729572"/>
              <a:gd name="connsiteX2214" fmla="*/ 1018494 w 2601035"/>
              <a:gd name="connsiteY2214" fmla="*/ 1649716 h 1729572"/>
              <a:gd name="connsiteX2215" fmla="*/ 1016210 w 2601035"/>
              <a:gd name="connsiteY2215" fmla="*/ 1649716 h 1729572"/>
              <a:gd name="connsiteX2216" fmla="*/ 1016210 w 2601035"/>
              <a:gd name="connsiteY2216" fmla="*/ 1647434 h 1729572"/>
              <a:gd name="connsiteX2217" fmla="*/ 1016210 w 2601035"/>
              <a:gd name="connsiteY2217" fmla="*/ 1649716 h 1729572"/>
              <a:gd name="connsiteX2218" fmla="*/ 1013926 w 2601035"/>
              <a:gd name="connsiteY2218" fmla="*/ 1649716 h 1729572"/>
              <a:gd name="connsiteX2219" fmla="*/ 1013926 w 2601035"/>
              <a:gd name="connsiteY2219" fmla="*/ 1647434 h 1729572"/>
              <a:gd name="connsiteX2220" fmla="*/ 1013926 w 2601035"/>
              <a:gd name="connsiteY2220" fmla="*/ 1649716 h 1729572"/>
              <a:gd name="connsiteX2221" fmla="*/ 1011643 w 2601035"/>
              <a:gd name="connsiteY2221" fmla="*/ 1649716 h 1729572"/>
              <a:gd name="connsiteX2222" fmla="*/ 1009359 w 2601035"/>
              <a:gd name="connsiteY2222" fmla="*/ 1649716 h 1729572"/>
              <a:gd name="connsiteX2223" fmla="*/ 1007076 w 2601035"/>
              <a:gd name="connsiteY2223" fmla="*/ 1649716 h 1729572"/>
              <a:gd name="connsiteX2224" fmla="*/ 1007076 w 2601035"/>
              <a:gd name="connsiteY2224" fmla="*/ 1651997 h 1729572"/>
              <a:gd name="connsiteX2225" fmla="*/ 1007076 w 2601035"/>
              <a:gd name="connsiteY2225" fmla="*/ 1654279 h 1729572"/>
              <a:gd name="connsiteX2226" fmla="*/ 1004792 w 2601035"/>
              <a:gd name="connsiteY2226" fmla="*/ 1654279 h 1729572"/>
              <a:gd name="connsiteX2227" fmla="*/ 1004792 w 2601035"/>
              <a:gd name="connsiteY2227" fmla="*/ 1656561 h 1729572"/>
              <a:gd name="connsiteX2228" fmla="*/ 1002508 w 2601035"/>
              <a:gd name="connsiteY2228" fmla="*/ 1656561 h 1729572"/>
              <a:gd name="connsiteX2229" fmla="*/ 1000225 w 2601035"/>
              <a:gd name="connsiteY2229" fmla="*/ 1656561 h 1729572"/>
              <a:gd name="connsiteX2230" fmla="*/ 1000225 w 2601035"/>
              <a:gd name="connsiteY2230" fmla="*/ 1658843 h 1729572"/>
              <a:gd name="connsiteX2231" fmla="*/ 1000225 w 2601035"/>
              <a:gd name="connsiteY2231" fmla="*/ 1656561 h 1729572"/>
              <a:gd name="connsiteX2232" fmla="*/ 997941 w 2601035"/>
              <a:gd name="connsiteY2232" fmla="*/ 1656561 h 1729572"/>
              <a:gd name="connsiteX2233" fmla="*/ 995657 w 2601035"/>
              <a:gd name="connsiteY2233" fmla="*/ 1656561 h 1729572"/>
              <a:gd name="connsiteX2234" fmla="*/ 993374 w 2601035"/>
              <a:gd name="connsiteY2234" fmla="*/ 1656561 h 1729572"/>
              <a:gd name="connsiteX2235" fmla="*/ 991090 w 2601035"/>
              <a:gd name="connsiteY2235" fmla="*/ 1656561 h 1729572"/>
              <a:gd name="connsiteX2236" fmla="*/ 991090 w 2601035"/>
              <a:gd name="connsiteY2236" fmla="*/ 1658843 h 1729572"/>
              <a:gd name="connsiteX2237" fmla="*/ 988807 w 2601035"/>
              <a:gd name="connsiteY2237" fmla="*/ 1658843 h 1729572"/>
              <a:gd name="connsiteX2238" fmla="*/ 986523 w 2601035"/>
              <a:gd name="connsiteY2238" fmla="*/ 1658843 h 1729572"/>
              <a:gd name="connsiteX2239" fmla="*/ 984240 w 2601035"/>
              <a:gd name="connsiteY2239" fmla="*/ 1658843 h 1729572"/>
              <a:gd name="connsiteX2240" fmla="*/ 981956 w 2601035"/>
              <a:gd name="connsiteY2240" fmla="*/ 1658843 h 1729572"/>
              <a:gd name="connsiteX2241" fmla="*/ 981956 w 2601035"/>
              <a:gd name="connsiteY2241" fmla="*/ 1656561 h 1729572"/>
              <a:gd name="connsiteX2242" fmla="*/ 979672 w 2601035"/>
              <a:gd name="connsiteY2242" fmla="*/ 1656561 h 1729572"/>
              <a:gd name="connsiteX2243" fmla="*/ 977389 w 2601035"/>
              <a:gd name="connsiteY2243" fmla="*/ 1656561 h 1729572"/>
              <a:gd name="connsiteX2244" fmla="*/ 975105 w 2601035"/>
              <a:gd name="connsiteY2244" fmla="*/ 1656561 h 1729572"/>
              <a:gd name="connsiteX2245" fmla="*/ 972822 w 2601035"/>
              <a:gd name="connsiteY2245" fmla="*/ 1656561 h 1729572"/>
              <a:gd name="connsiteX2246" fmla="*/ 970538 w 2601035"/>
              <a:gd name="connsiteY2246" fmla="*/ 1656561 h 1729572"/>
              <a:gd name="connsiteX2247" fmla="*/ 968255 w 2601035"/>
              <a:gd name="connsiteY2247" fmla="*/ 1656561 h 1729572"/>
              <a:gd name="connsiteX2248" fmla="*/ 968255 w 2601035"/>
              <a:gd name="connsiteY2248" fmla="*/ 1654279 h 1729572"/>
              <a:gd name="connsiteX2249" fmla="*/ 965971 w 2601035"/>
              <a:gd name="connsiteY2249" fmla="*/ 1654279 h 1729572"/>
              <a:gd name="connsiteX2250" fmla="*/ 963687 w 2601035"/>
              <a:gd name="connsiteY2250" fmla="*/ 1654279 h 1729572"/>
              <a:gd name="connsiteX2251" fmla="*/ 961404 w 2601035"/>
              <a:gd name="connsiteY2251" fmla="*/ 1654279 h 1729572"/>
              <a:gd name="connsiteX2252" fmla="*/ 959120 w 2601035"/>
              <a:gd name="connsiteY2252" fmla="*/ 1654279 h 1729572"/>
              <a:gd name="connsiteX2253" fmla="*/ 959120 w 2601035"/>
              <a:gd name="connsiteY2253" fmla="*/ 1651997 h 1729572"/>
              <a:gd name="connsiteX2254" fmla="*/ 956836 w 2601035"/>
              <a:gd name="connsiteY2254" fmla="*/ 1651997 h 1729572"/>
              <a:gd name="connsiteX2255" fmla="*/ 956836 w 2601035"/>
              <a:gd name="connsiteY2255" fmla="*/ 1654279 h 1729572"/>
              <a:gd name="connsiteX2256" fmla="*/ 954553 w 2601035"/>
              <a:gd name="connsiteY2256" fmla="*/ 1651997 h 1729572"/>
              <a:gd name="connsiteX2257" fmla="*/ 952269 w 2601035"/>
              <a:gd name="connsiteY2257" fmla="*/ 1651997 h 1729572"/>
              <a:gd name="connsiteX2258" fmla="*/ 949986 w 2601035"/>
              <a:gd name="connsiteY2258" fmla="*/ 1651997 h 1729572"/>
              <a:gd name="connsiteX2259" fmla="*/ 947702 w 2601035"/>
              <a:gd name="connsiteY2259" fmla="*/ 1651997 h 1729572"/>
              <a:gd name="connsiteX2260" fmla="*/ 945418 w 2601035"/>
              <a:gd name="connsiteY2260" fmla="*/ 1651997 h 1729572"/>
              <a:gd name="connsiteX2261" fmla="*/ 943135 w 2601035"/>
              <a:gd name="connsiteY2261" fmla="*/ 1651997 h 1729572"/>
              <a:gd name="connsiteX2262" fmla="*/ 940851 w 2601035"/>
              <a:gd name="connsiteY2262" fmla="*/ 1651997 h 1729572"/>
              <a:gd name="connsiteX2263" fmla="*/ 938568 w 2601035"/>
              <a:gd name="connsiteY2263" fmla="*/ 1651997 h 1729572"/>
              <a:gd name="connsiteX2264" fmla="*/ 936284 w 2601035"/>
              <a:gd name="connsiteY2264" fmla="*/ 1651997 h 1729572"/>
              <a:gd name="connsiteX2265" fmla="*/ 936284 w 2601035"/>
              <a:gd name="connsiteY2265" fmla="*/ 1654279 h 1729572"/>
              <a:gd name="connsiteX2266" fmla="*/ 934001 w 2601035"/>
              <a:gd name="connsiteY2266" fmla="*/ 1654279 h 1729572"/>
              <a:gd name="connsiteX2267" fmla="*/ 934001 w 2601035"/>
              <a:gd name="connsiteY2267" fmla="*/ 1651997 h 1729572"/>
              <a:gd name="connsiteX2268" fmla="*/ 934001 w 2601035"/>
              <a:gd name="connsiteY2268" fmla="*/ 1654279 h 1729572"/>
              <a:gd name="connsiteX2269" fmla="*/ 934001 w 2601035"/>
              <a:gd name="connsiteY2269" fmla="*/ 1651997 h 1729572"/>
              <a:gd name="connsiteX2270" fmla="*/ 931717 w 2601035"/>
              <a:gd name="connsiteY2270" fmla="*/ 1651997 h 1729572"/>
              <a:gd name="connsiteX2271" fmla="*/ 931717 w 2601035"/>
              <a:gd name="connsiteY2271" fmla="*/ 1654279 h 1729572"/>
              <a:gd name="connsiteX2272" fmla="*/ 929433 w 2601035"/>
              <a:gd name="connsiteY2272" fmla="*/ 1654279 h 1729572"/>
              <a:gd name="connsiteX2273" fmla="*/ 929433 w 2601035"/>
              <a:gd name="connsiteY2273" fmla="*/ 1651997 h 1729572"/>
              <a:gd name="connsiteX2274" fmla="*/ 929433 w 2601035"/>
              <a:gd name="connsiteY2274" fmla="*/ 1654279 h 1729572"/>
              <a:gd name="connsiteX2275" fmla="*/ 929433 w 2601035"/>
              <a:gd name="connsiteY2275" fmla="*/ 1651997 h 1729572"/>
              <a:gd name="connsiteX2276" fmla="*/ 927150 w 2601035"/>
              <a:gd name="connsiteY2276" fmla="*/ 1651997 h 1729572"/>
              <a:gd name="connsiteX2277" fmla="*/ 927150 w 2601035"/>
              <a:gd name="connsiteY2277" fmla="*/ 1654279 h 1729572"/>
              <a:gd name="connsiteX2278" fmla="*/ 927150 w 2601035"/>
              <a:gd name="connsiteY2278" fmla="*/ 1651997 h 1729572"/>
              <a:gd name="connsiteX2279" fmla="*/ 927150 w 2601035"/>
              <a:gd name="connsiteY2279" fmla="*/ 1654279 h 1729572"/>
              <a:gd name="connsiteX2280" fmla="*/ 924866 w 2601035"/>
              <a:gd name="connsiteY2280" fmla="*/ 1654279 h 1729572"/>
              <a:gd name="connsiteX2281" fmla="*/ 924866 w 2601035"/>
              <a:gd name="connsiteY2281" fmla="*/ 1651997 h 1729572"/>
              <a:gd name="connsiteX2282" fmla="*/ 922582 w 2601035"/>
              <a:gd name="connsiteY2282" fmla="*/ 1651997 h 1729572"/>
              <a:gd name="connsiteX2283" fmla="*/ 920299 w 2601035"/>
              <a:gd name="connsiteY2283" fmla="*/ 1651997 h 1729572"/>
              <a:gd name="connsiteX2284" fmla="*/ 920299 w 2601035"/>
              <a:gd name="connsiteY2284" fmla="*/ 1649716 h 1729572"/>
              <a:gd name="connsiteX2285" fmla="*/ 918015 w 2601035"/>
              <a:gd name="connsiteY2285" fmla="*/ 1649716 h 1729572"/>
              <a:gd name="connsiteX2286" fmla="*/ 915732 w 2601035"/>
              <a:gd name="connsiteY2286" fmla="*/ 1649716 h 1729572"/>
              <a:gd name="connsiteX2287" fmla="*/ 915732 w 2601035"/>
              <a:gd name="connsiteY2287" fmla="*/ 1647434 h 1729572"/>
              <a:gd name="connsiteX2288" fmla="*/ 913448 w 2601035"/>
              <a:gd name="connsiteY2288" fmla="*/ 1647434 h 1729572"/>
              <a:gd name="connsiteX2289" fmla="*/ 911165 w 2601035"/>
              <a:gd name="connsiteY2289" fmla="*/ 1647434 h 1729572"/>
              <a:gd name="connsiteX2290" fmla="*/ 908881 w 2601035"/>
              <a:gd name="connsiteY2290" fmla="*/ 1647434 h 1729572"/>
              <a:gd name="connsiteX2291" fmla="*/ 906597 w 2601035"/>
              <a:gd name="connsiteY2291" fmla="*/ 1647434 h 1729572"/>
              <a:gd name="connsiteX2292" fmla="*/ 906597 w 2601035"/>
              <a:gd name="connsiteY2292" fmla="*/ 1645152 h 1729572"/>
              <a:gd name="connsiteX2293" fmla="*/ 904314 w 2601035"/>
              <a:gd name="connsiteY2293" fmla="*/ 1645152 h 1729572"/>
              <a:gd name="connsiteX2294" fmla="*/ 902030 w 2601035"/>
              <a:gd name="connsiteY2294" fmla="*/ 1645152 h 1729572"/>
              <a:gd name="connsiteX2295" fmla="*/ 902030 w 2601035"/>
              <a:gd name="connsiteY2295" fmla="*/ 1642870 h 1729572"/>
              <a:gd name="connsiteX2296" fmla="*/ 899746 w 2601035"/>
              <a:gd name="connsiteY2296" fmla="*/ 1642870 h 1729572"/>
              <a:gd name="connsiteX2297" fmla="*/ 897463 w 2601035"/>
              <a:gd name="connsiteY2297" fmla="*/ 1642870 h 1729572"/>
              <a:gd name="connsiteX2298" fmla="*/ 897463 w 2601035"/>
              <a:gd name="connsiteY2298" fmla="*/ 1640588 h 1729572"/>
              <a:gd name="connsiteX2299" fmla="*/ 897463 w 2601035"/>
              <a:gd name="connsiteY2299" fmla="*/ 1642870 h 1729572"/>
              <a:gd name="connsiteX2300" fmla="*/ 897463 w 2601035"/>
              <a:gd name="connsiteY2300" fmla="*/ 1640588 h 1729572"/>
              <a:gd name="connsiteX2301" fmla="*/ 895179 w 2601035"/>
              <a:gd name="connsiteY2301" fmla="*/ 1640588 h 1729572"/>
              <a:gd name="connsiteX2302" fmla="*/ 892896 w 2601035"/>
              <a:gd name="connsiteY2302" fmla="*/ 1640588 h 1729572"/>
              <a:gd name="connsiteX2303" fmla="*/ 892896 w 2601035"/>
              <a:gd name="connsiteY2303" fmla="*/ 1638306 h 1729572"/>
              <a:gd name="connsiteX2304" fmla="*/ 890612 w 2601035"/>
              <a:gd name="connsiteY2304" fmla="*/ 1638306 h 1729572"/>
              <a:gd name="connsiteX2305" fmla="*/ 890612 w 2601035"/>
              <a:gd name="connsiteY2305" fmla="*/ 1636024 h 1729572"/>
              <a:gd name="connsiteX2306" fmla="*/ 888328 w 2601035"/>
              <a:gd name="connsiteY2306" fmla="*/ 1636024 h 1729572"/>
              <a:gd name="connsiteX2307" fmla="*/ 886045 w 2601035"/>
              <a:gd name="connsiteY2307" fmla="*/ 1636024 h 1729572"/>
              <a:gd name="connsiteX2308" fmla="*/ 883761 w 2601035"/>
              <a:gd name="connsiteY2308" fmla="*/ 1636024 h 1729572"/>
              <a:gd name="connsiteX2309" fmla="*/ 883761 w 2601035"/>
              <a:gd name="connsiteY2309" fmla="*/ 1633742 h 1729572"/>
              <a:gd name="connsiteX2310" fmla="*/ 881478 w 2601035"/>
              <a:gd name="connsiteY2310" fmla="*/ 1633742 h 1729572"/>
              <a:gd name="connsiteX2311" fmla="*/ 879194 w 2601035"/>
              <a:gd name="connsiteY2311" fmla="*/ 1633742 h 1729572"/>
              <a:gd name="connsiteX2312" fmla="*/ 876911 w 2601035"/>
              <a:gd name="connsiteY2312" fmla="*/ 1633742 h 1729572"/>
              <a:gd name="connsiteX2313" fmla="*/ 876911 w 2601035"/>
              <a:gd name="connsiteY2313" fmla="*/ 1631460 h 1729572"/>
              <a:gd name="connsiteX2314" fmla="*/ 874627 w 2601035"/>
              <a:gd name="connsiteY2314" fmla="*/ 1631460 h 1729572"/>
              <a:gd name="connsiteX2315" fmla="*/ 872343 w 2601035"/>
              <a:gd name="connsiteY2315" fmla="*/ 1631460 h 1729572"/>
              <a:gd name="connsiteX2316" fmla="*/ 870060 w 2601035"/>
              <a:gd name="connsiteY2316" fmla="*/ 1631460 h 1729572"/>
              <a:gd name="connsiteX2317" fmla="*/ 870060 w 2601035"/>
              <a:gd name="connsiteY2317" fmla="*/ 1629178 h 1729572"/>
              <a:gd name="connsiteX2318" fmla="*/ 867776 w 2601035"/>
              <a:gd name="connsiteY2318" fmla="*/ 1629178 h 1729572"/>
              <a:gd name="connsiteX2319" fmla="*/ 865492 w 2601035"/>
              <a:gd name="connsiteY2319" fmla="*/ 1629178 h 1729572"/>
              <a:gd name="connsiteX2320" fmla="*/ 863209 w 2601035"/>
              <a:gd name="connsiteY2320" fmla="*/ 1629178 h 1729572"/>
              <a:gd name="connsiteX2321" fmla="*/ 860925 w 2601035"/>
              <a:gd name="connsiteY2321" fmla="*/ 1629178 h 1729572"/>
              <a:gd name="connsiteX2322" fmla="*/ 860925 w 2601035"/>
              <a:gd name="connsiteY2322" fmla="*/ 1626897 h 1729572"/>
              <a:gd name="connsiteX2323" fmla="*/ 858642 w 2601035"/>
              <a:gd name="connsiteY2323" fmla="*/ 1626897 h 1729572"/>
              <a:gd name="connsiteX2324" fmla="*/ 856358 w 2601035"/>
              <a:gd name="connsiteY2324" fmla="*/ 1626897 h 1729572"/>
              <a:gd name="connsiteX2325" fmla="*/ 854075 w 2601035"/>
              <a:gd name="connsiteY2325" fmla="*/ 1626897 h 1729572"/>
              <a:gd name="connsiteX2326" fmla="*/ 851791 w 2601035"/>
              <a:gd name="connsiteY2326" fmla="*/ 1626897 h 1729572"/>
              <a:gd name="connsiteX2327" fmla="*/ 849507 w 2601035"/>
              <a:gd name="connsiteY2327" fmla="*/ 1626897 h 1729572"/>
              <a:gd name="connsiteX2328" fmla="*/ 847224 w 2601035"/>
              <a:gd name="connsiteY2328" fmla="*/ 1626897 h 1729572"/>
              <a:gd name="connsiteX2329" fmla="*/ 844940 w 2601035"/>
              <a:gd name="connsiteY2329" fmla="*/ 1626897 h 1729572"/>
              <a:gd name="connsiteX2330" fmla="*/ 842657 w 2601035"/>
              <a:gd name="connsiteY2330" fmla="*/ 1626897 h 1729572"/>
              <a:gd name="connsiteX2331" fmla="*/ 842657 w 2601035"/>
              <a:gd name="connsiteY2331" fmla="*/ 1624615 h 1729572"/>
              <a:gd name="connsiteX2332" fmla="*/ 840373 w 2601035"/>
              <a:gd name="connsiteY2332" fmla="*/ 1624615 h 1729572"/>
              <a:gd name="connsiteX2333" fmla="*/ 838089 w 2601035"/>
              <a:gd name="connsiteY2333" fmla="*/ 1624615 h 1729572"/>
              <a:gd name="connsiteX2334" fmla="*/ 835806 w 2601035"/>
              <a:gd name="connsiteY2334" fmla="*/ 1624615 h 1729572"/>
              <a:gd name="connsiteX2335" fmla="*/ 833522 w 2601035"/>
              <a:gd name="connsiteY2335" fmla="*/ 1624615 h 1729572"/>
              <a:gd name="connsiteX2336" fmla="*/ 831238 w 2601035"/>
              <a:gd name="connsiteY2336" fmla="*/ 1624615 h 1729572"/>
              <a:gd name="connsiteX2337" fmla="*/ 828955 w 2601035"/>
              <a:gd name="connsiteY2337" fmla="*/ 1624615 h 1729572"/>
              <a:gd name="connsiteX2338" fmla="*/ 826671 w 2601035"/>
              <a:gd name="connsiteY2338" fmla="*/ 1624615 h 1729572"/>
              <a:gd name="connsiteX2339" fmla="*/ 824388 w 2601035"/>
              <a:gd name="connsiteY2339" fmla="*/ 1624615 h 1729572"/>
              <a:gd name="connsiteX2340" fmla="*/ 822104 w 2601035"/>
              <a:gd name="connsiteY2340" fmla="*/ 1624615 h 1729572"/>
              <a:gd name="connsiteX2341" fmla="*/ 819821 w 2601035"/>
              <a:gd name="connsiteY2341" fmla="*/ 1624615 h 1729572"/>
              <a:gd name="connsiteX2342" fmla="*/ 819821 w 2601035"/>
              <a:gd name="connsiteY2342" fmla="*/ 1626897 h 1729572"/>
              <a:gd name="connsiteX2343" fmla="*/ 817537 w 2601035"/>
              <a:gd name="connsiteY2343" fmla="*/ 1626897 h 1729572"/>
              <a:gd name="connsiteX2344" fmla="*/ 815253 w 2601035"/>
              <a:gd name="connsiteY2344" fmla="*/ 1626897 h 1729572"/>
              <a:gd name="connsiteX2345" fmla="*/ 812970 w 2601035"/>
              <a:gd name="connsiteY2345" fmla="*/ 1626897 h 1729572"/>
              <a:gd name="connsiteX2346" fmla="*/ 810686 w 2601035"/>
              <a:gd name="connsiteY2346" fmla="*/ 1626897 h 1729572"/>
              <a:gd name="connsiteX2347" fmla="*/ 808403 w 2601035"/>
              <a:gd name="connsiteY2347" fmla="*/ 1626897 h 1729572"/>
              <a:gd name="connsiteX2348" fmla="*/ 806119 w 2601035"/>
              <a:gd name="connsiteY2348" fmla="*/ 1626897 h 1729572"/>
              <a:gd name="connsiteX2349" fmla="*/ 803835 w 2601035"/>
              <a:gd name="connsiteY2349" fmla="*/ 1626897 h 1729572"/>
              <a:gd name="connsiteX2350" fmla="*/ 803835 w 2601035"/>
              <a:gd name="connsiteY2350" fmla="*/ 1629178 h 1729572"/>
              <a:gd name="connsiteX2351" fmla="*/ 801552 w 2601035"/>
              <a:gd name="connsiteY2351" fmla="*/ 1629178 h 1729572"/>
              <a:gd name="connsiteX2352" fmla="*/ 799268 w 2601035"/>
              <a:gd name="connsiteY2352" fmla="*/ 1629178 h 1729572"/>
              <a:gd name="connsiteX2353" fmla="*/ 796985 w 2601035"/>
              <a:gd name="connsiteY2353" fmla="*/ 1629178 h 1729572"/>
              <a:gd name="connsiteX2354" fmla="*/ 794701 w 2601035"/>
              <a:gd name="connsiteY2354" fmla="*/ 1629178 h 1729572"/>
              <a:gd name="connsiteX2355" fmla="*/ 792417 w 2601035"/>
              <a:gd name="connsiteY2355" fmla="*/ 1629178 h 1729572"/>
              <a:gd name="connsiteX2356" fmla="*/ 792417 w 2601035"/>
              <a:gd name="connsiteY2356" fmla="*/ 1631460 h 1729572"/>
              <a:gd name="connsiteX2357" fmla="*/ 790134 w 2601035"/>
              <a:gd name="connsiteY2357" fmla="*/ 1631460 h 1729572"/>
              <a:gd name="connsiteX2358" fmla="*/ 787850 w 2601035"/>
              <a:gd name="connsiteY2358" fmla="*/ 1631460 h 1729572"/>
              <a:gd name="connsiteX2359" fmla="*/ 785567 w 2601035"/>
              <a:gd name="connsiteY2359" fmla="*/ 1631460 h 1729572"/>
              <a:gd name="connsiteX2360" fmla="*/ 783283 w 2601035"/>
              <a:gd name="connsiteY2360" fmla="*/ 1631460 h 1729572"/>
              <a:gd name="connsiteX2361" fmla="*/ 783283 w 2601035"/>
              <a:gd name="connsiteY2361" fmla="*/ 1633742 h 1729572"/>
              <a:gd name="connsiteX2362" fmla="*/ 780999 w 2601035"/>
              <a:gd name="connsiteY2362" fmla="*/ 1633742 h 1729572"/>
              <a:gd name="connsiteX2363" fmla="*/ 778716 w 2601035"/>
              <a:gd name="connsiteY2363" fmla="*/ 1633742 h 1729572"/>
              <a:gd name="connsiteX2364" fmla="*/ 778716 w 2601035"/>
              <a:gd name="connsiteY2364" fmla="*/ 1636024 h 1729572"/>
              <a:gd name="connsiteX2365" fmla="*/ 776432 w 2601035"/>
              <a:gd name="connsiteY2365" fmla="*/ 1636024 h 1729572"/>
              <a:gd name="connsiteX2366" fmla="*/ 774149 w 2601035"/>
              <a:gd name="connsiteY2366" fmla="*/ 1636024 h 1729572"/>
              <a:gd name="connsiteX2367" fmla="*/ 774149 w 2601035"/>
              <a:gd name="connsiteY2367" fmla="*/ 1638306 h 1729572"/>
              <a:gd name="connsiteX2368" fmla="*/ 771865 w 2601035"/>
              <a:gd name="connsiteY2368" fmla="*/ 1638306 h 1729572"/>
              <a:gd name="connsiteX2369" fmla="*/ 769582 w 2601035"/>
              <a:gd name="connsiteY2369" fmla="*/ 1638306 h 1729572"/>
              <a:gd name="connsiteX2370" fmla="*/ 769582 w 2601035"/>
              <a:gd name="connsiteY2370" fmla="*/ 1640588 h 1729572"/>
              <a:gd name="connsiteX2371" fmla="*/ 767298 w 2601035"/>
              <a:gd name="connsiteY2371" fmla="*/ 1640588 h 1729572"/>
              <a:gd name="connsiteX2372" fmla="*/ 767298 w 2601035"/>
              <a:gd name="connsiteY2372" fmla="*/ 1642870 h 1729572"/>
              <a:gd name="connsiteX2373" fmla="*/ 765014 w 2601035"/>
              <a:gd name="connsiteY2373" fmla="*/ 1642870 h 1729572"/>
              <a:gd name="connsiteX2374" fmla="*/ 765014 w 2601035"/>
              <a:gd name="connsiteY2374" fmla="*/ 1645152 h 1729572"/>
              <a:gd name="connsiteX2375" fmla="*/ 762731 w 2601035"/>
              <a:gd name="connsiteY2375" fmla="*/ 1645152 h 1729572"/>
              <a:gd name="connsiteX2376" fmla="*/ 762731 w 2601035"/>
              <a:gd name="connsiteY2376" fmla="*/ 1647434 h 1729572"/>
              <a:gd name="connsiteX2377" fmla="*/ 760447 w 2601035"/>
              <a:gd name="connsiteY2377" fmla="*/ 1647434 h 1729572"/>
              <a:gd name="connsiteX2378" fmla="*/ 760447 w 2601035"/>
              <a:gd name="connsiteY2378" fmla="*/ 1649716 h 1729572"/>
              <a:gd name="connsiteX2379" fmla="*/ 760447 w 2601035"/>
              <a:gd name="connsiteY2379" fmla="*/ 1651997 h 1729572"/>
              <a:gd name="connsiteX2380" fmla="*/ 762731 w 2601035"/>
              <a:gd name="connsiteY2380" fmla="*/ 1651997 h 1729572"/>
              <a:gd name="connsiteX2381" fmla="*/ 762731 w 2601035"/>
              <a:gd name="connsiteY2381" fmla="*/ 1654279 h 1729572"/>
              <a:gd name="connsiteX2382" fmla="*/ 762731 w 2601035"/>
              <a:gd name="connsiteY2382" fmla="*/ 1656561 h 1729572"/>
              <a:gd name="connsiteX2383" fmla="*/ 762731 w 2601035"/>
              <a:gd name="connsiteY2383" fmla="*/ 1658843 h 1729572"/>
              <a:gd name="connsiteX2384" fmla="*/ 760447 w 2601035"/>
              <a:gd name="connsiteY2384" fmla="*/ 1658843 h 1729572"/>
              <a:gd name="connsiteX2385" fmla="*/ 760447 w 2601035"/>
              <a:gd name="connsiteY2385" fmla="*/ 1661125 h 1729572"/>
              <a:gd name="connsiteX2386" fmla="*/ 760447 w 2601035"/>
              <a:gd name="connsiteY2386" fmla="*/ 1663407 h 1729572"/>
              <a:gd name="connsiteX2387" fmla="*/ 760447 w 2601035"/>
              <a:gd name="connsiteY2387" fmla="*/ 1665679 h 1729572"/>
              <a:gd name="connsiteX2388" fmla="*/ 760447 w 2601035"/>
              <a:gd name="connsiteY2388" fmla="*/ 1667961 h 1729572"/>
              <a:gd name="connsiteX2389" fmla="*/ 760447 w 2601035"/>
              <a:gd name="connsiteY2389" fmla="*/ 1670243 h 1729572"/>
              <a:gd name="connsiteX2390" fmla="*/ 760447 w 2601035"/>
              <a:gd name="connsiteY2390" fmla="*/ 1672525 h 1729572"/>
              <a:gd name="connsiteX2391" fmla="*/ 758163 w 2601035"/>
              <a:gd name="connsiteY2391" fmla="*/ 1672525 h 1729572"/>
              <a:gd name="connsiteX2392" fmla="*/ 758163 w 2601035"/>
              <a:gd name="connsiteY2392" fmla="*/ 1674807 h 1729572"/>
              <a:gd name="connsiteX2393" fmla="*/ 760447 w 2601035"/>
              <a:gd name="connsiteY2393" fmla="*/ 1674807 h 1729572"/>
              <a:gd name="connsiteX2394" fmla="*/ 758163 w 2601035"/>
              <a:gd name="connsiteY2394" fmla="*/ 1674807 h 1729572"/>
              <a:gd name="connsiteX2395" fmla="*/ 758163 w 2601035"/>
              <a:gd name="connsiteY2395" fmla="*/ 1677089 h 1729572"/>
              <a:gd name="connsiteX2396" fmla="*/ 755880 w 2601035"/>
              <a:gd name="connsiteY2396" fmla="*/ 1677089 h 1729572"/>
              <a:gd name="connsiteX2397" fmla="*/ 753596 w 2601035"/>
              <a:gd name="connsiteY2397" fmla="*/ 1677089 h 1729572"/>
              <a:gd name="connsiteX2398" fmla="*/ 753596 w 2601035"/>
              <a:gd name="connsiteY2398" fmla="*/ 1679371 h 1729572"/>
              <a:gd name="connsiteX2399" fmla="*/ 753596 w 2601035"/>
              <a:gd name="connsiteY2399" fmla="*/ 1681653 h 1729572"/>
              <a:gd name="connsiteX2400" fmla="*/ 751313 w 2601035"/>
              <a:gd name="connsiteY2400" fmla="*/ 1681653 h 1729572"/>
              <a:gd name="connsiteX2401" fmla="*/ 751313 w 2601035"/>
              <a:gd name="connsiteY2401" fmla="*/ 1683934 h 1729572"/>
              <a:gd name="connsiteX2402" fmla="*/ 749029 w 2601035"/>
              <a:gd name="connsiteY2402" fmla="*/ 1683934 h 1729572"/>
              <a:gd name="connsiteX2403" fmla="*/ 749029 w 2601035"/>
              <a:gd name="connsiteY2403" fmla="*/ 1686216 h 1729572"/>
              <a:gd name="connsiteX2404" fmla="*/ 746745 w 2601035"/>
              <a:gd name="connsiteY2404" fmla="*/ 1686216 h 1729572"/>
              <a:gd name="connsiteX2405" fmla="*/ 746745 w 2601035"/>
              <a:gd name="connsiteY2405" fmla="*/ 1688499 h 1729572"/>
              <a:gd name="connsiteX2406" fmla="*/ 744462 w 2601035"/>
              <a:gd name="connsiteY2406" fmla="*/ 1688499 h 1729572"/>
              <a:gd name="connsiteX2407" fmla="*/ 744462 w 2601035"/>
              <a:gd name="connsiteY2407" fmla="*/ 1690780 h 1729572"/>
              <a:gd name="connsiteX2408" fmla="*/ 742178 w 2601035"/>
              <a:gd name="connsiteY2408" fmla="*/ 1690780 h 1729572"/>
              <a:gd name="connsiteX2409" fmla="*/ 742178 w 2601035"/>
              <a:gd name="connsiteY2409" fmla="*/ 1693062 h 1729572"/>
              <a:gd name="connsiteX2410" fmla="*/ 739895 w 2601035"/>
              <a:gd name="connsiteY2410" fmla="*/ 1693062 h 1729572"/>
              <a:gd name="connsiteX2411" fmla="*/ 739895 w 2601035"/>
              <a:gd name="connsiteY2411" fmla="*/ 1695344 h 1729572"/>
              <a:gd name="connsiteX2412" fmla="*/ 737611 w 2601035"/>
              <a:gd name="connsiteY2412" fmla="*/ 1695344 h 1729572"/>
              <a:gd name="connsiteX2413" fmla="*/ 737611 w 2601035"/>
              <a:gd name="connsiteY2413" fmla="*/ 1697626 h 1729572"/>
              <a:gd name="connsiteX2414" fmla="*/ 735328 w 2601035"/>
              <a:gd name="connsiteY2414" fmla="*/ 1697626 h 1729572"/>
              <a:gd name="connsiteX2415" fmla="*/ 735328 w 2601035"/>
              <a:gd name="connsiteY2415" fmla="*/ 1699908 h 1729572"/>
              <a:gd name="connsiteX2416" fmla="*/ 733044 w 2601035"/>
              <a:gd name="connsiteY2416" fmla="*/ 1699908 h 1729572"/>
              <a:gd name="connsiteX2417" fmla="*/ 733044 w 2601035"/>
              <a:gd name="connsiteY2417" fmla="*/ 1702189 h 1729572"/>
              <a:gd name="connsiteX2418" fmla="*/ 733044 w 2601035"/>
              <a:gd name="connsiteY2418" fmla="*/ 1704472 h 1729572"/>
              <a:gd name="connsiteX2419" fmla="*/ 730760 w 2601035"/>
              <a:gd name="connsiteY2419" fmla="*/ 1704472 h 1729572"/>
              <a:gd name="connsiteX2420" fmla="*/ 730760 w 2601035"/>
              <a:gd name="connsiteY2420" fmla="*/ 1706754 h 1729572"/>
              <a:gd name="connsiteX2421" fmla="*/ 730760 w 2601035"/>
              <a:gd name="connsiteY2421" fmla="*/ 1709035 h 1729572"/>
              <a:gd name="connsiteX2422" fmla="*/ 728477 w 2601035"/>
              <a:gd name="connsiteY2422" fmla="*/ 1709035 h 1729572"/>
              <a:gd name="connsiteX2423" fmla="*/ 728477 w 2601035"/>
              <a:gd name="connsiteY2423" fmla="*/ 1711317 h 1729572"/>
              <a:gd name="connsiteX2424" fmla="*/ 730760 w 2601035"/>
              <a:gd name="connsiteY2424" fmla="*/ 1711317 h 1729572"/>
              <a:gd name="connsiteX2425" fmla="*/ 730760 w 2601035"/>
              <a:gd name="connsiteY2425" fmla="*/ 1713599 h 1729572"/>
              <a:gd name="connsiteX2426" fmla="*/ 733044 w 2601035"/>
              <a:gd name="connsiteY2426" fmla="*/ 1713599 h 1729572"/>
              <a:gd name="connsiteX2427" fmla="*/ 733044 w 2601035"/>
              <a:gd name="connsiteY2427" fmla="*/ 1715881 h 1729572"/>
              <a:gd name="connsiteX2428" fmla="*/ 735328 w 2601035"/>
              <a:gd name="connsiteY2428" fmla="*/ 1715881 h 1729572"/>
              <a:gd name="connsiteX2429" fmla="*/ 735328 w 2601035"/>
              <a:gd name="connsiteY2429" fmla="*/ 1718163 h 1729572"/>
              <a:gd name="connsiteX2430" fmla="*/ 737611 w 2601035"/>
              <a:gd name="connsiteY2430" fmla="*/ 1718163 h 1729572"/>
              <a:gd name="connsiteX2431" fmla="*/ 737611 w 2601035"/>
              <a:gd name="connsiteY2431" fmla="*/ 1720445 h 1729572"/>
              <a:gd name="connsiteX2432" fmla="*/ 739895 w 2601035"/>
              <a:gd name="connsiteY2432" fmla="*/ 1720445 h 1729572"/>
              <a:gd name="connsiteX2433" fmla="*/ 737611 w 2601035"/>
              <a:gd name="connsiteY2433" fmla="*/ 1720445 h 1729572"/>
              <a:gd name="connsiteX2434" fmla="*/ 739895 w 2601035"/>
              <a:gd name="connsiteY2434" fmla="*/ 1720445 h 1729572"/>
              <a:gd name="connsiteX2435" fmla="*/ 739895 w 2601035"/>
              <a:gd name="connsiteY2435" fmla="*/ 1722727 h 1729572"/>
              <a:gd name="connsiteX2436" fmla="*/ 742178 w 2601035"/>
              <a:gd name="connsiteY2436" fmla="*/ 1722727 h 1729572"/>
              <a:gd name="connsiteX2437" fmla="*/ 739895 w 2601035"/>
              <a:gd name="connsiteY2437" fmla="*/ 1722727 h 1729572"/>
              <a:gd name="connsiteX2438" fmla="*/ 737611 w 2601035"/>
              <a:gd name="connsiteY2438" fmla="*/ 1722727 h 1729572"/>
              <a:gd name="connsiteX2439" fmla="*/ 735328 w 2601035"/>
              <a:gd name="connsiteY2439" fmla="*/ 1722727 h 1729572"/>
              <a:gd name="connsiteX2440" fmla="*/ 733044 w 2601035"/>
              <a:gd name="connsiteY2440" fmla="*/ 1722727 h 1729572"/>
              <a:gd name="connsiteX2441" fmla="*/ 733044 w 2601035"/>
              <a:gd name="connsiteY2441" fmla="*/ 1725009 h 1729572"/>
              <a:gd name="connsiteX2442" fmla="*/ 730760 w 2601035"/>
              <a:gd name="connsiteY2442" fmla="*/ 1725009 h 1729572"/>
              <a:gd name="connsiteX2443" fmla="*/ 730760 w 2601035"/>
              <a:gd name="connsiteY2443" fmla="*/ 1727290 h 1729572"/>
              <a:gd name="connsiteX2444" fmla="*/ 730760 w 2601035"/>
              <a:gd name="connsiteY2444" fmla="*/ 1729572 h 1729572"/>
              <a:gd name="connsiteX2445" fmla="*/ 728477 w 2601035"/>
              <a:gd name="connsiteY2445" fmla="*/ 1729572 h 1729572"/>
              <a:gd name="connsiteX2446" fmla="*/ 726193 w 2601035"/>
              <a:gd name="connsiteY2446" fmla="*/ 1729572 h 1729572"/>
              <a:gd name="connsiteX2447" fmla="*/ 726193 w 2601035"/>
              <a:gd name="connsiteY2447" fmla="*/ 1727290 h 1729572"/>
              <a:gd name="connsiteX2448" fmla="*/ 726193 w 2601035"/>
              <a:gd name="connsiteY2448" fmla="*/ 1729572 h 1729572"/>
              <a:gd name="connsiteX2449" fmla="*/ 726193 w 2601035"/>
              <a:gd name="connsiteY2449" fmla="*/ 1727290 h 1729572"/>
              <a:gd name="connsiteX2450" fmla="*/ 723909 w 2601035"/>
              <a:gd name="connsiteY2450" fmla="*/ 1727290 h 1729572"/>
              <a:gd name="connsiteX2451" fmla="*/ 721626 w 2601035"/>
              <a:gd name="connsiteY2451" fmla="*/ 1727290 h 1729572"/>
              <a:gd name="connsiteX2452" fmla="*/ 721626 w 2601035"/>
              <a:gd name="connsiteY2452" fmla="*/ 1725009 h 1729572"/>
              <a:gd name="connsiteX2453" fmla="*/ 719342 w 2601035"/>
              <a:gd name="connsiteY2453" fmla="*/ 1725009 h 1729572"/>
              <a:gd name="connsiteX2454" fmla="*/ 717059 w 2601035"/>
              <a:gd name="connsiteY2454" fmla="*/ 1725009 h 1729572"/>
              <a:gd name="connsiteX2455" fmla="*/ 714775 w 2601035"/>
              <a:gd name="connsiteY2455" fmla="*/ 1725009 h 1729572"/>
              <a:gd name="connsiteX2456" fmla="*/ 712492 w 2601035"/>
              <a:gd name="connsiteY2456" fmla="*/ 1725009 h 1729572"/>
              <a:gd name="connsiteX2457" fmla="*/ 710208 w 2601035"/>
              <a:gd name="connsiteY2457" fmla="*/ 1725009 h 1729572"/>
              <a:gd name="connsiteX2458" fmla="*/ 707924 w 2601035"/>
              <a:gd name="connsiteY2458" fmla="*/ 1725009 h 1729572"/>
              <a:gd name="connsiteX2459" fmla="*/ 705641 w 2601035"/>
              <a:gd name="connsiteY2459" fmla="*/ 1725009 h 1729572"/>
              <a:gd name="connsiteX2460" fmla="*/ 705641 w 2601035"/>
              <a:gd name="connsiteY2460" fmla="*/ 1722727 h 1729572"/>
              <a:gd name="connsiteX2461" fmla="*/ 705641 w 2601035"/>
              <a:gd name="connsiteY2461" fmla="*/ 1725009 h 1729572"/>
              <a:gd name="connsiteX2462" fmla="*/ 705641 w 2601035"/>
              <a:gd name="connsiteY2462" fmla="*/ 1722727 h 1729572"/>
              <a:gd name="connsiteX2463" fmla="*/ 705641 w 2601035"/>
              <a:gd name="connsiteY2463" fmla="*/ 1725009 h 1729572"/>
              <a:gd name="connsiteX2464" fmla="*/ 705641 w 2601035"/>
              <a:gd name="connsiteY2464" fmla="*/ 1722727 h 1729572"/>
              <a:gd name="connsiteX2465" fmla="*/ 705641 w 2601035"/>
              <a:gd name="connsiteY2465" fmla="*/ 1725009 h 1729572"/>
              <a:gd name="connsiteX2466" fmla="*/ 705641 w 2601035"/>
              <a:gd name="connsiteY2466" fmla="*/ 1722727 h 1729572"/>
              <a:gd name="connsiteX2467" fmla="*/ 705641 w 2601035"/>
              <a:gd name="connsiteY2467" fmla="*/ 1725009 h 1729572"/>
              <a:gd name="connsiteX2468" fmla="*/ 705641 w 2601035"/>
              <a:gd name="connsiteY2468" fmla="*/ 1722727 h 1729572"/>
              <a:gd name="connsiteX2469" fmla="*/ 703357 w 2601035"/>
              <a:gd name="connsiteY2469" fmla="*/ 1722727 h 1729572"/>
              <a:gd name="connsiteX2470" fmla="*/ 701074 w 2601035"/>
              <a:gd name="connsiteY2470" fmla="*/ 1722727 h 1729572"/>
              <a:gd name="connsiteX2471" fmla="*/ 698790 w 2601035"/>
              <a:gd name="connsiteY2471" fmla="*/ 1722727 h 1729572"/>
              <a:gd name="connsiteX2472" fmla="*/ 698790 w 2601035"/>
              <a:gd name="connsiteY2472" fmla="*/ 1720445 h 1729572"/>
              <a:gd name="connsiteX2473" fmla="*/ 696506 w 2601035"/>
              <a:gd name="connsiteY2473" fmla="*/ 1720445 h 1729572"/>
              <a:gd name="connsiteX2474" fmla="*/ 694223 w 2601035"/>
              <a:gd name="connsiteY2474" fmla="*/ 1720445 h 1729572"/>
              <a:gd name="connsiteX2475" fmla="*/ 691939 w 2601035"/>
              <a:gd name="connsiteY2475" fmla="*/ 1720445 h 1729572"/>
              <a:gd name="connsiteX2476" fmla="*/ 689655 w 2601035"/>
              <a:gd name="connsiteY2476" fmla="*/ 1720445 h 1729572"/>
              <a:gd name="connsiteX2477" fmla="*/ 689655 w 2601035"/>
              <a:gd name="connsiteY2477" fmla="*/ 1722727 h 1729572"/>
              <a:gd name="connsiteX2478" fmla="*/ 687372 w 2601035"/>
              <a:gd name="connsiteY2478" fmla="*/ 1722727 h 1729572"/>
              <a:gd name="connsiteX2479" fmla="*/ 685088 w 2601035"/>
              <a:gd name="connsiteY2479" fmla="*/ 1722727 h 1729572"/>
              <a:gd name="connsiteX2480" fmla="*/ 685088 w 2601035"/>
              <a:gd name="connsiteY2480" fmla="*/ 1720445 h 1729572"/>
              <a:gd name="connsiteX2481" fmla="*/ 685088 w 2601035"/>
              <a:gd name="connsiteY2481" fmla="*/ 1722727 h 1729572"/>
              <a:gd name="connsiteX2482" fmla="*/ 682805 w 2601035"/>
              <a:gd name="connsiteY2482" fmla="*/ 1722727 h 1729572"/>
              <a:gd name="connsiteX2483" fmla="*/ 682805 w 2601035"/>
              <a:gd name="connsiteY2483" fmla="*/ 1720445 h 1729572"/>
              <a:gd name="connsiteX2484" fmla="*/ 680521 w 2601035"/>
              <a:gd name="connsiteY2484" fmla="*/ 1720445 h 1729572"/>
              <a:gd name="connsiteX2485" fmla="*/ 678238 w 2601035"/>
              <a:gd name="connsiteY2485" fmla="*/ 1720445 h 1729572"/>
              <a:gd name="connsiteX2486" fmla="*/ 680521 w 2601035"/>
              <a:gd name="connsiteY2486" fmla="*/ 1720445 h 1729572"/>
              <a:gd name="connsiteX2487" fmla="*/ 678238 w 2601035"/>
              <a:gd name="connsiteY2487" fmla="*/ 1720445 h 1729572"/>
              <a:gd name="connsiteX2488" fmla="*/ 675954 w 2601035"/>
              <a:gd name="connsiteY2488" fmla="*/ 1720445 h 1729572"/>
              <a:gd name="connsiteX2489" fmla="*/ 675954 w 2601035"/>
              <a:gd name="connsiteY2489" fmla="*/ 1718163 h 1729572"/>
              <a:gd name="connsiteX2490" fmla="*/ 673670 w 2601035"/>
              <a:gd name="connsiteY2490" fmla="*/ 1718163 h 1729572"/>
              <a:gd name="connsiteX2491" fmla="*/ 673670 w 2601035"/>
              <a:gd name="connsiteY2491" fmla="*/ 1715881 h 1729572"/>
              <a:gd name="connsiteX2492" fmla="*/ 671387 w 2601035"/>
              <a:gd name="connsiteY2492" fmla="*/ 1715881 h 1729572"/>
              <a:gd name="connsiteX2493" fmla="*/ 669103 w 2601035"/>
              <a:gd name="connsiteY2493" fmla="*/ 1715881 h 1729572"/>
              <a:gd name="connsiteX2494" fmla="*/ 666820 w 2601035"/>
              <a:gd name="connsiteY2494" fmla="*/ 1715881 h 1729572"/>
              <a:gd name="connsiteX2495" fmla="*/ 664536 w 2601035"/>
              <a:gd name="connsiteY2495" fmla="*/ 1715881 h 1729572"/>
              <a:gd name="connsiteX2496" fmla="*/ 662253 w 2601035"/>
              <a:gd name="connsiteY2496" fmla="*/ 1715881 h 1729572"/>
              <a:gd name="connsiteX2497" fmla="*/ 659969 w 2601035"/>
              <a:gd name="connsiteY2497" fmla="*/ 1715881 h 1729572"/>
              <a:gd name="connsiteX2498" fmla="*/ 657685 w 2601035"/>
              <a:gd name="connsiteY2498" fmla="*/ 1715881 h 1729572"/>
              <a:gd name="connsiteX2499" fmla="*/ 655402 w 2601035"/>
              <a:gd name="connsiteY2499" fmla="*/ 1715881 h 1729572"/>
              <a:gd name="connsiteX2500" fmla="*/ 655402 w 2601035"/>
              <a:gd name="connsiteY2500" fmla="*/ 1718163 h 1729572"/>
              <a:gd name="connsiteX2501" fmla="*/ 653118 w 2601035"/>
              <a:gd name="connsiteY2501" fmla="*/ 1718163 h 1729572"/>
              <a:gd name="connsiteX2502" fmla="*/ 653118 w 2601035"/>
              <a:gd name="connsiteY2502" fmla="*/ 1720445 h 1729572"/>
              <a:gd name="connsiteX2503" fmla="*/ 653118 w 2601035"/>
              <a:gd name="connsiteY2503" fmla="*/ 1722727 h 1729572"/>
              <a:gd name="connsiteX2504" fmla="*/ 650834 w 2601035"/>
              <a:gd name="connsiteY2504" fmla="*/ 1722727 h 1729572"/>
              <a:gd name="connsiteX2505" fmla="*/ 648551 w 2601035"/>
              <a:gd name="connsiteY2505" fmla="*/ 1722727 h 1729572"/>
              <a:gd name="connsiteX2506" fmla="*/ 648551 w 2601035"/>
              <a:gd name="connsiteY2506" fmla="*/ 1720445 h 1729572"/>
              <a:gd name="connsiteX2507" fmla="*/ 648551 w 2601035"/>
              <a:gd name="connsiteY2507" fmla="*/ 1722727 h 1729572"/>
              <a:gd name="connsiteX2508" fmla="*/ 648551 w 2601035"/>
              <a:gd name="connsiteY2508" fmla="*/ 1720445 h 1729572"/>
              <a:gd name="connsiteX2509" fmla="*/ 648551 w 2601035"/>
              <a:gd name="connsiteY2509" fmla="*/ 1722727 h 1729572"/>
              <a:gd name="connsiteX2510" fmla="*/ 646267 w 2601035"/>
              <a:gd name="connsiteY2510" fmla="*/ 1722727 h 1729572"/>
              <a:gd name="connsiteX2511" fmla="*/ 646267 w 2601035"/>
              <a:gd name="connsiteY2511" fmla="*/ 1720445 h 1729572"/>
              <a:gd name="connsiteX2512" fmla="*/ 643984 w 2601035"/>
              <a:gd name="connsiteY2512" fmla="*/ 1720445 h 1729572"/>
              <a:gd name="connsiteX2513" fmla="*/ 641700 w 2601035"/>
              <a:gd name="connsiteY2513" fmla="*/ 1720445 h 1729572"/>
              <a:gd name="connsiteX2514" fmla="*/ 639416 w 2601035"/>
              <a:gd name="connsiteY2514" fmla="*/ 1720445 h 1729572"/>
              <a:gd name="connsiteX2515" fmla="*/ 639416 w 2601035"/>
              <a:gd name="connsiteY2515" fmla="*/ 1718163 h 1729572"/>
              <a:gd name="connsiteX2516" fmla="*/ 639416 w 2601035"/>
              <a:gd name="connsiteY2516" fmla="*/ 1720445 h 1729572"/>
              <a:gd name="connsiteX2517" fmla="*/ 639416 w 2601035"/>
              <a:gd name="connsiteY2517" fmla="*/ 1718163 h 1729572"/>
              <a:gd name="connsiteX2518" fmla="*/ 639416 w 2601035"/>
              <a:gd name="connsiteY2518" fmla="*/ 1720445 h 1729572"/>
              <a:gd name="connsiteX2519" fmla="*/ 639416 w 2601035"/>
              <a:gd name="connsiteY2519" fmla="*/ 1718163 h 1729572"/>
              <a:gd name="connsiteX2520" fmla="*/ 637133 w 2601035"/>
              <a:gd name="connsiteY2520" fmla="*/ 1718163 h 1729572"/>
              <a:gd name="connsiteX2521" fmla="*/ 634849 w 2601035"/>
              <a:gd name="connsiteY2521" fmla="*/ 1718163 h 1729572"/>
              <a:gd name="connsiteX2522" fmla="*/ 637133 w 2601035"/>
              <a:gd name="connsiteY2522" fmla="*/ 1718163 h 1729572"/>
              <a:gd name="connsiteX2523" fmla="*/ 634849 w 2601035"/>
              <a:gd name="connsiteY2523" fmla="*/ 1718163 h 1729572"/>
              <a:gd name="connsiteX2524" fmla="*/ 632566 w 2601035"/>
              <a:gd name="connsiteY2524" fmla="*/ 1718163 h 1729572"/>
              <a:gd name="connsiteX2525" fmla="*/ 632566 w 2601035"/>
              <a:gd name="connsiteY2525" fmla="*/ 1715881 h 1729572"/>
              <a:gd name="connsiteX2526" fmla="*/ 630282 w 2601035"/>
              <a:gd name="connsiteY2526" fmla="*/ 1715881 h 1729572"/>
              <a:gd name="connsiteX2527" fmla="*/ 627999 w 2601035"/>
              <a:gd name="connsiteY2527" fmla="*/ 1715881 h 1729572"/>
              <a:gd name="connsiteX2528" fmla="*/ 625715 w 2601035"/>
              <a:gd name="connsiteY2528" fmla="*/ 1715881 h 1729572"/>
              <a:gd name="connsiteX2529" fmla="*/ 623431 w 2601035"/>
              <a:gd name="connsiteY2529" fmla="*/ 1715881 h 1729572"/>
              <a:gd name="connsiteX2530" fmla="*/ 621148 w 2601035"/>
              <a:gd name="connsiteY2530" fmla="*/ 1715881 h 1729572"/>
              <a:gd name="connsiteX2531" fmla="*/ 618864 w 2601035"/>
              <a:gd name="connsiteY2531" fmla="*/ 1715881 h 1729572"/>
              <a:gd name="connsiteX2532" fmla="*/ 616580 w 2601035"/>
              <a:gd name="connsiteY2532" fmla="*/ 1715881 h 1729572"/>
              <a:gd name="connsiteX2533" fmla="*/ 616580 w 2601035"/>
              <a:gd name="connsiteY2533" fmla="*/ 1713599 h 1729572"/>
              <a:gd name="connsiteX2534" fmla="*/ 616580 w 2601035"/>
              <a:gd name="connsiteY2534" fmla="*/ 1715881 h 1729572"/>
              <a:gd name="connsiteX2535" fmla="*/ 616580 w 2601035"/>
              <a:gd name="connsiteY2535" fmla="*/ 1713599 h 1729572"/>
              <a:gd name="connsiteX2536" fmla="*/ 614297 w 2601035"/>
              <a:gd name="connsiteY2536" fmla="*/ 1713599 h 1729572"/>
              <a:gd name="connsiteX2537" fmla="*/ 612013 w 2601035"/>
              <a:gd name="connsiteY2537" fmla="*/ 1713599 h 1729572"/>
              <a:gd name="connsiteX2538" fmla="*/ 609730 w 2601035"/>
              <a:gd name="connsiteY2538" fmla="*/ 1713599 h 1729572"/>
              <a:gd name="connsiteX2539" fmla="*/ 609730 w 2601035"/>
              <a:gd name="connsiteY2539" fmla="*/ 1711317 h 1729572"/>
              <a:gd name="connsiteX2540" fmla="*/ 607446 w 2601035"/>
              <a:gd name="connsiteY2540" fmla="*/ 1711317 h 1729572"/>
              <a:gd name="connsiteX2541" fmla="*/ 605163 w 2601035"/>
              <a:gd name="connsiteY2541" fmla="*/ 1711317 h 1729572"/>
              <a:gd name="connsiteX2542" fmla="*/ 605163 w 2601035"/>
              <a:gd name="connsiteY2542" fmla="*/ 1709035 h 1729572"/>
              <a:gd name="connsiteX2543" fmla="*/ 602879 w 2601035"/>
              <a:gd name="connsiteY2543" fmla="*/ 1709035 h 1729572"/>
              <a:gd name="connsiteX2544" fmla="*/ 602879 w 2601035"/>
              <a:gd name="connsiteY2544" fmla="*/ 1706754 h 1729572"/>
              <a:gd name="connsiteX2545" fmla="*/ 600595 w 2601035"/>
              <a:gd name="connsiteY2545" fmla="*/ 1706754 h 1729572"/>
              <a:gd name="connsiteX2546" fmla="*/ 598312 w 2601035"/>
              <a:gd name="connsiteY2546" fmla="*/ 1706754 h 1729572"/>
              <a:gd name="connsiteX2547" fmla="*/ 598312 w 2601035"/>
              <a:gd name="connsiteY2547" fmla="*/ 1704472 h 1729572"/>
              <a:gd name="connsiteX2548" fmla="*/ 596028 w 2601035"/>
              <a:gd name="connsiteY2548" fmla="*/ 1704472 h 1729572"/>
              <a:gd name="connsiteX2549" fmla="*/ 596028 w 2601035"/>
              <a:gd name="connsiteY2549" fmla="*/ 1702189 h 1729572"/>
              <a:gd name="connsiteX2550" fmla="*/ 593745 w 2601035"/>
              <a:gd name="connsiteY2550" fmla="*/ 1702189 h 1729572"/>
              <a:gd name="connsiteX2551" fmla="*/ 593745 w 2601035"/>
              <a:gd name="connsiteY2551" fmla="*/ 1699908 h 1729572"/>
              <a:gd name="connsiteX2552" fmla="*/ 591461 w 2601035"/>
              <a:gd name="connsiteY2552" fmla="*/ 1699908 h 1729572"/>
              <a:gd name="connsiteX2553" fmla="*/ 591461 w 2601035"/>
              <a:gd name="connsiteY2553" fmla="*/ 1697626 h 1729572"/>
              <a:gd name="connsiteX2554" fmla="*/ 589177 w 2601035"/>
              <a:gd name="connsiteY2554" fmla="*/ 1697626 h 1729572"/>
              <a:gd name="connsiteX2555" fmla="*/ 586894 w 2601035"/>
              <a:gd name="connsiteY2555" fmla="*/ 1697626 h 1729572"/>
              <a:gd name="connsiteX2556" fmla="*/ 586894 w 2601035"/>
              <a:gd name="connsiteY2556" fmla="*/ 1695344 h 1729572"/>
              <a:gd name="connsiteX2557" fmla="*/ 584610 w 2601035"/>
              <a:gd name="connsiteY2557" fmla="*/ 1695344 h 1729572"/>
              <a:gd name="connsiteX2558" fmla="*/ 582326 w 2601035"/>
              <a:gd name="connsiteY2558" fmla="*/ 1695344 h 1729572"/>
              <a:gd name="connsiteX2559" fmla="*/ 582326 w 2601035"/>
              <a:gd name="connsiteY2559" fmla="*/ 1693062 h 1729572"/>
              <a:gd name="connsiteX2560" fmla="*/ 580043 w 2601035"/>
              <a:gd name="connsiteY2560" fmla="*/ 1693062 h 1729572"/>
              <a:gd name="connsiteX2561" fmla="*/ 580043 w 2601035"/>
              <a:gd name="connsiteY2561" fmla="*/ 1690780 h 1729572"/>
              <a:gd name="connsiteX2562" fmla="*/ 580043 w 2601035"/>
              <a:gd name="connsiteY2562" fmla="*/ 1693062 h 1729572"/>
              <a:gd name="connsiteX2563" fmla="*/ 580043 w 2601035"/>
              <a:gd name="connsiteY2563" fmla="*/ 1690780 h 1729572"/>
              <a:gd name="connsiteX2564" fmla="*/ 580043 w 2601035"/>
              <a:gd name="connsiteY2564" fmla="*/ 1693062 h 1729572"/>
              <a:gd name="connsiteX2565" fmla="*/ 580043 w 2601035"/>
              <a:gd name="connsiteY2565" fmla="*/ 1690780 h 1729572"/>
              <a:gd name="connsiteX2566" fmla="*/ 577759 w 2601035"/>
              <a:gd name="connsiteY2566" fmla="*/ 1690780 h 1729572"/>
              <a:gd name="connsiteX2567" fmla="*/ 575476 w 2601035"/>
              <a:gd name="connsiteY2567" fmla="*/ 1690780 h 1729572"/>
              <a:gd name="connsiteX2568" fmla="*/ 575476 w 2601035"/>
              <a:gd name="connsiteY2568" fmla="*/ 1688499 h 1729572"/>
              <a:gd name="connsiteX2569" fmla="*/ 575476 w 2601035"/>
              <a:gd name="connsiteY2569" fmla="*/ 1690780 h 1729572"/>
              <a:gd name="connsiteX2570" fmla="*/ 575476 w 2601035"/>
              <a:gd name="connsiteY2570" fmla="*/ 1688499 h 1729572"/>
              <a:gd name="connsiteX2571" fmla="*/ 573192 w 2601035"/>
              <a:gd name="connsiteY2571" fmla="*/ 1688499 h 1729572"/>
              <a:gd name="connsiteX2572" fmla="*/ 570909 w 2601035"/>
              <a:gd name="connsiteY2572" fmla="*/ 1688499 h 1729572"/>
              <a:gd name="connsiteX2573" fmla="*/ 568625 w 2601035"/>
              <a:gd name="connsiteY2573" fmla="*/ 1688499 h 1729572"/>
              <a:gd name="connsiteX2574" fmla="*/ 566341 w 2601035"/>
              <a:gd name="connsiteY2574" fmla="*/ 1688499 h 1729572"/>
              <a:gd name="connsiteX2575" fmla="*/ 564058 w 2601035"/>
              <a:gd name="connsiteY2575" fmla="*/ 1688499 h 1729572"/>
              <a:gd name="connsiteX2576" fmla="*/ 561774 w 2601035"/>
              <a:gd name="connsiteY2576" fmla="*/ 1688499 h 1729572"/>
              <a:gd name="connsiteX2577" fmla="*/ 559491 w 2601035"/>
              <a:gd name="connsiteY2577" fmla="*/ 1688499 h 1729572"/>
              <a:gd name="connsiteX2578" fmla="*/ 557207 w 2601035"/>
              <a:gd name="connsiteY2578" fmla="*/ 1688499 h 1729572"/>
              <a:gd name="connsiteX2579" fmla="*/ 554924 w 2601035"/>
              <a:gd name="connsiteY2579" fmla="*/ 1688499 h 1729572"/>
              <a:gd name="connsiteX2580" fmla="*/ 552640 w 2601035"/>
              <a:gd name="connsiteY2580" fmla="*/ 1688499 h 1729572"/>
              <a:gd name="connsiteX2581" fmla="*/ 550356 w 2601035"/>
              <a:gd name="connsiteY2581" fmla="*/ 1688499 h 1729572"/>
              <a:gd name="connsiteX2582" fmla="*/ 548073 w 2601035"/>
              <a:gd name="connsiteY2582" fmla="*/ 1688499 h 1729572"/>
              <a:gd name="connsiteX2583" fmla="*/ 548073 w 2601035"/>
              <a:gd name="connsiteY2583" fmla="*/ 1686216 h 1729572"/>
              <a:gd name="connsiteX2584" fmla="*/ 545789 w 2601035"/>
              <a:gd name="connsiteY2584" fmla="*/ 1686216 h 1729572"/>
              <a:gd name="connsiteX2585" fmla="*/ 545789 w 2601035"/>
              <a:gd name="connsiteY2585" fmla="*/ 1688499 h 1729572"/>
              <a:gd name="connsiteX2586" fmla="*/ 545789 w 2601035"/>
              <a:gd name="connsiteY2586" fmla="*/ 1686216 h 1729572"/>
              <a:gd name="connsiteX2587" fmla="*/ 545789 w 2601035"/>
              <a:gd name="connsiteY2587" fmla="*/ 1688499 h 1729572"/>
              <a:gd name="connsiteX2588" fmla="*/ 545789 w 2601035"/>
              <a:gd name="connsiteY2588" fmla="*/ 1686216 h 1729572"/>
              <a:gd name="connsiteX2589" fmla="*/ 543505 w 2601035"/>
              <a:gd name="connsiteY2589" fmla="*/ 1686216 h 1729572"/>
              <a:gd name="connsiteX2590" fmla="*/ 543505 w 2601035"/>
              <a:gd name="connsiteY2590" fmla="*/ 1683934 h 1729572"/>
              <a:gd name="connsiteX2591" fmla="*/ 541222 w 2601035"/>
              <a:gd name="connsiteY2591" fmla="*/ 1683934 h 1729572"/>
              <a:gd name="connsiteX2592" fmla="*/ 541222 w 2601035"/>
              <a:gd name="connsiteY2592" fmla="*/ 1686216 h 1729572"/>
              <a:gd name="connsiteX2593" fmla="*/ 541222 w 2601035"/>
              <a:gd name="connsiteY2593" fmla="*/ 1683934 h 1729572"/>
              <a:gd name="connsiteX2594" fmla="*/ 541222 w 2601035"/>
              <a:gd name="connsiteY2594" fmla="*/ 1686216 h 1729572"/>
              <a:gd name="connsiteX2595" fmla="*/ 541222 w 2601035"/>
              <a:gd name="connsiteY2595" fmla="*/ 1683934 h 1729572"/>
              <a:gd name="connsiteX2596" fmla="*/ 538938 w 2601035"/>
              <a:gd name="connsiteY2596" fmla="*/ 1683934 h 1729572"/>
              <a:gd name="connsiteX2597" fmla="*/ 536655 w 2601035"/>
              <a:gd name="connsiteY2597" fmla="*/ 1683934 h 1729572"/>
              <a:gd name="connsiteX2598" fmla="*/ 534371 w 2601035"/>
              <a:gd name="connsiteY2598" fmla="*/ 1683934 h 1729572"/>
              <a:gd name="connsiteX2599" fmla="*/ 534371 w 2601035"/>
              <a:gd name="connsiteY2599" fmla="*/ 1681653 h 1729572"/>
              <a:gd name="connsiteX2600" fmla="*/ 532087 w 2601035"/>
              <a:gd name="connsiteY2600" fmla="*/ 1681653 h 1729572"/>
              <a:gd name="connsiteX2601" fmla="*/ 529804 w 2601035"/>
              <a:gd name="connsiteY2601" fmla="*/ 1681653 h 1729572"/>
              <a:gd name="connsiteX2602" fmla="*/ 527520 w 2601035"/>
              <a:gd name="connsiteY2602" fmla="*/ 1681653 h 1729572"/>
              <a:gd name="connsiteX2603" fmla="*/ 527520 w 2601035"/>
              <a:gd name="connsiteY2603" fmla="*/ 1679371 h 1729572"/>
              <a:gd name="connsiteX2604" fmla="*/ 525237 w 2601035"/>
              <a:gd name="connsiteY2604" fmla="*/ 1679371 h 1729572"/>
              <a:gd name="connsiteX2605" fmla="*/ 522953 w 2601035"/>
              <a:gd name="connsiteY2605" fmla="*/ 1679371 h 1729572"/>
              <a:gd name="connsiteX2606" fmla="*/ 520670 w 2601035"/>
              <a:gd name="connsiteY2606" fmla="*/ 1679371 h 1729572"/>
              <a:gd name="connsiteX2607" fmla="*/ 520670 w 2601035"/>
              <a:gd name="connsiteY2607" fmla="*/ 1677089 h 1729572"/>
              <a:gd name="connsiteX2608" fmla="*/ 518386 w 2601035"/>
              <a:gd name="connsiteY2608" fmla="*/ 1677089 h 1729572"/>
              <a:gd name="connsiteX2609" fmla="*/ 516102 w 2601035"/>
              <a:gd name="connsiteY2609" fmla="*/ 1677089 h 1729572"/>
              <a:gd name="connsiteX2610" fmla="*/ 513819 w 2601035"/>
              <a:gd name="connsiteY2610" fmla="*/ 1677089 h 1729572"/>
              <a:gd name="connsiteX2611" fmla="*/ 513819 w 2601035"/>
              <a:gd name="connsiteY2611" fmla="*/ 1674807 h 1729572"/>
              <a:gd name="connsiteX2612" fmla="*/ 511535 w 2601035"/>
              <a:gd name="connsiteY2612" fmla="*/ 1674807 h 1729572"/>
              <a:gd name="connsiteX2613" fmla="*/ 511535 w 2601035"/>
              <a:gd name="connsiteY2613" fmla="*/ 1672525 h 1729572"/>
              <a:gd name="connsiteX2614" fmla="*/ 509251 w 2601035"/>
              <a:gd name="connsiteY2614" fmla="*/ 1672525 h 1729572"/>
              <a:gd name="connsiteX2615" fmla="*/ 506968 w 2601035"/>
              <a:gd name="connsiteY2615" fmla="*/ 1672525 h 1729572"/>
              <a:gd name="connsiteX2616" fmla="*/ 504684 w 2601035"/>
              <a:gd name="connsiteY2616" fmla="*/ 1672525 h 1729572"/>
              <a:gd name="connsiteX2617" fmla="*/ 502401 w 2601035"/>
              <a:gd name="connsiteY2617" fmla="*/ 1672525 h 1729572"/>
              <a:gd name="connsiteX2618" fmla="*/ 500117 w 2601035"/>
              <a:gd name="connsiteY2618" fmla="*/ 1672525 h 1729572"/>
              <a:gd name="connsiteX2619" fmla="*/ 500117 w 2601035"/>
              <a:gd name="connsiteY2619" fmla="*/ 1670243 h 1729572"/>
              <a:gd name="connsiteX2620" fmla="*/ 500117 w 2601035"/>
              <a:gd name="connsiteY2620" fmla="*/ 1672525 h 1729572"/>
              <a:gd name="connsiteX2621" fmla="*/ 497834 w 2601035"/>
              <a:gd name="connsiteY2621" fmla="*/ 1672525 h 1729572"/>
              <a:gd name="connsiteX2622" fmla="*/ 497834 w 2601035"/>
              <a:gd name="connsiteY2622" fmla="*/ 1670243 h 1729572"/>
              <a:gd name="connsiteX2623" fmla="*/ 495550 w 2601035"/>
              <a:gd name="connsiteY2623" fmla="*/ 1670243 h 1729572"/>
              <a:gd name="connsiteX2624" fmla="*/ 493266 w 2601035"/>
              <a:gd name="connsiteY2624" fmla="*/ 1670243 h 1729572"/>
              <a:gd name="connsiteX2625" fmla="*/ 490983 w 2601035"/>
              <a:gd name="connsiteY2625" fmla="*/ 1670243 h 1729572"/>
              <a:gd name="connsiteX2626" fmla="*/ 488699 w 2601035"/>
              <a:gd name="connsiteY2626" fmla="*/ 1670243 h 1729572"/>
              <a:gd name="connsiteX2627" fmla="*/ 486416 w 2601035"/>
              <a:gd name="connsiteY2627" fmla="*/ 1670243 h 1729572"/>
              <a:gd name="connsiteX2628" fmla="*/ 486416 w 2601035"/>
              <a:gd name="connsiteY2628" fmla="*/ 1672525 h 1729572"/>
              <a:gd name="connsiteX2629" fmla="*/ 484132 w 2601035"/>
              <a:gd name="connsiteY2629" fmla="*/ 1672525 h 1729572"/>
              <a:gd name="connsiteX2630" fmla="*/ 484132 w 2601035"/>
              <a:gd name="connsiteY2630" fmla="*/ 1670243 h 1729572"/>
              <a:gd name="connsiteX2631" fmla="*/ 481848 w 2601035"/>
              <a:gd name="connsiteY2631" fmla="*/ 1670243 h 1729572"/>
              <a:gd name="connsiteX2632" fmla="*/ 479565 w 2601035"/>
              <a:gd name="connsiteY2632" fmla="*/ 1670243 h 1729572"/>
              <a:gd name="connsiteX2633" fmla="*/ 477281 w 2601035"/>
              <a:gd name="connsiteY2633" fmla="*/ 1670243 h 1729572"/>
              <a:gd name="connsiteX2634" fmla="*/ 477281 w 2601035"/>
              <a:gd name="connsiteY2634" fmla="*/ 1667961 h 1729572"/>
              <a:gd name="connsiteX2635" fmla="*/ 474997 w 2601035"/>
              <a:gd name="connsiteY2635" fmla="*/ 1667961 h 1729572"/>
              <a:gd name="connsiteX2636" fmla="*/ 472714 w 2601035"/>
              <a:gd name="connsiteY2636" fmla="*/ 1667961 h 1729572"/>
              <a:gd name="connsiteX2637" fmla="*/ 470430 w 2601035"/>
              <a:gd name="connsiteY2637" fmla="*/ 1667961 h 1729572"/>
              <a:gd name="connsiteX2638" fmla="*/ 468147 w 2601035"/>
              <a:gd name="connsiteY2638" fmla="*/ 1667961 h 1729572"/>
              <a:gd name="connsiteX2639" fmla="*/ 465863 w 2601035"/>
              <a:gd name="connsiteY2639" fmla="*/ 1667961 h 1729572"/>
              <a:gd name="connsiteX2640" fmla="*/ 463580 w 2601035"/>
              <a:gd name="connsiteY2640" fmla="*/ 1667961 h 1729572"/>
              <a:gd name="connsiteX2641" fmla="*/ 461296 w 2601035"/>
              <a:gd name="connsiteY2641" fmla="*/ 1667961 h 1729572"/>
              <a:gd name="connsiteX2642" fmla="*/ 459012 w 2601035"/>
              <a:gd name="connsiteY2642" fmla="*/ 1667961 h 1729572"/>
              <a:gd name="connsiteX2643" fmla="*/ 459012 w 2601035"/>
              <a:gd name="connsiteY2643" fmla="*/ 1665679 h 1729572"/>
              <a:gd name="connsiteX2644" fmla="*/ 456729 w 2601035"/>
              <a:gd name="connsiteY2644" fmla="*/ 1665679 h 1729572"/>
              <a:gd name="connsiteX2645" fmla="*/ 454445 w 2601035"/>
              <a:gd name="connsiteY2645" fmla="*/ 1665679 h 1729572"/>
              <a:gd name="connsiteX2646" fmla="*/ 452162 w 2601035"/>
              <a:gd name="connsiteY2646" fmla="*/ 1665679 h 1729572"/>
              <a:gd name="connsiteX2647" fmla="*/ 449878 w 2601035"/>
              <a:gd name="connsiteY2647" fmla="*/ 1665679 h 1729572"/>
              <a:gd name="connsiteX2648" fmla="*/ 447595 w 2601035"/>
              <a:gd name="connsiteY2648" fmla="*/ 1665679 h 1729572"/>
              <a:gd name="connsiteX2649" fmla="*/ 445311 w 2601035"/>
              <a:gd name="connsiteY2649" fmla="*/ 1665679 h 1729572"/>
              <a:gd name="connsiteX2650" fmla="*/ 443027 w 2601035"/>
              <a:gd name="connsiteY2650" fmla="*/ 1665679 h 1729572"/>
              <a:gd name="connsiteX2651" fmla="*/ 440744 w 2601035"/>
              <a:gd name="connsiteY2651" fmla="*/ 1665679 h 1729572"/>
              <a:gd name="connsiteX2652" fmla="*/ 438460 w 2601035"/>
              <a:gd name="connsiteY2652" fmla="*/ 1665679 h 1729572"/>
              <a:gd name="connsiteX2653" fmla="*/ 438460 w 2601035"/>
              <a:gd name="connsiteY2653" fmla="*/ 1663407 h 1729572"/>
              <a:gd name="connsiteX2654" fmla="*/ 436176 w 2601035"/>
              <a:gd name="connsiteY2654" fmla="*/ 1663407 h 1729572"/>
              <a:gd name="connsiteX2655" fmla="*/ 433893 w 2601035"/>
              <a:gd name="connsiteY2655" fmla="*/ 1663407 h 1729572"/>
              <a:gd name="connsiteX2656" fmla="*/ 431609 w 2601035"/>
              <a:gd name="connsiteY2656" fmla="*/ 1663407 h 1729572"/>
              <a:gd name="connsiteX2657" fmla="*/ 429326 w 2601035"/>
              <a:gd name="connsiteY2657" fmla="*/ 1663407 h 1729572"/>
              <a:gd name="connsiteX2658" fmla="*/ 427042 w 2601035"/>
              <a:gd name="connsiteY2658" fmla="*/ 1663407 h 1729572"/>
              <a:gd name="connsiteX2659" fmla="*/ 427042 w 2601035"/>
              <a:gd name="connsiteY2659" fmla="*/ 1661125 h 1729572"/>
              <a:gd name="connsiteX2660" fmla="*/ 424758 w 2601035"/>
              <a:gd name="connsiteY2660" fmla="*/ 1661125 h 1729572"/>
              <a:gd name="connsiteX2661" fmla="*/ 422475 w 2601035"/>
              <a:gd name="connsiteY2661" fmla="*/ 1661125 h 1729572"/>
              <a:gd name="connsiteX2662" fmla="*/ 420191 w 2601035"/>
              <a:gd name="connsiteY2662" fmla="*/ 1661125 h 1729572"/>
              <a:gd name="connsiteX2663" fmla="*/ 417908 w 2601035"/>
              <a:gd name="connsiteY2663" fmla="*/ 1661125 h 1729572"/>
              <a:gd name="connsiteX2664" fmla="*/ 415624 w 2601035"/>
              <a:gd name="connsiteY2664" fmla="*/ 1661125 h 1729572"/>
              <a:gd name="connsiteX2665" fmla="*/ 413341 w 2601035"/>
              <a:gd name="connsiteY2665" fmla="*/ 1661125 h 1729572"/>
              <a:gd name="connsiteX2666" fmla="*/ 411057 w 2601035"/>
              <a:gd name="connsiteY2666" fmla="*/ 1658843 h 1729572"/>
              <a:gd name="connsiteX2667" fmla="*/ 408773 w 2601035"/>
              <a:gd name="connsiteY2667" fmla="*/ 1658843 h 1729572"/>
              <a:gd name="connsiteX2668" fmla="*/ 408773 w 2601035"/>
              <a:gd name="connsiteY2668" fmla="*/ 1661125 h 1729572"/>
              <a:gd name="connsiteX2669" fmla="*/ 406490 w 2601035"/>
              <a:gd name="connsiteY2669" fmla="*/ 1661125 h 1729572"/>
              <a:gd name="connsiteX2670" fmla="*/ 404206 w 2601035"/>
              <a:gd name="connsiteY2670" fmla="*/ 1661125 h 1729572"/>
              <a:gd name="connsiteX2671" fmla="*/ 401922 w 2601035"/>
              <a:gd name="connsiteY2671" fmla="*/ 1661125 h 1729572"/>
              <a:gd name="connsiteX2672" fmla="*/ 401922 w 2601035"/>
              <a:gd name="connsiteY2672" fmla="*/ 1658843 h 1729572"/>
              <a:gd name="connsiteX2673" fmla="*/ 399639 w 2601035"/>
              <a:gd name="connsiteY2673" fmla="*/ 1658843 h 1729572"/>
              <a:gd name="connsiteX2674" fmla="*/ 397355 w 2601035"/>
              <a:gd name="connsiteY2674" fmla="*/ 1658843 h 1729572"/>
              <a:gd name="connsiteX2675" fmla="*/ 395072 w 2601035"/>
              <a:gd name="connsiteY2675" fmla="*/ 1658843 h 1729572"/>
              <a:gd name="connsiteX2676" fmla="*/ 392788 w 2601035"/>
              <a:gd name="connsiteY2676" fmla="*/ 1658843 h 1729572"/>
              <a:gd name="connsiteX2677" fmla="*/ 390505 w 2601035"/>
              <a:gd name="connsiteY2677" fmla="*/ 1658843 h 1729572"/>
              <a:gd name="connsiteX2678" fmla="*/ 388221 w 2601035"/>
              <a:gd name="connsiteY2678" fmla="*/ 1658843 h 1729572"/>
              <a:gd name="connsiteX2679" fmla="*/ 385937 w 2601035"/>
              <a:gd name="connsiteY2679" fmla="*/ 1658843 h 1729572"/>
              <a:gd name="connsiteX2680" fmla="*/ 383654 w 2601035"/>
              <a:gd name="connsiteY2680" fmla="*/ 1658843 h 1729572"/>
              <a:gd name="connsiteX2681" fmla="*/ 383654 w 2601035"/>
              <a:gd name="connsiteY2681" fmla="*/ 1656561 h 1729572"/>
              <a:gd name="connsiteX2682" fmla="*/ 381370 w 2601035"/>
              <a:gd name="connsiteY2682" fmla="*/ 1656561 h 1729572"/>
              <a:gd name="connsiteX2683" fmla="*/ 379087 w 2601035"/>
              <a:gd name="connsiteY2683" fmla="*/ 1656561 h 1729572"/>
              <a:gd name="connsiteX2684" fmla="*/ 376803 w 2601035"/>
              <a:gd name="connsiteY2684" fmla="*/ 1656561 h 1729572"/>
              <a:gd name="connsiteX2685" fmla="*/ 374519 w 2601035"/>
              <a:gd name="connsiteY2685" fmla="*/ 1656561 h 1729572"/>
              <a:gd name="connsiteX2686" fmla="*/ 372236 w 2601035"/>
              <a:gd name="connsiteY2686" fmla="*/ 1656561 h 1729572"/>
              <a:gd name="connsiteX2687" fmla="*/ 369952 w 2601035"/>
              <a:gd name="connsiteY2687" fmla="*/ 1656561 h 1729572"/>
              <a:gd name="connsiteX2688" fmla="*/ 369952 w 2601035"/>
              <a:gd name="connsiteY2688" fmla="*/ 1654279 h 1729572"/>
              <a:gd name="connsiteX2689" fmla="*/ 367668 w 2601035"/>
              <a:gd name="connsiteY2689" fmla="*/ 1654279 h 1729572"/>
              <a:gd name="connsiteX2690" fmla="*/ 367668 w 2601035"/>
              <a:gd name="connsiteY2690" fmla="*/ 1656561 h 1729572"/>
              <a:gd name="connsiteX2691" fmla="*/ 365385 w 2601035"/>
              <a:gd name="connsiteY2691" fmla="*/ 1656561 h 1729572"/>
              <a:gd name="connsiteX2692" fmla="*/ 365385 w 2601035"/>
              <a:gd name="connsiteY2692" fmla="*/ 1654279 h 1729572"/>
              <a:gd name="connsiteX2693" fmla="*/ 365385 w 2601035"/>
              <a:gd name="connsiteY2693" fmla="*/ 1656561 h 1729572"/>
              <a:gd name="connsiteX2694" fmla="*/ 365385 w 2601035"/>
              <a:gd name="connsiteY2694" fmla="*/ 1654279 h 1729572"/>
              <a:gd name="connsiteX2695" fmla="*/ 363101 w 2601035"/>
              <a:gd name="connsiteY2695" fmla="*/ 1654279 h 1729572"/>
              <a:gd name="connsiteX2696" fmla="*/ 360818 w 2601035"/>
              <a:gd name="connsiteY2696" fmla="*/ 1654279 h 1729572"/>
              <a:gd name="connsiteX2697" fmla="*/ 360818 w 2601035"/>
              <a:gd name="connsiteY2697" fmla="*/ 1651997 h 1729572"/>
              <a:gd name="connsiteX2698" fmla="*/ 358534 w 2601035"/>
              <a:gd name="connsiteY2698" fmla="*/ 1651997 h 1729572"/>
              <a:gd name="connsiteX2699" fmla="*/ 356251 w 2601035"/>
              <a:gd name="connsiteY2699" fmla="*/ 1651997 h 1729572"/>
              <a:gd name="connsiteX2700" fmla="*/ 353967 w 2601035"/>
              <a:gd name="connsiteY2700" fmla="*/ 1651997 h 1729572"/>
              <a:gd name="connsiteX2701" fmla="*/ 351683 w 2601035"/>
              <a:gd name="connsiteY2701" fmla="*/ 1651997 h 1729572"/>
              <a:gd name="connsiteX2702" fmla="*/ 349400 w 2601035"/>
              <a:gd name="connsiteY2702" fmla="*/ 1651997 h 1729572"/>
              <a:gd name="connsiteX2703" fmla="*/ 349400 w 2601035"/>
              <a:gd name="connsiteY2703" fmla="*/ 1649716 h 1729572"/>
              <a:gd name="connsiteX2704" fmla="*/ 347116 w 2601035"/>
              <a:gd name="connsiteY2704" fmla="*/ 1649716 h 1729572"/>
              <a:gd name="connsiteX2705" fmla="*/ 344833 w 2601035"/>
              <a:gd name="connsiteY2705" fmla="*/ 1649716 h 1729572"/>
              <a:gd name="connsiteX2706" fmla="*/ 342549 w 2601035"/>
              <a:gd name="connsiteY2706" fmla="*/ 1649716 h 1729572"/>
              <a:gd name="connsiteX2707" fmla="*/ 340266 w 2601035"/>
              <a:gd name="connsiteY2707" fmla="*/ 1649716 h 1729572"/>
              <a:gd name="connsiteX2708" fmla="*/ 340266 w 2601035"/>
              <a:gd name="connsiteY2708" fmla="*/ 1647434 h 1729572"/>
              <a:gd name="connsiteX2709" fmla="*/ 340266 w 2601035"/>
              <a:gd name="connsiteY2709" fmla="*/ 1649716 h 1729572"/>
              <a:gd name="connsiteX2710" fmla="*/ 340266 w 2601035"/>
              <a:gd name="connsiteY2710" fmla="*/ 1647434 h 1729572"/>
              <a:gd name="connsiteX2711" fmla="*/ 337982 w 2601035"/>
              <a:gd name="connsiteY2711" fmla="*/ 1647434 h 1729572"/>
              <a:gd name="connsiteX2712" fmla="*/ 337982 w 2601035"/>
              <a:gd name="connsiteY2712" fmla="*/ 1649716 h 1729572"/>
              <a:gd name="connsiteX2713" fmla="*/ 337982 w 2601035"/>
              <a:gd name="connsiteY2713" fmla="*/ 1647434 h 1729572"/>
              <a:gd name="connsiteX2714" fmla="*/ 335698 w 2601035"/>
              <a:gd name="connsiteY2714" fmla="*/ 1647434 h 1729572"/>
              <a:gd name="connsiteX2715" fmla="*/ 333415 w 2601035"/>
              <a:gd name="connsiteY2715" fmla="*/ 1647434 h 1729572"/>
              <a:gd name="connsiteX2716" fmla="*/ 331131 w 2601035"/>
              <a:gd name="connsiteY2716" fmla="*/ 1647434 h 1729572"/>
              <a:gd name="connsiteX2717" fmla="*/ 328847 w 2601035"/>
              <a:gd name="connsiteY2717" fmla="*/ 1647434 h 1729572"/>
              <a:gd name="connsiteX2718" fmla="*/ 326564 w 2601035"/>
              <a:gd name="connsiteY2718" fmla="*/ 1647434 h 1729572"/>
              <a:gd name="connsiteX2719" fmla="*/ 326564 w 2601035"/>
              <a:gd name="connsiteY2719" fmla="*/ 1645152 h 1729572"/>
              <a:gd name="connsiteX2720" fmla="*/ 324280 w 2601035"/>
              <a:gd name="connsiteY2720" fmla="*/ 1647434 h 1729572"/>
              <a:gd name="connsiteX2721" fmla="*/ 324280 w 2601035"/>
              <a:gd name="connsiteY2721" fmla="*/ 1645152 h 1729572"/>
              <a:gd name="connsiteX2722" fmla="*/ 321997 w 2601035"/>
              <a:gd name="connsiteY2722" fmla="*/ 1645152 h 1729572"/>
              <a:gd name="connsiteX2723" fmla="*/ 321997 w 2601035"/>
              <a:gd name="connsiteY2723" fmla="*/ 1642870 h 1729572"/>
              <a:gd name="connsiteX2724" fmla="*/ 321997 w 2601035"/>
              <a:gd name="connsiteY2724" fmla="*/ 1640588 h 1729572"/>
              <a:gd name="connsiteX2725" fmla="*/ 319713 w 2601035"/>
              <a:gd name="connsiteY2725" fmla="*/ 1640588 h 1729572"/>
              <a:gd name="connsiteX2726" fmla="*/ 319713 w 2601035"/>
              <a:gd name="connsiteY2726" fmla="*/ 1638306 h 1729572"/>
              <a:gd name="connsiteX2727" fmla="*/ 321997 w 2601035"/>
              <a:gd name="connsiteY2727" fmla="*/ 1638306 h 1729572"/>
              <a:gd name="connsiteX2728" fmla="*/ 319713 w 2601035"/>
              <a:gd name="connsiteY2728" fmla="*/ 1638306 h 1729572"/>
              <a:gd name="connsiteX2729" fmla="*/ 319713 w 2601035"/>
              <a:gd name="connsiteY2729" fmla="*/ 1636024 h 1729572"/>
              <a:gd name="connsiteX2730" fmla="*/ 317429 w 2601035"/>
              <a:gd name="connsiteY2730" fmla="*/ 1636024 h 1729572"/>
              <a:gd name="connsiteX2731" fmla="*/ 317429 w 2601035"/>
              <a:gd name="connsiteY2731" fmla="*/ 1633742 h 1729572"/>
              <a:gd name="connsiteX2732" fmla="*/ 317429 w 2601035"/>
              <a:gd name="connsiteY2732" fmla="*/ 1631460 h 1729572"/>
              <a:gd name="connsiteX2733" fmla="*/ 317429 w 2601035"/>
              <a:gd name="connsiteY2733" fmla="*/ 1629178 h 1729572"/>
              <a:gd name="connsiteX2734" fmla="*/ 317429 w 2601035"/>
              <a:gd name="connsiteY2734" fmla="*/ 1626897 h 1729572"/>
              <a:gd name="connsiteX2735" fmla="*/ 319713 w 2601035"/>
              <a:gd name="connsiteY2735" fmla="*/ 1626897 h 1729572"/>
              <a:gd name="connsiteX2736" fmla="*/ 319713 w 2601035"/>
              <a:gd name="connsiteY2736" fmla="*/ 1624615 h 1729572"/>
              <a:gd name="connsiteX2737" fmla="*/ 319713 w 2601035"/>
              <a:gd name="connsiteY2737" fmla="*/ 1626897 h 1729572"/>
              <a:gd name="connsiteX2738" fmla="*/ 319713 w 2601035"/>
              <a:gd name="connsiteY2738" fmla="*/ 1624615 h 1729572"/>
              <a:gd name="connsiteX2739" fmla="*/ 319713 w 2601035"/>
              <a:gd name="connsiteY2739" fmla="*/ 1622333 h 1729572"/>
              <a:gd name="connsiteX2740" fmla="*/ 317429 w 2601035"/>
              <a:gd name="connsiteY2740" fmla="*/ 1622333 h 1729572"/>
              <a:gd name="connsiteX2741" fmla="*/ 319713 w 2601035"/>
              <a:gd name="connsiteY2741" fmla="*/ 1622333 h 1729572"/>
              <a:gd name="connsiteX2742" fmla="*/ 319713 w 2601035"/>
              <a:gd name="connsiteY2742" fmla="*/ 1620051 h 1729572"/>
              <a:gd name="connsiteX2743" fmla="*/ 317429 w 2601035"/>
              <a:gd name="connsiteY2743" fmla="*/ 1620051 h 1729572"/>
              <a:gd name="connsiteX2744" fmla="*/ 317429 w 2601035"/>
              <a:gd name="connsiteY2744" fmla="*/ 1617769 h 1729572"/>
              <a:gd name="connsiteX2745" fmla="*/ 319713 w 2601035"/>
              <a:gd name="connsiteY2745" fmla="*/ 1617769 h 1729572"/>
              <a:gd name="connsiteX2746" fmla="*/ 321997 w 2601035"/>
              <a:gd name="connsiteY2746" fmla="*/ 1617769 h 1729572"/>
              <a:gd name="connsiteX2747" fmla="*/ 321997 w 2601035"/>
              <a:gd name="connsiteY2747" fmla="*/ 1615487 h 1729572"/>
              <a:gd name="connsiteX2748" fmla="*/ 324280 w 2601035"/>
              <a:gd name="connsiteY2748" fmla="*/ 1615487 h 1729572"/>
              <a:gd name="connsiteX2749" fmla="*/ 324280 w 2601035"/>
              <a:gd name="connsiteY2749" fmla="*/ 1613205 h 1729572"/>
              <a:gd name="connsiteX2750" fmla="*/ 321997 w 2601035"/>
              <a:gd name="connsiteY2750" fmla="*/ 1613205 h 1729572"/>
              <a:gd name="connsiteX2751" fmla="*/ 321997 w 2601035"/>
              <a:gd name="connsiteY2751" fmla="*/ 1610923 h 1729572"/>
              <a:gd name="connsiteX2752" fmla="*/ 319713 w 2601035"/>
              <a:gd name="connsiteY2752" fmla="*/ 1610923 h 1729572"/>
              <a:gd name="connsiteX2753" fmla="*/ 321997 w 2601035"/>
              <a:gd name="connsiteY2753" fmla="*/ 1610923 h 1729572"/>
              <a:gd name="connsiteX2754" fmla="*/ 319713 w 2601035"/>
              <a:gd name="connsiteY2754" fmla="*/ 1610923 h 1729572"/>
              <a:gd name="connsiteX2755" fmla="*/ 319713 w 2601035"/>
              <a:gd name="connsiteY2755" fmla="*/ 1608642 h 1729572"/>
              <a:gd name="connsiteX2756" fmla="*/ 321997 w 2601035"/>
              <a:gd name="connsiteY2756" fmla="*/ 1608642 h 1729572"/>
              <a:gd name="connsiteX2757" fmla="*/ 324280 w 2601035"/>
              <a:gd name="connsiteY2757" fmla="*/ 1608642 h 1729572"/>
              <a:gd name="connsiteX2758" fmla="*/ 324280 w 2601035"/>
              <a:gd name="connsiteY2758" fmla="*/ 1606360 h 1729572"/>
              <a:gd name="connsiteX2759" fmla="*/ 326564 w 2601035"/>
              <a:gd name="connsiteY2759" fmla="*/ 1606360 h 1729572"/>
              <a:gd name="connsiteX2760" fmla="*/ 328847 w 2601035"/>
              <a:gd name="connsiteY2760" fmla="*/ 1606360 h 1729572"/>
              <a:gd name="connsiteX2761" fmla="*/ 331131 w 2601035"/>
              <a:gd name="connsiteY2761" fmla="*/ 1606360 h 1729572"/>
              <a:gd name="connsiteX2762" fmla="*/ 333415 w 2601035"/>
              <a:gd name="connsiteY2762" fmla="*/ 1606360 h 1729572"/>
              <a:gd name="connsiteX2763" fmla="*/ 333415 w 2601035"/>
              <a:gd name="connsiteY2763" fmla="*/ 1604078 h 1729572"/>
              <a:gd name="connsiteX2764" fmla="*/ 335698 w 2601035"/>
              <a:gd name="connsiteY2764" fmla="*/ 1604078 h 1729572"/>
              <a:gd name="connsiteX2765" fmla="*/ 335698 w 2601035"/>
              <a:gd name="connsiteY2765" fmla="*/ 1601796 h 1729572"/>
              <a:gd name="connsiteX2766" fmla="*/ 335698 w 2601035"/>
              <a:gd name="connsiteY2766" fmla="*/ 1599514 h 1729572"/>
              <a:gd name="connsiteX2767" fmla="*/ 337982 w 2601035"/>
              <a:gd name="connsiteY2767" fmla="*/ 1599514 h 1729572"/>
              <a:gd name="connsiteX2768" fmla="*/ 337982 w 2601035"/>
              <a:gd name="connsiteY2768" fmla="*/ 1597232 h 1729572"/>
              <a:gd name="connsiteX2769" fmla="*/ 340266 w 2601035"/>
              <a:gd name="connsiteY2769" fmla="*/ 1597232 h 1729572"/>
              <a:gd name="connsiteX2770" fmla="*/ 328847 w 2601035"/>
              <a:gd name="connsiteY2770" fmla="*/ 1594950 h 1729572"/>
              <a:gd name="connsiteX2771" fmla="*/ 310579 w 2601035"/>
              <a:gd name="connsiteY2771" fmla="*/ 1590386 h 1729572"/>
              <a:gd name="connsiteX2772" fmla="*/ 306012 w 2601035"/>
              <a:gd name="connsiteY2772" fmla="*/ 1585822 h 1729572"/>
              <a:gd name="connsiteX2773" fmla="*/ 290026 w 2601035"/>
              <a:gd name="connsiteY2773" fmla="*/ 1583541 h 1729572"/>
              <a:gd name="connsiteX2774" fmla="*/ 287733 w 2601035"/>
              <a:gd name="connsiteY2774" fmla="*/ 1572131 h 1729572"/>
              <a:gd name="connsiteX2775" fmla="*/ 287733 w 2601035"/>
              <a:gd name="connsiteY2775" fmla="*/ 1569849 h 1729572"/>
              <a:gd name="connsiteX2776" fmla="*/ 285459 w 2601035"/>
              <a:gd name="connsiteY2776" fmla="*/ 1569849 h 1729572"/>
              <a:gd name="connsiteX2777" fmla="*/ 283166 w 2601035"/>
              <a:gd name="connsiteY2777" fmla="*/ 1567567 h 1729572"/>
              <a:gd name="connsiteX2778" fmla="*/ 280882 w 2601035"/>
              <a:gd name="connsiteY2778" fmla="*/ 1567567 h 1729572"/>
              <a:gd name="connsiteX2779" fmla="*/ 278599 w 2601035"/>
              <a:gd name="connsiteY2779" fmla="*/ 1567567 h 1729572"/>
              <a:gd name="connsiteX2780" fmla="*/ 274031 w 2601035"/>
              <a:gd name="connsiteY2780" fmla="*/ 1565286 h 1729572"/>
              <a:gd name="connsiteX2781" fmla="*/ 274031 w 2601035"/>
              <a:gd name="connsiteY2781" fmla="*/ 1567567 h 1729572"/>
              <a:gd name="connsiteX2782" fmla="*/ 271748 w 2601035"/>
              <a:gd name="connsiteY2782" fmla="*/ 1567567 h 1729572"/>
              <a:gd name="connsiteX2783" fmla="*/ 269464 w 2601035"/>
              <a:gd name="connsiteY2783" fmla="*/ 1567567 h 1729572"/>
              <a:gd name="connsiteX2784" fmla="*/ 269464 w 2601035"/>
              <a:gd name="connsiteY2784" fmla="*/ 1569849 h 1729572"/>
              <a:gd name="connsiteX2785" fmla="*/ 267181 w 2601035"/>
              <a:gd name="connsiteY2785" fmla="*/ 1569849 h 1729572"/>
              <a:gd name="connsiteX2786" fmla="*/ 264897 w 2601035"/>
              <a:gd name="connsiteY2786" fmla="*/ 1569849 h 1729572"/>
              <a:gd name="connsiteX2787" fmla="*/ 264897 w 2601035"/>
              <a:gd name="connsiteY2787" fmla="*/ 1576695 h 1729572"/>
              <a:gd name="connsiteX2788" fmla="*/ 258046 w 2601035"/>
              <a:gd name="connsiteY2788" fmla="*/ 1576695 h 1729572"/>
              <a:gd name="connsiteX2789" fmla="*/ 253489 w 2601035"/>
              <a:gd name="connsiteY2789" fmla="*/ 1574413 h 1729572"/>
              <a:gd name="connsiteX2790" fmla="*/ 244345 w 2601035"/>
              <a:gd name="connsiteY2790" fmla="*/ 1574413 h 1729572"/>
              <a:gd name="connsiteX2791" fmla="*/ 239778 w 2601035"/>
              <a:gd name="connsiteY2791" fmla="*/ 1572131 h 1729572"/>
              <a:gd name="connsiteX2792" fmla="*/ 232927 w 2601035"/>
              <a:gd name="connsiteY2792" fmla="*/ 1572131 h 1729572"/>
              <a:gd name="connsiteX2793" fmla="*/ 239778 w 2601035"/>
              <a:gd name="connsiteY2793" fmla="*/ 1565286 h 1729572"/>
              <a:gd name="connsiteX2794" fmla="*/ 244345 w 2601035"/>
              <a:gd name="connsiteY2794" fmla="*/ 1558440 h 1729572"/>
              <a:gd name="connsiteX2795" fmla="*/ 244345 w 2601035"/>
              <a:gd name="connsiteY2795" fmla="*/ 1553876 h 1729572"/>
              <a:gd name="connsiteX2796" fmla="*/ 244345 w 2601035"/>
              <a:gd name="connsiteY2796" fmla="*/ 1551594 h 1729572"/>
              <a:gd name="connsiteX2797" fmla="*/ 246629 w 2601035"/>
              <a:gd name="connsiteY2797" fmla="*/ 1549312 h 1729572"/>
              <a:gd name="connsiteX2798" fmla="*/ 246629 w 2601035"/>
              <a:gd name="connsiteY2798" fmla="*/ 1547030 h 1729572"/>
              <a:gd name="connsiteX2799" fmla="*/ 246629 w 2601035"/>
              <a:gd name="connsiteY2799" fmla="*/ 1544748 h 1729572"/>
              <a:gd name="connsiteX2800" fmla="*/ 246629 w 2601035"/>
              <a:gd name="connsiteY2800" fmla="*/ 1540185 h 1729572"/>
              <a:gd name="connsiteX2801" fmla="*/ 251196 w 2601035"/>
              <a:gd name="connsiteY2801" fmla="*/ 1540185 h 1729572"/>
              <a:gd name="connsiteX2802" fmla="*/ 255763 w 2601035"/>
              <a:gd name="connsiteY2802" fmla="*/ 1540185 h 1729572"/>
              <a:gd name="connsiteX2803" fmla="*/ 258046 w 2601035"/>
              <a:gd name="connsiteY2803" fmla="*/ 1540185 h 1729572"/>
              <a:gd name="connsiteX2804" fmla="*/ 260330 w 2601035"/>
              <a:gd name="connsiteY2804" fmla="*/ 1540185 h 1729572"/>
              <a:gd name="connsiteX2805" fmla="*/ 267181 w 2601035"/>
              <a:gd name="connsiteY2805" fmla="*/ 1537903 h 1729572"/>
              <a:gd name="connsiteX2806" fmla="*/ 267181 w 2601035"/>
              <a:gd name="connsiteY2806" fmla="*/ 1535621 h 1729572"/>
              <a:gd name="connsiteX2807" fmla="*/ 271748 w 2601035"/>
              <a:gd name="connsiteY2807" fmla="*/ 1535621 h 1729572"/>
              <a:gd name="connsiteX2808" fmla="*/ 274031 w 2601035"/>
              <a:gd name="connsiteY2808" fmla="*/ 1535621 h 1729572"/>
              <a:gd name="connsiteX2809" fmla="*/ 276315 w 2601035"/>
              <a:gd name="connsiteY2809" fmla="*/ 1533339 h 1729572"/>
              <a:gd name="connsiteX2810" fmla="*/ 280882 w 2601035"/>
              <a:gd name="connsiteY2810" fmla="*/ 1531057 h 1729572"/>
              <a:gd name="connsiteX2811" fmla="*/ 280882 w 2601035"/>
              <a:gd name="connsiteY2811" fmla="*/ 1524211 h 1729572"/>
              <a:gd name="connsiteX2812" fmla="*/ 285459 w 2601035"/>
              <a:gd name="connsiteY2812" fmla="*/ 1519648 h 1729572"/>
              <a:gd name="connsiteX2813" fmla="*/ 285459 w 2601035"/>
              <a:gd name="connsiteY2813" fmla="*/ 1517366 h 1729572"/>
              <a:gd name="connsiteX2814" fmla="*/ 285459 w 2601035"/>
              <a:gd name="connsiteY2814" fmla="*/ 1510520 h 1729572"/>
              <a:gd name="connsiteX2815" fmla="*/ 296868 w 2601035"/>
              <a:gd name="connsiteY2815" fmla="*/ 1519648 h 1729572"/>
              <a:gd name="connsiteX2816" fmla="*/ 310579 w 2601035"/>
              <a:gd name="connsiteY2816" fmla="*/ 1517366 h 1729572"/>
              <a:gd name="connsiteX2817" fmla="*/ 317429 w 2601035"/>
              <a:gd name="connsiteY2817" fmla="*/ 1517366 h 1729572"/>
              <a:gd name="connsiteX2818" fmla="*/ 319713 w 2601035"/>
              <a:gd name="connsiteY2818" fmla="*/ 1519648 h 1729572"/>
              <a:gd name="connsiteX2819" fmla="*/ 324280 w 2601035"/>
              <a:gd name="connsiteY2819" fmla="*/ 1519648 h 1729572"/>
              <a:gd name="connsiteX2820" fmla="*/ 326564 w 2601035"/>
              <a:gd name="connsiteY2820" fmla="*/ 1519648 h 1729572"/>
              <a:gd name="connsiteX2821" fmla="*/ 326564 w 2601035"/>
              <a:gd name="connsiteY2821" fmla="*/ 1510520 h 1729572"/>
              <a:gd name="connsiteX2822" fmla="*/ 326564 w 2601035"/>
              <a:gd name="connsiteY2822" fmla="*/ 1499120 h 1729572"/>
              <a:gd name="connsiteX2823" fmla="*/ 306012 w 2601035"/>
              <a:gd name="connsiteY2823" fmla="*/ 1485429 h 1729572"/>
              <a:gd name="connsiteX2824" fmla="*/ 306012 w 2601035"/>
              <a:gd name="connsiteY2824" fmla="*/ 1478583 h 1729572"/>
              <a:gd name="connsiteX2825" fmla="*/ 306012 w 2601035"/>
              <a:gd name="connsiteY2825" fmla="*/ 1476301 h 1729572"/>
              <a:gd name="connsiteX2826" fmla="*/ 299161 w 2601035"/>
              <a:gd name="connsiteY2826" fmla="*/ 1478583 h 1729572"/>
              <a:gd name="connsiteX2827" fmla="*/ 299161 w 2601035"/>
              <a:gd name="connsiteY2827" fmla="*/ 1460328 h 1729572"/>
              <a:gd name="connsiteX2828" fmla="*/ 301444 w 2601035"/>
              <a:gd name="connsiteY2828" fmla="*/ 1451200 h 1729572"/>
              <a:gd name="connsiteX2829" fmla="*/ 301444 w 2601035"/>
              <a:gd name="connsiteY2829" fmla="*/ 1446636 h 1729572"/>
              <a:gd name="connsiteX2830" fmla="*/ 292310 w 2601035"/>
              <a:gd name="connsiteY2830" fmla="*/ 1442073 h 1729572"/>
              <a:gd name="connsiteX2831" fmla="*/ 285459 w 2601035"/>
              <a:gd name="connsiteY2831" fmla="*/ 1439791 h 1729572"/>
              <a:gd name="connsiteX2832" fmla="*/ 280882 w 2601035"/>
              <a:gd name="connsiteY2832" fmla="*/ 1437509 h 1729572"/>
              <a:gd name="connsiteX2833" fmla="*/ 269464 w 2601035"/>
              <a:gd name="connsiteY2833" fmla="*/ 1435227 h 1729572"/>
              <a:gd name="connsiteX2834" fmla="*/ 267181 w 2601035"/>
              <a:gd name="connsiteY2834" fmla="*/ 1432945 h 1729572"/>
              <a:gd name="connsiteX2835" fmla="*/ 264897 w 2601035"/>
              <a:gd name="connsiteY2835" fmla="*/ 1430663 h 1729572"/>
              <a:gd name="connsiteX2836" fmla="*/ 264897 w 2601035"/>
              <a:gd name="connsiteY2836" fmla="*/ 1428381 h 1729572"/>
              <a:gd name="connsiteX2837" fmla="*/ 262614 w 2601035"/>
              <a:gd name="connsiteY2837" fmla="*/ 1426099 h 1729572"/>
              <a:gd name="connsiteX2838" fmla="*/ 253489 w 2601035"/>
              <a:gd name="connsiteY2838" fmla="*/ 1428381 h 1729572"/>
              <a:gd name="connsiteX2839" fmla="*/ 251196 w 2601035"/>
              <a:gd name="connsiteY2839" fmla="*/ 1428381 h 1729572"/>
              <a:gd name="connsiteX2840" fmla="*/ 237494 w 2601035"/>
              <a:gd name="connsiteY2840" fmla="*/ 1426099 h 1729572"/>
              <a:gd name="connsiteX2841" fmla="*/ 232927 w 2601035"/>
              <a:gd name="connsiteY2841" fmla="*/ 1428381 h 1729572"/>
              <a:gd name="connsiteX2842" fmla="*/ 228360 w 2601035"/>
              <a:gd name="connsiteY2842" fmla="*/ 1428381 h 1729572"/>
              <a:gd name="connsiteX2843" fmla="*/ 226076 w 2601035"/>
              <a:gd name="connsiteY2843" fmla="*/ 1428381 h 1729572"/>
              <a:gd name="connsiteX2844" fmla="*/ 219225 w 2601035"/>
              <a:gd name="connsiteY2844" fmla="*/ 1428381 h 1729572"/>
              <a:gd name="connsiteX2845" fmla="*/ 214658 w 2601035"/>
              <a:gd name="connsiteY2845" fmla="*/ 1428381 h 1729572"/>
              <a:gd name="connsiteX2846" fmla="*/ 216942 w 2601035"/>
              <a:gd name="connsiteY2846" fmla="*/ 1435227 h 1729572"/>
              <a:gd name="connsiteX2847" fmla="*/ 214658 w 2601035"/>
              <a:gd name="connsiteY2847" fmla="*/ 1432945 h 1729572"/>
              <a:gd name="connsiteX2848" fmla="*/ 210091 w 2601035"/>
              <a:gd name="connsiteY2848" fmla="*/ 1426099 h 1729572"/>
              <a:gd name="connsiteX2849" fmla="*/ 207807 w 2601035"/>
              <a:gd name="connsiteY2849" fmla="*/ 1423817 h 1729572"/>
              <a:gd name="connsiteX2850" fmla="*/ 205524 w 2601035"/>
              <a:gd name="connsiteY2850" fmla="*/ 1419254 h 1729572"/>
              <a:gd name="connsiteX2851" fmla="*/ 203240 w 2601035"/>
              <a:gd name="connsiteY2851" fmla="*/ 1416972 h 1729572"/>
              <a:gd name="connsiteX2852" fmla="*/ 200956 w 2601035"/>
              <a:gd name="connsiteY2852" fmla="*/ 1414690 h 1729572"/>
              <a:gd name="connsiteX2853" fmla="*/ 198673 w 2601035"/>
              <a:gd name="connsiteY2853" fmla="*/ 1412408 h 1729572"/>
              <a:gd name="connsiteX2854" fmla="*/ 196389 w 2601035"/>
              <a:gd name="connsiteY2854" fmla="*/ 1410126 h 1729572"/>
              <a:gd name="connsiteX2855" fmla="*/ 194106 w 2601035"/>
              <a:gd name="connsiteY2855" fmla="*/ 1407844 h 1729572"/>
              <a:gd name="connsiteX2856" fmla="*/ 194106 w 2601035"/>
              <a:gd name="connsiteY2856" fmla="*/ 1405562 h 1729572"/>
              <a:gd name="connsiteX2857" fmla="*/ 184971 w 2601035"/>
              <a:gd name="connsiteY2857" fmla="*/ 1405562 h 1729572"/>
              <a:gd name="connsiteX2858" fmla="*/ 180404 w 2601035"/>
              <a:gd name="connsiteY2858" fmla="*/ 1405562 h 1729572"/>
              <a:gd name="connsiteX2859" fmla="*/ 175837 w 2601035"/>
              <a:gd name="connsiteY2859" fmla="*/ 1405562 h 1729572"/>
              <a:gd name="connsiteX2860" fmla="*/ 157568 w 2601035"/>
              <a:gd name="connsiteY2860" fmla="*/ 1407844 h 1729572"/>
              <a:gd name="connsiteX2861" fmla="*/ 153001 w 2601035"/>
              <a:gd name="connsiteY2861" fmla="*/ 1407844 h 1729572"/>
              <a:gd name="connsiteX2862" fmla="*/ 150717 w 2601035"/>
              <a:gd name="connsiteY2862" fmla="*/ 1407844 h 1729572"/>
              <a:gd name="connsiteX2863" fmla="*/ 143867 w 2601035"/>
              <a:gd name="connsiteY2863" fmla="*/ 1407844 h 1729572"/>
              <a:gd name="connsiteX2864" fmla="*/ 141583 w 2601035"/>
              <a:gd name="connsiteY2864" fmla="*/ 1407844 h 1729572"/>
              <a:gd name="connsiteX2865" fmla="*/ 137016 w 2601035"/>
              <a:gd name="connsiteY2865" fmla="*/ 1407844 h 1729572"/>
              <a:gd name="connsiteX2866" fmla="*/ 130165 w 2601035"/>
              <a:gd name="connsiteY2866" fmla="*/ 1414690 h 1729572"/>
              <a:gd name="connsiteX2867" fmla="*/ 114180 w 2601035"/>
              <a:gd name="connsiteY2867" fmla="*/ 1414690 h 1729572"/>
              <a:gd name="connsiteX2868" fmla="*/ 95911 w 2601035"/>
              <a:gd name="connsiteY2868" fmla="*/ 1419254 h 1729572"/>
              <a:gd name="connsiteX2869" fmla="*/ 84493 w 2601035"/>
              <a:gd name="connsiteY2869" fmla="*/ 1423817 h 1729572"/>
              <a:gd name="connsiteX2870" fmla="*/ 82210 w 2601035"/>
              <a:gd name="connsiteY2870" fmla="*/ 1423817 h 1729572"/>
              <a:gd name="connsiteX2871" fmla="*/ 68508 w 2601035"/>
              <a:gd name="connsiteY2871" fmla="*/ 1428381 h 1729572"/>
              <a:gd name="connsiteX2872" fmla="*/ 59374 w 2601035"/>
              <a:gd name="connsiteY2872" fmla="*/ 1426099 h 1729572"/>
              <a:gd name="connsiteX2873" fmla="*/ 45672 w 2601035"/>
              <a:gd name="connsiteY2873" fmla="*/ 1426099 h 1729572"/>
              <a:gd name="connsiteX2874" fmla="*/ 31970 w 2601035"/>
              <a:gd name="connsiteY2874" fmla="*/ 1426099 h 1729572"/>
              <a:gd name="connsiteX2875" fmla="*/ 29687 w 2601035"/>
              <a:gd name="connsiteY2875" fmla="*/ 1426099 h 1729572"/>
              <a:gd name="connsiteX2876" fmla="*/ 15985 w 2601035"/>
              <a:gd name="connsiteY2876" fmla="*/ 1426099 h 1729572"/>
              <a:gd name="connsiteX2877" fmla="*/ 13702 w 2601035"/>
              <a:gd name="connsiteY2877" fmla="*/ 1426099 h 1729572"/>
              <a:gd name="connsiteX2878" fmla="*/ 15985 w 2601035"/>
              <a:gd name="connsiteY2878" fmla="*/ 1423817 h 1729572"/>
              <a:gd name="connsiteX2879" fmla="*/ 4567 w 2601035"/>
              <a:gd name="connsiteY2879" fmla="*/ 1419254 h 1729572"/>
              <a:gd name="connsiteX2880" fmla="*/ 0 w 2601035"/>
              <a:gd name="connsiteY2880" fmla="*/ 1416972 h 1729572"/>
              <a:gd name="connsiteX2881" fmla="*/ 0 w 2601035"/>
              <a:gd name="connsiteY2881" fmla="*/ 1414690 h 1729572"/>
              <a:gd name="connsiteX2882" fmla="*/ 0 w 2601035"/>
              <a:gd name="connsiteY2882" fmla="*/ 1412408 h 1729572"/>
              <a:gd name="connsiteX2883" fmla="*/ 0 w 2601035"/>
              <a:gd name="connsiteY2883" fmla="*/ 1410126 h 1729572"/>
              <a:gd name="connsiteX2884" fmla="*/ 0 w 2601035"/>
              <a:gd name="connsiteY2884" fmla="*/ 1387307 h 1729572"/>
              <a:gd name="connsiteX2885" fmla="*/ 11418 w 2601035"/>
              <a:gd name="connsiteY2885" fmla="*/ 1387307 h 1729572"/>
              <a:gd name="connsiteX2886" fmla="*/ 11418 w 2601035"/>
              <a:gd name="connsiteY2886" fmla="*/ 1380461 h 1729572"/>
              <a:gd name="connsiteX2887" fmla="*/ 15985 w 2601035"/>
              <a:gd name="connsiteY2887" fmla="*/ 1380461 h 1729572"/>
              <a:gd name="connsiteX2888" fmla="*/ 25120 w 2601035"/>
              <a:gd name="connsiteY2888" fmla="*/ 1362206 h 1729572"/>
              <a:gd name="connsiteX2889" fmla="*/ 25120 w 2601035"/>
              <a:gd name="connsiteY2889" fmla="*/ 1359924 h 1729572"/>
              <a:gd name="connsiteX2890" fmla="*/ 27403 w 2601035"/>
              <a:gd name="connsiteY2890" fmla="*/ 1353088 h 1729572"/>
              <a:gd name="connsiteX2891" fmla="*/ 31970 w 2601035"/>
              <a:gd name="connsiteY2891" fmla="*/ 1346242 h 1729572"/>
              <a:gd name="connsiteX2892" fmla="*/ 31970 w 2601035"/>
              <a:gd name="connsiteY2892" fmla="*/ 1343961 h 1729572"/>
              <a:gd name="connsiteX2893" fmla="*/ 36538 w 2601035"/>
              <a:gd name="connsiteY2893" fmla="*/ 1339397 h 1729572"/>
              <a:gd name="connsiteX2894" fmla="*/ 41105 w 2601035"/>
              <a:gd name="connsiteY2894" fmla="*/ 1334833 h 1729572"/>
              <a:gd name="connsiteX2895" fmla="*/ 45672 w 2601035"/>
              <a:gd name="connsiteY2895" fmla="*/ 1330269 h 1729572"/>
              <a:gd name="connsiteX2896" fmla="*/ 45672 w 2601035"/>
              <a:gd name="connsiteY2896" fmla="*/ 1327987 h 1729572"/>
              <a:gd name="connsiteX2897" fmla="*/ 50239 w 2601035"/>
              <a:gd name="connsiteY2897" fmla="*/ 1309732 h 1729572"/>
              <a:gd name="connsiteX2898" fmla="*/ 59374 w 2601035"/>
              <a:gd name="connsiteY2898" fmla="*/ 1296041 h 1729572"/>
              <a:gd name="connsiteX2899" fmla="*/ 66224 w 2601035"/>
              <a:gd name="connsiteY2899" fmla="*/ 1286913 h 1729572"/>
              <a:gd name="connsiteX2900" fmla="*/ 70792 w 2601035"/>
              <a:gd name="connsiteY2900" fmla="*/ 1282349 h 1729572"/>
              <a:gd name="connsiteX2901" fmla="*/ 70792 w 2601035"/>
              <a:gd name="connsiteY2901" fmla="*/ 1268658 h 1729572"/>
              <a:gd name="connsiteX2902" fmla="*/ 68508 w 2601035"/>
              <a:gd name="connsiteY2902" fmla="*/ 1266376 h 1729572"/>
              <a:gd name="connsiteX2903" fmla="*/ 66224 w 2601035"/>
              <a:gd name="connsiteY2903" fmla="*/ 1264094 h 1729572"/>
              <a:gd name="connsiteX2904" fmla="*/ 61657 w 2601035"/>
              <a:gd name="connsiteY2904" fmla="*/ 1259530 h 1729572"/>
              <a:gd name="connsiteX2905" fmla="*/ 61657 w 2601035"/>
              <a:gd name="connsiteY2905" fmla="*/ 1257249 h 1729572"/>
              <a:gd name="connsiteX2906" fmla="*/ 73075 w 2601035"/>
              <a:gd name="connsiteY2906" fmla="*/ 1248121 h 1729572"/>
              <a:gd name="connsiteX2907" fmla="*/ 70792 w 2601035"/>
              <a:gd name="connsiteY2907" fmla="*/ 1241275 h 1729572"/>
              <a:gd name="connsiteX2908" fmla="*/ 66224 w 2601035"/>
              <a:gd name="connsiteY2908" fmla="*/ 1229866 h 1729572"/>
              <a:gd name="connsiteX2909" fmla="*/ 84493 w 2601035"/>
              <a:gd name="connsiteY2909" fmla="*/ 1209329 h 1729572"/>
              <a:gd name="connsiteX2910" fmla="*/ 84493 w 2601035"/>
              <a:gd name="connsiteY2910" fmla="*/ 1197919 h 1729572"/>
              <a:gd name="connsiteX2911" fmla="*/ 107329 w 2601035"/>
              <a:gd name="connsiteY2911" fmla="*/ 1197919 h 1729572"/>
              <a:gd name="connsiteX2912" fmla="*/ 116463 w 2601035"/>
              <a:gd name="connsiteY2912" fmla="*/ 1197919 h 1729572"/>
              <a:gd name="connsiteX2913" fmla="*/ 123314 w 2601035"/>
              <a:gd name="connsiteY2913" fmla="*/ 1191083 h 1729572"/>
              <a:gd name="connsiteX2914" fmla="*/ 121031 w 2601035"/>
              <a:gd name="connsiteY2914" fmla="*/ 1186519 h 1729572"/>
              <a:gd name="connsiteX2915" fmla="*/ 118747 w 2601035"/>
              <a:gd name="connsiteY2915" fmla="*/ 1184237 h 1729572"/>
              <a:gd name="connsiteX2916" fmla="*/ 116463 w 2601035"/>
              <a:gd name="connsiteY2916" fmla="*/ 1177392 h 1729572"/>
              <a:gd name="connsiteX2917" fmla="*/ 111896 w 2601035"/>
              <a:gd name="connsiteY2917" fmla="*/ 1165982 h 1729572"/>
              <a:gd name="connsiteX2918" fmla="*/ 116463 w 2601035"/>
              <a:gd name="connsiteY2918" fmla="*/ 1163700 h 1729572"/>
              <a:gd name="connsiteX2919" fmla="*/ 132449 w 2601035"/>
              <a:gd name="connsiteY2919" fmla="*/ 1152291 h 1729572"/>
              <a:gd name="connsiteX2920" fmla="*/ 134732 w 2601035"/>
              <a:gd name="connsiteY2920" fmla="*/ 1152291 h 1729572"/>
              <a:gd name="connsiteX2921" fmla="*/ 137016 w 2601035"/>
              <a:gd name="connsiteY2921" fmla="*/ 1152291 h 1729572"/>
              <a:gd name="connsiteX2922" fmla="*/ 146150 w 2601035"/>
              <a:gd name="connsiteY2922" fmla="*/ 1152291 h 1729572"/>
              <a:gd name="connsiteX2923" fmla="*/ 148434 w 2601035"/>
              <a:gd name="connsiteY2923" fmla="*/ 1156855 h 1729572"/>
              <a:gd name="connsiteX2924" fmla="*/ 150717 w 2601035"/>
              <a:gd name="connsiteY2924" fmla="*/ 1159137 h 1729572"/>
              <a:gd name="connsiteX2925" fmla="*/ 168986 w 2601035"/>
              <a:gd name="connsiteY2925" fmla="*/ 1161418 h 1729572"/>
              <a:gd name="connsiteX2926" fmla="*/ 184971 w 2601035"/>
              <a:gd name="connsiteY2926" fmla="*/ 1168264 h 1729572"/>
              <a:gd name="connsiteX2927" fmla="*/ 187255 w 2601035"/>
              <a:gd name="connsiteY2927" fmla="*/ 1168264 h 1729572"/>
              <a:gd name="connsiteX2928" fmla="*/ 189539 w 2601035"/>
              <a:gd name="connsiteY2928" fmla="*/ 1168264 h 1729572"/>
              <a:gd name="connsiteX2929" fmla="*/ 212375 w 2601035"/>
              <a:gd name="connsiteY2929" fmla="*/ 1172828 h 1729572"/>
              <a:gd name="connsiteX2930" fmla="*/ 219225 w 2601035"/>
              <a:gd name="connsiteY2930" fmla="*/ 1147727 h 1729572"/>
              <a:gd name="connsiteX2931" fmla="*/ 203240 w 2601035"/>
              <a:gd name="connsiteY2931" fmla="*/ 1150009 h 1729572"/>
              <a:gd name="connsiteX2932" fmla="*/ 203240 w 2601035"/>
              <a:gd name="connsiteY2932" fmla="*/ 1145445 h 1729572"/>
              <a:gd name="connsiteX2933" fmla="*/ 203240 w 2601035"/>
              <a:gd name="connsiteY2933" fmla="*/ 1136318 h 1729572"/>
              <a:gd name="connsiteX2934" fmla="*/ 203240 w 2601035"/>
              <a:gd name="connsiteY2934" fmla="*/ 1134036 h 1729572"/>
              <a:gd name="connsiteX2935" fmla="*/ 196389 w 2601035"/>
              <a:gd name="connsiteY2935" fmla="*/ 1127190 h 1729572"/>
              <a:gd name="connsiteX2936" fmla="*/ 196389 w 2601035"/>
              <a:gd name="connsiteY2936" fmla="*/ 1124908 h 1729572"/>
              <a:gd name="connsiteX2937" fmla="*/ 175837 w 2601035"/>
              <a:gd name="connsiteY2937" fmla="*/ 1113498 h 1729572"/>
              <a:gd name="connsiteX2938" fmla="*/ 173553 w 2601035"/>
              <a:gd name="connsiteY2938" fmla="*/ 1111217 h 1729572"/>
              <a:gd name="connsiteX2939" fmla="*/ 180404 w 2601035"/>
              <a:gd name="connsiteY2939" fmla="*/ 1106653 h 1729572"/>
              <a:gd name="connsiteX2940" fmla="*/ 182688 w 2601035"/>
              <a:gd name="connsiteY2940" fmla="*/ 1104371 h 1729572"/>
              <a:gd name="connsiteX2941" fmla="*/ 184971 w 2601035"/>
              <a:gd name="connsiteY2941" fmla="*/ 1086116 h 1729572"/>
              <a:gd name="connsiteX2942" fmla="*/ 180404 w 2601035"/>
              <a:gd name="connsiteY2942" fmla="*/ 1074706 h 1729572"/>
              <a:gd name="connsiteX2943" fmla="*/ 178121 w 2601035"/>
              <a:gd name="connsiteY2943" fmla="*/ 1063297 h 1729572"/>
              <a:gd name="connsiteX2944" fmla="*/ 166702 w 2601035"/>
              <a:gd name="connsiteY2944" fmla="*/ 1051887 h 1729572"/>
              <a:gd name="connsiteX2945" fmla="*/ 162135 w 2601035"/>
              <a:gd name="connsiteY2945" fmla="*/ 1047324 h 1729572"/>
              <a:gd name="connsiteX2946" fmla="*/ 162135 w 2601035"/>
              <a:gd name="connsiteY2946" fmla="*/ 1033642 h 1729572"/>
              <a:gd name="connsiteX2947" fmla="*/ 162135 w 2601035"/>
              <a:gd name="connsiteY2947" fmla="*/ 1026796 h 1729572"/>
              <a:gd name="connsiteX2948" fmla="*/ 153001 w 2601035"/>
              <a:gd name="connsiteY2948" fmla="*/ 1010823 h 1729572"/>
              <a:gd name="connsiteX2949" fmla="*/ 168986 w 2601035"/>
              <a:gd name="connsiteY2949" fmla="*/ 1001695 h 1729572"/>
              <a:gd name="connsiteX2950" fmla="*/ 171270 w 2601035"/>
              <a:gd name="connsiteY2950" fmla="*/ 1001695 h 1729572"/>
              <a:gd name="connsiteX2951" fmla="*/ 175837 w 2601035"/>
              <a:gd name="connsiteY2951" fmla="*/ 1001695 h 1729572"/>
              <a:gd name="connsiteX2952" fmla="*/ 182688 w 2601035"/>
              <a:gd name="connsiteY2952" fmla="*/ 999413 h 1729572"/>
              <a:gd name="connsiteX2953" fmla="*/ 182688 w 2601035"/>
              <a:gd name="connsiteY2953" fmla="*/ 994850 h 1729572"/>
              <a:gd name="connsiteX2954" fmla="*/ 184971 w 2601035"/>
              <a:gd name="connsiteY2954" fmla="*/ 992568 h 1729572"/>
              <a:gd name="connsiteX2955" fmla="*/ 189539 w 2601035"/>
              <a:gd name="connsiteY2955" fmla="*/ 981158 h 1729572"/>
              <a:gd name="connsiteX2956" fmla="*/ 189539 w 2601035"/>
              <a:gd name="connsiteY2956" fmla="*/ 978876 h 1729572"/>
              <a:gd name="connsiteX2957" fmla="*/ 194106 w 2601035"/>
              <a:gd name="connsiteY2957" fmla="*/ 983440 h 1729572"/>
              <a:gd name="connsiteX2958" fmla="*/ 196389 w 2601035"/>
              <a:gd name="connsiteY2958" fmla="*/ 985722 h 1729572"/>
              <a:gd name="connsiteX2959" fmla="*/ 198673 w 2601035"/>
              <a:gd name="connsiteY2959" fmla="*/ 985722 h 1729572"/>
              <a:gd name="connsiteX2960" fmla="*/ 200956 w 2601035"/>
              <a:gd name="connsiteY2960" fmla="*/ 988004 h 1729572"/>
              <a:gd name="connsiteX2961" fmla="*/ 203240 w 2601035"/>
              <a:gd name="connsiteY2961" fmla="*/ 988004 h 1729572"/>
              <a:gd name="connsiteX2962" fmla="*/ 210091 w 2601035"/>
              <a:gd name="connsiteY2962" fmla="*/ 990286 h 1729572"/>
              <a:gd name="connsiteX2963" fmla="*/ 216942 w 2601035"/>
              <a:gd name="connsiteY2963" fmla="*/ 994850 h 1729572"/>
              <a:gd name="connsiteX2964" fmla="*/ 221509 w 2601035"/>
              <a:gd name="connsiteY2964" fmla="*/ 985722 h 1729572"/>
              <a:gd name="connsiteX2965" fmla="*/ 221509 w 2601035"/>
              <a:gd name="connsiteY2965" fmla="*/ 983440 h 1729572"/>
              <a:gd name="connsiteX2966" fmla="*/ 221509 w 2601035"/>
              <a:gd name="connsiteY2966" fmla="*/ 981158 h 1729572"/>
              <a:gd name="connsiteX2967" fmla="*/ 223792 w 2601035"/>
              <a:gd name="connsiteY2967" fmla="*/ 981158 h 1729572"/>
              <a:gd name="connsiteX2968" fmla="*/ 223792 w 2601035"/>
              <a:gd name="connsiteY2968" fmla="*/ 978876 h 1729572"/>
              <a:gd name="connsiteX2969" fmla="*/ 230643 w 2601035"/>
              <a:gd name="connsiteY2969" fmla="*/ 967467 h 1729572"/>
              <a:gd name="connsiteX2970" fmla="*/ 242061 w 2601035"/>
              <a:gd name="connsiteY2970" fmla="*/ 967467 h 1729572"/>
              <a:gd name="connsiteX2971" fmla="*/ 251196 w 2601035"/>
              <a:gd name="connsiteY2971" fmla="*/ 967467 h 1729572"/>
              <a:gd name="connsiteX2972" fmla="*/ 255763 w 2601035"/>
              <a:gd name="connsiteY2972" fmla="*/ 967467 h 1729572"/>
              <a:gd name="connsiteX2973" fmla="*/ 260330 w 2601035"/>
              <a:gd name="connsiteY2973" fmla="*/ 969749 h 1729572"/>
              <a:gd name="connsiteX2974" fmla="*/ 267181 w 2601035"/>
              <a:gd name="connsiteY2974" fmla="*/ 969749 h 1729572"/>
              <a:gd name="connsiteX2975" fmla="*/ 276315 w 2601035"/>
              <a:gd name="connsiteY2975" fmla="*/ 972030 h 1729572"/>
              <a:gd name="connsiteX2976" fmla="*/ 280882 w 2601035"/>
              <a:gd name="connsiteY2976" fmla="*/ 972030 h 1729572"/>
              <a:gd name="connsiteX2977" fmla="*/ 303728 w 2601035"/>
              <a:gd name="connsiteY2977" fmla="*/ 972030 h 1729572"/>
              <a:gd name="connsiteX2978" fmla="*/ 306012 w 2601035"/>
              <a:gd name="connsiteY2978" fmla="*/ 972030 h 1729572"/>
              <a:gd name="connsiteX2979" fmla="*/ 310579 w 2601035"/>
              <a:gd name="connsiteY2979" fmla="*/ 967467 h 1729572"/>
              <a:gd name="connsiteX2980" fmla="*/ 308295 w 2601035"/>
              <a:gd name="connsiteY2980" fmla="*/ 962903 h 1729572"/>
              <a:gd name="connsiteX2981" fmla="*/ 303728 w 2601035"/>
              <a:gd name="connsiteY2981" fmla="*/ 956057 h 1729572"/>
              <a:gd name="connsiteX2982" fmla="*/ 299161 w 2601035"/>
              <a:gd name="connsiteY2982" fmla="*/ 953775 h 1729572"/>
              <a:gd name="connsiteX2983" fmla="*/ 303728 w 2601035"/>
              <a:gd name="connsiteY2983" fmla="*/ 940084 h 1729572"/>
              <a:gd name="connsiteX2984" fmla="*/ 306012 w 2601035"/>
              <a:gd name="connsiteY2984" fmla="*/ 933238 h 1729572"/>
              <a:gd name="connsiteX2985" fmla="*/ 306012 w 2601035"/>
              <a:gd name="connsiteY2985" fmla="*/ 930957 h 1729572"/>
              <a:gd name="connsiteX2986" fmla="*/ 306012 w 2601035"/>
              <a:gd name="connsiteY2986" fmla="*/ 928674 h 1729572"/>
              <a:gd name="connsiteX2987" fmla="*/ 315146 w 2601035"/>
              <a:gd name="connsiteY2987" fmla="*/ 926393 h 1729572"/>
              <a:gd name="connsiteX2988" fmla="*/ 319713 w 2601035"/>
              <a:gd name="connsiteY2988" fmla="*/ 921829 h 1729572"/>
              <a:gd name="connsiteX2989" fmla="*/ 321997 w 2601035"/>
              <a:gd name="connsiteY2989" fmla="*/ 919547 h 1729572"/>
              <a:gd name="connsiteX2990" fmla="*/ 326564 w 2601035"/>
              <a:gd name="connsiteY2990" fmla="*/ 917265 h 1729572"/>
              <a:gd name="connsiteX2991" fmla="*/ 328847 w 2601035"/>
              <a:gd name="connsiteY2991" fmla="*/ 914983 h 1729572"/>
              <a:gd name="connsiteX2992" fmla="*/ 333415 w 2601035"/>
              <a:gd name="connsiteY2992" fmla="*/ 912701 h 1729572"/>
              <a:gd name="connsiteX2993" fmla="*/ 340266 w 2601035"/>
              <a:gd name="connsiteY2993" fmla="*/ 903574 h 1729572"/>
              <a:gd name="connsiteX2994" fmla="*/ 344833 w 2601035"/>
              <a:gd name="connsiteY2994" fmla="*/ 905856 h 1729572"/>
              <a:gd name="connsiteX2995" fmla="*/ 347116 w 2601035"/>
              <a:gd name="connsiteY2995" fmla="*/ 908137 h 1729572"/>
              <a:gd name="connsiteX2996" fmla="*/ 351683 w 2601035"/>
              <a:gd name="connsiteY2996" fmla="*/ 910419 h 1729572"/>
              <a:gd name="connsiteX2997" fmla="*/ 358534 w 2601035"/>
              <a:gd name="connsiteY2997" fmla="*/ 917265 h 1729572"/>
              <a:gd name="connsiteX2998" fmla="*/ 365385 w 2601035"/>
              <a:gd name="connsiteY2998" fmla="*/ 924111 h 1729572"/>
              <a:gd name="connsiteX2999" fmla="*/ 365385 w 2601035"/>
              <a:gd name="connsiteY2999" fmla="*/ 926393 h 1729572"/>
              <a:gd name="connsiteX3000" fmla="*/ 367668 w 2601035"/>
              <a:gd name="connsiteY3000" fmla="*/ 926393 h 1729572"/>
              <a:gd name="connsiteX3001" fmla="*/ 369952 w 2601035"/>
              <a:gd name="connsiteY3001" fmla="*/ 928674 h 1729572"/>
              <a:gd name="connsiteX3002" fmla="*/ 374519 w 2601035"/>
              <a:gd name="connsiteY3002" fmla="*/ 930957 h 1729572"/>
              <a:gd name="connsiteX3003" fmla="*/ 381370 w 2601035"/>
              <a:gd name="connsiteY3003" fmla="*/ 933238 h 1729572"/>
              <a:gd name="connsiteX3004" fmla="*/ 383654 w 2601035"/>
              <a:gd name="connsiteY3004" fmla="*/ 933238 h 1729572"/>
              <a:gd name="connsiteX3005" fmla="*/ 388221 w 2601035"/>
              <a:gd name="connsiteY3005" fmla="*/ 930957 h 1729572"/>
              <a:gd name="connsiteX3006" fmla="*/ 392788 w 2601035"/>
              <a:gd name="connsiteY3006" fmla="*/ 926393 h 1729572"/>
              <a:gd name="connsiteX3007" fmla="*/ 395072 w 2601035"/>
              <a:gd name="connsiteY3007" fmla="*/ 924111 h 1729572"/>
              <a:gd name="connsiteX3008" fmla="*/ 397355 w 2601035"/>
              <a:gd name="connsiteY3008" fmla="*/ 924111 h 1729572"/>
              <a:gd name="connsiteX3009" fmla="*/ 399639 w 2601035"/>
              <a:gd name="connsiteY3009" fmla="*/ 924111 h 1729572"/>
              <a:gd name="connsiteX3010" fmla="*/ 401922 w 2601035"/>
              <a:gd name="connsiteY3010" fmla="*/ 921829 h 1729572"/>
              <a:gd name="connsiteX3011" fmla="*/ 406490 w 2601035"/>
              <a:gd name="connsiteY3011" fmla="*/ 917265 h 1729572"/>
              <a:gd name="connsiteX3012" fmla="*/ 408773 w 2601035"/>
              <a:gd name="connsiteY3012" fmla="*/ 912701 h 1729572"/>
              <a:gd name="connsiteX3013" fmla="*/ 415624 w 2601035"/>
              <a:gd name="connsiteY3013" fmla="*/ 910419 h 1729572"/>
              <a:gd name="connsiteX3014" fmla="*/ 415624 w 2601035"/>
              <a:gd name="connsiteY3014" fmla="*/ 908137 h 1729572"/>
              <a:gd name="connsiteX3015" fmla="*/ 415624 w 2601035"/>
              <a:gd name="connsiteY3015" fmla="*/ 910419 h 1729572"/>
              <a:gd name="connsiteX3016" fmla="*/ 417908 w 2601035"/>
              <a:gd name="connsiteY3016" fmla="*/ 910419 h 1729572"/>
              <a:gd name="connsiteX3017" fmla="*/ 431609 w 2601035"/>
              <a:gd name="connsiteY3017" fmla="*/ 908137 h 1729572"/>
              <a:gd name="connsiteX3018" fmla="*/ 436176 w 2601035"/>
              <a:gd name="connsiteY3018" fmla="*/ 903574 h 1729572"/>
              <a:gd name="connsiteX3019" fmla="*/ 436176 w 2601035"/>
              <a:gd name="connsiteY3019" fmla="*/ 901292 h 1729572"/>
              <a:gd name="connsiteX3020" fmla="*/ 436176 w 2601035"/>
              <a:gd name="connsiteY3020" fmla="*/ 899010 h 1729572"/>
              <a:gd name="connsiteX3021" fmla="*/ 436176 w 2601035"/>
              <a:gd name="connsiteY3021" fmla="*/ 896728 h 1729572"/>
              <a:gd name="connsiteX3022" fmla="*/ 433893 w 2601035"/>
              <a:gd name="connsiteY3022" fmla="*/ 892164 h 1729572"/>
              <a:gd name="connsiteX3023" fmla="*/ 436176 w 2601035"/>
              <a:gd name="connsiteY3023" fmla="*/ 892164 h 1729572"/>
              <a:gd name="connsiteX3024" fmla="*/ 438460 w 2601035"/>
              <a:gd name="connsiteY3024" fmla="*/ 892164 h 1729572"/>
              <a:gd name="connsiteX3025" fmla="*/ 445311 w 2601035"/>
              <a:gd name="connsiteY3025" fmla="*/ 894446 h 1729572"/>
              <a:gd name="connsiteX3026" fmla="*/ 452162 w 2601035"/>
              <a:gd name="connsiteY3026" fmla="*/ 894446 h 1729572"/>
              <a:gd name="connsiteX3027" fmla="*/ 454445 w 2601035"/>
              <a:gd name="connsiteY3027" fmla="*/ 894446 h 1729572"/>
              <a:gd name="connsiteX3028" fmla="*/ 456729 w 2601035"/>
              <a:gd name="connsiteY3028" fmla="*/ 894446 h 1729572"/>
              <a:gd name="connsiteX3029" fmla="*/ 461296 w 2601035"/>
              <a:gd name="connsiteY3029" fmla="*/ 889882 h 1729572"/>
              <a:gd name="connsiteX3030" fmla="*/ 456729 w 2601035"/>
              <a:gd name="connsiteY3030" fmla="*/ 887610 h 1729572"/>
              <a:gd name="connsiteX3031" fmla="*/ 459012 w 2601035"/>
              <a:gd name="connsiteY3031" fmla="*/ 885328 h 1729572"/>
              <a:gd name="connsiteX3032" fmla="*/ 461296 w 2601035"/>
              <a:gd name="connsiteY3032" fmla="*/ 883046 h 1729572"/>
              <a:gd name="connsiteX3033" fmla="*/ 465863 w 2601035"/>
              <a:gd name="connsiteY3033" fmla="*/ 880764 h 1729572"/>
              <a:gd name="connsiteX3034" fmla="*/ 468147 w 2601035"/>
              <a:gd name="connsiteY3034" fmla="*/ 878482 h 1729572"/>
              <a:gd name="connsiteX3035" fmla="*/ 468147 w 2601035"/>
              <a:gd name="connsiteY3035" fmla="*/ 873918 h 1729572"/>
              <a:gd name="connsiteX3036" fmla="*/ 468147 w 2601035"/>
              <a:gd name="connsiteY3036" fmla="*/ 867073 h 1729572"/>
              <a:gd name="connsiteX3037" fmla="*/ 465863 w 2601035"/>
              <a:gd name="connsiteY3037" fmla="*/ 867073 h 1729572"/>
              <a:gd name="connsiteX3038" fmla="*/ 459012 w 2601035"/>
              <a:gd name="connsiteY3038" fmla="*/ 862509 h 1729572"/>
              <a:gd name="connsiteX3039" fmla="*/ 456729 w 2601035"/>
              <a:gd name="connsiteY3039" fmla="*/ 864791 h 1729572"/>
              <a:gd name="connsiteX3040" fmla="*/ 454445 w 2601035"/>
              <a:gd name="connsiteY3040" fmla="*/ 873918 h 1729572"/>
              <a:gd name="connsiteX3041" fmla="*/ 454445 w 2601035"/>
              <a:gd name="connsiteY3041" fmla="*/ 864791 h 1729572"/>
              <a:gd name="connsiteX3042" fmla="*/ 454445 w 2601035"/>
              <a:gd name="connsiteY3042" fmla="*/ 862509 h 1729572"/>
              <a:gd name="connsiteX3043" fmla="*/ 456729 w 2601035"/>
              <a:gd name="connsiteY3043" fmla="*/ 855663 h 1729572"/>
              <a:gd name="connsiteX3044" fmla="*/ 459012 w 2601035"/>
              <a:gd name="connsiteY3044" fmla="*/ 855663 h 1729572"/>
              <a:gd name="connsiteX3045" fmla="*/ 459012 w 2601035"/>
              <a:gd name="connsiteY3045" fmla="*/ 853382 h 1729572"/>
              <a:gd name="connsiteX3046" fmla="*/ 461296 w 2601035"/>
              <a:gd name="connsiteY3046" fmla="*/ 851100 h 1729572"/>
              <a:gd name="connsiteX3047" fmla="*/ 463580 w 2601035"/>
              <a:gd name="connsiteY3047" fmla="*/ 851100 h 1729572"/>
              <a:gd name="connsiteX3048" fmla="*/ 468147 w 2601035"/>
              <a:gd name="connsiteY3048" fmla="*/ 851100 h 1729572"/>
              <a:gd name="connsiteX3049" fmla="*/ 470430 w 2601035"/>
              <a:gd name="connsiteY3049" fmla="*/ 848818 h 1729572"/>
              <a:gd name="connsiteX3050" fmla="*/ 468147 w 2601035"/>
              <a:gd name="connsiteY3050" fmla="*/ 846536 h 1729572"/>
              <a:gd name="connsiteX3051" fmla="*/ 465863 w 2601035"/>
              <a:gd name="connsiteY3051" fmla="*/ 844254 h 1729572"/>
              <a:gd name="connsiteX3052" fmla="*/ 468147 w 2601035"/>
              <a:gd name="connsiteY3052" fmla="*/ 837408 h 1729572"/>
              <a:gd name="connsiteX3053" fmla="*/ 468147 w 2601035"/>
              <a:gd name="connsiteY3053" fmla="*/ 832844 h 1729572"/>
              <a:gd name="connsiteX3054" fmla="*/ 472714 w 2601035"/>
              <a:gd name="connsiteY3054" fmla="*/ 832844 h 1729572"/>
              <a:gd name="connsiteX3055" fmla="*/ 481848 w 2601035"/>
              <a:gd name="connsiteY3055" fmla="*/ 835126 h 1729572"/>
              <a:gd name="connsiteX3056" fmla="*/ 481848 w 2601035"/>
              <a:gd name="connsiteY3056" fmla="*/ 832844 h 1729572"/>
              <a:gd name="connsiteX3057" fmla="*/ 486416 w 2601035"/>
              <a:gd name="connsiteY3057" fmla="*/ 830562 h 1729572"/>
              <a:gd name="connsiteX3058" fmla="*/ 486416 w 2601035"/>
              <a:gd name="connsiteY3058" fmla="*/ 828281 h 1729572"/>
              <a:gd name="connsiteX3059" fmla="*/ 486416 w 2601035"/>
              <a:gd name="connsiteY3059" fmla="*/ 825999 h 1729572"/>
              <a:gd name="connsiteX3060" fmla="*/ 484132 w 2601035"/>
              <a:gd name="connsiteY3060" fmla="*/ 825999 h 1729572"/>
              <a:gd name="connsiteX3061" fmla="*/ 484132 w 2601035"/>
              <a:gd name="connsiteY3061" fmla="*/ 823717 h 1729572"/>
              <a:gd name="connsiteX3062" fmla="*/ 490983 w 2601035"/>
              <a:gd name="connsiteY3062" fmla="*/ 816871 h 1729572"/>
              <a:gd name="connsiteX3063" fmla="*/ 493266 w 2601035"/>
              <a:gd name="connsiteY3063" fmla="*/ 814589 h 1729572"/>
              <a:gd name="connsiteX3064" fmla="*/ 497834 w 2601035"/>
              <a:gd name="connsiteY3064" fmla="*/ 807744 h 1729572"/>
              <a:gd name="connsiteX3065" fmla="*/ 493266 w 2601035"/>
              <a:gd name="connsiteY3065" fmla="*/ 805462 h 1729572"/>
              <a:gd name="connsiteX3066" fmla="*/ 490983 w 2601035"/>
              <a:gd name="connsiteY3066" fmla="*/ 803180 h 1729572"/>
              <a:gd name="connsiteX3067" fmla="*/ 488699 w 2601035"/>
              <a:gd name="connsiteY3067" fmla="*/ 803180 h 1729572"/>
              <a:gd name="connsiteX3068" fmla="*/ 484132 w 2601035"/>
              <a:gd name="connsiteY3068" fmla="*/ 798616 h 1729572"/>
              <a:gd name="connsiteX3069" fmla="*/ 486416 w 2601035"/>
              <a:gd name="connsiteY3069" fmla="*/ 796334 h 1729572"/>
              <a:gd name="connsiteX3070" fmla="*/ 488699 w 2601035"/>
              <a:gd name="connsiteY3070" fmla="*/ 794052 h 1729572"/>
              <a:gd name="connsiteX3071" fmla="*/ 486416 w 2601035"/>
              <a:gd name="connsiteY3071" fmla="*/ 794052 h 1729572"/>
              <a:gd name="connsiteX3072" fmla="*/ 481848 w 2601035"/>
              <a:gd name="connsiteY3072" fmla="*/ 789488 h 1729572"/>
              <a:gd name="connsiteX3073" fmla="*/ 474997 w 2601035"/>
              <a:gd name="connsiteY3073" fmla="*/ 787206 h 1729572"/>
              <a:gd name="connsiteX3074" fmla="*/ 472714 w 2601035"/>
              <a:gd name="connsiteY3074" fmla="*/ 784925 h 1729572"/>
              <a:gd name="connsiteX3075" fmla="*/ 470430 w 2601035"/>
              <a:gd name="connsiteY3075" fmla="*/ 784925 h 1729572"/>
              <a:gd name="connsiteX3076" fmla="*/ 470430 w 2601035"/>
              <a:gd name="connsiteY3076" fmla="*/ 787206 h 1729572"/>
              <a:gd name="connsiteX3077" fmla="*/ 465863 w 2601035"/>
              <a:gd name="connsiteY3077" fmla="*/ 787206 h 1729572"/>
              <a:gd name="connsiteX3078" fmla="*/ 459012 w 2601035"/>
              <a:gd name="connsiteY3078" fmla="*/ 789488 h 1729572"/>
              <a:gd name="connsiteX3079" fmla="*/ 456729 w 2601035"/>
              <a:gd name="connsiteY3079" fmla="*/ 789488 h 1729572"/>
              <a:gd name="connsiteX3080" fmla="*/ 454445 w 2601035"/>
              <a:gd name="connsiteY3080" fmla="*/ 789488 h 1729572"/>
              <a:gd name="connsiteX3081" fmla="*/ 454445 w 2601035"/>
              <a:gd name="connsiteY3081" fmla="*/ 780361 h 1729572"/>
              <a:gd name="connsiteX3082" fmla="*/ 456729 w 2601035"/>
              <a:gd name="connsiteY3082" fmla="*/ 780361 h 1729572"/>
              <a:gd name="connsiteX3083" fmla="*/ 461296 w 2601035"/>
              <a:gd name="connsiteY3083" fmla="*/ 764388 h 1729572"/>
              <a:gd name="connsiteX3084" fmla="*/ 468147 w 2601035"/>
              <a:gd name="connsiteY3084" fmla="*/ 766669 h 1729572"/>
              <a:gd name="connsiteX3085" fmla="*/ 470430 w 2601035"/>
              <a:gd name="connsiteY3085" fmla="*/ 766669 h 1729572"/>
              <a:gd name="connsiteX3086" fmla="*/ 470430 w 2601035"/>
              <a:gd name="connsiteY3086" fmla="*/ 764388 h 1729572"/>
              <a:gd name="connsiteX3087" fmla="*/ 472714 w 2601035"/>
              <a:gd name="connsiteY3087" fmla="*/ 764388 h 1729572"/>
              <a:gd name="connsiteX3088" fmla="*/ 472714 w 2601035"/>
              <a:gd name="connsiteY3088" fmla="*/ 762106 h 1729572"/>
              <a:gd name="connsiteX3089" fmla="*/ 472714 w 2601035"/>
              <a:gd name="connsiteY3089" fmla="*/ 752978 h 1729572"/>
              <a:gd name="connsiteX3090" fmla="*/ 474997 w 2601035"/>
              <a:gd name="connsiteY3090" fmla="*/ 752978 h 1729572"/>
              <a:gd name="connsiteX3091" fmla="*/ 479565 w 2601035"/>
              <a:gd name="connsiteY3091" fmla="*/ 752978 h 1729572"/>
              <a:gd name="connsiteX3092" fmla="*/ 481848 w 2601035"/>
              <a:gd name="connsiteY3092" fmla="*/ 750696 h 1729572"/>
              <a:gd name="connsiteX3093" fmla="*/ 481848 w 2601035"/>
              <a:gd name="connsiteY3093" fmla="*/ 748414 h 1729572"/>
              <a:gd name="connsiteX3094" fmla="*/ 470430 w 2601035"/>
              <a:gd name="connsiteY3094" fmla="*/ 743850 h 1729572"/>
              <a:gd name="connsiteX3095" fmla="*/ 470430 w 2601035"/>
              <a:gd name="connsiteY3095" fmla="*/ 741569 h 1729572"/>
              <a:gd name="connsiteX3096" fmla="*/ 470430 w 2601035"/>
              <a:gd name="connsiteY3096" fmla="*/ 739287 h 1729572"/>
              <a:gd name="connsiteX3097" fmla="*/ 468147 w 2601035"/>
              <a:gd name="connsiteY3097" fmla="*/ 730169 h 1729572"/>
              <a:gd name="connsiteX3098" fmla="*/ 470430 w 2601035"/>
              <a:gd name="connsiteY3098" fmla="*/ 725605 h 1729572"/>
              <a:gd name="connsiteX3099" fmla="*/ 472714 w 2601035"/>
              <a:gd name="connsiteY3099" fmla="*/ 721041 h 1729572"/>
              <a:gd name="connsiteX3100" fmla="*/ 488699 w 2601035"/>
              <a:gd name="connsiteY3100" fmla="*/ 721041 h 1729572"/>
              <a:gd name="connsiteX3101" fmla="*/ 495550 w 2601035"/>
              <a:gd name="connsiteY3101" fmla="*/ 723323 h 1729572"/>
              <a:gd name="connsiteX3102" fmla="*/ 497834 w 2601035"/>
              <a:gd name="connsiteY3102" fmla="*/ 723323 h 1729572"/>
              <a:gd name="connsiteX3103" fmla="*/ 500117 w 2601035"/>
              <a:gd name="connsiteY3103" fmla="*/ 723323 h 1729572"/>
              <a:gd name="connsiteX3104" fmla="*/ 502401 w 2601035"/>
              <a:gd name="connsiteY3104" fmla="*/ 725605 h 1729572"/>
              <a:gd name="connsiteX3105" fmla="*/ 504684 w 2601035"/>
              <a:gd name="connsiteY3105" fmla="*/ 727887 h 1729572"/>
              <a:gd name="connsiteX3106" fmla="*/ 506968 w 2601035"/>
              <a:gd name="connsiteY3106" fmla="*/ 727887 h 1729572"/>
              <a:gd name="connsiteX3107" fmla="*/ 511535 w 2601035"/>
              <a:gd name="connsiteY3107" fmla="*/ 730169 h 1729572"/>
              <a:gd name="connsiteX3108" fmla="*/ 511535 w 2601035"/>
              <a:gd name="connsiteY3108" fmla="*/ 725605 h 1729572"/>
              <a:gd name="connsiteX3109" fmla="*/ 513819 w 2601035"/>
              <a:gd name="connsiteY3109" fmla="*/ 727887 h 1729572"/>
              <a:gd name="connsiteX3110" fmla="*/ 516102 w 2601035"/>
              <a:gd name="connsiteY3110" fmla="*/ 730169 h 1729572"/>
              <a:gd name="connsiteX3111" fmla="*/ 520670 w 2601035"/>
              <a:gd name="connsiteY3111" fmla="*/ 727887 h 1729572"/>
              <a:gd name="connsiteX3112" fmla="*/ 520670 w 2601035"/>
              <a:gd name="connsiteY3112" fmla="*/ 725605 h 1729572"/>
              <a:gd name="connsiteX3113" fmla="*/ 522953 w 2601035"/>
              <a:gd name="connsiteY3113" fmla="*/ 725605 h 1729572"/>
              <a:gd name="connsiteX3114" fmla="*/ 525237 w 2601035"/>
              <a:gd name="connsiteY3114" fmla="*/ 725605 h 1729572"/>
              <a:gd name="connsiteX3115" fmla="*/ 525237 w 2601035"/>
              <a:gd name="connsiteY3115" fmla="*/ 723323 h 1729572"/>
              <a:gd name="connsiteX3116" fmla="*/ 527520 w 2601035"/>
              <a:gd name="connsiteY3116" fmla="*/ 723323 h 1729572"/>
              <a:gd name="connsiteX3117" fmla="*/ 529804 w 2601035"/>
              <a:gd name="connsiteY3117" fmla="*/ 721041 h 1729572"/>
              <a:gd name="connsiteX3118" fmla="*/ 529804 w 2601035"/>
              <a:gd name="connsiteY3118" fmla="*/ 718759 h 1729572"/>
              <a:gd name="connsiteX3119" fmla="*/ 529804 w 2601035"/>
              <a:gd name="connsiteY3119" fmla="*/ 711913 h 1729572"/>
              <a:gd name="connsiteX3120" fmla="*/ 534371 w 2601035"/>
              <a:gd name="connsiteY3120" fmla="*/ 709631 h 1729572"/>
              <a:gd name="connsiteX3121" fmla="*/ 536655 w 2601035"/>
              <a:gd name="connsiteY3121" fmla="*/ 707350 h 1729572"/>
              <a:gd name="connsiteX3122" fmla="*/ 564058 w 2601035"/>
              <a:gd name="connsiteY3122" fmla="*/ 705068 h 1729572"/>
              <a:gd name="connsiteX3123" fmla="*/ 561774 w 2601035"/>
              <a:gd name="connsiteY3123" fmla="*/ 695940 h 1729572"/>
              <a:gd name="connsiteX3124" fmla="*/ 570909 w 2601035"/>
              <a:gd name="connsiteY3124" fmla="*/ 705068 h 1729572"/>
              <a:gd name="connsiteX3125" fmla="*/ 570909 w 2601035"/>
              <a:gd name="connsiteY3125" fmla="*/ 707350 h 1729572"/>
              <a:gd name="connsiteX3126" fmla="*/ 582326 w 2601035"/>
              <a:gd name="connsiteY3126" fmla="*/ 702786 h 1729572"/>
              <a:gd name="connsiteX3127" fmla="*/ 593745 w 2601035"/>
              <a:gd name="connsiteY3127" fmla="*/ 702786 h 1729572"/>
              <a:gd name="connsiteX3128" fmla="*/ 596028 w 2601035"/>
              <a:gd name="connsiteY3128" fmla="*/ 702786 h 1729572"/>
              <a:gd name="connsiteX3129" fmla="*/ 596028 w 2601035"/>
              <a:gd name="connsiteY3129" fmla="*/ 700504 h 1729572"/>
              <a:gd name="connsiteX3130" fmla="*/ 596028 w 2601035"/>
              <a:gd name="connsiteY3130" fmla="*/ 698222 h 1729572"/>
              <a:gd name="connsiteX3131" fmla="*/ 596028 w 2601035"/>
              <a:gd name="connsiteY3131" fmla="*/ 689094 h 1729572"/>
              <a:gd name="connsiteX3132" fmla="*/ 598312 w 2601035"/>
              <a:gd name="connsiteY3132" fmla="*/ 682249 h 1729572"/>
              <a:gd name="connsiteX3133" fmla="*/ 598312 w 2601035"/>
              <a:gd name="connsiteY3133" fmla="*/ 677685 h 1729572"/>
              <a:gd name="connsiteX3134" fmla="*/ 598312 w 2601035"/>
              <a:gd name="connsiteY3134" fmla="*/ 663994 h 1729572"/>
              <a:gd name="connsiteX3135" fmla="*/ 598312 w 2601035"/>
              <a:gd name="connsiteY3135" fmla="*/ 661712 h 1729572"/>
              <a:gd name="connsiteX3136" fmla="*/ 593745 w 2601035"/>
              <a:gd name="connsiteY3136" fmla="*/ 648020 h 1729572"/>
              <a:gd name="connsiteX3137" fmla="*/ 591461 w 2601035"/>
              <a:gd name="connsiteY3137" fmla="*/ 645738 h 1729572"/>
              <a:gd name="connsiteX3138" fmla="*/ 598312 w 2601035"/>
              <a:gd name="connsiteY3138" fmla="*/ 636611 h 1729572"/>
              <a:gd name="connsiteX3139" fmla="*/ 600595 w 2601035"/>
              <a:gd name="connsiteY3139" fmla="*/ 632047 h 1729572"/>
              <a:gd name="connsiteX3140" fmla="*/ 600595 w 2601035"/>
              <a:gd name="connsiteY3140" fmla="*/ 629765 h 1729572"/>
              <a:gd name="connsiteX3141" fmla="*/ 600595 w 2601035"/>
              <a:gd name="connsiteY3141" fmla="*/ 622919 h 1729572"/>
              <a:gd name="connsiteX3142" fmla="*/ 596028 w 2601035"/>
              <a:gd name="connsiteY3142" fmla="*/ 618356 h 1729572"/>
              <a:gd name="connsiteX3143" fmla="*/ 605163 w 2601035"/>
              <a:gd name="connsiteY3143" fmla="*/ 613792 h 1729572"/>
              <a:gd name="connsiteX3144" fmla="*/ 607446 w 2601035"/>
              <a:gd name="connsiteY3144" fmla="*/ 611510 h 1729572"/>
              <a:gd name="connsiteX3145" fmla="*/ 609730 w 2601035"/>
              <a:gd name="connsiteY3145" fmla="*/ 611510 h 1729572"/>
              <a:gd name="connsiteX3146" fmla="*/ 609730 w 2601035"/>
              <a:gd name="connsiteY3146" fmla="*/ 606946 h 1729572"/>
              <a:gd name="connsiteX3147" fmla="*/ 612013 w 2601035"/>
              <a:gd name="connsiteY3147" fmla="*/ 588691 h 1729572"/>
              <a:gd name="connsiteX3148" fmla="*/ 612013 w 2601035"/>
              <a:gd name="connsiteY3148" fmla="*/ 584127 h 1729572"/>
              <a:gd name="connsiteX3149" fmla="*/ 614297 w 2601035"/>
              <a:gd name="connsiteY3149" fmla="*/ 584127 h 1729572"/>
              <a:gd name="connsiteX3150" fmla="*/ 614297 w 2601035"/>
              <a:gd name="connsiteY3150" fmla="*/ 581855 h 1729572"/>
              <a:gd name="connsiteX3151" fmla="*/ 616580 w 2601035"/>
              <a:gd name="connsiteY3151" fmla="*/ 581855 h 1729572"/>
              <a:gd name="connsiteX3152" fmla="*/ 618864 w 2601035"/>
              <a:gd name="connsiteY3152" fmla="*/ 579573 h 1729572"/>
              <a:gd name="connsiteX3153" fmla="*/ 621148 w 2601035"/>
              <a:gd name="connsiteY3153" fmla="*/ 577291 h 1729572"/>
              <a:gd name="connsiteX3154" fmla="*/ 623431 w 2601035"/>
              <a:gd name="connsiteY3154" fmla="*/ 577291 h 1729572"/>
              <a:gd name="connsiteX3155" fmla="*/ 623431 w 2601035"/>
              <a:gd name="connsiteY3155" fmla="*/ 575009 h 1729572"/>
              <a:gd name="connsiteX3156" fmla="*/ 625715 w 2601035"/>
              <a:gd name="connsiteY3156" fmla="*/ 575009 h 1729572"/>
              <a:gd name="connsiteX3157" fmla="*/ 627999 w 2601035"/>
              <a:gd name="connsiteY3157" fmla="*/ 575009 h 1729572"/>
              <a:gd name="connsiteX3158" fmla="*/ 630282 w 2601035"/>
              <a:gd name="connsiteY3158" fmla="*/ 575009 h 1729572"/>
              <a:gd name="connsiteX3159" fmla="*/ 632566 w 2601035"/>
              <a:gd name="connsiteY3159" fmla="*/ 572727 h 1729572"/>
              <a:gd name="connsiteX3160" fmla="*/ 634849 w 2601035"/>
              <a:gd name="connsiteY3160" fmla="*/ 572727 h 1729572"/>
              <a:gd name="connsiteX3161" fmla="*/ 637133 w 2601035"/>
              <a:gd name="connsiteY3161" fmla="*/ 572727 h 1729572"/>
              <a:gd name="connsiteX3162" fmla="*/ 639416 w 2601035"/>
              <a:gd name="connsiteY3162" fmla="*/ 572727 h 1729572"/>
              <a:gd name="connsiteX3163" fmla="*/ 639416 w 2601035"/>
              <a:gd name="connsiteY3163" fmla="*/ 570445 h 1729572"/>
              <a:gd name="connsiteX3164" fmla="*/ 641700 w 2601035"/>
              <a:gd name="connsiteY3164" fmla="*/ 570445 h 1729572"/>
              <a:gd name="connsiteX3165" fmla="*/ 643984 w 2601035"/>
              <a:gd name="connsiteY3165" fmla="*/ 570445 h 1729572"/>
              <a:gd name="connsiteX3166" fmla="*/ 646267 w 2601035"/>
              <a:gd name="connsiteY3166" fmla="*/ 570445 h 1729572"/>
              <a:gd name="connsiteX3167" fmla="*/ 648551 w 2601035"/>
              <a:gd name="connsiteY3167" fmla="*/ 570445 h 1729572"/>
              <a:gd name="connsiteX3168" fmla="*/ 650834 w 2601035"/>
              <a:gd name="connsiteY3168" fmla="*/ 570445 h 1729572"/>
              <a:gd name="connsiteX3169" fmla="*/ 650834 w 2601035"/>
              <a:gd name="connsiteY3169" fmla="*/ 572727 h 1729572"/>
              <a:gd name="connsiteX3170" fmla="*/ 653118 w 2601035"/>
              <a:gd name="connsiteY3170" fmla="*/ 572727 h 1729572"/>
              <a:gd name="connsiteX3171" fmla="*/ 655402 w 2601035"/>
              <a:gd name="connsiteY3171" fmla="*/ 572727 h 1729572"/>
              <a:gd name="connsiteX3172" fmla="*/ 659969 w 2601035"/>
              <a:gd name="connsiteY3172" fmla="*/ 575009 h 1729572"/>
              <a:gd name="connsiteX3173" fmla="*/ 662253 w 2601035"/>
              <a:gd name="connsiteY3173" fmla="*/ 575009 h 1729572"/>
              <a:gd name="connsiteX3174" fmla="*/ 662253 w 2601035"/>
              <a:gd name="connsiteY3174" fmla="*/ 577291 h 1729572"/>
              <a:gd name="connsiteX3175" fmla="*/ 662253 w 2601035"/>
              <a:gd name="connsiteY3175" fmla="*/ 579573 h 1729572"/>
              <a:gd name="connsiteX3176" fmla="*/ 664536 w 2601035"/>
              <a:gd name="connsiteY3176" fmla="*/ 579573 h 1729572"/>
              <a:gd name="connsiteX3177" fmla="*/ 666820 w 2601035"/>
              <a:gd name="connsiteY3177" fmla="*/ 577291 h 1729572"/>
              <a:gd name="connsiteX3178" fmla="*/ 666820 w 2601035"/>
              <a:gd name="connsiteY3178" fmla="*/ 575009 h 1729572"/>
              <a:gd name="connsiteX3179" fmla="*/ 669103 w 2601035"/>
              <a:gd name="connsiteY3179" fmla="*/ 575009 h 1729572"/>
              <a:gd name="connsiteX3180" fmla="*/ 671387 w 2601035"/>
              <a:gd name="connsiteY3180" fmla="*/ 575009 h 1729572"/>
              <a:gd name="connsiteX3181" fmla="*/ 673670 w 2601035"/>
              <a:gd name="connsiteY3181" fmla="*/ 575009 h 1729572"/>
              <a:gd name="connsiteX3182" fmla="*/ 675954 w 2601035"/>
              <a:gd name="connsiteY3182" fmla="*/ 572727 h 1729572"/>
              <a:gd name="connsiteX3183" fmla="*/ 678238 w 2601035"/>
              <a:gd name="connsiteY3183" fmla="*/ 572727 h 1729572"/>
              <a:gd name="connsiteX3184" fmla="*/ 680521 w 2601035"/>
              <a:gd name="connsiteY3184" fmla="*/ 572727 h 1729572"/>
              <a:gd name="connsiteX3185" fmla="*/ 682805 w 2601035"/>
              <a:gd name="connsiteY3185" fmla="*/ 572727 h 1729572"/>
              <a:gd name="connsiteX3186" fmla="*/ 685088 w 2601035"/>
              <a:gd name="connsiteY3186" fmla="*/ 572727 h 1729572"/>
              <a:gd name="connsiteX3187" fmla="*/ 687372 w 2601035"/>
              <a:gd name="connsiteY3187" fmla="*/ 570445 h 1729572"/>
              <a:gd name="connsiteX3188" fmla="*/ 689655 w 2601035"/>
              <a:gd name="connsiteY3188" fmla="*/ 570445 h 1729572"/>
              <a:gd name="connsiteX3189" fmla="*/ 691939 w 2601035"/>
              <a:gd name="connsiteY3189" fmla="*/ 570445 h 1729572"/>
              <a:gd name="connsiteX3190" fmla="*/ 691939 w 2601035"/>
              <a:gd name="connsiteY3190" fmla="*/ 568163 h 1729572"/>
              <a:gd name="connsiteX3191" fmla="*/ 694223 w 2601035"/>
              <a:gd name="connsiteY3191" fmla="*/ 568163 h 1729572"/>
              <a:gd name="connsiteX3192" fmla="*/ 696506 w 2601035"/>
              <a:gd name="connsiteY3192" fmla="*/ 565882 h 1729572"/>
              <a:gd name="connsiteX3193" fmla="*/ 696506 w 2601035"/>
              <a:gd name="connsiteY3193" fmla="*/ 563600 h 1729572"/>
              <a:gd name="connsiteX3194" fmla="*/ 698790 w 2601035"/>
              <a:gd name="connsiteY3194" fmla="*/ 561318 h 1729572"/>
              <a:gd name="connsiteX3195" fmla="*/ 701074 w 2601035"/>
              <a:gd name="connsiteY3195" fmla="*/ 559036 h 1729572"/>
              <a:gd name="connsiteX3196" fmla="*/ 703357 w 2601035"/>
              <a:gd name="connsiteY3196" fmla="*/ 559036 h 1729572"/>
              <a:gd name="connsiteX3197" fmla="*/ 703357 w 2601035"/>
              <a:gd name="connsiteY3197" fmla="*/ 556754 h 1729572"/>
              <a:gd name="connsiteX3198" fmla="*/ 705641 w 2601035"/>
              <a:gd name="connsiteY3198" fmla="*/ 556754 h 1729572"/>
              <a:gd name="connsiteX3199" fmla="*/ 705641 w 2601035"/>
              <a:gd name="connsiteY3199" fmla="*/ 559036 h 1729572"/>
              <a:gd name="connsiteX3200" fmla="*/ 707924 w 2601035"/>
              <a:gd name="connsiteY3200" fmla="*/ 559036 h 1729572"/>
              <a:gd name="connsiteX3201" fmla="*/ 710208 w 2601035"/>
              <a:gd name="connsiteY3201" fmla="*/ 559036 h 1729572"/>
              <a:gd name="connsiteX3202" fmla="*/ 710208 w 2601035"/>
              <a:gd name="connsiteY3202" fmla="*/ 561318 h 1729572"/>
              <a:gd name="connsiteX3203" fmla="*/ 712492 w 2601035"/>
              <a:gd name="connsiteY3203" fmla="*/ 561318 h 1729572"/>
              <a:gd name="connsiteX3204" fmla="*/ 714775 w 2601035"/>
              <a:gd name="connsiteY3204" fmla="*/ 563600 h 1729572"/>
              <a:gd name="connsiteX3205" fmla="*/ 717059 w 2601035"/>
              <a:gd name="connsiteY3205" fmla="*/ 563600 h 1729572"/>
              <a:gd name="connsiteX3206" fmla="*/ 717059 w 2601035"/>
              <a:gd name="connsiteY3206" fmla="*/ 561318 h 1729572"/>
              <a:gd name="connsiteX3207" fmla="*/ 717059 w 2601035"/>
              <a:gd name="connsiteY3207" fmla="*/ 559036 h 1729572"/>
              <a:gd name="connsiteX3208" fmla="*/ 717059 w 2601035"/>
              <a:gd name="connsiteY3208" fmla="*/ 556754 h 1729572"/>
              <a:gd name="connsiteX3209" fmla="*/ 714775 w 2601035"/>
              <a:gd name="connsiteY3209" fmla="*/ 556754 h 1729572"/>
              <a:gd name="connsiteX3210" fmla="*/ 714775 w 2601035"/>
              <a:gd name="connsiteY3210" fmla="*/ 554472 h 1729572"/>
              <a:gd name="connsiteX3211" fmla="*/ 714775 w 2601035"/>
              <a:gd name="connsiteY3211" fmla="*/ 552190 h 1729572"/>
              <a:gd name="connsiteX3212" fmla="*/ 714775 w 2601035"/>
              <a:gd name="connsiteY3212" fmla="*/ 549908 h 1729572"/>
              <a:gd name="connsiteX3213" fmla="*/ 712492 w 2601035"/>
              <a:gd name="connsiteY3213" fmla="*/ 547626 h 1729572"/>
              <a:gd name="connsiteX3214" fmla="*/ 712492 w 2601035"/>
              <a:gd name="connsiteY3214" fmla="*/ 545345 h 1729572"/>
              <a:gd name="connsiteX3215" fmla="*/ 714775 w 2601035"/>
              <a:gd name="connsiteY3215" fmla="*/ 545345 h 1729572"/>
              <a:gd name="connsiteX3216" fmla="*/ 717059 w 2601035"/>
              <a:gd name="connsiteY3216" fmla="*/ 543063 h 1729572"/>
              <a:gd name="connsiteX3217" fmla="*/ 719342 w 2601035"/>
              <a:gd name="connsiteY3217" fmla="*/ 543063 h 1729572"/>
              <a:gd name="connsiteX3218" fmla="*/ 721626 w 2601035"/>
              <a:gd name="connsiteY3218" fmla="*/ 540781 h 1729572"/>
              <a:gd name="connsiteX3219" fmla="*/ 723909 w 2601035"/>
              <a:gd name="connsiteY3219" fmla="*/ 540781 h 1729572"/>
              <a:gd name="connsiteX3220" fmla="*/ 726193 w 2601035"/>
              <a:gd name="connsiteY3220" fmla="*/ 540781 h 1729572"/>
              <a:gd name="connsiteX3221" fmla="*/ 726193 w 2601035"/>
              <a:gd name="connsiteY3221" fmla="*/ 538499 h 1729572"/>
              <a:gd name="connsiteX3222" fmla="*/ 728477 w 2601035"/>
              <a:gd name="connsiteY3222" fmla="*/ 538499 h 1729572"/>
              <a:gd name="connsiteX3223" fmla="*/ 728477 w 2601035"/>
              <a:gd name="connsiteY3223" fmla="*/ 540781 h 1729572"/>
              <a:gd name="connsiteX3224" fmla="*/ 730760 w 2601035"/>
              <a:gd name="connsiteY3224" fmla="*/ 540781 h 1729572"/>
              <a:gd name="connsiteX3225" fmla="*/ 733044 w 2601035"/>
              <a:gd name="connsiteY3225" fmla="*/ 538499 h 1729572"/>
              <a:gd name="connsiteX3226" fmla="*/ 735328 w 2601035"/>
              <a:gd name="connsiteY3226" fmla="*/ 538499 h 1729572"/>
              <a:gd name="connsiteX3227" fmla="*/ 737611 w 2601035"/>
              <a:gd name="connsiteY3227" fmla="*/ 538499 h 1729572"/>
              <a:gd name="connsiteX3228" fmla="*/ 739895 w 2601035"/>
              <a:gd name="connsiteY3228" fmla="*/ 540781 h 1729572"/>
              <a:gd name="connsiteX3229" fmla="*/ 742178 w 2601035"/>
              <a:gd name="connsiteY3229" fmla="*/ 540781 h 1729572"/>
              <a:gd name="connsiteX3230" fmla="*/ 744462 w 2601035"/>
              <a:gd name="connsiteY3230" fmla="*/ 540781 h 1729572"/>
              <a:gd name="connsiteX3231" fmla="*/ 744462 w 2601035"/>
              <a:gd name="connsiteY3231" fmla="*/ 538499 h 1729572"/>
              <a:gd name="connsiteX3232" fmla="*/ 744462 w 2601035"/>
              <a:gd name="connsiteY3232" fmla="*/ 536217 h 1729572"/>
              <a:gd name="connsiteX3233" fmla="*/ 744462 w 2601035"/>
              <a:gd name="connsiteY3233" fmla="*/ 533935 h 1729572"/>
              <a:gd name="connsiteX3234" fmla="*/ 746745 w 2601035"/>
              <a:gd name="connsiteY3234" fmla="*/ 533935 h 1729572"/>
              <a:gd name="connsiteX3235" fmla="*/ 746745 w 2601035"/>
              <a:gd name="connsiteY3235" fmla="*/ 531653 h 1729572"/>
              <a:gd name="connsiteX3236" fmla="*/ 749029 w 2601035"/>
              <a:gd name="connsiteY3236" fmla="*/ 529371 h 1729572"/>
              <a:gd name="connsiteX3237" fmla="*/ 749029 w 2601035"/>
              <a:gd name="connsiteY3237" fmla="*/ 527089 h 1729572"/>
              <a:gd name="connsiteX3238" fmla="*/ 751313 w 2601035"/>
              <a:gd name="connsiteY3238" fmla="*/ 527089 h 1729572"/>
              <a:gd name="connsiteX3239" fmla="*/ 751313 w 2601035"/>
              <a:gd name="connsiteY3239" fmla="*/ 524807 h 1729572"/>
              <a:gd name="connsiteX3240" fmla="*/ 753596 w 2601035"/>
              <a:gd name="connsiteY3240" fmla="*/ 524807 h 1729572"/>
              <a:gd name="connsiteX3241" fmla="*/ 755880 w 2601035"/>
              <a:gd name="connsiteY3241" fmla="*/ 524807 h 1729572"/>
              <a:gd name="connsiteX3242" fmla="*/ 755880 w 2601035"/>
              <a:gd name="connsiteY3242" fmla="*/ 522526 h 1729572"/>
              <a:gd name="connsiteX3243" fmla="*/ 758163 w 2601035"/>
              <a:gd name="connsiteY3243" fmla="*/ 522526 h 1729572"/>
              <a:gd name="connsiteX3244" fmla="*/ 760447 w 2601035"/>
              <a:gd name="connsiteY3244" fmla="*/ 520244 h 1729572"/>
              <a:gd name="connsiteX3245" fmla="*/ 762731 w 2601035"/>
              <a:gd name="connsiteY3245" fmla="*/ 520244 h 1729572"/>
              <a:gd name="connsiteX3246" fmla="*/ 765014 w 2601035"/>
              <a:gd name="connsiteY3246" fmla="*/ 517962 h 1729572"/>
              <a:gd name="connsiteX3247" fmla="*/ 767298 w 2601035"/>
              <a:gd name="connsiteY3247" fmla="*/ 517962 h 1729572"/>
              <a:gd name="connsiteX3248" fmla="*/ 769582 w 2601035"/>
              <a:gd name="connsiteY3248" fmla="*/ 517962 h 1729572"/>
              <a:gd name="connsiteX3249" fmla="*/ 771865 w 2601035"/>
              <a:gd name="connsiteY3249" fmla="*/ 517962 h 1729572"/>
              <a:gd name="connsiteX3250" fmla="*/ 774149 w 2601035"/>
              <a:gd name="connsiteY3250" fmla="*/ 517962 h 1729572"/>
              <a:gd name="connsiteX3251" fmla="*/ 776432 w 2601035"/>
              <a:gd name="connsiteY3251" fmla="*/ 517962 h 1729572"/>
              <a:gd name="connsiteX3252" fmla="*/ 778716 w 2601035"/>
              <a:gd name="connsiteY3252" fmla="*/ 517962 h 1729572"/>
              <a:gd name="connsiteX3253" fmla="*/ 780999 w 2601035"/>
              <a:gd name="connsiteY3253" fmla="*/ 517962 h 1729572"/>
              <a:gd name="connsiteX3254" fmla="*/ 783283 w 2601035"/>
              <a:gd name="connsiteY3254" fmla="*/ 520244 h 1729572"/>
              <a:gd name="connsiteX3255" fmla="*/ 785567 w 2601035"/>
              <a:gd name="connsiteY3255" fmla="*/ 520244 h 1729572"/>
              <a:gd name="connsiteX3256" fmla="*/ 785567 w 2601035"/>
              <a:gd name="connsiteY3256" fmla="*/ 517962 h 1729572"/>
              <a:gd name="connsiteX3257" fmla="*/ 787850 w 2601035"/>
              <a:gd name="connsiteY3257" fmla="*/ 517962 h 1729572"/>
              <a:gd name="connsiteX3258" fmla="*/ 787850 w 2601035"/>
              <a:gd name="connsiteY3258" fmla="*/ 515680 h 1729572"/>
              <a:gd name="connsiteX3259" fmla="*/ 790134 w 2601035"/>
              <a:gd name="connsiteY3259" fmla="*/ 513398 h 1729572"/>
              <a:gd name="connsiteX3260" fmla="*/ 792417 w 2601035"/>
              <a:gd name="connsiteY3260" fmla="*/ 515680 h 1729572"/>
              <a:gd name="connsiteX3261" fmla="*/ 794701 w 2601035"/>
              <a:gd name="connsiteY3261" fmla="*/ 515680 h 1729572"/>
              <a:gd name="connsiteX3262" fmla="*/ 796985 w 2601035"/>
              <a:gd name="connsiteY3262" fmla="*/ 515680 h 1729572"/>
              <a:gd name="connsiteX3263" fmla="*/ 799268 w 2601035"/>
              <a:gd name="connsiteY3263" fmla="*/ 515680 h 1729572"/>
              <a:gd name="connsiteX3264" fmla="*/ 801552 w 2601035"/>
              <a:gd name="connsiteY3264" fmla="*/ 515680 h 1729572"/>
              <a:gd name="connsiteX3265" fmla="*/ 801552 w 2601035"/>
              <a:gd name="connsiteY3265" fmla="*/ 513398 h 1729572"/>
              <a:gd name="connsiteX3266" fmla="*/ 803835 w 2601035"/>
              <a:gd name="connsiteY3266" fmla="*/ 511116 h 1729572"/>
              <a:gd name="connsiteX3267" fmla="*/ 803835 w 2601035"/>
              <a:gd name="connsiteY3267" fmla="*/ 508834 h 1729572"/>
              <a:gd name="connsiteX3268" fmla="*/ 806119 w 2601035"/>
              <a:gd name="connsiteY3268" fmla="*/ 508834 h 1729572"/>
              <a:gd name="connsiteX3269" fmla="*/ 808403 w 2601035"/>
              <a:gd name="connsiteY3269" fmla="*/ 508834 h 1729572"/>
              <a:gd name="connsiteX3270" fmla="*/ 808403 w 2601035"/>
              <a:gd name="connsiteY3270" fmla="*/ 506552 h 1729572"/>
              <a:gd name="connsiteX3271" fmla="*/ 810686 w 2601035"/>
              <a:gd name="connsiteY3271" fmla="*/ 506552 h 1729572"/>
              <a:gd name="connsiteX3272" fmla="*/ 817537 w 2601035"/>
              <a:gd name="connsiteY3272" fmla="*/ 508834 h 1729572"/>
              <a:gd name="connsiteX3273" fmla="*/ 817537 w 2601035"/>
              <a:gd name="connsiteY3273" fmla="*/ 506552 h 1729572"/>
              <a:gd name="connsiteX3274" fmla="*/ 819821 w 2601035"/>
              <a:gd name="connsiteY3274" fmla="*/ 504270 h 1729572"/>
              <a:gd name="connsiteX3275" fmla="*/ 822104 w 2601035"/>
              <a:gd name="connsiteY3275" fmla="*/ 506552 h 1729572"/>
              <a:gd name="connsiteX3276" fmla="*/ 824388 w 2601035"/>
              <a:gd name="connsiteY3276" fmla="*/ 506552 h 1729572"/>
              <a:gd name="connsiteX3277" fmla="*/ 826671 w 2601035"/>
              <a:gd name="connsiteY3277" fmla="*/ 504270 h 1729572"/>
              <a:gd name="connsiteX3278" fmla="*/ 826671 w 2601035"/>
              <a:gd name="connsiteY3278" fmla="*/ 501989 h 1729572"/>
              <a:gd name="connsiteX3279" fmla="*/ 826671 w 2601035"/>
              <a:gd name="connsiteY3279" fmla="*/ 499706 h 1729572"/>
              <a:gd name="connsiteX3280" fmla="*/ 828955 w 2601035"/>
              <a:gd name="connsiteY3280" fmla="*/ 499706 h 1729572"/>
              <a:gd name="connsiteX3281" fmla="*/ 828955 w 2601035"/>
              <a:gd name="connsiteY3281" fmla="*/ 497425 h 1729572"/>
              <a:gd name="connsiteX3282" fmla="*/ 831238 w 2601035"/>
              <a:gd name="connsiteY3282" fmla="*/ 497425 h 1729572"/>
              <a:gd name="connsiteX3283" fmla="*/ 831238 w 2601035"/>
              <a:gd name="connsiteY3283" fmla="*/ 495143 h 1729572"/>
              <a:gd name="connsiteX3284" fmla="*/ 833522 w 2601035"/>
              <a:gd name="connsiteY3284" fmla="*/ 495143 h 1729572"/>
              <a:gd name="connsiteX3285" fmla="*/ 833522 w 2601035"/>
              <a:gd name="connsiteY3285" fmla="*/ 497425 h 1729572"/>
              <a:gd name="connsiteX3286" fmla="*/ 835806 w 2601035"/>
              <a:gd name="connsiteY3286" fmla="*/ 497425 h 1729572"/>
              <a:gd name="connsiteX3287" fmla="*/ 835806 w 2601035"/>
              <a:gd name="connsiteY3287" fmla="*/ 495143 h 1729572"/>
              <a:gd name="connsiteX3288" fmla="*/ 838089 w 2601035"/>
              <a:gd name="connsiteY3288" fmla="*/ 495143 h 1729572"/>
              <a:gd name="connsiteX3289" fmla="*/ 838089 w 2601035"/>
              <a:gd name="connsiteY3289" fmla="*/ 492861 h 1729572"/>
              <a:gd name="connsiteX3290" fmla="*/ 835806 w 2601035"/>
              <a:gd name="connsiteY3290" fmla="*/ 492861 h 1729572"/>
              <a:gd name="connsiteX3291" fmla="*/ 835806 w 2601035"/>
              <a:gd name="connsiteY3291" fmla="*/ 490579 h 1729572"/>
              <a:gd name="connsiteX3292" fmla="*/ 838089 w 2601035"/>
              <a:gd name="connsiteY3292" fmla="*/ 488297 h 1729572"/>
              <a:gd name="connsiteX3293" fmla="*/ 838089 w 2601035"/>
              <a:gd name="connsiteY3293" fmla="*/ 486015 h 1729572"/>
              <a:gd name="connsiteX3294" fmla="*/ 840373 w 2601035"/>
              <a:gd name="connsiteY3294" fmla="*/ 486015 h 1729572"/>
              <a:gd name="connsiteX3295" fmla="*/ 842657 w 2601035"/>
              <a:gd name="connsiteY3295" fmla="*/ 486015 h 1729572"/>
              <a:gd name="connsiteX3296" fmla="*/ 842657 w 2601035"/>
              <a:gd name="connsiteY3296" fmla="*/ 488297 h 1729572"/>
              <a:gd name="connsiteX3297" fmla="*/ 844940 w 2601035"/>
              <a:gd name="connsiteY3297" fmla="*/ 488297 h 1729572"/>
              <a:gd name="connsiteX3298" fmla="*/ 847224 w 2601035"/>
              <a:gd name="connsiteY3298" fmla="*/ 490579 h 1729572"/>
              <a:gd name="connsiteX3299" fmla="*/ 849507 w 2601035"/>
              <a:gd name="connsiteY3299" fmla="*/ 490579 h 1729572"/>
              <a:gd name="connsiteX3300" fmla="*/ 854075 w 2601035"/>
              <a:gd name="connsiteY3300" fmla="*/ 492861 h 1729572"/>
              <a:gd name="connsiteX3301" fmla="*/ 856358 w 2601035"/>
              <a:gd name="connsiteY3301" fmla="*/ 495143 h 1729572"/>
              <a:gd name="connsiteX3302" fmla="*/ 858642 w 2601035"/>
              <a:gd name="connsiteY3302" fmla="*/ 495143 h 1729572"/>
              <a:gd name="connsiteX3303" fmla="*/ 858642 w 2601035"/>
              <a:gd name="connsiteY3303" fmla="*/ 497425 h 1729572"/>
              <a:gd name="connsiteX3304" fmla="*/ 858642 w 2601035"/>
              <a:gd name="connsiteY3304" fmla="*/ 499706 h 1729572"/>
              <a:gd name="connsiteX3305" fmla="*/ 860925 w 2601035"/>
              <a:gd name="connsiteY3305" fmla="*/ 499706 h 1729572"/>
              <a:gd name="connsiteX3306" fmla="*/ 863209 w 2601035"/>
              <a:gd name="connsiteY3306" fmla="*/ 499706 h 1729572"/>
              <a:gd name="connsiteX3307" fmla="*/ 865492 w 2601035"/>
              <a:gd name="connsiteY3307" fmla="*/ 499706 h 1729572"/>
              <a:gd name="connsiteX3308" fmla="*/ 865492 w 2601035"/>
              <a:gd name="connsiteY3308" fmla="*/ 495143 h 1729572"/>
              <a:gd name="connsiteX3309" fmla="*/ 872343 w 2601035"/>
              <a:gd name="connsiteY3309" fmla="*/ 497425 h 1729572"/>
              <a:gd name="connsiteX3310" fmla="*/ 881478 w 2601035"/>
              <a:gd name="connsiteY3310" fmla="*/ 501989 h 1729572"/>
              <a:gd name="connsiteX3311" fmla="*/ 888328 w 2601035"/>
              <a:gd name="connsiteY3311" fmla="*/ 504270 h 1729572"/>
              <a:gd name="connsiteX3312" fmla="*/ 890612 w 2601035"/>
              <a:gd name="connsiteY3312" fmla="*/ 504270 h 1729572"/>
              <a:gd name="connsiteX3313" fmla="*/ 890612 w 2601035"/>
              <a:gd name="connsiteY3313" fmla="*/ 501989 h 1729572"/>
              <a:gd name="connsiteX3314" fmla="*/ 892896 w 2601035"/>
              <a:gd name="connsiteY3314" fmla="*/ 501989 h 1729572"/>
              <a:gd name="connsiteX3315" fmla="*/ 895179 w 2601035"/>
              <a:gd name="connsiteY3315" fmla="*/ 499706 h 1729572"/>
              <a:gd name="connsiteX3316" fmla="*/ 897463 w 2601035"/>
              <a:gd name="connsiteY3316" fmla="*/ 499706 h 1729572"/>
              <a:gd name="connsiteX3317" fmla="*/ 897463 w 2601035"/>
              <a:gd name="connsiteY3317" fmla="*/ 497425 h 1729572"/>
              <a:gd name="connsiteX3318" fmla="*/ 899746 w 2601035"/>
              <a:gd name="connsiteY3318" fmla="*/ 497425 h 1729572"/>
              <a:gd name="connsiteX3319" fmla="*/ 899746 w 2601035"/>
              <a:gd name="connsiteY3319" fmla="*/ 490579 h 1729572"/>
              <a:gd name="connsiteX3320" fmla="*/ 897463 w 2601035"/>
              <a:gd name="connsiteY3320" fmla="*/ 488297 h 1729572"/>
              <a:gd name="connsiteX3321" fmla="*/ 897463 w 2601035"/>
              <a:gd name="connsiteY3321" fmla="*/ 486015 h 1729572"/>
              <a:gd name="connsiteX3322" fmla="*/ 897463 w 2601035"/>
              <a:gd name="connsiteY3322" fmla="*/ 479170 h 1729572"/>
              <a:gd name="connsiteX3323" fmla="*/ 899746 w 2601035"/>
              <a:gd name="connsiteY3323" fmla="*/ 470042 h 1729572"/>
              <a:gd name="connsiteX3324" fmla="*/ 902030 w 2601035"/>
              <a:gd name="connsiteY3324" fmla="*/ 463196 h 1729572"/>
              <a:gd name="connsiteX3325" fmla="*/ 904314 w 2601035"/>
              <a:gd name="connsiteY3325" fmla="*/ 460914 h 1729572"/>
              <a:gd name="connsiteX3326" fmla="*/ 911165 w 2601035"/>
              <a:gd name="connsiteY3326" fmla="*/ 463196 h 1729572"/>
              <a:gd name="connsiteX3327" fmla="*/ 913448 w 2601035"/>
              <a:gd name="connsiteY3327" fmla="*/ 458633 h 1729572"/>
              <a:gd name="connsiteX3328" fmla="*/ 913448 w 2601035"/>
              <a:gd name="connsiteY3328" fmla="*/ 456350 h 1729572"/>
              <a:gd name="connsiteX3329" fmla="*/ 915732 w 2601035"/>
              <a:gd name="connsiteY3329" fmla="*/ 454069 h 1729572"/>
              <a:gd name="connsiteX3330" fmla="*/ 920299 w 2601035"/>
              <a:gd name="connsiteY3330" fmla="*/ 449505 h 1729572"/>
              <a:gd name="connsiteX3331" fmla="*/ 920299 w 2601035"/>
              <a:gd name="connsiteY3331" fmla="*/ 447223 h 1729572"/>
              <a:gd name="connsiteX3332" fmla="*/ 922582 w 2601035"/>
              <a:gd name="connsiteY3332" fmla="*/ 440377 h 1729572"/>
              <a:gd name="connsiteX3333" fmla="*/ 918015 w 2601035"/>
              <a:gd name="connsiteY3333" fmla="*/ 431250 h 1729572"/>
              <a:gd name="connsiteX3334" fmla="*/ 922582 w 2601035"/>
              <a:gd name="connsiteY3334" fmla="*/ 428968 h 1729572"/>
              <a:gd name="connsiteX3335" fmla="*/ 927150 w 2601035"/>
              <a:gd name="connsiteY3335" fmla="*/ 428968 h 1729572"/>
              <a:gd name="connsiteX3336" fmla="*/ 931717 w 2601035"/>
              <a:gd name="connsiteY3336" fmla="*/ 426686 h 1729572"/>
              <a:gd name="connsiteX3337" fmla="*/ 934001 w 2601035"/>
              <a:gd name="connsiteY3337" fmla="*/ 422132 h 1729572"/>
              <a:gd name="connsiteX3338" fmla="*/ 940851 w 2601035"/>
              <a:gd name="connsiteY3338" fmla="*/ 410722 h 1729572"/>
              <a:gd name="connsiteX3339" fmla="*/ 934001 w 2601035"/>
              <a:gd name="connsiteY3339" fmla="*/ 408440 h 1729572"/>
              <a:gd name="connsiteX3340" fmla="*/ 929433 w 2601035"/>
              <a:gd name="connsiteY3340" fmla="*/ 403877 h 1729572"/>
              <a:gd name="connsiteX3341" fmla="*/ 929433 w 2601035"/>
              <a:gd name="connsiteY3341" fmla="*/ 399313 h 1729572"/>
              <a:gd name="connsiteX3342" fmla="*/ 931717 w 2601035"/>
              <a:gd name="connsiteY3342" fmla="*/ 399313 h 1729572"/>
              <a:gd name="connsiteX3343" fmla="*/ 931717 w 2601035"/>
              <a:gd name="connsiteY3343" fmla="*/ 397031 h 1729572"/>
              <a:gd name="connsiteX3344" fmla="*/ 934001 w 2601035"/>
              <a:gd name="connsiteY3344" fmla="*/ 397031 h 1729572"/>
              <a:gd name="connsiteX3345" fmla="*/ 936284 w 2601035"/>
              <a:gd name="connsiteY3345" fmla="*/ 392467 h 1729572"/>
              <a:gd name="connsiteX3346" fmla="*/ 943135 w 2601035"/>
              <a:gd name="connsiteY3346" fmla="*/ 387903 h 1729572"/>
              <a:gd name="connsiteX3347" fmla="*/ 940851 w 2601035"/>
              <a:gd name="connsiteY3347" fmla="*/ 385621 h 1729572"/>
              <a:gd name="connsiteX3348" fmla="*/ 940851 w 2601035"/>
              <a:gd name="connsiteY3348" fmla="*/ 383339 h 1729572"/>
              <a:gd name="connsiteX3349" fmla="*/ 940851 w 2601035"/>
              <a:gd name="connsiteY3349" fmla="*/ 378776 h 1729572"/>
              <a:gd name="connsiteX3350" fmla="*/ 943135 w 2601035"/>
              <a:gd name="connsiteY3350" fmla="*/ 376494 h 1729572"/>
              <a:gd name="connsiteX3351" fmla="*/ 943135 w 2601035"/>
              <a:gd name="connsiteY3351" fmla="*/ 374212 h 1729572"/>
              <a:gd name="connsiteX3352" fmla="*/ 943135 w 2601035"/>
              <a:gd name="connsiteY3352" fmla="*/ 369648 h 1729572"/>
              <a:gd name="connsiteX3353" fmla="*/ 945418 w 2601035"/>
              <a:gd name="connsiteY3353" fmla="*/ 367366 h 1729572"/>
              <a:gd name="connsiteX3354" fmla="*/ 945418 w 2601035"/>
              <a:gd name="connsiteY3354" fmla="*/ 365084 h 1729572"/>
              <a:gd name="connsiteX3355" fmla="*/ 945418 w 2601035"/>
              <a:gd name="connsiteY3355" fmla="*/ 367366 h 1729572"/>
              <a:gd name="connsiteX3356" fmla="*/ 943135 w 2601035"/>
              <a:gd name="connsiteY3356" fmla="*/ 365084 h 1729572"/>
              <a:gd name="connsiteX3357" fmla="*/ 940851 w 2601035"/>
              <a:gd name="connsiteY3357" fmla="*/ 365084 h 1729572"/>
              <a:gd name="connsiteX3358" fmla="*/ 940851 w 2601035"/>
              <a:gd name="connsiteY3358" fmla="*/ 362802 h 1729572"/>
              <a:gd name="connsiteX3359" fmla="*/ 938568 w 2601035"/>
              <a:gd name="connsiteY3359" fmla="*/ 360521 h 1729572"/>
              <a:gd name="connsiteX3360" fmla="*/ 929433 w 2601035"/>
              <a:gd name="connsiteY3360" fmla="*/ 353675 h 1729572"/>
              <a:gd name="connsiteX3361" fmla="*/ 927150 w 2601035"/>
              <a:gd name="connsiteY3361" fmla="*/ 353675 h 1729572"/>
              <a:gd name="connsiteX3362" fmla="*/ 934001 w 2601035"/>
              <a:gd name="connsiteY3362" fmla="*/ 344547 h 1729572"/>
              <a:gd name="connsiteX3363" fmla="*/ 945418 w 2601035"/>
              <a:gd name="connsiteY3363" fmla="*/ 337701 h 1729572"/>
              <a:gd name="connsiteX3364" fmla="*/ 949986 w 2601035"/>
              <a:gd name="connsiteY3364" fmla="*/ 330856 h 1729572"/>
              <a:gd name="connsiteX3365" fmla="*/ 954553 w 2601035"/>
              <a:gd name="connsiteY3365" fmla="*/ 321728 h 1729572"/>
              <a:gd name="connsiteX3366" fmla="*/ 954553 w 2601035"/>
              <a:gd name="connsiteY3366" fmla="*/ 319446 h 1729572"/>
              <a:gd name="connsiteX3367" fmla="*/ 947702 w 2601035"/>
              <a:gd name="connsiteY3367" fmla="*/ 324010 h 1729572"/>
              <a:gd name="connsiteX3368" fmla="*/ 940851 w 2601035"/>
              <a:gd name="connsiteY3368" fmla="*/ 319446 h 1729572"/>
              <a:gd name="connsiteX3369" fmla="*/ 940851 w 2601035"/>
              <a:gd name="connsiteY3369" fmla="*/ 317165 h 1729572"/>
              <a:gd name="connsiteX3370" fmla="*/ 934001 w 2601035"/>
              <a:gd name="connsiteY3370" fmla="*/ 319446 h 1729572"/>
              <a:gd name="connsiteX3371" fmla="*/ 931717 w 2601035"/>
              <a:gd name="connsiteY3371" fmla="*/ 317165 h 1729572"/>
              <a:gd name="connsiteX3372" fmla="*/ 931717 w 2601035"/>
              <a:gd name="connsiteY3372" fmla="*/ 314882 h 1729572"/>
              <a:gd name="connsiteX3373" fmla="*/ 931717 w 2601035"/>
              <a:gd name="connsiteY3373" fmla="*/ 312601 h 1729572"/>
              <a:gd name="connsiteX3374" fmla="*/ 931717 w 2601035"/>
              <a:gd name="connsiteY3374" fmla="*/ 308037 h 1729572"/>
              <a:gd name="connsiteX3375" fmla="*/ 929433 w 2601035"/>
              <a:gd name="connsiteY3375" fmla="*/ 301191 h 1729572"/>
              <a:gd name="connsiteX3376" fmla="*/ 929433 w 2601035"/>
              <a:gd name="connsiteY3376" fmla="*/ 298909 h 1729572"/>
              <a:gd name="connsiteX3377" fmla="*/ 929433 w 2601035"/>
              <a:gd name="connsiteY3377" fmla="*/ 294345 h 1729572"/>
              <a:gd name="connsiteX3378" fmla="*/ 929433 w 2601035"/>
              <a:gd name="connsiteY3378" fmla="*/ 292064 h 1729572"/>
              <a:gd name="connsiteX3379" fmla="*/ 924866 w 2601035"/>
              <a:gd name="connsiteY3379" fmla="*/ 292064 h 1729572"/>
              <a:gd name="connsiteX3380" fmla="*/ 924866 w 2601035"/>
              <a:gd name="connsiteY3380" fmla="*/ 289782 h 1729572"/>
              <a:gd name="connsiteX3381" fmla="*/ 924866 w 2601035"/>
              <a:gd name="connsiteY3381" fmla="*/ 287500 h 1729572"/>
              <a:gd name="connsiteX3382" fmla="*/ 924866 w 2601035"/>
              <a:gd name="connsiteY3382" fmla="*/ 285218 h 1729572"/>
              <a:gd name="connsiteX3383" fmla="*/ 924866 w 2601035"/>
              <a:gd name="connsiteY3383" fmla="*/ 282936 h 1729572"/>
              <a:gd name="connsiteX3384" fmla="*/ 924866 w 2601035"/>
              <a:gd name="connsiteY3384" fmla="*/ 278372 h 1729572"/>
              <a:gd name="connsiteX3385" fmla="*/ 922582 w 2601035"/>
              <a:gd name="connsiteY3385" fmla="*/ 278372 h 1729572"/>
              <a:gd name="connsiteX3386" fmla="*/ 922582 w 2601035"/>
              <a:gd name="connsiteY3386" fmla="*/ 276090 h 1729572"/>
              <a:gd name="connsiteX3387" fmla="*/ 924866 w 2601035"/>
              <a:gd name="connsiteY3387" fmla="*/ 273809 h 1729572"/>
              <a:gd name="connsiteX3388" fmla="*/ 927150 w 2601035"/>
              <a:gd name="connsiteY3388" fmla="*/ 271526 h 1729572"/>
              <a:gd name="connsiteX3389" fmla="*/ 927150 w 2601035"/>
              <a:gd name="connsiteY3389" fmla="*/ 269254 h 1729572"/>
              <a:gd name="connsiteX3390" fmla="*/ 924866 w 2601035"/>
              <a:gd name="connsiteY3390" fmla="*/ 269254 h 1729572"/>
              <a:gd name="connsiteX3391" fmla="*/ 922582 w 2601035"/>
              <a:gd name="connsiteY3391" fmla="*/ 266972 h 1729572"/>
              <a:gd name="connsiteX3392" fmla="*/ 922582 w 2601035"/>
              <a:gd name="connsiteY3392" fmla="*/ 264690 h 1729572"/>
              <a:gd name="connsiteX3393" fmla="*/ 922582 w 2601035"/>
              <a:gd name="connsiteY3393" fmla="*/ 262409 h 1729572"/>
              <a:gd name="connsiteX3394" fmla="*/ 922582 w 2601035"/>
              <a:gd name="connsiteY3394" fmla="*/ 257845 h 1729572"/>
              <a:gd name="connsiteX3395" fmla="*/ 924866 w 2601035"/>
              <a:gd name="connsiteY3395" fmla="*/ 253281 h 1729572"/>
              <a:gd name="connsiteX3396" fmla="*/ 924866 w 2601035"/>
              <a:gd name="connsiteY3396" fmla="*/ 255563 h 1729572"/>
              <a:gd name="connsiteX3397" fmla="*/ 927150 w 2601035"/>
              <a:gd name="connsiteY3397" fmla="*/ 255563 h 1729572"/>
              <a:gd name="connsiteX3398" fmla="*/ 927150 w 2601035"/>
              <a:gd name="connsiteY3398" fmla="*/ 257845 h 1729572"/>
              <a:gd name="connsiteX3399" fmla="*/ 929433 w 2601035"/>
              <a:gd name="connsiteY3399" fmla="*/ 257845 h 1729572"/>
              <a:gd name="connsiteX3400" fmla="*/ 929433 w 2601035"/>
              <a:gd name="connsiteY3400" fmla="*/ 255563 h 1729572"/>
              <a:gd name="connsiteX3401" fmla="*/ 931717 w 2601035"/>
              <a:gd name="connsiteY3401" fmla="*/ 255563 h 1729572"/>
              <a:gd name="connsiteX3402" fmla="*/ 934001 w 2601035"/>
              <a:gd name="connsiteY3402" fmla="*/ 255563 h 1729572"/>
              <a:gd name="connsiteX3403" fmla="*/ 934001 w 2601035"/>
              <a:gd name="connsiteY3403" fmla="*/ 253281 h 1729572"/>
              <a:gd name="connsiteX3404" fmla="*/ 936284 w 2601035"/>
              <a:gd name="connsiteY3404" fmla="*/ 253281 h 1729572"/>
              <a:gd name="connsiteX3405" fmla="*/ 938568 w 2601035"/>
              <a:gd name="connsiteY3405" fmla="*/ 253281 h 1729572"/>
              <a:gd name="connsiteX3406" fmla="*/ 938568 w 2601035"/>
              <a:gd name="connsiteY3406" fmla="*/ 250999 h 1729572"/>
              <a:gd name="connsiteX3407" fmla="*/ 940851 w 2601035"/>
              <a:gd name="connsiteY3407" fmla="*/ 250999 h 1729572"/>
              <a:gd name="connsiteX3408" fmla="*/ 943135 w 2601035"/>
              <a:gd name="connsiteY3408" fmla="*/ 250999 h 1729572"/>
              <a:gd name="connsiteX3409" fmla="*/ 943135 w 2601035"/>
              <a:gd name="connsiteY3409" fmla="*/ 248717 h 1729572"/>
              <a:gd name="connsiteX3410" fmla="*/ 945418 w 2601035"/>
              <a:gd name="connsiteY3410" fmla="*/ 248717 h 1729572"/>
              <a:gd name="connsiteX3411" fmla="*/ 947702 w 2601035"/>
              <a:gd name="connsiteY3411" fmla="*/ 248717 h 1729572"/>
              <a:gd name="connsiteX3412" fmla="*/ 949986 w 2601035"/>
              <a:gd name="connsiteY3412" fmla="*/ 248717 h 1729572"/>
              <a:gd name="connsiteX3413" fmla="*/ 952269 w 2601035"/>
              <a:gd name="connsiteY3413" fmla="*/ 248717 h 1729572"/>
              <a:gd name="connsiteX3414" fmla="*/ 954553 w 2601035"/>
              <a:gd name="connsiteY3414" fmla="*/ 248717 h 1729572"/>
              <a:gd name="connsiteX3415" fmla="*/ 956836 w 2601035"/>
              <a:gd name="connsiteY3415" fmla="*/ 248717 h 1729572"/>
              <a:gd name="connsiteX3416" fmla="*/ 959120 w 2601035"/>
              <a:gd name="connsiteY3416" fmla="*/ 248717 h 1729572"/>
              <a:gd name="connsiteX3417" fmla="*/ 961404 w 2601035"/>
              <a:gd name="connsiteY3417" fmla="*/ 248717 h 1729572"/>
              <a:gd name="connsiteX3418" fmla="*/ 961404 w 2601035"/>
              <a:gd name="connsiteY3418" fmla="*/ 246435 h 1729572"/>
              <a:gd name="connsiteX3419" fmla="*/ 963687 w 2601035"/>
              <a:gd name="connsiteY3419" fmla="*/ 246435 h 1729572"/>
              <a:gd name="connsiteX3420" fmla="*/ 963687 w 2601035"/>
              <a:gd name="connsiteY3420" fmla="*/ 244153 h 1729572"/>
              <a:gd name="connsiteX3421" fmla="*/ 965971 w 2601035"/>
              <a:gd name="connsiteY3421" fmla="*/ 244153 h 1729572"/>
              <a:gd name="connsiteX3422" fmla="*/ 965971 w 2601035"/>
              <a:gd name="connsiteY3422" fmla="*/ 241871 h 1729572"/>
              <a:gd name="connsiteX3423" fmla="*/ 968255 w 2601035"/>
              <a:gd name="connsiteY3423" fmla="*/ 241871 h 1729572"/>
              <a:gd name="connsiteX3424" fmla="*/ 968255 w 2601035"/>
              <a:gd name="connsiteY3424" fmla="*/ 239590 h 1729572"/>
              <a:gd name="connsiteX3425" fmla="*/ 968255 w 2601035"/>
              <a:gd name="connsiteY3425" fmla="*/ 237308 h 1729572"/>
              <a:gd name="connsiteX3426" fmla="*/ 970538 w 2601035"/>
              <a:gd name="connsiteY3426" fmla="*/ 237308 h 1729572"/>
              <a:gd name="connsiteX3427" fmla="*/ 972822 w 2601035"/>
              <a:gd name="connsiteY3427" fmla="*/ 237308 h 1729572"/>
              <a:gd name="connsiteX3428" fmla="*/ 972822 w 2601035"/>
              <a:gd name="connsiteY3428" fmla="*/ 239590 h 1729572"/>
              <a:gd name="connsiteX3429" fmla="*/ 975105 w 2601035"/>
              <a:gd name="connsiteY3429" fmla="*/ 239590 h 1729572"/>
              <a:gd name="connsiteX3430" fmla="*/ 975105 w 2601035"/>
              <a:gd name="connsiteY3430" fmla="*/ 241871 h 1729572"/>
              <a:gd name="connsiteX3431" fmla="*/ 975105 w 2601035"/>
              <a:gd name="connsiteY3431" fmla="*/ 244153 h 1729572"/>
              <a:gd name="connsiteX3432" fmla="*/ 975105 w 2601035"/>
              <a:gd name="connsiteY3432" fmla="*/ 246435 h 1729572"/>
              <a:gd name="connsiteX3433" fmla="*/ 977389 w 2601035"/>
              <a:gd name="connsiteY3433" fmla="*/ 246435 h 1729572"/>
              <a:gd name="connsiteX3434" fmla="*/ 977389 w 2601035"/>
              <a:gd name="connsiteY3434" fmla="*/ 248717 h 1729572"/>
              <a:gd name="connsiteX3435" fmla="*/ 979672 w 2601035"/>
              <a:gd name="connsiteY3435" fmla="*/ 248717 h 1729572"/>
              <a:gd name="connsiteX3436" fmla="*/ 979672 w 2601035"/>
              <a:gd name="connsiteY3436" fmla="*/ 250999 h 1729572"/>
              <a:gd name="connsiteX3437" fmla="*/ 981956 w 2601035"/>
              <a:gd name="connsiteY3437" fmla="*/ 250999 h 1729572"/>
              <a:gd name="connsiteX3438" fmla="*/ 981956 w 2601035"/>
              <a:gd name="connsiteY3438" fmla="*/ 253281 h 1729572"/>
              <a:gd name="connsiteX3439" fmla="*/ 981956 w 2601035"/>
              <a:gd name="connsiteY3439" fmla="*/ 255563 h 1729572"/>
              <a:gd name="connsiteX3440" fmla="*/ 979672 w 2601035"/>
              <a:gd name="connsiteY3440" fmla="*/ 255563 h 1729572"/>
              <a:gd name="connsiteX3441" fmla="*/ 979672 w 2601035"/>
              <a:gd name="connsiteY3441" fmla="*/ 257845 h 1729572"/>
              <a:gd name="connsiteX3442" fmla="*/ 977389 w 2601035"/>
              <a:gd name="connsiteY3442" fmla="*/ 260126 h 1729572"/>
              <a:gd name="connsiteX3443" fmla="*/ 977389 w 2601035"/>
              <a:gd name="connsiteY3443" fmla="*/ 262409 h 1729572"/>
              <a:gd name="connsiteX3444" fmla="*/ 975105 w 2601035"/>
              <a:gd name="connsiteY3444" fmla="*/ 262409 h 1729572"/>
              <a:gd name="connsiteX3445" fmla="*/ 977389 w 2601035"/>
              <a:gd name="connsiteY3445" fmla="*/ 264690 h 1729572"/>
              <a:gd name="connsiteX3446" fmla="*/ 979672 w 2601035"/>
              <a:gd name="connsiteY3446" fmla="*/ 264690 h 1729572"/>
              <a:gd name="connsiteX3447" fmla="*/ 979672 w 2601035"/>
              <a:gd name="connsiteY3447" fmla="*/ 266972 h 1729572"/>
              <a:gd name="connsiteX3448" fmla="*/ 981956 w 2601035"/>
              <a:gd name="connsiteY3448" fmla="*/ 266972 h 1729572"/>
              <a:gd name="connsiteX3449" fmla="*/ 984240 w 2601035"/>
              <a:gd name="connsiteY3449" fmla="*/ 266972 h 1729572"/>
              <a:gd name="connsiteX3450" fmla="*/ 986523 w 2601035"/>
              <a:gd name="connsiteY3450" fmla="*/ 266972 h 1729572"/>
              <a:gd name="connsiteX3451" fmla="*/ 986523 w 2601035"/>
              <a:gd name="connsiteY3451" fmla="*/ 264690 h 1729572"/>
              <a:gd name="connsiteX3452" fmla="*/ 988807 w 2601035"/>
              <a:gd name="connsiteY3452" fmla="*/ 264690 h 1729572"/>
              <a:gd name="connsiteX3453" fmla="*/ 991090 w 2601035"/>
              <a:gd name="connsiteY3453" fmla="*/ 264690 h 1729572"/>
              <a:gd name="connsiteX3454" fmla="*/ 991090 w 2601035"/>
              <a:gd name="connsiteY3454" fmla="*/ 262409 h 1729572"/>
              <a:gd name="connsiteX3455" fmla="*/ 993374 w 2601035"/>
              <a:gd name="connsiteY3455" fmla="*/ 262409 h 1729572"/>
              <a:gd name="connsiteX3456" fmla="*/ 993374 w 2601035"/>
              <a:gd name="connsiteY3456" fmla="*/ 260126 h 1729572"/>
              <a:gd name="connsiteX3457" fmla="*/ 995657 w 2601035"/>
              <a:gd name="connsiteY3457" fmla="*/ 260126 h 1729572"/>
              <a:gd name="connsiteX3458" fmla="*/ 997941 w 2601035"/>
              <a:gd name="connsiteY3458" fmla="*/ 260126 h 1729572"/>
              <a:gd name="connsiteX3459" fmla="*/ 997941 w 2601035"/>
              <a:gd name="connsiteY3459" fmla="*/ 257845 h 1729572"/>
              <a:gd name="connsiteX3460" fmla="*/ 1000225 w 2601035"/>
              <a:gd name="connsiteY3460" fmla="*/ 257845 h 1729572"/>
              <a:gd name="connsiteX3461" fmla="*/ 1000225 w 2601035"/>
              <a:gd name="connsiteY3461" fmla="*/ 260126 h 1729572"/>
              <a:gd name="connsiteX3462" fmla="*/ 1002508 w 2601035"/>
              <a:gd name="connsiteY3462" fmla="*/ 260126 h 1729572"/>
              <a:gd name="connsiteX3463" fmla="*/ 1002508 w 2601035"/>
              <a:gd name="connsiteY3463" fmla="*/ 262409 h 1729572"/>
              <a:gd name="connsiteX3464" fmla="*/ 1002508 w 2601035"/>
              <a:gd name="connsiteY3464" fmla="*/ 264690 h 1729572"/>
              <a:gd name="connsiteX3465" fmla="*/ 1002508 w 2601035"/>
              <a:gd name="connsiteY3465" fmla="*/ 266972 h 1729572"/>
              <a:gd name="connsiteX3466" fmla="*/ 1000225 w 2601035"/>
              <a:gd name="connsiteY3466" fmla="*/ 266972 h 1729572"/>
              <a:gd name="connsiteX3467" fmla="*/ 1000225 w 2601035"/>
              <a:gd name="connsiteY3467" fmla="*/ 269254 h 1729572"/>
              <a:gd name="connsiteX3468" fmla="*/ 1002508 w 2601035"/>
              <a:gd name="connsiteY3468" fmla="*/ 269254 h 1729572"/>
              <a:gd name="connsiteX3469" fmla="*/ 1002508 w 2601035"/>
              <a:gd name="connsiteY3469" fmla="*/ 271526 h 1729572"/>
              <a:gd name="connsiteX3470" fmla="*/ 1004792 w 2601035"/>
              <a:gd name="connsiteY3470" fmla="*/ 271526 h 1729572"/>
              <a:gd name="connsiteX3471" fmla="*/ 1007076 w 2601035"/>
              <a:gd name="connsiteY3471" fmla="*/ 273809 h 1729572"/>
              <a:gd name="connsiteX3472" fmla="*/ 1009359 w 2601035"/>
              <a:gd name="connsiteY3472" fmla="*/ 273809 h 1729572"/>
              <a:gd name="connsiteX3473" fmla="*/ 1011643 w 2601035"/>
              <a:gd name="connsiteY3473" fmla="*/ 273809 h 1729572"/>
              <a:gd name="connsiteX3474" fmla="*/ 1011643 w 2601035"/>
              <a:gd name="connsiteY3474" fmla="*/ 276090 h 1729572"/>
              <a:gd name="connsiteX3475" fmla="*/ 1013926 w 2601035"/>
              <a:gd name="connsiteY3475" fmla="*/ 276090 h 1729572"/>
              <a:gd name="connsiteX3476" fmla="*/ 1016210 w 2601035"/>
              <a:gd name="connsiteY3476" fmla="*/ 276090 h 1729572"/>
              <a:gd name="connsiteX3477" fmla="*/ 1018494 w 2601035"/>
              <a:gd name="connsiteY3477" fmla="*/ 276090 h 1729572"/>
              <a:gd name="connsiteX3478" fmla="*/ 1020777 w 2601035"/>
              <a:gd name="connsiteY3478" fmla="*/ 276090 h 1729572"/>
              <a:gd name="connsiteX3479" fmla="*/ 1023061 w 2601035"/>
              <a:gd name="connsiteY3479" fmla="*/ 276090 h 1729572"/>
              <a:gd name="connsiteX3480" fmla="*/ 1025344 w 2601035"/>
              <a:gd name="connsiteY3480" fmla="*/ 276090 h 1729572"/>
              <a:gd name="connsiteX3481" fmla="*/ 1027628 w 2601035"/>
              <a:gd name="connsiteY3481" fmla="*/ 276090 h 1729572"/>
              <a:gd name="connsiteX3482" fmla="*/ 1027628 w 2601035"/>
              <a:gd name="connsiteY3482" fmla="*/ 278372 h 1729572"/>
              <a:gd name="connsiteX3483" fmla="*/ 1029911 w 2601035"/>
              <a:gd name="connsiteY3483" fmla="*/ 278372 h 1729572"/>
              <a:gd name="connsiteX3484" fmla="*/ 1032195 w 2601035"/>
              <a:gd name="connsiteY3484" fmla="*/ 278372 h 1729572"/>
              <a:gd name="connsiteX3485" fmla="*/ 1032195 w 2601035"/>
              <a:gd name="connsiteY3485" fmla="*/ 276090 h 1729572"/>
              <a:gd name="connsiteX3486" fmla="*/ 1034479 w 2601035"/>
              <a:gd name="connsiteY3486" fmla="*/ 276090 h 1729572"/>
              <a:gd name="connsiteX3487" fmla="*/ 1036762 w 2601035"/>
              <a:gd name="connsiteY3487" fmla="*/ 273809 h 1729572"/>
              <a:gd name="connsiteX3488" fmla="*/ 1036762 w 2601035"/>
              <a:gd name="connsiteY3488" fmla="*/ 271526 h 1729572"/>
              <a:gd name="connsiteX3489" fmla="*/ 1036762 w 2601035"/>
              <a:gd name="connsiteY3489" fmla="*/ 269254 h 1729572"/>
              <a:gd name="connsiteX3490" fmla="*/ 1036762 w 2601035"/>
              <a:gd name="connsiteY3490" fmla="*/ 266972 h 1729572"/>
              <a:gd name="connsiteX3491" fmla="*/ 1036762 w 2601035"/>
              <a:gd name="connsiteY3491" fmla="*/ 264690 h 1729572"/>
              <a:gd name="connsiteX3492" fmla="*/ 1036762 w 2601035"/>
              <a:gd name="connsiteY3492" fmla="*/ 262409 h 1729572"/>
              <a:gd name="connsiteX3493" fmla="*/ 1036762 w 2601035"/>
              <a:gd name="connsiteY3493" fmla="*/ 260126 h 1729572"/>
              <a:gd name="connsiteX3494" fmla="*/ 1039046 w 2601035"/>
              <a:gd name="connsiteY3494" fmla="*/ 260126 h 1729572"/>
              <a:gd name="connsiteX3495" fmla="*/ 1039046 w 2601035"/>
              <a:gd name="connsiteY3495" fmla="*/ 257845 h 1729572"/>
              <a:gd name="connsiteX3496" fmla="*/ 1041330 w 2601035"/>
              <a:gd name="connsiteY3496" fmla="*/ 257845 h 1729572"/>
              <a:gd name="connsiteX3497" fmla="*/ 1041330 w 2601035"/>
              <a:gd name="connsiteY3497" fmla="*/ 255563 h 1729572"/>
              <a:gd name="connsiteX3498" fmla="*/ 1043613 w 2601035"/>
              <a:gd name="connsiteY3498" fmla="*/ 255563 h 1729572"/>
              <a:gd name="connsiteX3499" fmla="*/ 1045897 w 2601035"/>
              <a:gd name="connsiteY3499" fmla="*/ 255563 h 1729572"/>
              <a:gd name="connsiteX3500" fmla="*/ 1048180 w 2601035"/>
              <a:gd name="connsiteY3500" fmla="*/ 255563 h 1729572"/>
              <a:gd name="connsiteX3501" fmla="*/ 1050464 w 2601035"/>
              <a:gd name="connsiteY3501" fmla="*/ 255563 h 1729572"/>
              <a:gd name="connsiteX3502" fmla="*/ 1052747 w 2601035"/>
              <a:gd name="connsiteY3502" fmla="*/ 255563 h 1729572"/>
              <a:gd name="connsiteX3503" fmla="*/ 1055031 w 2601035"/>
              <a:gd name="connsiteY3503" fmla="*/ 255563 h 1729572"/>
              <a:gd name="connsiteX3504" fmla="*/ 1055031 w 2601035"/>
              <a:gd name="connsiteY3504" fmla="*/ 253281 h 1729572"/>
              <a:gd name="connsiteX3505" fmla="*/ 1057315 w 2601035"/>
              <a:gd name="connsiteY3505" fmla="*/ 253281 h 1729572"/>
              <a:gd name="connsiteX3506" fmla="*/ 1057315 w 2601035"/>
              <a:gd name="connsiteY3506" fmla="*/ 255563 h 1729572"/>
              <a:gd name="connsiteX3507" fmla="*/ 1059598 w 2601035"/>
              <a:gd name="connsiteY3507" fmla="*/ 255563 h 1729572"/>
              <a:gd name="connsiteX3508" fmla="*/ 1061882 w 2601035"/>
              <a:gd name="connsiteY3508" fmla="*/ 255563 h 1729572"/>
              <a:gd name="connsiteX3509" fmla="*/ 1061882 w 2601035"/>
              <a:gd name="connsiteY3509" fmla="*/ 253281 h 1729572"/>
              <a:gd name="connsiteX3510" fmla="*/ 1061882 w 2601035"/>
              <a:gd name="connsiteY3510" fmla="*/ 250999 h 1729572"/>
              <a:gd name="connsiteX3511" fmla="*/ 1064165 w 2601035"/>
              <a:gd name="connsiteY3511" fmla="*/ 250999 h 1729572"/>
              <a:gd name="connsiteX3512" fmla="*/ 1064165 w 2601035"/>
              <a:gd name="connsiteY3512" fmla="*/ 248717 h 1729572"/>
              <a:gd name="connsiteX3513" fmla="*/ 1064165 w 2601035"/>
              <a:gd name="connsiteY3513" fmla="*/ 246435 h 1729572"/>
              <a:gd name="connsiteX3514" fmla="*/ 1066449 w 2601035"/>
              <a:gd name="connsiteY3514" fmla="*/ 246435 h 1729572"/>
              <a:gd name="connsiteX3515" fmla="*/ 1068733 w 2601035"/>
              <a:gd name="connsiteY3515" fmla="*/ 246435 h 1729572"/>
              <a:gd name="connsiteX3516" fmla="*/ 1071016 w 2601035"/>
              <a:gd name="connsiteY3516" fmla="*/ 246435 h 1729572"/>
              <a:gd name="connsiteX3517" fmla="*/ 1073300 w 2601035"/>
              <a:gd name="connsiteY3517" fmla="*/ 246435 h 1729572"/>
              <a:gd name="connsiteX3518" fmla="*/ 1075584 w 2601035"/>
              <a:gd name="connsiteY3518" fmla="*/ 246435 h 1729572"/>
              <a:gd name="connsiteX3519" fmla="*/ 1075584 w 2601035"/>
              <a:gd name="connsiteY3519" fmla="*/ 244153 h 1729572"/>
              <a:gd name="connsiteX3520" fmla="*/ 1075584 w 2601035"/>
              <a:gd name="connsiteY3520" fmla="*/ 241871 h 1729572"/>
              <a:gd name="connsiteX3521" fmla="*/ 1077867 w 2601035"/>
              <a:gd name="connsiteY3521" fmla="*/ 241871 h 1729572"/>
              <a:gd name="connsiteX3522" fmla="*/ 1075584 w 2601035"/>
              <a:gd name="connsiteY3522" fmla="*/ 241871 h 1729572"/>
              <a:gd name="connsiteX3523" fmla="*/ 1075584 w 2601035"/>
              <a:gd name="connsiteY3523" fmla="*/ 239590 h 1729572"/>
              <a:gd name="connsiteX3524" fmla="*/ 1075584 w 2601035"/>
              <a:gd name="connsiteY3524" fmla="*/ 237308 h 1729572"/>
              <a:gd name="connsiteX3525" fmla="*/ 1073300 w 2601035"/>
              <a:gd name="connsiteY3525" fmla="*/ 237308 h 1729572"/>
              <a:gd name="connsiteX3526" fmla="*/ 1073300 w 2601035"/>
              <a:gd name="connsiteY3526" fmla="*/ 235026 h 1729572"/>
              <a:gd name="connsiteX3527" fmla="*/ 1073300 w 2601035"/>
              <a:gd name="connsiteY3527" fmla="*/ 232744 h 1729572"/>
              <a:gd name="connsiteX3528" fmla="*/ 1071016 w 2601035"/>
              <a:gd name="connsiteY3528" fmla="*/ 232744 h 1729572"/>
              <a:gd name="connsiteX3529" fmla="*/ 1071016 w 2601035"/>
              <a:gd name="connsiteY3529" fmla="*/ 230462 h 1729572"/>
              <a:gd name="connsiteX3530" fmla="*/ 1071016 w 2601035"/>
              <a:gd name="connsiteY3530" fmla="*/ 228180 h 1729572"/>
              <a:gd name="connsiteX3531" fmla="*/ 1068733 w 2601035"/>
              <a:gd name="connsiteY3531" fmla="*/ 228180 h 1729572"/>
              <a:gd name="connsiteX3532" fmla="*/ 1068733 w 2601035"/>
              <a:gd name="connsiteY3532" fmla="*/ 225898 h 1729572"/>
              <a:gd name="connsiteX3533" fmla="*/ 1068733 w 2601035"/>
              <a:gd name="connsiteY3533" fmla="*/ 223616 h 1729572"/>
              <a:gd name="connsiteX3534" fmla="*/ 1071016 w 2601035"/>
              <a:gd name="connsiteY3534" fmla="*/ 223616 h 1729572"/>
              <a:gd name="connsiteX3535" fmla="*/ 1071016 w 2601035"/>
              <a:gd name="connsiteY3535" fmla="*/ 221334 h 1729572"/>
              <a:gd name="connsiteX3536" fmla="*/ 1071016 w 2601035"/>
              <a:gd name="connsiteY3536" fmla="*/ 219053 h 1729572"/>
              <a:gd name="connsiteX3537" fmla="*/ 1073300 w 2601035"/>
              <a:gd name="connsiteY3537" fmla="*/ 219053 h 1729572"/>
              <a:gd name="connsiteX3538" fmla="*/ 1073300 w 2601035"/>
              <a:gd name="connsiteY3538" fmla="*/ 216770 h 1729572"/>
              <a:gd name="connsiteX3539" fmla="*/ 1075584 w 2601035"/>
              <a:gd name="connsiteY3539" fmla="*/ 216770 h 1729572"/>
              <a:gd name="connsiteX3540" fmla="*/ 1077867 w 2601035"/>
              <a:gd name="connsiteY3540" fmla="*/ 216770 h 1729572"/>
              <a:gd name="connsiteX3541" fmla="*/ 1080151 w 2601035"/>
              <a:gd name="connsiteY3541" fmla="*/ 216770 h 1729572"/>
              <a:gd name="connsiteX3542" fmla="*/ 1080151 w 2601035"/>
              <a:gd name="connsiteY3542" fmla="*/ 219053 h 1729572"/>
              <a:gd name="connsiteX3543" fmla="*/ 1082434 w 2601035"/>
              <a:gd name="connsiteY3543" fmla="*/ 219053 h 1729572"/>
              <a:gd name="connsiteX3544" fmla="*/ 1082434 w 2601035"/>
              <a:gd name="connsiteY3544" fmla="*/ 221334 h 1729572"/>
              <a:gd name="connsiteX3545" fmla="*/ 1084718 w 2601035"/>
              <a:gd name="connsiteY3545" fmla="*/ 221334 h 1729572"/>
              <a:gd name="connsiteX3546" fmla="*/ 1084718 w 2601035"/>
              <a:gd name="connsiteY3546" fmla="*/ 223616 h 1729572"/>
              <a:gd name="connsiteX3547" fmla="*/ 1087001 w 2601035"/>
              <a:gd name="connsiteY3547" fmla="*/ 223616 h 1729572"/>
              <a:gd name="connsiteX3548" fmla="*/ 1087001 w 2601035"/>
              <a:gd name="connsiteY3548" fmla="*/ 225898 h 1729572"/>
              <a:gd name="connsiteX3549" fmla="*/ 1087001 w 2601035"/>
              <a:gd name="connsiteY3549" fmla="*/ 228180 h 1729572"/>
              <a:gd name="connsiteX3550" fmla="*/ 1089285 w 2601035"/>
              <a:gd name="connsiteY3550" fmla="*/ 228180 h 1729572"/>
              <a:gd name="connsiteX3551" fmla="*/ 1089285 w 2601035"/>
              <a:gd name="connsiteY3551" fmla="*/ 230462 h 1729572"/>
              <a:gd name="connsiteX3552" fmla="*/ 1087001 w 2601035"/>
              <a:gd name="connsiteY3552" fmla="*/ 230462 h 1729572"/>
              <a:gd name="connsiteX3553" fmla="*/ 1087001 w 2601035"/>
              <a:gd name="connsiteY3553" fmla="*/ 232744 h 1729572"/>
              <a:gd name="connsiteX3554" fmla="*/ 1087001 w 2601035"/>
              <a:gd name="connsiteY3554" fmla="*/ 235026 h 1729572"/>
              <a:gd name="connsiteX3555" fmla="*/ 1089285 w 2601035"/>
              <a:gd name="connsiteY3555" fmla="*/ 235026 h 1729572"/>
              <a:gd name="connsiteX3556" fmla="*/ 1091569 w 2601035"/>
              <a:gd name="connsiteY3556" fmla="*/ 235026 h 1729572"/>
              <a:gd name="connsiteX3557" fmla="*/ 1093852 w 2601035"/>
              <a:gd name="connsiteY3557" fmla="*/ 232744 h 1729572"/>
              <a:gd name="connsiteX3558" fmla="*/ 1093852 w 2601035"/>
              <a:gd name="connsiteY3558" fmla="*/ 230462 h 1729572"/>
              <a:gd name="connsiteX3559" fmla="*/ 1093852 w 2601035"/>
              <a:gd name="connsiteY3559" fmla="*/ 228180 h 1729572"/>
              <a:gd name="connsiteX3560" fmla="*/ 1093852 w 2601035"/>
              <a:gd name="connsiteY3560" fmla="*/ 225898 h 1729572"/>
              <a:gd name="connsiteX3561" fmla="*/ 1093852 w 2601035"/>
              <a:gd name="connsiteY3561" fmla="*/ 223616 h 1729572"/>
              <a:gd name="connsiteX3562" fmla="*/ 1096136 w 2601035"/>
              <a:gd name="connsiteY3562" fmla="*/ 221334 h 1729572"/>
              <a:gd name="connsiteX3563" fmla="*/ 1096136 w 2601035"/>
              <a:gd name="connsiteY3563" fmla="*/ 219053 h 1729572"/>
              <a:gd name="connsiteX3564" fmla="*/ 1098419 w 2601035"/>
              <a:gd name="connsiteY3564" fmla="*/ 219053 h 1729572"/>
              <a:gd name="connsiteX3565" fmla="*/ 1100703 w 2601035"/>
              <a:gd name="connsiteY3565" fmla="*/ 219053 h 1729572"/>
              <a:gd name="connsiteX3566" fmla="*/ 1100703 w 2601035"/>
              <a:gd name="connsiteY3566" fmla="*/ 216770 h 1729572"/>
              <a:gd name="connsiteX3567" fmla="*/ 1102986 w 2601035"/>
              <a:gd name="connsiteY3567" fmla="*/ 216770 h 1729572"/>
              <a:gd name="connsiteX3568" fmla="*/ 1105270 w 2601035"/>
              <a:gd name="connsiteY3568" fmla="*/ 216770 h 1729572"/>
              <a:gd name="connsiteX3569" fmla="*/ 1105270 w 2601035"/>
              <a:gd name="connsiteY3569" fmla="*/ 214489 h 1729572"/>
              <a:gd name="connsiteX3570" fmla="*/ 1107554 w 2601035"/>
              <a:gd name="connsiteY3570" fmla="*/ 214489 h 1729572"/>
              <a:gd name="connsiteX3571" fmla="*/ 1109837 w 2601035"/>
              <a:gd name="connsiteY3571" fmla="*/ 214489 h 1729572"/>
              <a:gd name="connsiteX3572" fmla="*/ 1112121 w 2601035"/>
              <a:gd name="connsiteY3572" fmla="*/ 214489 h 1729572"/>
              <a:gd name="connsiteX3573" fmla="*/ 1114405 w 2601035"/>
              <a:gd name="connsiteY3573" fmla="*/ 214489 h 1729572"/>
              <a:gd name="connsiteX3574" fmla="*/ 1116688 w 2601035"/>
              <a:gd name="connsiteY3574" fmla="*/ 214489 h 1729572"/>
              <a:gd name="connsiteX3575" fmla="*/ 1118972 w 2601035"/>
              <a:gd name="connsiteY3575" fmla="*/ 214489 h 1729572"/>
              <a:gd name="connsiteX3576" fmla="*/ 1118972 w 2601035"/>
              <a:gd name="connsiteY3576" fmla="*/ 212207 h 1729572"/>
              <a:gd name="connsiteX3577" fmla="*/ 1121255 w 2601035"/>
              <a:gd name="connsiteY3577" fmla="*/ 212207 h 1729572"/>
              <a:gd name="connsiteX3578" fmla="*/ 1123539 w 2601035"/>
              <a:gd name="connsiteY3578" fmla="*/ 212207 h 1729572"/>
              <a:gd name="connsiteX3579" fmla="*/ 1125823 w 2601035"/>
              <a:gd name="connsiteY3579" fmla="*/ 212207 h 1729572"/>
              <a:gd name="connsiteX3580" fmla="*/ 1128106 w 2601035"/>
              <a:gd name="connsiteY3580" fmla="*/ 212207 h 1729572"/>
              <a:gd name="connsiteX3581" fmla="*/ 1128106 w 2601035"/>
              <a:gd name="connsiteY3581" fmla="*/ 209925 h 1729572"/>
              <a:gd name="connsiteX3582" fmla="*/ 1130390 w 2601035"/>
              <a:gd name="connsiteY3582" fmla="*/ 209925 h 1729572"/>
              <a:gd name="connsiteX3583" fmla="*/ 1132673 w 2601035"/>
              <a:gd name="connsiteY3583" fmla="*/ 209925 h 1729572"/>
              <a:gd name="connsiteX3584" fmla="*/ 1132673 w 2601035"/>
              <a:gd name="connsiteY3584" fmla="*/ 207643 h 1729572"/>
              <a:gd name="connsiteX3585" fmla="*/ 1134957 w 2601035"/>
              <a:gd name="connsiteY3585" fmla="*/ 207643 h 1729572"/>
              <a:gd name="connsiteX3586" fmla="*/ 1137240 w 2601035"/>
              <a:gd name="connsiteY3586" fmla="*/ 207643 h 1729572"/>
              <a:gd name="connsiteX3587" fmla="*/ 1137240 w 2601035"/>
              <a:gd name="connsiteY3587" fmla="*/ 209925 h 1729572"/>
              <a:gd name="connsiteX3588" fmla="*/ 1139524 w 2601035"/>
              <a:gd name="connsiteY3588" fmla="*/ 209925 h 1729572"/>
              <a:gd name="connsiteX3589" fmla="*/ 1139524 w 2601035"/>
              <a:gd name="connsiteY3589" fmla="*/ 207643 h 1729572"/>
              <a:gd name="connsiteX3590" fmla="*/ 1141808 w 2601035"/>
              <a:gd name="connsiteY3590" fmla="*/ 207643 h 1729572"/>
              <a:gd name="connsiteX3591" fmla="*/ 1144091 w 2601035"/>
              <a:gd name="connsiteY3591" fmla="*/ 207643 h 1729572"/>
              <a:gd name="connsiteX3592" fmla="*/ 1146375 w 2601035"/>
              <a:gd name="connsiteY3592" fmla="*/ 207643 h 1729572"/>
              <a:gd name="connsiteX3593" fmla="*/ 1146375 w 2601035"/>
              <a:gd name="connsiteY3593" fmla="*/ 205361 h 1729572"/>
              <a:gd name="connsiteX3594" fmla="*/ 1148659 w 2601035"/>
              <a:gd name="connsiteY3594" fmla="*/ 205361 h 1729572"/>
              <a:gd name="connsiteX3595" fmla="*/ 1150942 w 2601035"/>
              <a:gd name="connsiteY3595" fmla="*/ 205361 h 1729572"/>
              <a:gd name="connsiteX3596" fmla="*/ 1150942 w 2601035"/>
              <a:gd name="connsiteY3596" fmla="*/ 207643 h 1729572"/>
              <a:gd name="connsiteX3597" fmla="*/ 1153226 w 2601035"/>
              <a:gd name="connsiteY3597" fmla="*/ 207643 h 1729572"/>
              <a:gd name="connsiteX3598" fmla="*/ 1153226 w 2601035"/>
              <a:gd name="connsiteY3598" fmla="*/ 209925 h 1729572"/>
              <a:gd name="connsiteX3599" fmla="*/ 1155509 w 2601035"/>
              <a:gd name="connsiteY3599" fmla="*/ 209925 h 1729572"/>
              <a:gd name="connsiteX3600" fmla="*/ 1155509 w 2601035"/>
              <a:gd name="connsiteY3600" fmla="*/ 212207 h 1729572"/>
              <a:gd name="connsiteX3601" fmla="*/ 1155509 w 2601035"/>
              <a:gd name="connsiteY3601" fmla="*/ 214489 h 1729572"/>
              <a:gd name="connsiteX3602" fmla="*/ 1157793 w 2601035"/>
              <a:gd name="connsiteY3602" fmla="*/ 214489 h 1729572"/>
              <a:gd name="connsiteX3603" fmla="*/ 1160076 w 2601035"/>
              <a:gd name="connsiteY3603" fmla="*/ 214489 h 1729572"/>
              <a:gd name="connsiteX3604" fmla="*/ 1162360 w 2601035"/>
              <a:gd name="connsiteY3604" fmla="*/ 214489 h 1729572"/>
              <a:gd name="connsiteX3605" fmla="*/ 1162360 w 2601035"/>
              <a:gd name="connsiteY3605" fmla="*/ 216770 h 1729572"/>
              <a:gd name="connsiteX3606" fmla="*/ 1164644 w 2601035"/>
              <a:gd name="connsiteY3606" fmla="*/ 216770 h 1729572"/>
              <a:gd name="connsiteX3607" fmla="*/ 1164644 w 2601035"/>
              <a:gd name="connsiteY3607" fmla="*/ 214489 h 1729572"/>
              <a:gd name="connsiteX3608" fmla="*/ 1166927 w 2601035"/>
              <a:gd name="connsiteY3608" fmla="*/ 214489 h 1729572"/>
              <a:gd name="connsiteX3609" fmla="*/ 1166927 w 2601035"/>
              <a:gd name="connsiteY3609" fmla="*/ 212207 h 1729572"/>
              <a:gd name="connsiteX3610" fmla="*/ 1166927 w 2601035"/>
              <a:gd name="connsiteY3610" fmla="*/ 209925 h 1729572"/>
              <a:gd name="connsiteX3611" fmla="*/ 1166927 w 2601035"/>
              <a:gd name="connsiteY3611" fmla="*/ 207643 h 1729572"/>
              <a:gd name="connsiteX3612" fmla="*/ 1166927 w 2601035"/>
              <a:gd name="connsiteY3612" fmla="*/ 205361 h 1729572"/>
              <a:gd name="connsiteX3613" fmla="*/ 1166927 w 2601035"/>
              <a:gd name="connsiteY3613" fmla="*/ 203079 h 1729572"/>
              <a:gd name="connsiteX3614" fmla="*/ 1164644 w 2601035"/>
              <a:gd name="connsiteY3614" fmla="*/ 203079 h 1729572"/>
              <a:gd name="connsiteX3615" fmla="*/ 1162360 w 2601035"/>
              <a:gd name="connsiteY3615" fmla="*/ 203079 h 1729572"/>
              <a:gd name="connsiteX3616" fmla="*/ 1160076 w 2601035"/>
              <a:gd name="connsiteY3616" fmla="*/ 200797 h 1729572"/>
              <a:gd name="connsiteX3617" fmla="*/ 1160076 w 2601035"/>
              <a:gd name="connsiteY3617" fmla="*/ 198515 h 1729572"/>
              <a:gd name="connsiteX3618" fmla="*/ 1162360 w 2601035"/>
              <a:gd name="connsiteY3618" fmla="*/ 198515 h 1729572"/>
              <a:gd name="connsiteX3619" fmla="*/ 1162360 w 2601035"/>
              <a:gd name="connsiteY3619" fmla="*/ 196233 h 1729572"/>
              <a:gd name="connsiteX3620" fmla="*/ 1162360 w 2601035"/>
              <a:gd name="connsiteY3620" fmla="*/ 193952 h 1729572"/>
              <a:gd name="connsiteX3621" fmla="*/ 1164644 w 2601035"/>
              <a:gd name="connsiteY3621" fmla="*/ 193952 h 1729572"/>
              <a:gd name="connsiteX3622" fmla="*/ 1166927 w 2601035"/>
              <a:gd name="connsiteY3622" fmla="*/ 193952 h 1729572"/>
              <a:gd name="connsiteX3623" fmla="*/ 1166927 w 2601035"/>
              <a:gd name="connsiteY3623" fmla="*/ 191670 h 1729572"/>
              <a:gd name="connsiteX3624" fmla="*/ 1169211 w 2601035"/>
              <a:gd name="connsiteY3624" fmla="*/ 191670 h 1729572"/>
              <a:gd name="connsiteX3625" fmla="*/ 1171494 w 2601035"/>
              <a:gd name="connsiteY3625" fmla="*/ 191670 h 1729572"/>
              <a:gd name="connsiteX3626" fmla="*/ 1173778 w 2601035"/>
              <a:gd name="connsiteY3626" fmla="*/ 191670 h 1729572"/>
              <a:gd name="connsiteX3627" fmla="*/ 1173778 w 2601035"/>
              <a:gd name="connsiteY3627" fmla="*/ 193952 h 1729572"/>
              <a:gd name="connsiteX3628" fmla="*/ 1176062 w 2601035"/>
              <a:gd name="connsiteY3628" fmla="*/ 193952 h 1729572"/>
              <a:gd name="connsiteX3629" fmla="*/ 1178345 w 2601035"/>
              <a:gd name="connsiteY3629" fmla="*/ 193952 h 1729572"/>
              <a:gd name="connsiteX3630" fmla="*/ 1178345 w 2601035"/>
              <a:gd name="connsiteY3630" fmla="*/ 196233 h 1729572"/>
              <a:gd name="connsiteX3631" fmla="*/ 1180629 w 2601035"/>
              <a:gd name="connsiteY3631" fmla="*/ 196233 h 1729572"/>
              <a:gd name="connsiteX3632" fmla="*/ 1180629 w 2601035"/>
              <a:gd name="connsiteY3632" fmla="*/ 198515 h 1729572"/>
              <a:gd name="connsiteX3633" fmla="*/ 1182913 w 2601035"/>
              <a:gd name="connsiteY3633" fmla="*/ 198515 h 1729572"/>
              <a:gd name="connsiteX3634" fmla="*/ 1182913 w 2601035"/>
              <a:gd name="connsiteY3634" fmla="*/ 200797 h 1729572"/>
              <a:gd name="connsiteX3635" fmla="*/ 1182913 w 2601035"/>
              <a:gd name="connsiteY3635" fmla="*/ 203079 h 1729572"/>
              <a:gd name="connsiteX3636" fmla="*/ 1185196 w 2601035"/>
              <a:gd name="connsiteY3636" fmla="*/ 203079 h 1729572"/>
              <a:gd name="connsiteX3637" fmla="*/ 1185196 w 2601035"/>
              <a:gd name="connsiteY3637" fmla="*/ 205361 h 1729572"/>
              <a:gd name="connsiteX3638" fmla="*/ 1185196 w 2601035"/>
              <a:gd name="connsiteY3638" fmla="*/ 207643 h 1729572"/>
              <a:gd name="connsiteX3639" fmla="*/ 1182913 w 2601035"/>
              <a:gd name="connsiteY3639" fmla="*/ 207643 h 1729572"/>
              <a:gd name="connsiteX3640" fmla="*/ 1182913 w 2601035"/>
              <a:gd name="connsiteY3640" fmla="*/ 209925 h 1729572"/>
              <a:gd name="connsiteX3641" fmla="*/ 1182913 w 2601035"/>
              <a:gd name="connsiteY3641" fmla="*/ 212207 h 1729572"/>
              <a:gd name="connsiteX3642" fmla="*/ 1185196 w 2601035"/>
              <a:gd name="connsiteY3642" fmla="*/ 212207 h 1729572"/>
              <a:gd name="connsiteX3643" fmla="*/ 1187480 w 2601035"/>
              <a:gd name="connsiteY3643" fmla="*/ 212207 h 1729572"/>
              <a:gd name="connsiteX3644" fmla="*/ 1189763 w 2601035"/>
              <a:gd name="connsiteY3644" fmla="*/ 212207 h 1729572"/>
              <a:gd name="connsiteX3645" fmla="*/ 1192047 w 2601035"/>
              <a:gd name="connsiteY3645" fmla="*/ 212207 h 1729572"/>
              <a:gd name="connsiteX3646" fmla="*/ 1194330 w 2601035"/>
              <a:gd name="connsiteY3646" fmla="*/ 212207 h 1729572"/>
              <a:gd name="connsiteX3647" fmla="*/ 1196614 w 2601035"/>
              <a:gd name="connsiteY3647" fmla="*/ 212207 h 1729572"/>
              <a:gd name="connsiteX3648" fmla="*/ 1196614 w 2601035"/>
              <a:gd name="connsiteY3648" fmla="*/ 214489 h 1729572"/>
              <a:gd name="connsiteX3649" fmla="*/ 1198898 w 2601035"/>
              <a:gd name="connsiteY3649" fmla="*/ 214489 h 1729572"/>
              <a:gd name="connsiteX3650" fmla="*/ 1201181 w 2601035"/>
              <a:gd name="connsiteY3650" fmla="*/ 214489 h 1729572"/>
              <a:gd name="connsiteX3651" fmla="*/ 1203465 w 2601035"/>
              <a:gd name="connsiteY3651" fmla="*/ 214489 h 1729572"/>
              <a:gd name="connsiteX3652" fmla="*/ 1205748 w 2601035"/>
              <a:gd name="connsiteY3652" fmla="*/ 214489 h 1729572"/>
              <a:gd name="connsiteX3653" fmla="*/ 1208032 w 2601035"/>
              <a:gd name="connsiteY3653" fmla="*/ 214489 h 1729572"/>
              <a:gd name="connsiteX3654" fmla="*/ 1208032 w 2601035"/>
              <a:gd name="connsiteY3654" fmla="*/ 216770 h 1729572"/>
              <a:gd name="connsiteX3655" fmla="*/ 1208032 w 2601035"/>
              <a:gd name="connsiteY3655" fmla="*/ 219053 h 1729572"/>
              <a:gd name="connsiteX3656" fmla="*/ 1208032 w 2601035"/>
              <a:gd name="connsiteY3656" fmla="*/ 221334 h 1729572"/>
              <a:gd name="connsiteX3657" fmla="*/ 1208032 w 2601035"/>
              <a:gd name="connsiteY3657" fmla="*/ 223616 h 1729572"/>
              <a:gd name="connsiteX3658" fmla="*/ 1208032 w 2601035"/>
              <a:gd name="connsiteY3658" fmla="*/ 225898 h 1729572"/>
              <a:gd name="connsiteX3659" fmla="*/ 1210315 w 2601035"/>
              <a:gd name="connsiteY3659" fmla="*/ 225898 h 1729572"/>
              <a:gd name="connsiteX3660" fmla="*/ 1210315 w 2601035"/>
              <a:gd name="connsiteY3660" fmla="*/ 228180 h 1729572"/>
              <a:gd name="connsiteX3661" fmla="*/ 1212599 w 2601035"/>
              <a:gd name="connsiteY3661" fmla="*/ 228180 h 1729572"/>
              <a:gd name="connsiteX3662" fmla="*/ 1212599 w 2601035"/>
              <a:gd name="connsiteY3662" fmla="*/ 230462 h 1729572"/>
              <a:gd name="connsiteX3663" fmla="*/ 1214883 w 2601035"/>
              <a:gd name="connsiteY3663" fmla="*/ 230462 h 1729572"/>
              <a:gd name="connsiteX3664" fmla="*/ 1214883 w 2601035"/>
              <a:gd name="connsiteY3664" fmla="*/ 232744 h 1729572"/>
              <a:gd name="connsiteX3665" fmla="*/ 1212599 w 2601035"/>
              <a:gd name="connsiteY3665" fmla="*/ 232744 h 1729572"/>
              <a:gd name="connsiteX3666" fmla="*/ 1212599 w 2601035"/>
              <a:gd name="connsiteY3666" fmla="*/ 235026 h 1729572"/>
              <a:gd name="connsiteX3667" fmla="*/ 1214883 w 2601035"/>
              <a:gd name="connsiteY3667" fmla="*/ 235026 h 1729572"/>
              <a:gd name="connsiteX3668" fmla="*/ 1217166 w 2601035"/>
              <a:gd name="connsiteY3668" fmla="*/ 235026 h 1729572"/>
              <a:gd name="connsiteX3669" fmla="*/ 1217166 w 2601035"/>
              <a:gd name="connsiteY3669" fmla="*/ 237308 h 1729572"/>
              <a:gd name="connsiteX3670" fmla="*/ 1219450 w 2601035"/>
              <a:gd name="connsiteY3670" fmla="*/ 237308 h 1729572"/>
              <a:gd name="connsiteX3671" fmla="*/ 1219450 w 2601035"/>
              <a:gd name="connsiteY3671" fmla="*/ 235026 h 1729572"/>
              <a:gd name="connsiteX3672" fmla="*/ 1221734 w 2601035"/>
              <a:gd name="connsiteY3672" fmla="*/ 235026 h 1729572"/>
              <a:gd name="connsiteX3673" fmla="*/ 1224017 w 2601035"/>
              <a:gd name="connsiteY3673" fmla="*/ 232744 h 1729572"/>
              <a:gd name="connsiteX3674" fmla="*/ 1226301 w 2601035"/>
              <a:gd name="connsiteY3674" fmla="*/ 232744 h 1729572"/>
              <a:gd name="connsiteX3675" fmla="*/ 1228584 w 2601035"/>
              <a:gd name="connsiteY3675" fmla="*/ 232744 h 1729572"/>
              <a:gd name="connsiteX3676" fmla="*/ 1230868 w 2601035"/>
              <a:gd name="connsiteY3676" fmla="*/ 232744 h 1729572"/>
              <a:gd name="connsiteX3677" fmla="*/ 1230868 w 2601035"/>
              <a:gd name="connsiteY3677" fmla="*/ 235026 h 1729572"/>
              <a:gd name="connsiteX3678" fmla="*/ 1233152 w 2601035"/>
              <a:gd name="connsiteY3678" fmla="*/ 235026 h 1729572"/>
              <a:gd name="connsiteX3679" fmla="*/ 1235435 w 2601035"/>
              <a:gd name="connsiteY3679" fmla="*/ 235026 h 1729572"/>
              <a:gd name="connsiteX3680" fmla="*/ 1235435 w 2601035"/>
              <a:gd name="connsiteY3680" fmla="*/ 237308 h 1729572"/>
              <a:gd name="connsiteX3681" fmla="*/ 1237719 w 2601035"/>
              <a:gd name="connsiteY3681" fmla="*/ 237308 h 1729572"/>
              <a:gd name="connsiteX3682" fmla="*/ 1240002 w 2601035"/>
              <a:gd name="connsiteY3682" fmla="*/ 237308 h 1729572"/>
              <a:gd name="connsiteX3683" fmla="*/ 1242286 w 2601035"/>
              <a:gd name="connsiteY3683" fmla="*/ 237308 h 1729572"/>
              <a:gd name="connsiteX3684" fmla="*/ 1244569 w 2601035"/>
              <a:gd name="connsiteY3684" fmla="*/ 237308 h 1729572"/>
              <a:gd name="connsiteX3685" fmla="*/ 1244569 w 2601035"/>
              <a:gd name="connsiteY3685" fmla="*/ 235026 h 1729572"/>
              <a:gd name="connsiteX3686" fmla="*/ 1244569 w 2601035"/>
              <a:gd name="connsiteY3686" fmla="*/ 232744 h 1729572"/>
              <a:gd name="connsiteX3687" fmla="*/ 1246853 w 2601035"/>
              <a:gd name="connsiteY3687" fmla="*/ 232744 h 1729572"/>
              <a:gd name="connsiteX3688" fmla="*/ 1249137 w 2601035"/>
              <a:gd name="connsiteY3688" fmla="*/ 232744 h 1729572"/>
              <a:gd name="connsiteX3689" fmla="*/ 1251420 w 2601035"/>
              <a:gd name="connsiteY3689" fmla="*/ 232744 h 1729572"/>
              <a:gd name="connsiteX3690" fmla="*/ 1253704 w 2601035"/>
              <a:gd name="connsiteY3690" fmla="*/ 232744 h 1729572"/>
              <a:gd name="connsiteX3691" fmla="*/ 1253704 w 2601035"/>
              <a:gd name="connsiteY3691" fmla="*/ 230462 h 1729572"/>
              <a:gd name="connsiteX3692" fmla="*/ 1255988 w 2601035"/>
              <a:gd name="connsiteY3692" fmla="*/ 230462 h 1729572"/>
              <a:gd name="connsiteX3693" fmla="*/ 1255988 w 2601035"/>
              <a:gd name="connsiteY3693" fmla="*/ 228180 h 1729572"/>
              <a:gd name="connsiteX3694" fmla="*/ 1258271 w 2601035"/>
              <a:gd name="connsiteY3694" fmla="*/ 228180 h 1729572"/>
              <a:gd name="connsiteX3695" fmla="*/ 1258271 w 2601035"/>
              <a:gd name="connsiteY3695" fmla="*/ 225898 h 1729572"/>
              <a:gd name="connsiteX3696" fmla="*/ 1260555 w 2601035"/>
              <a:gd name="connsiteY3696" fmla="*/ 225898 h 1729572"/>
              <a:gd name="connsiteX3697" fmla="*/ 1262838 w 2601035"/>
              <a:gd name="connsiteY3697" fmla="*/ 225898 h 1729572"/>
              <a:gd name="connsiteX3698" fmla="*/ 1265122 w 2601035"/>
              <a:gd name="connsiteY3698" fmla="*/ 225898 h 1729572"/>
              <a:gd name="connsiteX3699" fmla="*/ 1267405 w 2601035"/>
              <a:gd name="connsiteY3699" fmla="*/ 225898 h 1729572"/>
              <a:gd name="connsiteX3700" fmla="*/ 1269689 w 2601035"/>
              <a:gd name="connsiteY3700" fmla="*/ 225898 h 1729572"/>
              <a:gd name="connsiteX3701" fmla="*/ 1271973 w 2601035"/>
              <a:gd name="connsiteY3701" fmla="*/ 225898 h 1729572"/>
              <a:gd name="connsiteX3702" fmla="*/ 1274256 w 2601035"/>
              <a:gd name="connsiteY3702" fmla="*/ 225898 h 1729572"/>
              <a:gd name="connsiteX3703" fmla="*/ 1274256 w 2601035"/>
              <a:gd name="connsiteY3703" fmla="*/ 228180 h 1729572"/>
              <a:gd name="connsiteX3704" fmla="*/ 1276540 w 2601035"/>
              <a:gd name="connsiteY3704" fmla="*/ 228180 h 1729572"/>
              <a:gd name="connsiteX3705" fmla="*/ 1276540 w 2601035"/>
              <a:gd name="connsiteY3705" fmla="*/ 230462 h 1729572"/>
              <a:gd name="connsiteX3706" fmla="*/ 1278823 w 2601035"/>
              <a:gd name="connsiteY3706" fmla="*/ 230462 h 1729572"/>
              <a:gd name="connsiteX3707" fmla="*/ 1281107 w 2601035"/>
              <a:gd name="connsiteY3707" fmla="*/ 230462 h 1729572"/>
              <a:gd name="connsiteX3708" fmla="*/ 1281107 w 2601035"/>
              <a:gd name="connsiteY3708" fmla="*/ 232744 h 1729572"/>
              <a:gd name="connsiteX3709" fmla="*/ 1283391 w 2601035"/>
              <a:gd name="connsiteY3709" fmla="*/ 232744 h 1729572"/>
              <a:gd name="connsiteX3710" fmla="*/ 1283391 w 2601035"/>
              <a:gd name="connsiteY3710" fmla="*/ 235026 h 1729572"/>
              <a:gd name="connsiteX3711" fmla="*/ 1285674 w 2601035"/>
              <a:gd name="connsiteY3711" fmla="*/ 235026 h 1729572"/>
              <a:gd name="connsiteX3712" fmla="*/ 1287958 w 2601035"/>
              <a:gd name="connsiteY3712" fmla="*/ 235026 h 1729572"/>
              <a:gd name="connsiteX3713" fmla="*/ 1287958 w 2601035"/>
              <a:gd name="connsiteY3713" fmla="*/ 237308 h 1729572"/>
              <a:gd name="connsiteX3714" fmla="*/ 1287958 w 2601035"/>
              <a:gd name="connsiteY3714" fmla="*/ 239590 h 1729572"/>
              <a:gd name="connsiteX3715" fmla="*/ 1287958 w 2601035"/>
              <a:gd name="connsiteY3715" fmla="*/ 241871 h 1729572"/>
              <a:gd name="connsiteX3716" fmla="*/ 1287958 w 2601035"/>
              <a:gd name="connsiteY3716" fmla="*/ 244153 h 1729572"/>
              <a:gd name="connsiteX3717" fmla="*/ 1287958 w 2601035"/>
              <a:gd name="connsiteY3717" fmla="*/ 246435 h 1729572"/>
              <a:gd name="connsiteX3718" fmla="*/ 1285674 w 2601035"/>
              <a:gd name="connsiteY3718" fmla="*/ 246435 h 1729572"/>
              <a:gd name="connsiteX3719" fmla="*/ 1285674 w 2601035"/>
              <a:gd name="connsiteY3719" fmla="*/ 248717 h 1729572"/>
              <a:gd name="connsiteX3720" fmla="*/ 1285674 w 2601035"/>
              <a:gd name="connsiteY3720" fmla="*/ 250999 h 1729572"/>
              <a:gd name="connsiteX3721" fmla="*/ 1287958 w 2601035"/>
              <a:gd name="connsiteY3721" fmla="*/ 250999 h 1729572"/>
              <a:gd name="connsiteX3722" fmla="*/ 1290242 w 2601035"/>
              <a:gd name="connsiteY3722" fmla="*/ 250999 h 1729572"/>
              <a:gd name="connsiteX3723" fmla="*/ 1292525 w 2601035"/>
              <a:gd name="connsiteY3723" fmla="*/ 250999 h 1729572"/>
              <a:gd name="connsiteX3724" fmla="*/ 1292525 w 2601035"/>
              <a:gd name="connsiteY3724" fmla="*/ 253281 h 1729572"/>
              <a:gd name="connsiteX3725" fmla="*/ 1294809 w 2601035"/>
              <a:gd name="connsiteY3725" fmla="*/ 253281 h 1729572"/>
              <a:gd name="connsiteX3726" fmla="*/ 1297092 w 2601035"/>
              <a:gd name="connsiteY3726" fmla="*/ 253281 h 1729572"/>
              <a:gd name="connsiteX3727" fmla="*/ 1297092 w 2601035"/>
              <a:gd name="connsiteY3727" fmla="*/ 255563 h 1729572"/>
              <a:gd name="connsiteX3728" fmla="*/ 1299376 w 2601035"/>
              <a:gd name="connsiteY3728" fmla="*/ 255563 h 1729572"/>
              <a:gd name="connsiteX3729" fmla="*/ 1301659 w 2601035"/>
              <a:gd name="connsiteY3729" fmla="*/ 255563 h 1729572"/>
              <a:gd name="connsiteX3730" fmla="*/ 1301659 w 2601035"/>
              <a:gd name="connsiteY3730" fmla="*/ 257845 h 1729572"/>
              <a:gd name="connsiteX3731" fmla="*/ 1303943 w 2601035"/>
              <a:gd name="connsiteY3731" fmla="*/ 257845 h 1729572"/>
              <a:gd name="connsiteX3732" fmla="*/ 1303943 w 2601035"/>
              <a:gd name="connsiteY3732" fmla="*/ 260126 h 1729572"/>
              <a:gd name="connsiteX3733" fmla="*/ 1306227 w 2601035"/>
              <a:gd name="connsiteY3733" fmla="*/ 260126 h 1729572"/>
              <a:gd name="connsiteX3734" fmla="*/ 1306227 w 2601035"/>
              <a:gd name="connsiteY3734" fmla="*/ 262409 h 1729572"/>
              <a:gd name="connsiteX3735" fmla="*/ 1308510 w 2601035"/>
              <a:gd name="connsiteY3735" fmla="*/ 262409 h 1729572"/>
              <a:gd name="connsiteX3736" fmla="*/ 1310794 w 2601035"/>
              <a:gd name="connsiteY3736" fmla="*/ 264690 h 1729572"/>
              <a:gd name="connsiteX3737" fmla="*/ 1313077 w 2601035"/>
              <a:gd name="connsiteY3737" fmla="*/ 264690 h 1729572"/>
              <a:gd name="connsiteX3738" fmla="*/ 1315361 w 2601035"/>
              <a:gd name="connsiteY3738" fmla="*/ 264690 h 1729572"/>
              <a:gd name="connsiteX3739" fmla="*/ 1315361 w 2601035"/>
              <a:gd name="connsiteY3739" fmla="*/ 266972 h 1729572"/>
              <a:gd name="connsiteX3740" fmla="*/ 1317644 w 2601035"/>
              <a:gd name="connsiteY3740" fmla="*/ 266972 h 1729572"/>
              <a:gd name="connsiteX3741" fmla="*/ 1319928 w 2601035"/>
              <a:gd name="connsiteY3741" fmla="*/ 266972 h 1729572"/>
              <a:gd name="connsiteX3742" fmla="*/ 1322212 w 2601035"/>
              <a:gd name="connsiteY3742" fmla="*/ 266972 h 1729572"/>
              <a:gd name="connsiteX3743" fmla="*/ 1322212 w 2601035"/>
              <a:gd name="connsiteY3743" fmla="*/ 264690 h 1729572"/>
              <a:gd name="connsiteX3744" fmla="*/ 1324495 w 2601035"/>
              <a:gd name="connsiteY3744" fmla="*/ 264690 h 1729572"/>
              <a:gd name="connsiteX3745" fmla="*/ 1326779 w 2601035"/>
              <a:gd name="connsiteY3745" fmla="*/ 264690 h 1729572"/>
              <a:gd name="connsiteX3746" fmla="*/ 1329063 w 2601035"/>
              <a:gd name="connsiteY3746" fmla="*/ 264690 h 1729572"/>
              <a:gd name="connsiteX3747" fmla="*/ 1331346 w 2601035"/>
              <a:gd name="connsiteY3747" fmla="*/ 264690 h 1729572"/>
              <a:gd name="connsiteX3748" fmla="*/ 1333630 w 2601035"/>
              <a:gd name="connsiteY3748" fmla="*/ 264690 h 1729572"/>
              <a:gd name="connsiteX3749" fmla="*/ 1335913 w 2601035"/>
              <a:gd name="connsiteY3749" fmla="*/ 264690 h 1729572"/>
              <a:gd name="connsiteX3750" fmla="*/ 1338197 w 2601035"/>
              <a:gd name="connsiteY3750" fmla="*/ 264690 h 1729572"/>
              <a:gd name="connsiteX3751" fmla="*/ 1340481 w 2601035"/>
              <a:gd name="connsiteY3751" fmla="*/ 264690 h 1729572"/>
              <a:gd name="connsiteX3752" fmla="*/ 1340481 w 2601035"/>
              <a:gd name="connsiteY3752" fmla="*/ 266972 h 1729572"/>
              <a:gd name="connsiteX3753" fmla="*/ 1340481 w 2601035"/>
              <a:gd name="connsiteY3753" fmla="*/ 269254 h 1729572"/>
              <a:gd name="connsiteX3754" fmla="*/ 1340481 w 2601035"/>
              <a:gd name="connsiteY3754" fmla="*/ 271526 h 1729572"/>
              <a:gd name="connsiteX3755" fmla="*/ 1338197 w 2601035"/>
              <a:gd name="connsiteY3755" fmla="*/ 271526 h 1729572"/>
              <a:gd name="connsiteX3756" fmla="*/ 1338197 w 2601035"/>
              <a:gd name="connsiteY3756" fmla="*/ 273809 h 1729572"/>
              <a:gd name="connsiteX3757" fmla="*/ 1335913 w 2601035"/>
              <a:gd name="connsiteY3757" fmla="*/ 273809 h 1729572"/>
              <a:gd name="connsiteX3758" fmla="*/ 1335913 w 2601035"/>
              <a:gd name="connsiteY3758" fmla="*/ 276090 h 1729572"/>
              <a:gd name="connsiteX3759" fmla="*/ 1338197 w 2601035"/>
              <a:gd name="connsiteY3759" fmla="*/ 276090 h 1729572"/>
              <a:gd name="connsiteX3760" fmla="*/ 1338197 w 2601035"/>
              <a:gd name="connsiteY3760" fmla="*/ 278372 h 1729572"/>
              <a:gd name="connsiteX3761" fmla="*/ 1340481 w 2601035"/>
              <a:gd name="connsiteY3761" fmla="*/ 278372 h 1729572"/>
              <a:gd name="connsiteX3762" fmla="*/ 1342764 w 2601035"/>
              <a:gd name="connsiteY3762" fmla="*/ 278372 h 1729572"/>
              <a:gd name="connsiteX3763" fmla="*/ 1342764 w 2601035"/>
              <a:gd name="connsiteY3763" fmla="*/ 276090 h 1729572"/>
              <a:gd name="connsiteX3764" fmla="*/ 1345048 w 2601035"/>
              <a:gd name="connsiteY3764" fmla="*/ 276090 h 1729572"/>
              <a:gd name="connsiteX3765" fmla="*/ 1347331 w 2601035"/>
              <a:gd name="connsiteY3765" fmla="*/ 276090 h 1729572"/>
              <a:gd name="connsiteX3766" fmla="*/ 1349615 w 2601035"/>
              <a:gd name="connsiteY3766" fmla="*/ 273809 h 1729572"/>
              <a:gd name="connsiteX3767" fmla="*/ 1349615 w 2601035"/>
              <a:gd name="connsiteY3767" fmla="*/ 271526 h 1729572"/>
              <a:gd name="connsiteX3768" fmla="*/ 1351898 w 2601035"/>
              <a:gd name="connsiteY3768" fmla="*/ 271526 h 1729572"/>
              <a:gd name="connsiteX3769" fmla="*/ 1351898 w 2601035"/>
              <a:gd name="connsiteY3769" fmla="*/ 269254 h 1729572"/>
              <a:gd name="connsiteX3770" fmla="*/ 1351898 w 2601035"/>
              <a:gd name="connsiteY3770" fmla="*/ 266972 h 1729572"/>
              <a:gd name="connsiteX3771" fmla="*/ 1354182 w 2601035"/>
              <a:gd name="connsiteY3771" fmla="*/ 266972 h 1729572"/>
              <a:gd name="connsiteX3772" fmla="*/ 1356466 w 2601035"/>
              <a:gd name="connsiteY3772" fmla="*/ 266972 h 1729572"/>
              <a:gd name="connsiteX3773" fmla="*/ 1356466 w 2601035"/>
              <a:gd name="connsiteY3773" fmla="*/ 269254 h 1729572"/>
              <a:gd name="connsiteX3774" fmla="*/ 1356466 w 2601035"/>
              <a:gd name="connsiteY3774" fmla="*/ 271526 h 1729572"/>
              <a:gd name="connsiteX3775" fmla="*/ 1356466 w 2601035"/>
              <a:gd name="connsiteY3775" fmla="*/ 273809 h 1729572"/>
              <a:gd name="connsiteX3776" fmla="*/ 1358749 w 2601035"/>
              <a:gd name="connsiteY3776" fmla="*/ 273809 h 1729572"/>
              <a:gd name="connsiteX3777" fmla="*/ 1358749 w 2601035"/>
              <a:gd name="connsiteY3777" fmla="*/ 276090 h 1729572"/>
              <a:gd name="connsiteX3778" fmla="*/ 1361033 w 2601035"/>
              <a:gd name="connsiteY3778" fmla="*/ 276090 h 1729572"/>
              <a:gd name="connsiteX3779" fmla="*/ 1363317 w 2601035"/>
              <a:gd name="connsiteY3779" fmla="*/ 276090 h 1729572"/>
              <a:gd name="connsiteX3780" fmla="*/ 1363317 w 2601035"/>
              <a:gd name="connsiteY3780" fmla="*/ 273809 h 1729572"/>
              <a:gd name="connsiteX3781" fmla="*/ 1365600 w 2601035"/>
              <a:gd name="connsiteY3781" fmla="*/ 273809 h 1729572"/>
              <a:gd name="connsiteX3782" fmla="*/ 1367884 w 2601035"/>
              <a:gd name="connsiteY3782" fmla="*/ 273809 h 1729572"/>
              <a:gd name="connsiteX3783" fmla="*/ 1367884 w 2601035"/>
              <a:gd name="connsiteY3783" fmla="*/ 271526 h 1729572"/>
              <a:gd name="connsiteX3784" fmla="*/ 1370167 w 2601035"/>
              <a:gd name="connsiteY3784" fmla="*/ 271526 h 1729572"/>
              <a:gd name="connsiteX3785" fmla="*/ 1370167 w 2601035"/>
              <a:gd name="connsiteY3785" fmla="*/ 269254 h 1729572"/>
              <a:gd name="connsiteX3786" fmla="*/ 1370167 w 2601035"/>
              <a:gd name="connsiteY3786" fmla="*/ 266972 h 1729572"/>
              <a:gd name="connsiteX3787" fmla="*/ 1372451 w 2601035"/>
              <a:gd name="connsiteY3787" fmla="*/ 266972 h 1729572"/>
              <a:gd name="connsiteX3788" fmla="*/ 1374734 w 2601035"/>
              <a:gd name="connsiteY3788" fmla="*/ 266972 h 1729572"/>
              <a:gd name="connsiteX3789" fmla="*/ 1374734 w 2601035"/>
              <a:gd name="connsiteY3789" fmla="*/ 264690 h 1729572"/>
              <a:gd name="connsiteX3790" fmla="*/ 1377018 w 2601035"/>
              <a:gd name="connsiteY3790" fmla="*/ 264690 h 1729572"/>
              <a:gd name="connsiteX3791" fmla="*/ 1379302 w 2601035"/>
              <a:gd name="connsiteY3791" fmla="*/ 264690 h 1729572"/>
              <a:gd name="connsiteX3792" fmla="*/ 1379302 w 2601035"/>
              <a:gd name="connsiteY3792" fmla="*/ 266972 h 1729572"/>
              <a:gd name="connsiteX3793" fmla="*/ 1381585 w 2601035"/>
              <a:gd name="connsiteY3793" fmla="*/ 266972 h 1729572"/>
              <a:gd name="connsiteX3794" fmla="*/ 1381585 w 2601035"/>
              <a:gd name="connsiteY3794" fmla="*/ 264690 h 1729572"/>
              <a:gd name="connsiteX3795" fmla="*/ 1383869 w 2601035"/>
              <a:gd name="connsiteY3795" fmla="*/ 264690 h 1729572"/>
              <a:gd name="connsiteX3796" fmla="*/ 1383869 w 2601035"/>
              <a:gd name="connsiteY3796" fmla="*/ 262409 h 1729572"/>
              <a:gd name="connsiteX3797" fmla="*/ 1386152 w 2601035"/>
              <a:gd name="connsiteY3797" fmla="*/ 262409 h 1729572"/>
              <a:gd name="connsiteX3798" fmla="*/ 1388436 w 2601035"/>
              <a:gd name="connsiteY3798" fmla="*/ 262409 h 1729572"/>
              <a:gd name="connsiteX3799" fmla="*/ 1388436 w 2601035"/>
              <a:gd name="connsiteY3799" fmla="*/ 260126 h 1729572"/>
              <a:gd name="connsiteX3800" fmla="*/ 1390720 w 2601035"/>
              <a:gd name="connsiteY3800" fmla="*/ 260126 h 1729572"/>
              <a:gd name="connsiteX3801" fmla="*/ 1390720 w 2601035"/>
              <a:gd name="connsiteY3801" fmla="*/ 257845 h 1729572"/>
              <a:gd name="connsiteX3802" fmla="*/ 1393003 w 2601035"/>
              <a:gd name="connsiteY3802" fmla="*/ 257845 h 1729572"/>
              <a:gd name="connsiteX3803" fmla="*/ 1395287 w 2601035"/>
              <a:gd name="connsiteY3803" fmla="*/ 257845 h 1729572"/>
              <a:gd name="connsiteX3804" fmla="*/ 1395287 w 2601035"/>
              <a:gd name="connsiteY3804" fmla="*/ 255563 h 1729572"/>
              <a:gd name="connsiteX3805" fmla="*/ 1397571 w 2601035"/>
              <a:gd name="connsiteY3805" fmla="*/ 255563 h 1729572"/>
              <a:gd name="connsiteX3806" fmla="*/ 1399854 w 2601035"/>
              <a:gd name="connsiteY3806" fmla="*/ 255563 h 1729572"/>
              <a:gd name="connsiteX3807" fmla="*/ 1402138 w 2601035"/>
              <a:gd name="connsiteY3807" fmla="*/ 255563 h 1729572"/>
              <a:gd name="connsiteX3808" fmla="*/ 1404421 w 2601035"/>
              <a:gd name="connsiteY3808" fmla="*/ 255563 h 1729572"/>
              <a:gd name="connsiteX3809" fmla="*/ 1404421 w 2601035"/>
              <a:gd name="connsiteY3809" fmla="*/ 257845 h 1729572"/>
              <a:gd name="connsiteX3810" fmla="*/ 1406705 w 2601035"/>
              <a:gd name="connsiteY3810" fmla="*/ 257845 h 1729572"/>
              <a:gd name="connsiteX3811" fmla="*/ 1406705 w 2601035"/>
              <a:gd name="connsiteY3811" fmla="*/ 260126 h 1729572"/>
              <a:gd name="connsiteX3812" fmla="*/ 1408988 w 2601035"/>
              <a:gd name="connsiteY3812" fmla="*/ 262409 h 1729572"/>
              <a:gd name="connsiteX3813" fmla="*/ 1408988 w 2601035"/>
              <a:gd name="connsiteY3813" fmla="*/ 264690 h 1729572"/>
              <a:gd name="connsiteX3814" fmla="*/ 1411272 w 2601035"/>
              <a:gd name="connsiteY3814" fmla="*/ 264690 h 1729572"/>
              <a:gd name="connsiteX3815" fmla="*/ 1411272 w 2601035"/>
              <a:gd name="connsiteY3815" fmla="*/ 266972 h 1729572"/>
              <a:gd name="connsiteX3816" fmla="*/ 1413556 w 2601035"/>
              <a:gd name="connsiteY3816" fmla="*/ 266972 h 1729572"/>
              <a:gd name="connsiteX3817" fmla="*/ 1413556 w 2601035"/>
              <a:gd name="connsiteY3817" fmla="*/ 269254 h 1729572"/>
              <a:gd name="connsiteX3818" fmla="*/ 1413556 w 2601035"/>
              <a:gd name="connsiteY3818" fmla="*/ 271526 h 1729572"/>
              <a:gd name="connsiteX3819" fmla="*/ 1413556 w 2601035"/>
              <a:gd name="connsiteY3819" fmla="*/ 273809 h 1729572"/>
              <a:gd name="connsiteX3820" fmla="*/ 1415839 w 2601035"/>
              <a:gd name="connsiteY3820" fmla="*/ 273809 h 1729572"/>
              <a:gd name="connsiteX3821" fmla="*/ 1418123 w 2601035"/>
              <a:gd name="connsiteY3821" fmla="*/ 273809 h 1729572"/>
              <a:gd name="connsiteX3822" fmla="*/ 1420406 w 2601035"/>
              <a:gd name="connsiteY3822" fmla="*/ 273809 h 1729572"/>
              <a:gd name="connsiteX3823" fmla="*/ 1422690 w 2601035"/>
              <a:gd name="connsiteY3823" fmla="*/ 273809 h 1729572"/>
              <a:gd name="connsiteX3824" fmla="*/ 1424974 w 2601035"/>
              <a:gd name="connsiteY3824" fmla="*/ 273809 h 1729572"/>
              <a:gd name="connsiteX3825" fmla="*/ 1424974 w 2601035"/>
              <a:gd name="connsiteY3825" fmla="*/ 271526 h 1729572"/>
              <a:gd name="connsiteX3826" fmla="*/ 1427257 w 2601035"/>
              <a:gd name="connsiteY3826" fmla="*/ 271526 h 1729572"/>
              <a:gd name="connsiteX3827" fmla="*/ 1427257 w 2601035"/>
              <a:gd name="connsiteY3827" fmla="*/ 269254 h 1729572"/>
              <a:gd name="connsiteX3828" fmla="*/ 1427257 w 2601035"/>
              <a:gd name="connsiteY3828" fmla="*/ 266972 h 1729572"/>
              <a:gd name="connsiteX3829" fmla="*/ 1424974 w 2601035"/>
              <a:gd name="connsiteY3829" fmla="*/ 266972 h 1729572"/>
              <a:gd name="connsiteX3830" fmla="*/ 1424974 w 2601035"/>
              <a:gd name="connsiteY3830" fmla="*/ 264690 h 1729572"/>
              <a:gd name="connsiteX3831" fmla="*/ 1427257 w 2601035"/>
              <a:gd name="connsiteY3831" fmla="*/ 264690 h 1729572"/>
              <a:gd name="connsiteX3832" fmla="*/ 1427257 w 2601035"/>
              <a:gd name="connsiteY3832" fmla="*/ 262409 h 1729572"/>
              <a:gd name="connsiteX3833" fmla="*/ 1429541 w 2601035"/>
              <a:gd name="connsiteY3833" fmla="*/ 262409 h 1729572"/>
              <a:gd name="connsiteX3834" fmla="*/ 1429541 w 2601035"/>
              <a:gd name="connsiteY3834" fmla="*/ 264690 h 1729572"/>
              <a:gd name="connsiteX3835" fmla="*/ 1431824 w 2601035"/>
              <a:gd name="connsiteY3835" fmla="*/ 264690 h 1729572"/>
              <a:gd name="connsiteX3836" fmla="*/ 1431824 w 2601035"/>
              <a:gd name="connsiteY3836" fmla="*/ 266972 h 1729572"/>
              <a:gd name="connsiteX3837" fmla="*/ 1434108 w 2601035"/>
              <a:gd name="connsiteY3837" fmla="*/ 266972 h 1729572"/>
              <a:gd name="connsiteX3838" fmla="*/ 1436392 w 2601035"/>
              <a:gd name="connsiteY3838" fmla="*/ 266972 h 1729572"/>
              <a:gd name="connsiteX3839" fmla="*/ 1438675 w 2601035"/>
              <a:gd name="connsiteY3839" fmla="*/ 266972 h 1729572"/>
              <a:gd name="connsiteX3840" fmla="*/ 1440959 w 2601035"/>
              <a:gd name="connsiteY3840" fmla="*/ 264690 h 1729572"/>
              <a:gd name="connsiteX3841" fmla="*/ 1443242 w 2601035"/>
              <a:gd name="connsiteY3841" fmla="*/ 264690 h 1729572"/>
              <a:gd name="connsiteX3842" fmla="*/ 1443242 w 2601035"/>
              <a:gd name="connsiteY3842" fmla="*/ 266972 h 1729572"/>
              <a:gd name="connsiteX3843" fmla="*/ 1445526 w 2601035"/>
              <a:gd name="connsiteY3843" fmla="*/ 266972 h 1729572"/>
              <a:gd name="connsiteX3844" fmla="*/ 1445526 w 2601035"/>
              <a:gd name="connsiteY3844" fmla="*/ 264690 h 1729572"/>
              <a:gd name="connsiteX3845" fmla="*/ 1447810 w 2601035"/>
              <a:gd name="connsiteY3845" fmla="*/ 264690 h 1729572"/>
              <a:gd name="connsiteX3846" fmla="*/ 1450093 w 2601035"/>
              <a:gd name="connsiteY3846" fmla="*/ 264690 h 1729572"/>
              <a:gd name="connsiteX3847" fmla="*/ 1450093 w 2601035"/>
              <a:gd name="connsiteY3847" fmla="*/ 262409 h 1729572"/>
              <a:gd name="connsiteX3848" fmla="*/ 1452377 w 2601035"/>
              <a:gd name="connsiteY3848" fmla="*/ 262409 h 1729572"/>
              <a:gd name="connsiteX3849" fmla="*/ 1452377 w 2601035"/>
              <a:gd name="connsiteY3849" fmla="*/ 260126 h 1729572"/>
              <a:gd name="connsiteX3850" fmla="*/ 1450093 w 2601035"/>
              <a:gd name="connsiteY3850" fmla="*/ 260126 h 1729572"/>
              <a:gd name="connsiteX3851" fmla="*/ 1450093 w 2601035"/>
              <a:gd name="connsiteY3851" fmla="*/ 257845 h 1729572"/>
              <a:gd name="connsiteX3852" fmla="*/ 1450093 w 2601035"/>
              <a:gd name="connsiteY3852" fmla="*/ 255563 h 1729572"/>
              <a:gd name="connsiteX3853" fmla="*/ 1447810 w 2601035"/>
              <a:gd name="connsiteY3853" fmla="*/ 255563 h 1729572"/>
              <a:gd name="connsiteX3854" fmla="*/ 1447810 w 2601035"/>
              <a:gd name="connsiteY3854" fmla="*/ 253281 h 1729572"/>
              <a:gd name="connsiteX3855" fmla="*/ 1447810 w 2601035"/>
              <a:gd name="connsiteY3855" fmla="*/ 250999 h 1729572"/>
              <a:gd name="connsiteX3856" fmla="*/ 1445526 w 2601035"/>
              <a:gd name="connsiteY3856" fmla="*/ 250999 h 1729572"/>
              <a:gd name="connsiteX3857" fmla="*/ 1445526 w 2601035"/>
              <a:gd name="connsiteY3857" fmla="*/ 248717 h 1729572"/>
              <a:gd name="connsiteX3858" fmla="*/ 1445526 w 2601035"/>
              <a:gd name="connsiteY3858" fmla="*/ 246435 h 1729572"/>
              <a:gd name="connsiteX3859" fmla="*/ 1447810 w 2601035"/>
              <a:gd name="connsiteY3859" fmla="*/ 246435 h 1729572"/>
              <a:gd name="connsiteX3860" fmla="*/ 1450093 w 2601035"/>
              <a:gd name="connsiteY3860" fmla="*/ 246435 h 1729572"/>
              <a:gd name="connsiteX3861" fmla="*/ 1450093 w 2601035"/>
              <a:gd name="connsiteY3861" fmla="*/ 244153 h 1729572"/>
              <a:gd name="connsiteX3862" fmla="*/ 1450093 w 2601035"/>
              <a:gd name="connsiteY3862" fmla="*/ 241871 h 1729572"/>
              <a:gd name="connsiteX3863" fmla="*/ 1452377 w 2601035"/>
              <a:gd name="connsiteY3863" fmla="*/ 241871 h 1729572"/>
              <a:gd name="connsiteX3864" fmla="*/ 1454660 w 2601035"/>
              <a:gd name="connsiteY3864" fmla="*/ 241871 h 1729572"/>
              <a:gd name="connsiteX3865" fmla="*/ 1454660 w 2601035"/>
              <a:gd name="connsiteY3865" fmla="*/ 239590 h 1729572"/>
              <a:gd name="connsiteX3866" fmla="*/ 1456944 w 2601035"/>
              <a:gd name="connsiteY3866" fmla="*/ 239590 h 1729572"/>
              <a:gd name="connsiteX3867" fmla="*/ 1459227 w 2601035"/>
              <a:gd name="connsiteY3867" fmla="*/ 239590 h 1729572"/>
              <a:gd name="connsiteX3868" fmla="*/ 1461511 w 2601035"/>
              <a:gd name="connsiteY3868" fmla="*/ 239590 h 1729572"/>
              <a:gd name="connsiteX3869" fmla="*/ 1461511 w 2601035"/>
              <a:gd name="connsiteY3869" fmla="*/ 237308 h 1729572"/>
              <a:gd name="connsiteX3870" fmla="*/ 1463795 w 2601035"/>
              <a:gd name="connsiteY3870" fmla="*/ 237308 h 1729572"/>
              <a:gd name="connsiteX3871" fmla="*/ 1466078 w 2601035"/>
              <a:gd name="connsiteY3871" fmla="*/ 237308 h 1729572"/>
              <a:gd name="connsiteX3872" fmla="*/ 1468362 w 2601035"/>
              <a:gd name="connsiteY3872" fmla="*/ 237308 h 1729572"/>
              <a:gd name="connsiteX3873" fmla="*/ 1470646 w 2601035"/>
              <a:gd name="connsiteY3873" fmla="*/ 237308 h 1729572"/>
              <a:gd name="connsiteX3874" fmla="*/ 1472929 w 2601035"/>
              <a:gd name="connsiteY3874" fmla="*/ 237308 h 1729572"/>
              <a:gd name="connsiteX3875" fmla="*/ 1472929 w 2601035"/>
              <a:gd name="connsiteY3875" fmla="*/ 239590 h 1729572"/>
              <a:gd name="connsiteX3876" fmla="*/ 1472929 w 2601035"/>
              <a:gd name="connsiteY3876" fmla="*/ 241871 h 1729572"/>
              <a:gd name="connsiteX3877" fmla="*/ 1475213 w 2601035"/>
              <a:gd name="connsiteY3877" fmla="*/ 241871 h 1729572"/>
              <a:gd name="connsiteX3878" fmla="*/ 1477496 w 2601035"/>
              <a:gd name="connsiteY3878" fmla="*/ 241871 h 1729572"/>
              <a:gd name="connsiteX3879" fmla="*/ 1479780 w 2601035"/>
              <a:gd name="connsiteY3879" fmla="*/ 241871 h 1729572"/>
              <a:gd name="connsiteX3880" fmla="*/ 1479780 w 2601035"/>
              <a:gd name="connsiteY3880" fmla="*/ 239590 h 1729572"/>
              <a:gd name="connsiteX3881" fmla="*/ 1482064 w 2601035"/>
              <a:gd name="connsiteY3881" fmla="*/ 239590 h 1729572"/>
              <a:gd name="connsiteX3882" fmla="*/ 1482064 w 2601035"/>
              <a:gd name="connsiteY3882" fmla="*/ 237308 h 1729572"/>
              <a:gd name="connsiteX3883" fmla="*/ 1484347 w 2601035"/>
              <a:gd name="connsiteY3883" fmla="*/ 237308 h 1729572"/>
              <a:gd name="connsiteX3884" fmla="*/ 1484347 w 2601035"/>
              <a:gd name="connsiteY3884" fmla="*/ 235026 h 1729572"/>
              <a:gd name="connsiteX3885" fmla="*/ 1484347 w 2601035"/>
              <a:gd name="connsiteY3885" fmla="*/ 232744 h 1729572"/>
              <a:gd name="connsiteX3886" fmla="*/ 1484347 w 2601035"/>
              <a:gd name="connsiteY3886" fmla="*/ 230462 h 1729572"/>
              <a:gd name="connsiteX3887" fmla="*/ 1482064 w 2601035"/>
              <a:gd name="connsiteY3887" fmla="*/ 230462 h 1729572"/>
              <a:gd name="connsiteX3888" fmla="*/ 1479780 w 2601035"/>
              <a:gd name="connsiteY3888" fmla="*/ 230462 h 1729572"/>
              <a:gd name="connsiteX3889" fmla="*/ 1479780 w 2601035"/>
              <a:gd name="connsiteY3889" fmla="*/ 228180 h 1729572"/>
              <a:gd name="connsiteX3890" fmla="*/ 1477496 w 2601035"/>
              <a:gd name="connsiteY3890" fmla="*/ 228180 h 1729572"/>
              <a:gd name="connsiteX3891" fmla="*/ 1477496 w 2601035"/>
              <a:gd name="connsiteY3891" fmla="*/ 225898 h 1729572"/>
              <a:gd name="connsiteX3892" fmla="*/ 1477496 w 2601035"/>
              <a:gd name="connsiteY3892" fmla="*/ 223616 h 1729572"/>
              <a:gd name="connsiteX3893" fmla="*/ 1475213 w 2601035"/>
              <a:gd name="connsiteY3893" fmla="*/ 223616 h 1729572"/>
              <a:gd name="connsiteX3894" fmla="*/ 1475213 w 2601035"/>
              <a:gd name="connsiteY3894" fmla="*/ 221334 h 1729572"/>
              <a:gd name="connsiteX3895" fmla="*/ 1472929 w 2601035"/>
              <a:gd name="connsiteY3895" fmla="*/ 221334 h 1729572"/>
              <a:gd name="connsiteX3896" fmla="*/ 1470646 w 2601035"/>
              <a:gd name="connsiteY3896" fmla="*/ 221334 h 1729572"/>
              <a:gd name="connsiteX3897" fmla="*/ 1470646 w 2601035"/>
              <a:gd name="connsiteY3897" fmla="*/ 219053 h 1729572"/>
              <a:gd name="connsiteX3898" fmla="*/ 1468362 w 2601035"/>
              <a:gd name="connsiteY3898" fmla="*/ 219053 h 1729572"/>
              <a:gd name="connsiteX3899" fmla="*/ 1468362 w 2601035"/>
              <a:gd name="connsiteY3899" fmla="*/ 216770 h 1729572"/>
              <a:gd name="connsiteX3900" fmla="*/ 1470646 w 2601035"/>
              <a:gd name="connsiteY3900" fmla="*/ 216770 h 1729572"/>
              <a:gd name="connsiteX3901" fmla="*/ 1470646 w 2601035"/>
              <a:gd name="connsiteY3901" fmla="*/ 214489 h 1729572"/>
              <a:gd name="connsiteX3902" fmla="*/ 1472929 w 2601035"/>
              <a:gd name="connsiteY3902" fmla="*/ 212207 h 1729572"/>
              <a:gd name="connsiteX3903" fmla="*/ 1475213 w 2601035"/>
              <a:gd name="connsiteY3903" fmla="*/ 212207 h 1729572"/>
              <a:gd name="connsiteX3904" fmla="*/ 1477496 w 2601035"/>
              <a:gd name="connsiteY3904" fmla="*/ 212207 h 1729572"/>
              <a:gd name="connsiteX3905" fmla="*/ 1479780 w 2601035"/>
              <a:gd name="connsiteY3905" fmla="*/ 212207 h 1729572"/>
              <a:gd name="connsiteX3906" fmla="*/ 1482064 w 2601035"/>
              <a:gd name="connsiteY3906" fmla="*/ 212207 h 1729572"/>
              <a:gd name="connsiteX3907" fmla="*/ 1484347 w 2601035"/>
              <a:gd name="connsiteY3907" fmla="*/ 212207 h 1729572"/>
              <a:gd name="connsiteX3908" fmla="*/ 1486631 w 2601035"/>
              <a:gd name="connsiteY3908" fmla="*/ 212207 h 1729572"/>
              <a:gd name="connsiteX3909" fmla="*/ 1488914 w 2601035"/>
              <a:gd name="connsiteY3909" fmla="*/ 212207 h 1729572"/>
              <a:gd name="connsiteX3910" fmla="*/ 1491198 w 2601035"/>
              <a:gd name="connsiteY3910" fmla="*/ 212207 h 1729572"/>
              <a:gd name="connsiteX3911" fmla="*/ 1491198 w 2601035"/>
              <a:gd name="connsiteY3911" fmla="*/ 209925 h 1729572"/>
              <a:gd name="connsiteX3912" fmla="*/ 1493481 w 2601035"/>
              <a:gd name="connsiteY3912" fmla="*/ 209925 h 1729572"/>
              <a:gd name="connsiteX3913" fmla="*/ 1495765 w 2601035"/>
              <a:gd name="connsiteY3913" fmla="*/ 209925 h 1729572"/>
              <a:gd name="connsiteX3914" fmla="*/ 1498049 w 2601035"/>
              <a:gd name="connsiteY3914" fmla="*/ 209925 h 1729572"/>
              <a:gd name="connsiteX3915" fmla="*/ 1500332 w 2601035"/>
              <a:gd name="connsiteY3915" fmla="*/ 209925 h 1729572"/>
              <a:gd name="connsiteX3916" fmla="*/ 1502616 w 2601035"/>
              <a:gd name="connsiteY3916" fmla="*/ 209925 h 1729572"/>
              <a:gd name="connsiteX3917" fmla="*/ 1502616 w 2601035"/>
              <a:gd name="connsiteY3917" fmla="*/ 212207 h 1729572"/>
              <a:gd name="connsiteX3918" fmla="*/ 1500332 w 2601035"/>
              <a:gd name="connsiteY3918" fmla="*/ 212207 h 1729572"/>
              <a:gd name="connsiteX3919" fmla="*/ 1500332 w 2601035"/>
              <a:gd name="connsiteY3919" fmla="*/ 214489 h 1729572"/>
              <a:gd name="connsiteX3920" fmla="*/ 1502616 w 2601035"/>
              <a:gd name="connsiteY3920" fmla="*/ 216770 h 1729572"/>
              <a:gd name="connsiteX3921" fmla="*/ 1502616 w 2601035"/>
              <a:gd name="connsiteY3921" fmla="*/ 219053 h 1729572"/>
              <a:gd name="connsiteX3922" fmla="*/ 1504900 w 2601035"/>
              <a:gd name="connsiteY3922" fmla="*/ 219053 h 1729572"/>
              <a:gd name="connsiteX3923" fmla="*/ 1504900 w 2601035"/>
              <a:gd name="connsiteY3923" fmla="*/ 221334 h 1729572"/>
              <a:gd name="connsiteX3924" fmla="*/ 1507183 w 2601035"/>
              <a:gd name="connsiteY3924" fmla="*/ 221334 h 1729572"/>
              <a:gd name="connsiteX3925" fmla="*/ 1509467 w 2601035"/>
              <a:gd name="connsiteY3925" fmla="*/ 221334 h 1729572"/>
              <a:gd name="connsiteX3926" fmla="*/ 1509467 w 2601035"/>
              <a:gd name="connsiteY3926" fmla="*/ 219053 h 1729572"/>
              <a:gd name="connsiteX3927" fmla="*/ 1511750 w 2601035"/>
              <a:gd name="connsiteY3927" fmla="*/ 219053 h 1729572"/>
              <a:gd name="connsiteX3928" fmla="*/ 1511750 w 2601035"/>
              <a:gd name="connsiteY3928" fmla="*/ 216770 h 1729572"/>
              <a:gd name="connsiteX3929" fmla="*/ 1511750 w 2601035"/>
              <a:gd name="connsiteY3929" fmla="*/ 214489 h 1729572"/>
              <a:gd name="connsiteX3930" fmla="*/ 1514034 w 2601035"/>
              <a:gd name="connsiteY3930" fmla="*/ 214489 h 1729572"/>
              <a:gd name="connsiteX3931" fmla="*/ 1516317 w 2601035"/>
              <a:gd name="connsiteY3931" fmla="*/ 214489 h 1729572"/>
              <a:gd name="connsiteX3932" fmla="*/ 1518601 w 2601035"/>
              <a:gd name="connsiteY3932" fmla="*/ 212207 h 1729572"/>
              <a:gd name="connsiteX3933" fmla="*/ 1518601 w 2601035"/>
              <a:gd name="connsiteY3933" fmla="*/ 209925 h 1729572"/>
              <a:gd name="connsiteX3934" fmla="*/ 1518601 w 2601035"/>
              <a:gd name="connsiteY3934" fmla="*/ 207643 h 1729572"/>
              <a:gd name="connsiteX3935" fmla="*/ 1516317 w 2601035"/>
              <a:gd name="connsiteY3935" fmla="*/ 207643 h 1729572"/>
              <a:gd name="connsiteX3936" fmla="*/ 1516317 w 2601035"/>
              <a:gd name="connsiteY3936" fmla="*/ 205361 h 1729572"/>
              <a:gd name="connsiteX3937" fmla="*/ 1516317 w 2601035"/>
              <a:gd name="connsiteY3937" fmla="*/ 203079 h 1729572"/>
              <a:gd name="connsiteX3938" fmla="*/ 1516317 w 2601035"/>
              <a:gd name="connsiteY3938" fmla="*/ 200797 h 1729572"/>
              <a:gd name="connsiteX3939" fmla="*/ 1518601 w 2601035"/>
              <a:gd name="connsiteY3939" fmla="*/ 200797 h 1729572"/>
              <a:gd name="connsiteX3940" fmla="*/ 1520885 w 2601035"/>
              <a:gd name="connsiteY3940" fmla="*/ 203079 h 1729572"/>
              <a:gd name="connsiteX3941" fmla="*/ 1523168 w 2601035"/>
              <a:gd name="connsiteY3941" fmla="*/ 203079 h 1729572"/>
              <a:gd name="connsiteX3942" fmla="*/ 1525452 w 2601035"/>
              <a:gd name="connsiteY3942" fmla="*/ 203079 h 1729572"/>
              <a:gd name="connsiteX3943" fmla="*/ 1527735 w 2601035"/>
              <a:gd name="connsiteY3943" fmla="*/ 203079 h 1729572"/>
              <a:gd name="connsiteX3944" fmla="*/ 1530019 w 2601035"/>
              <a:gd name="connsiteY3944" fmla="*/ 203079 h 1729572"/>
              <a:gd name="connsiteX3945" fmla="*/ 1532303 w 2601035"/>
              <a:gd name="connsiteY3945" fmla="*/ 203079 h 1729572"/>
              <a:gd name="connsiteX3946" fmla="*/ 1532303 w 2601035"/>
              <a:gd name="connsiteY3946" fmla="*/ 205361 h 1729572"/>
              <a:gd name="connsiteX3947" fmla="*/ 1534586 w 2601035"/>
              <a:gd name="connsiteY3947" fmla="*/ 205361 h 1729572"/>
              <a:gd name="connsiteX3948" fmla="*/ 1534586 w 2601035"/>
              <a:gd name="connsiteY3948" fmla="*/ 207643 h 1729572"/>
              <a:gd name="connsiteX3949" fmla="*/ 1536870 w 2601035"/>
              <a:gd name="connsiteY3949" fmla="*/ 207643 h 1729572"/>
              <a:gd name="connsiteX3950" fmla="*/ 1539154 w 2601035"/>
              <a:gd name="connsiteY3950" fmla="*/ 205361 h 1729572"/>
              <a:gd name="connsiteX3951" fmla="*/ 1541437 w 2601035"/>
              <a:gd name="connsiteY3951" fmla="*/ 203079 h 1729572"/>
              <a:gd name="connsiteX3952" fmla="*/ 1541437 w 2601035"/>
              <a:gd name="connsiteY3952" fmla="*/ 200797 h 1729572"/>
              <a:gd name="connsiteX3953" fmla="*/ 1543721 w 2601035"/>
              <a:gd name="connsiteY3953" fmla="*/ 200797 h 1729572"/>
              <a:gd name="connsiteX3954" fmla="*/ 1543721 w 2601035"/>
              <a:gd name="connsiteY3954" fmla="*/ 198515 h 1729572"/>
              <a:gd name="connsiteX3955" fmla="*/ 1543721 w 2601035"/>
              <a:gd name="connsiteY3955" fmla="*/ 196233 h 1729572"/>
              <a:gd name="connsiteX3956" fmla="*/ 1543721 w 2601035"/>
              <a:gd name="connsiteY3956" fmla="*/ 193952 h 1729572"/>
              <a:gd name="connsiteX3957" fmla="*/ 1546004 w 2601035"/>
              <a:gd name="connsiteY3957" fmla="*/ 193952 h 1729572"/>
              <a:gd name="connsiteX3958" fmla="*/ 1546004 w 2601035"/>
              <a:gd name="connsiteY3958" fmla="*/ 191670 h 1729572"/>
              <a:gd name="connsiteX3959" fmla="*/ 1546004 w 2601035"/>
              <a:gd name="connsiteY3959" fmla="*/ 193952 h 1729572"/>
              <a:gd name="connsiteX3960" fmla="*/ 1548288 w 2601035"/>
              <a:gd name="connsiteY3960" fmla="*/ 193952 h 1729572"/>
              <a:gd name="connsiteX3961" fmla="*/ 1548288 w 2601035"/>
              <a:gd name="connsiteY3961" fmla="*/ 196233 h 1729572"/>
              <a:gd name="connsiteX3962" fmla="*/ 1548288 w 2601035"/>
              <a:gd name="connsiteY3962" fmla="*/ 198515 h 1729572"/>
              <a:gd name="connsiteX3963" fmla="*/ 1548288 w 2601035"/>
              <a:gd name="connsiteY3963" fmla="*/ 200797 h 1729572"/>
              <a:gd name="connsiteX3964" fmla="*/ 1548288 w 2601035"/>
              <a:gd name="connsiteY3964" fmla="*/ 203079 h 1729572"/>
              <a:gd name="connsiteX3965" fmla="*/ 1550571 w 2601035"/>
              <a:gd name="connsiteY3965" fmla="*/ 203079 h 1729572"/>
              <a:gd name="connsiteX3966" fmla="*/ 1552855 w 2601035"/>
              <a:gd name="connsiteY3966" fmla="*/ 200797 h 1729572"/>
              <a:gd name="connsiteX3967" fmla="*/ 1550571 w 2601035"/>
              <a:gd name="connsiteY3967" fmla="*/ 198515 h 1729572"/>
              <a:gd name="connsiteX3968" fmla="*/ 1552855 w 2601035"/>
              <a:gd name="connsiteY3968" fmla="*/ 196233 h 1729572"/>
              <a:gd name="connsiteX3969" fmla="*/ 1552855 w 2601035"/>
              <a:gd name="connsiteY3969" fmla="*/ 193952 h 1729572"/>
              <a:gd name="connsiteX3970" fmla="*/ 1552855 w 2601035"/>
              <a:gd name="connsiteY3970" fmla="*/ 191670 h 1729572"/>
              <a:gd name="connsiteX3971" fmla="*/ 1555139 w 2601035"/>
              <a:gd name="connsiteY3971" fmla="*/ 189388 h 1729572"/>
              <a:gd name="connsiteX3972" fmla="*/ 1557422 w 2601035"/>
              <a:gd name="connsiteY3972" fmla="*/ 189388 h 1729572"/>
              <a:gd name="connsiteX3973" fmla="*/ 1557422 w 2601035"/>
              <a:gd name="connsiteY3973" fmla="*/ 191670 h 1729572"/>
              <a:gd name="connsiteX3974" fmla="*/ 1557422 w 2601035"/>
              <a:gd name="connsiteY3974" fmla="*/ 193952 h 1729572"/>
              <a:gd name="connsiteX3975" fmla="*/ 1557422 w 2601035"/>
              <a:gd name="connsiteY3975" fmla="*/ 196233 h 1729572"/>
              <a:gd name="connsiteX3976" fmla="*/ 1559706 w 2601035"/>
              <a:gd name="connsiteY3976" fmla="*/ 196233 h 1729572"/>
              <a:gd name="connsiteX3977" fmla="*/ 1559706 w 2601035"/>
              <a:gd name="connsiteY3977" fmla="*/ 198515 h 1729572"/>
              <a:gd name="connsiteX3978" fmla="*/ 1561989 w 2601035"/>
              <a:gd name="connsiteY3978" fmla="*/ 198515 h 1729572"/>
              <a:gd name="connsiteX3979" fmla="*/ 1564273 w 2601035"/>
              <a:gd name="connsiteY3979" fmla="*/ 198515 h 1729572"/>
              <a:gd name="connsiteX3980" fmla="*/ 1564273 w 2601035"/>
              <a:gd name="connsiteY3980" fmla="*/ 200797 h 1729572"/>
              <a:gd name="connsiteX3981" fmla="*/ 1566556 w 2601035"/>
              <a:gd name="connsiteY3981" fmla="*/ 200797 h 1729572"/>
              <a:gd name="connsiteX3982" fmla="*/ 1566556 w 2601035"/>
              <a:gd name="connsiteY3982" fmla="*/ 198515 h 1729572"/>
              <a:gd name="connsiteX3983" fmla="*/ 1568840 w 2601035"/>
              <a:gd name="connsiteY3983" fmla="*/ 198515 h 1729572"/>
              <a:gd name="connsiteX3984" fmla="*/ 1571124 w 2601035"/>
              <a:gd name="connsiteY3984" fmla="*/ 198515 h 1729572"/>
              <a:gd name="connsiteX3985" fmla="*/ 1571124 w 2601035"/>
              <a:gd name="connsiteY3985" fmla="*/ 200797 h 1729572"/>
              <a:gd name="connsiteX3986" fmla="*/ 1573407 w 2601035"/>
              <a:gd name="connsiteY3986" fmla="*/ 200797 h 1729572"/>
              <a:gd name="connsiteX3987" fmla="*/ 1573407 w 2601035"/>
              <a:gd name="connsiteY3987" fmla="*/ 203079 h 1729572"/>
              <a:gd name="connsiteX3988" fmla="*/ 1575691 w 2601035"/>
              <a:gd name="connsiteY3988" fmla="*/ 203079 h 1729572"/>
              <a:gd name="connsiteX3989" fmla="*/ 1577975 w 2601035"/>
              <a:gd name="connsiteY3989" fmla="*/ 200797 h 1729572"/>
              <a:gd name="connsiteX3990" fmla="*/ 1577975 w 2601035"/>
              <a:gd name="connsiteY3990" fmla="*/ 198515 h 1729572"/>
              <a:gd name="connsiteX3991" fmla="*/ 1575691 w 2601035"/>
              <a:gd name="connsiteY3991" fmla="*/ 198515 h 1729572"/>
              <a:gd name="connsiteX3992" fmla="*/ 1575691 w 2601035"/>
              <a:gd name="connsiteY3992" fmla="*/ 196233 h 1729572"/>
              <a:gd name="connsiteX3993" fmla="*/ 1577975 w 2601035"/>
              <a:gd name="connsiteY3993" fmla="*/ 196233 h 1729572"/>
              <a:gd name="connsiteX3994" fmla="*/ 1577975 w 2601035"/>
              <a:gd name="connsiteY3994" fmla="*/ 193952 h 1729572"/>
              <a:gd name="connsiteX3995" fmla="*/ 1580258 w 2601035"/>
              <a:gd name="connsiteY3995" fmla="*/ 193952 h 1729572"/>
              <a:gd name="connsiteX3996" fmla="*/ 1582542 w 2601035"/>
              <a:gd name="connsiteY3996" fmla="*/ 193952 h 1729572"/>
              <a:gd name="connsiteX3997" fmla="*/ 1584825 w 2601035"/>
              <a:gd name="connsiteY3997" fmla="*/ 193952 h 1729572"/>
              <a:gd name="connsiteX3998" fmla="*/ 1584825 w 2601035"/>
              <a:gd name="connsiteY3998" fmla="*/ 191670 h 1729572"/>
              <a:gd name="connsiteX3999" fmla="*/ 1587109 w 2601035"/>
              <a:gd name="connsiteY3999" fmla="*/ 191670 h 1729572"/>
              <a:gd name="connsiteX4000" fmla="*/ 1587109 w 2601035"/>
              <a:gd name="connsiteY4000" fmla="*/ 189388 h 1729572"/>
              <a:gd name="connsiteX4001" fmla="*/ 1584825 w 2601035"/>
              <a:gd name="connsiteY4001" fmla="*/ 189388 h 1729572"/>
              <a:gd name="connsiteX4002" fmla="*/ 1584825 w 2601035"/>
              <a:gd name="connsiteY4002" fmla="*/ 187106 h 1729572"/>
              <a:gd name="connsiteX4003" fmla="*/ 1582542 w 2601035"/>
              <a:gd name="connsiteY4003" fmla="*/ 187106 h 1729572"/>
              <a:gd name="connsiteX4004" fmla="*/ 1582542 w 2601035"/>
              <a:gd name="connsiteY4004" fmla="*/ 184824 h 1729572"/>
              <a:gd name="connsiteX4005" fmla="*/ 1580258 w 2601035"/>
              <a:gd name="connsiteY4005" fmla="*/ 184824 h 1729572"/>
              <a:gd name="connsiteX4006" fmla="*/ 1577975 w 2601035"/>
              <a:gd name="connsiteY4006" fmla="*/ 184824 h 1729572"/>
              <a:gd name="connsiteX4007" fmla="*/ 1577975 w 2601035"/>
              <a:gd name="connsiteY4007" fmla="*/ 182542 h 1729572"/>
              <a:gd name="connsiteX4008" fmla="*/ 1575691 w 2601035"/>
              <a:gd name="connsiteY4008" fmla="*/ 182542 h 1729572"/>
              <a:gd name="connsiteX4009" fmla="*/ 1575691 w 2601035"/>
              <a:gd name="connsiteY4009" fmla="*/ 180260 h 1729572"/>
              <a:gd name="connsiteX4010" fmla="*/ 1573407 w 2601035"/>
              <a:gd name="connsiteY4010" fmla="*/ 180260 h 1729572"/>
              <a:gd name="connsiteX4011" fmla="*/ 1575691 w 2601035"/>
              <a:gd name="connsiteY4011" fmla="*/ 180260 h 1729572"/>
              <a:gd name="connsiteX4012" fmla="*/ 1573407 w 2601035"/>
              <a:gd name="connsiteY4012" fmla="*/ 180260 h 1729572"/>
              <a:gd name="connsiteX4013" fmla="*/ 1575691 w 2601035"/>
              <a:gd name="connsiteY4013" fmla="*/ 180260 h 1729572"/>
              <a:gd name="connsiteX4014" fmla="*/ 1575691 w 2601035"/>
              <a:gd name="connsiteY4014" fmla="*/ 177978 h 1729572"/>
              <a:gd name="connsiteX4015" fmla="*/ 1575691 w 2601035"/>
              <a:gd name="connsiteY4015" fmla="*/ 175697 h 1729572"/>
              <a:gd name="connsiteX4016" fmla="*/ 1577975 w 2601035"/>
              <a:gd name="connsiteY4016" fmla="*/ 175697 h 1729572"/>
              <a:gd name="connsiteX4017" fmla="*/ 1577975 w 2601035"/>
              <a:gd name="connsiteY4017" fmla="*/ 173414 h 1729572"/>
              <a:gd name="connsiteX4018" fmla="*/ 1580258 w 2601035"/>
              <a:gd name="connsiteY4018" fmla="*/ 173414 h 1729572"/>
              <a:gd name="connsiteX4019" fmla="*/ 1582542 w 2601035"/>
              <a:gd name="connsiteY4019" fmla="*/ 173414 h 1729572"/>
              <a:gd name="connsiteX4020" fmla="*/ 1582542 w 2601035"/>
              <a:gd name="connsiteY4020" fmla="*/ 175697 h 1729572"/>
              <a:gd name="connsiteX4021" fmla="*/ 1584825 w 2601035"/>
              <a:gd name="connsiteY4021" fmla="*/ 175697 h 1729572"/>
              <a:gd name="connsiteX4022" fmla="*/ 1587109 w 2601035"/>
              <a:gd name="connsiteY4022" fmla="*/ 175697 h 1729572"/>
              <a:gd name="connsiteX4023" fmla="*/ 1589393 w 2601035"/>
              <a:gd name="connsiteY4023" fmla="*/ 177978 h 1729572"/>
              <a:gd name="connsiteX4024" fmla="*/ 1591676 w 2601035"/>
              <a:gd name="connsiteY4024" fmla="*/ 177978 h 1729572"/>
              <a:gd name="connsiteX4025" fmla="*/ 1593960 w 2601035"/>
              <a:gd name="connsiteY4025" fmla="*/ 177978 h 1729572"/>
              <a:gd name="connsiteX4026" fmla="*/ 1593960 w 2601035"/>
              <a:gd name="connsiteY4026" fmla="*/ 175697 h 1729572"/>
              <a:gd name="connsiteX4027" fmla="*/ 1596243 w 2601035"/>
              <a:gd name="connsiteY4027" fmla="*/ 175697 h 1729572"/>
              <a:gd name="connsiteX4028" fmla="*/ 1596243 w 2601035"/>
              <a:gd name="connsiteY4028" fmla="*/ 173414 h 1729572"/>
              <a:gd name="connsiteX4029" fmla="*/ 1598527 w 2601035"/>
              <a:gd name="connsiteY4029" fmla="*/ 173414 h 1729572"/>
              <a:gd name="connsiteX4030" fmla="*/ 1600810 w 2601035"/>
              <a:gd name="connsiteY4030" fmla="*/ 173414 h 1729572"/>
              <a:gd name="connsiteX4031" fmla="*/ 1600810 w 2601035"/>
              <a:gd name="connsiteY4031" fmla="*/ 171133 h 1729572"/>
              <a:gd name="connsiteX4032" fmla="*/ 1600810 w 2601035"/>
              <a:gd name="connsiteY4032" fmla="*/ 168851 h 1729572"/>
              <a:gd name="connsiteX4033" fmla="*/ 1598527 w 2601035"/>
              <a:gd name="connsiteY4033" fmla="*/ 168851 h 1729572"/>
              <a:gd name="connsiteX4034" fmla="*/ 1598527 w 2601035"/>
              <a:gd name="connsiteY4034" fmla="*/ 166569 h 1729572"/>
              <a:gd name="connsiteX4035" fmla="*/ 1596243 w 2601035"/>
              <a:gd name="connsiteY4035" fmla="*/ 168851 h 1729572"/>
              <a:gd name="connsiteX4036" fmla="*/ 1593960 w 2601035"/>
              <a:gd name="connsiteY4036" fmla="*/ 168851 h 1729572"/>
              <a:gd name="connsiteX4037" fmla="*/ 1591676 w 2601035"/>
              <a:gd name="connsiteY4037" fmla="*/ 168851 h 1729572"/>
              <a:gd name="connsiteX4038" fmla="*/ 1589393 w 2601035"/>
              <a:gd name="connsiteY4038" fmla="*/ 168851 h 1729572"/>
              <a:gd name="connsiteX4039" fmla="*/ 1587109 w 2601035"/>
              <a:gd name="connsiteY4039" fmla="*/ 168851 h 1729572"/>
              <a:gd name="connsiteX4040" fmla="*/ 1587109 w 2601035"/>
              <a:gd name="connsiteY4040" fmla="*/ 166569 h 1729572"/>
              <a:gd name="connsiteX4041" fmla="*/ 1584825 w 2601035"/>
              <a:gd name="connsiteY4041" fmla="*/ 166569 h 1729572"/>
              <a:gd name="connsiteX4042" fmla="*/ 1584825 w 2601035"/>
              <a:gd name="connsiteY4042" fmla="*/ 164287 h 1729572"/>
              <a:gd name="connsiteX4043" fmla="*/ 1587109 w 2601035"/>
              <a:gd name="connsiteY4043" fmla="*/ 164287 h 1729572"/>
              <a:gd name="connsiteX4044" fmla="*/ 1589393 w 2601035"/>
              <a:gd name="connsiteY4044" fmla="*/ 164287 h 1729572"/>
              <a:gd name="connsiteX4045" fmla="*/ 1589393 w 2601035"/>
              <a:gd name="connsiteY4045" fmla="*/ 162005 h 1729572"/>
              <a:gd name="connsiteX4046" fmla="*/ 1589393 w 2601035"/>
              <a:gd name="connsiteY4046" fmla="*/ 159723 h 1729572"/>
              <a:gd name="connsiteX4047" fmla="*/ 1591676 w 2601035"/>
              <a:gd name="connsiteY4047" fmla="*/ 159723 h 1729572"/>
              <a:gd name="connsiteX4048" fmla="*/ 1591676 w 2601035"/>
              <a:gd name="connsiteY4048" fmla="*/ 157441 h 1729572"/>
              <a:gd name="connsiteX4049" fmla="*/ 1591676 w 2601035"/>
              <a:gd name="connsiteY4049" fmla="*/ 155159 h 1729572"/>
              <a:gd name="connsiteX4050" fmla="*/ 1593960 w 2601035"/>
              <a:gd name="connsiteY4050" fmla="*/ 155159 h 1729572"/>
              <a:gd name="connsiteX4051" fmla="*/ 1593960 w 2601035"/>
              <a:gd name="connsiteY4051" fmla="*/ 157441 h 1729572"/>
              <a:gd name="connsiteX4052" fmla="*/ 1596243 w 2601035"/>
              <a:gd name="connsiteY4052" fmla="*/ 157441 h 1729572"/>
              <a:gd name="connsiteX4053" fmla="*/ 1598527 w 2601035"/>
              <a:gd name="connsiteY4053" fmla="*/ 157441 h 1729572"/>
              <a:gd name="connsiteX4054" fmla="*/ 1600810 w 2601035"/>
              <a:gd name="connsiteY4054" fmla="*/ 157441 h 1729572"/>
              <a:gd name="connsiteX4055" fmla="*/ 1600810 w 2601035"/>
              <a:gd name="connsiteY4055" fmla="*/ 159723 h 1729572"/>
              <a:gd name="connsiteX4056" fmla="*/ 1603094 w 2601035"/>
              <a:gd name="connsiteY4056" fmla="*/ 159723 h 1729572"/>
              <a:gd name="connsiteX4057" fmla="*/ 1605378 w 2601035"/>
              <a:gd name="connsiteY4057" fmla="*/ 159723 h 1729572"/>
              <a:gd name="connsiteX4058" fmla="*/ 1605378 w 2601035"/>
              <a:gd name="connsiteY4058" fmla="*/ 157441 h 1729572"/>
              <a:gd name="connsiteX4059" fmla="*/ 1607661 w 2601035"/>
              <a:gd name="connsiteY4059" fmla="*/ 157441 h 1729572"/>
              <a:gd name="connsiteX4060" fmla="*/ 1609945 w 2601035"/>
              <a:gd name="connsiteY4060" fmla="*/ 155159 h 1729572"/>
              <a:gd name="connsiteX4061" fmla="*/ 1612229 w 2601035"/>
              <a:gd name="connsiteY4061" fmla="*/ 155159 h 1729572"/>
              <a:gd name="connsiteX4062" fmla="*/ 1614512 w 2601035"/>
              <a:gd name="connsiteY4062" fmla="*/ 155159 h 1729572"/>
              <a:gd name="connsiteX4063" fmla="*/ 1614512 w 2601035"/>
              <a:gd name="connsiteY4063" fmla="*/ 152877 h 1729572"/>
              <a:gd name="connsiteX4064" fmla="*/ 1612229 w 2601035"/>
              <a:gd name="connsiteY4064" fmla="*/ 150596 h 1729572"/>
              <a:gd name="connsiteX4065" fmla="*/ 1614512 w 2601035"/>
              <a:gd name="connsiteY4065" fmla="*/ 150596 h 1729572"/>
              <a:gd name="connsiteX4066" fmla="*/ 1614512 w 2601035"/>
              <a:gd name="connsiteY4066" fmla="*/ 148314 h 1729572"/>
              <a:gd name="connsiteX4067" fmla="*/ 1612229 w 2601035"/>
              <a:gd name="connsiteY4067" fmla="*/ 148314 h 1729572"/>
              <a:gd name="connsiteX4068" fmla="*/ 1612229 w 2601035"/>
              <a:gd name="connsiteY4068" fmla="*/ 146032 h 1729572"/>
              <a:gd name="connsiteX4069" fmla="*/ 1609945 w 2601035"/>
              <a:gd name="connsiteY4069" fmla="*/ 146032 h 1729572"/>
              <a:gd name="connsiteX4070" fmla="*/ 1612229 w 2601035"/>
              <a:gd name="connsiteY4070" fmla="*/ 143750 h 1729572"/>
              <a:gd name="connsiteX4071" fmla="*/ 1612229 w 2601035"/>
              <a:gd name="connsiteY4071" fmla="*/ 141468 h 1729572"/>
              <a:gd name="connsiteX4072" fmla="*/ 1609945 w 2601035"/>
              <a:gd name="connsiteY4072" fmla="*/ 141468 h 1729572"/>
              <a:gd name="connsiteX4073" fmla="*/ 1609945 w 2601035"/>
              <a:gd name="connsiteY4073" fmla="*/ 139186 h 1729572"/>
              <a:gd name="connsiteX4074" fmla="*/ 1607661 w 2601035"/>
              <a:gd name="connsiteY4074" fmla="*/ 139186 h 1729572"/>
              <a:gd name="connsiteX4075" fmla="*/ 1605378 w 2601035"/>
              <a:gd name="connsiteY4075" fmla="*/ 141468 h 1729572"/>
              <a:gd name="connsiteX4076" fmla="*/ 1605378 w 2601035"/>
              <a:gd name="connsiteY4076" fmla="*/ 143750 h 1729572"/>
              <a:gd name="connsiteX4077" fmla="*/ 1605378 w 2601035"/>
              <a:gd name="connsiteY4077" fmla="*/ 146032 h 1729572"/>
              <a:gd name="connsiteX4078" fmla="*/ 1603094 w 2601035"/>
              <a:gd name="connsiteY4078" fmla="*/ 146032 h 1729572"/>
              <a:gd name="connsiteX4079" fmla="*/ 1600810 w 2601035"/>
              <a:gd name="connsiteY4079" fmla="*/ 146032 h 1729572"/>
              <a:gd name="connsiteX4080" fmla="*/ 1600810 w 2601035"/>
              <a:gd name="connsiteY4080" fmla="*/ 143750 h 1729572"/>
              <a:gd name="connsiteX4081" fmla="*/ 1600810 w 2601035"/>
              <a:gd name="connsiteY4081" fmla="*/ 141468 h 1729572"/>
              <a:gd name="connsiteX4082" fmla="*/ 1598527 w 2601035"/>
              <a:gd name="connsiteY4082" fmla="*/ 139186 h 1729572"/>
              <a:gd name="connsiteX4083" fmla="*/ 1600810 w 2601035"/>
              <a:gd name="connsiteY4083" fmla="*/ 136904 h 1729572"/>
              <a:gd name="connsiteX4084" fmla="*/ 1600810 w 2601035"/>
              <a:gd name="connsiteY4084" fmla="*/ 134622 h 1729572"/>
              <a:gd name="connsiteX4085" fmla="*/ 1600810 w 2601035"/>
              <a:gd name="connsiteY4085" fmla="*/ 132340 h 1729572"/>
              <a:gd name="connsiteX4086" fmla="*/ 1598527 w 2601035"/>
              <a:gd name="connsiteY4086" fmla="*/ 132340 h 1729572"/>
              <a:gd name="connsiteX4087" fmla="*/ 1598527 w 2601035"/>
              <a:gd name="connsiteY4087" fmla="*/ 130058 h 1729572"/>
              <a:gd name="connsiteX4088" fmla="*/ 1596243 w 2601035"/>
              <a:gd name="connsiteY4088" fmla="*/ 130058 h 1729572"/>
              <a:gd name="connsiteX4089" fmla="*/ 1593960 w 2601035"/>
              <a:gd name="connsiteY4089" fmla="*/ 130058 h 1729572"/>
              <a:gd name="connsiteX4090" fmla="*/ 1593960 w 2601035"/>
              <a:gd name="connsiteY4090" fmla="*/ 127777 h 1729572"/>
              <a:gd name="connsiteX4091" fmla="*/ 1596243 w 2601035"/>
              <a:gd name="connsiteY4091" fmla="*/ 127777 h 1729572"/>
              <a:gd name="connsiteX4092" fmla="*/ 1598527 w 2601035"/>
              <a:gd name="connsiteY4092" fmla="*/ 127777 h 1729572"/>
              <a:gd name="connsiteX4093" fmla="*/ 1598527 w 2601035"/>
              <a:gd name="connsiteY4093" fmla="*/ 125495 h 1729572"/>
              <a:gd name="connsiteX4094" fmla="*/ 1600810 w 2601035"/>
              <a:gd name="connsiteY4094" fmla="*/ 125495 h 1729572"/>
              <a:gd name="connsiteX4095" fmla="*/ 1603094 w 2601035"/>
              <a:gd name="connsiteY4095" fmla="*/ 127777 h 1729572"/>
              <a:gd name="connsiteX4096" fmla="*/ 1605378 w 2601035"/>
              <a:gd name="connsiteY4096" fmla="*/ 127777 h 1729572"/>
              <a:gd name="connsiteX4097" fmla="*/ 1609945 w 2601035"/>
              <a:gd name="connsiteY4097" fmla="*/ 127777 h 1729572"/>
              <a:gd name="connsiteX4098" fmla="*/ 1612229 w 2601035"/>
              <a:gd name="connsiteY4098" fmla="*/ 127777 h 1729572"/>
              <a:gd name="connsiteX4099" fmla="*/ 1612229 w 2601035"/>
              <a:gd name="connsiteY4099" fmla="*/ 130058 h 1729572"/>
              <a:gd name="connsiteX4100" fmla="*/ 1616796 w 2601035"/>
              <a:gd name="connsiteY4100" fmla="*/ 130058 h 1729572"/>
              <a:gd name="connsiteX4101" fmla="*/ 1619079 w 2601035"/>
              <a:gd name="connsiteY4101" fmla="*/ 127777 h 1729572"/>
              <a:gd name="connsiteX4102" fmla="*/ 1621363 w 2601035"/>
              <a:gd name="connsiteY4102" fmla="*/ 125495 h 1729572"/>
              <a:gd name="connsiteX4103" fmla="*/ 1623646 w 2601035"/>
              <a:gd name="connsiteY4103" fmla="*/ 123213 h 1729572"/>
              <a:gd name="connsiteX4104" fmla="*/ 1625930 w 2601035"/>
              <a:gd name="connsiteY4104" fmla="*/ 123213 h 1729572"/>
              <a:gd name="connsiteX4105" fmla="*/ 1628214 w 2601035"/>
              <a:gd name="connsiteY4105" fmla="*/ 123213 h 1729572"/>
              <a:gd name="connsiteX4106" fmla="*/ 1630497 w 2601035"/>
              <a:gd name="connsiteY4106" fmla="*/ 123213 h 1729572"/>
              <a:gd name="connsiteX4107" fmla="*/ 1632781 w 2601035"/>
              <a:gd name="connsiteY4107" fmla="*/ 120931 h 1729572"/>
              <a:gd name="connsiteX4108" fmla="*/ 1635064 w 2601035"/>
              <a:gd name="connsiteY4108" fmla="*/ 120931 h 1729572"/>
              <a:gd name="connsiteX4109" fmla="*/ 1637348 w 2601035"/>
              <a:gd name="connsiteY4109" fmla="*/ 120931 h 1729572"/>
              <a:gd name="connsiteX4110" fmla="*/ 1639632 w 2601035"/>
              <a:gd name="connsiteY4110" fmla="*/ 120931 h 1729572"/>
              <a:gd name="connsiteX4111" fmla="*/ 1641915 w 2601035"/>
              <a:gd name="connsiteY4111" fmla="*/ 123213 h 1729572"/>
              <a:gd name="connsiteX4112" fmla="*/ 1641915 w 2601035"/>
              <a:gd name="connsiteY4112" fmla="*/ 125495 h 1729572"/>
              <a:gd name="connsiteX4113" fmla="*/ 1641915 w 2601035"/>
              <a:gd name="connsiteY4113" fmla="*/ 130058 h 1729572"/>
              <a:gd name="connsiteX4114" fmla="*/ 1641915 w 2601035"/>
              <a:gd name="connsiteY4114" fmla="*/ 132340 h 1729572"/>
              <a:gd name="connsiteX4115" fmla="*/ 1644199 w 2601035"/>
              <a:gd name="connsiteY4115" fmla="*/ 134622 h 1729572"/>
              <a:gd name="connsiteX4116" fmla="*/ 1646483 w 2601035"/>
              <a:gd name="connsiteY4116" fmla="*/ 139186 h 1729572"/>
              <a:gd name="connsiteX4117" fmla="*/ 1648766 w 2601035"/>
              <a:gd name="connsiteY4117" fmla="*/ 141468 h 1729572"/>
              <a:gd name="connsiteX4118" fmla="*/ 1648766 w 2601035"/>
              <a:gd name="connsiteY4118" fmla="*/ 143750 h 1729572"/>
              <a:gd name="connsiteX4119" fmla="*/ 1651050 w 2601035"/>
              <a:gd name="connsiteY4119" fmla="*/ 146032 h 1729572"/>
              <a:gd name="connsiteX4120" fmla="*/ 1653333 w 2601035"/>
              <a:gd name="connsiteY4120" fmla="*/ 148314 h 1729572"/>
              <a:gd name="connsiteX4121" fmla="*/ 1662468 w 2601035"/>
              <a:gd name="connsiteY4121" fmla="*/ 148314 h 1729572"/>
              <a:gd name="connsiteX4122" fmla="*/ 1664751 w 2601035"/>
              <a:gd name="connsiteY4122" fmla="*/ 148314 h 1729572"/>
              <a:gd name="connsiteX4123" fmla="*/ 1667035 w 2601035"/>
              <a:gd name="connsiteY4123" fmla="*/ 148314 h 1729572"/>
              <a:gd name="connsiteX4124" fmla="*/ 1667035 w 2601035"/>
              <a:gd name="connsiteY4124" fmla="*/ 150596 h 1729572"/>
              <a:gd name="connsiteX4125" fmla="*/ 1669319 w 2601035"/>
              <a:gd name="connsiteY4125" fmla="*/ 150596 h 1729572"/>
              <a:gd name="connsiteX4126" fmla="*/ 1671602 w 2601035"/>
              <a:gd name="connsiteY4126" fmla="*/ 155159 h 1729572"/>
              <a:gd name="connsiteX4127" fmla="*/ 1673886 w 2601035"/>
              <a:gd name="connsiteY4127" fmla="*/ 157441 h 1729572"/>
              <a:gd name="connsiteX4128" fmla="*/ 1673886 w 2601035"/>
              <a:gd name="connsiteY4128" fmla="*/ 159723 h 1729572"/>
              <a:gd name="connsiteX4129" fmla="*/ 1673886 w 2601035"/>
              <a:gd name="connsiteY4129" fmla="*/ 162005 h 1729572"/>
              <a:gd name="connsiteX4130" fmla="*/ 1676169 w 2601035"/>
              <a:gd name="connsiteY4130" fmla="*/ 166569 h 1729572"/>
              <a:gd name="connsiteX4131" fmla="*/ 1676169 w 2601035"/>
              <a:gd name="connsiteY4131" fmla="*/ 168851 h 1729572"/>
              <a:gd name="connsiteX4132" fmla="*/ 1678453 w 2601035"/>
              <a:gd name="connsiteY4132" fmla="*/ 173414 h 1729572"/>
              <a:gd name="connsiteX4133" fmla="*/ 1678453 w 2601035"/>
              <a:gd name="connsiteY4133" fmla="*/ 175697 h 1729572"/>
              <a:gd name="connsiteX4134" fmla="*/ 1680736 w 2601035"/>
              <a:gd name="connsiteY4134" fmla="*/ 175697 h 1729572"/>
              <a:gd name="connsiteX4135" fmla="*/ 1685304 w 2601035"/>
              <a:gd name="connsiteY4135" fmla="*/ 175697 h 1729572"/>
              <a:gd name="connsiteX4136" fmla="*/ 1687587 w 2601035"/>
              <a:gd name="connsiteY4136" fmla="*/ 177978 h 1729572"/>
              <a:gd name="connsiteX4137" fmla="*/ 1689871 w 2601035"/>
              <a:gd name="connsiteY4137" fmla="*/ 180260 h 1729572"/>
              <a:gd name="connsiteX4138" fmla="*/ 1692154 w 2601035"/>
              <a:gd name="connsiteY4138" fmla="*/ 184824 h 1729572"/>
              <a:gd name="connsiteX4139" fmla="*/ 1689871 w 2601035"/>
              <a:gd name="connsiteY4139" fmla="*/ 189388 h 1729572"/>
              <a:gd name="connsiteX4140" fmla="*/ 1689871 w 2601035"/>
              <a:gd name="connsiteY4140" fmla="*/ 191670 h 1729572"/>
              <a:gd name="connsiteX4141" fmla="*/ 1692154 w 2601035"/>
              <a:gd name="connsiteY4141" fmla="*/ 191670 h 1729572"/>
              <a:gd name="connsiteX4142" fmla="*/ 1692154 w 2601035"/>
              <a:gd name="connsiteY4142" fmla="*/ 193952 h 1729572"/>
              <a:gd name="connsiteX4143" fmla="*/ 1694438 w 2601035"/>
              <a:gd name="connsiteY4143" fmla="*/ 196233 h 1729572"/>
              <a:gd name="connsiteX4144" fmla="*/ 1701289 w 2601035"/>
              <a:gd name="connsiteY4144" fmla="*/ 198515 h 1729572"/>
              <a:gd name="connsiteX4145" fmla="*/ 1708140 w 2601035"/>
              <a:gd name="connsiteY4145" fmla="*/ 203079 h 1729572"/>
              <a:gd name="connsiteX4146" fmla="*/ 1708140 w 2601035"/>
              <a:gd name="connsiteY4146" fmla="*/ 205361 h 1729572"/>
              <a:gd name="connsiteX4147" fmla="*/ 1715000 w 2601035"/>
              <a:gd name="connsiteY4147" fmla="*/ 207643 h 1729572"/>
              <a:gd name="connsiteX4148" fmla="*/ 1719567 w 2601035"/>
              <a:gd name="connsiteY4148" fmla="*/ 212207 h 1729572"/>
              <a:gd name="connsiteX4149" fmla="*/ 1719567 w 2601035"/>
              <a:gd name="connsiteY4149" fmla="*/ 216770 h 1729572"/>
              <a:gd name="connsiteX4150" fmla="*/ 1721851 w 2601035"/>
              <a:gd name="connsiteY4150" fmla="*/ 219053 h 1729572"/>
              <a:gd name="connsiteX4151" fmla="*/ 1721851 w 2601035"/>
              <a:gd name="connsiteY4151" fmla="*/ 221334 h 1729572"/>
              <a:gd name="connsiteX4152" fmla="*/ 1726408 w 2601035"/>
              <a:gd name="connsiteY4152" fmla="*/ 223616 h 1729572"/>
              <a:gd name="connsiteX4153" fmla="*/ 1728701 w 2601035"/>
              <a:gd name="connsiteY4153" fmla="*/ 225898 h 1729572"/>
              <a:gd name="connsiteX4154" fmla="*/ 1728701 w 2601035"/>
              <a:gd name="connsiteY4154" fmla="*/ 228180 h 1729572"/>
              <a:gd name="connsiteX4155" fmla="*/ 1730985 w 2601035"/>
              <a:gd name="connsiteY4155" fmla="*/ 230462 h 1729572"/>
              <a:gd name="connsiteX4156" fmla="*/ 1733259 w 2601035"/>
              <a:gd name="connsiteY4156" fmla="*/ 235026 h 1729572"/>
              <a:gd name="connsiteX4157" fmla="*/ 1737836 w 2601035"/>
              <a:gd name="connsiteY4157" fmla="*/ 237308 h 1729572"/>
              <a:gd name="connsiteX4158" fmla="*/ 1742394 w 2601035"/>
              <a:gd name="connsiteY4158" fmla="*/ 239590 h 1729572"/>
              <a:gd name="connsiteX4159" fmla="*/ 1744687 w 2601035"/>
              <a:gd name="connsiteY4159" fmla="*/ 239590 h 1729572"/>
              <a:gd name="connsiteX4160" fmla="*/ 1749254 w 2601035"/>
              <a:gd name="connsiteY4160" fmla="*/ 241871 h 1729572"/>
              <a:gd name="connsiteX4161" fmla="*/ 1753821 w 2601035"/>
              <a:gd name="connsiteY4161" fmla="*/ 241871 h 1729572"/>
              <a:gd name="connsiteX4162" fmla="*/ 1758388 w 2601035"/>
              <a:gd name="connsiteY4162" fmla="*/ 241871 h 1729572"/>
              <a:gd name="connsiteX4163" fmla="*/ 1765239 w 2601035"/>
              <a:gd name="connsiteY4163" fmla="*/ 244153 h 1729572"/>
              <a:gd name="connsiteX4164" fmla="*/ 1778941 w 2601035"/>
              <a:gd name="connsiteY4164" fmla="*/ 244153 h 1729572"/>
              <a:gd name="connsiteX4165" fmla="*/ 1781224 w 2601035"/>
              <a:gd name="connsiteY4165" fmla="*/ 244153 h 1729572"/>
              <a:gd name="connsiteX4166" fmla="*/ 1783508 w 2601035"/>
              <a:gd name="connsiteY4166" fmla="*/ 241871 h 1729572"/>
              <a:gd name="connsiteX4167" fmla="*/ 1788075 w 2601035"/>
              <a:gd name="connsiteY4167" fmla="*/ 239590 h 1729572"/>
              <a:gd name="connsiteX4168" fmla="*/ 1792642 w 2601035"/>
              <a:gd name="connsiteY4168" fmla="*/ 241871 h 1729572"/>
              <a:gd name="connsiteX4169" fmla="*/ 1794926 w 2601035"/>
              <a:gd name="connsiteY4169" fmla="*/ 244153 h 1729572"/>
              <a:gd name="connsiteX4170" fmla="*/ 1794926 w 2601035"/>
              <a:gd name="connsiteY4170" fmla="*/ 246435 h 1729572"/>
              <a:gd name="connsiteX4171" fmla="*/ 1797209 w 2601035"/>
              <a:gd name="connsiteY4171" fmla="*/ 253281 h 1729572"/>
              <a:gd name="connsiteX4172" fmla="*/ 1797209 w 2601035"/>
              <a:gd name="connsiteY4172" fmla="*/ 255563 h 1729572"/>
              <a:gd name="connsiteX4173" fmla="*/ 1799493 w 2601035"/>
              <a:gd name="connsiteY4173" fmla="*/ 257845 h 1729572"/>
              <a:gd name="connsiteX4174" fmla="*/ 1801777 w 2601035"/>
              <a:gd name="connsiteY4174" fmla="*/ 257845 h 1729572"/>
              <a:gd name="connsiteX4175" fmla="*/ 1804060 w 2601035"/>
              <a:gd name="connsiteY4175" fmla="*/ 257845 h 1729572"/>
              <a:gd name="connsiteX4176" fmla="*/ 1806344 w 2601035"/>
              <a:gd name="connsiteY4176" fmla="*/ 257845 h 1729572"/>
              <a:gd name="connsiteX4177" fmla="*/ 1806344 w 2601035"/>
              <a:gd name="connsiteY4177" fmla="*/ 260126 h 1729572"/>
              <a:gd name="connsiteX4178" fmla="*/ 1810911 w 2601035"/>
              <a:gd name="connsiteY4178" fmla="*/ 260126 h 1729572"/>
              <a:gd name="connsiteX4179" fmla="*/ 1815478 w 2601035"/>
              <a:gd name="connsiteY4179" fmla="*/ 262409 h 1729572"/>
              <a:gd name="connsiteX4180" fmla="*/ 1820045 w 2601035"/>
              <a:gd name="connsiteY4180" fmla="*/ 262409 h 1729572"/>
              <a:gd name="connsiteX4181" fmla="*/ 1824612 w 2601035"/>
              <a:gd name="connsiteY4181" fmla="*/ 262409 h 1729572"/>
              <a:gd name="connsiteX4182" fmla="*/ 1826896 w 2601035"/>
              <a:gd name="connsiteY4182" fmla="*/ 264690 h 1729572"/>
              <a:gd name="connsiteX4183" fmla="*/ 1829180 w 2601035"/>
              <a:gd name="connsiteY4183" fmla="*/ 262409 h 1729572"/>
              <a:gd name="connsiteX4184" fmla="*/ 1831463 w 2601035"/>
              <a:gd name="connsiteY4184" fmla="*/ 262409 h 1729572"/>
              <a:gd name="connsiteX4185" fmla="*/ 1838314 w 2601035"/>
              <a:gd name="connsiteY4185" fmla="*/ 264690 h 1729572"/>
              <a:gd name="connsiteX4186" fmla="*/ 1840598 w 2601035"/>
              <a:gd name="connsiteY4186" fmla="*/ 264690 h 1729572"/>
              <a:gd name="connsiteX4187" fmla="*/ 1842881 w 2601035"/>
              <a:gd name="connsiteY4187" fmla="*/ 264690 h 1729572"/>
              <a:gd name="connsiteX4188" fmla="*/ 1845165 w 2601035"/>
              <a:gd name="connsiteY4188" fmla="*/ 264690 h 1729572"/>
              <a:gd name="connsiteX4189" fmla="*/ 1849732 w 2601035"/>
              <a:gd name="connsiteY4189" fmla="*/ 262409 h 1729572"/>
              <a:gd name="connsiteX4190" fmla="*/ 1854299 w 2601035"/>
              <a:gd name="connsiteY4190" fmla="*/ 260126 h 1729572"/>
              <a:gd name="connsiteX4191" fmla="*/ 1856583 w 2601035"/>
              <a:gd name="connsiteY4191" fmla="*/ 260126 h 1729572"/>
              <a:gd name="connsiteX4192" fmla="*/ 1858866 w 2601035"/>
              <a:gd name="connsiteY4192" fmla="*/ 262409 h 1729572"/>
              <a:gd name="connsiteX4193" fmla="*/ 1861150 w 2601035"/>
              <a:gd name="connsiteY4193" fmla="*/ 262409 h 1729572"/>
              <a:gd name="connsiteX4194" fmla="*/ 1863434 w 2601035"/>
              <a:gd name="connsiteY4194" fmla="*/ 266972 h 1729572"/>
              <a:gd name="connsiteX4195" fmla="*/ 1865717 w 2601035"/>
              <a:gd name="connsiteY4195" fmla="*/ 269254 h 1729572"/>
              <a:gd name="connsiteX4196" fmla="*/ 1868001 w 2601035"/>
              <a:gd name="connsiteY4196" fmla="*/ 269254 h 1729572"/>
              <a:gd name="connsiteX4197" fmla="*/ 1868001 w 2601035"/>
              <a:gd name="connsiteY4197" fmla="*/ 266972 h 1729572"/>
              <a:gd name="connsiteX4198" fmla="*/ 1865717 w 2601035"/>
              <a:gd name="connsiteY4198" fmla="*/ 260126 h 1729572"/>
              <a:gd name="connsiteX4199" fmla="*/ 1865717 w 2601035"/>
              <a:gd name="connsiteY4199" fmla="*/ 257845 h 1729572"/>
              <a:gd name="connsiteX4200" fmla="*/ 1865717 w 2601035"/>
              <a:gd name="connsiteY4200" fmla="*/ 255563 h 1729572"/>
              <a:gd name="connsiteX4201" fmla="*/ 1865717 w 2601035"/>
              <a:gd name="connsiteY4201" fmla="*/ 250999 h 1729572"/>
              <a:gd name="connsiteX4202" fmla="*/ 1865717 w 2601035"/>
              <a:gd name="connsiteY4202" fmla="*/ 248717 h 1729572"/>
              <a:gd name="connsiteX4203" fmla="*/ 1865717 w 2601035"/>
              <a:gd name="connsiteY4203" fmla="*/ 246435 h 1729572"/>
              <a:gd name="connsiteX4204" fmla="*/ 1865717 w 2601035"/>
              <a:gd name="connsiteY4204" fmla="*/ 241871 h 1729572"/>
              <a:gd name="connsiteX4205" fmla="*/ 1865717 w 2601035"/>
              <a:gd name="connsiteY4205" fmla="*/ 239590 h 1729572"/>
              <a:gd name="connsiteX4206" fmla="*/ 1870285 w 2601035"/>
              <a:gd name="connsiteY4206" fmla="*/ 235026 h 1729572"/>
              <a:gd name="connsiteX4207" fmla="*/ 1874852 w 2601035"/>
              <a:gd name="connsiteY4207" fmla="*/ 232744 h 1729572"/>
              <a:gd name="connsiteX4208" fmla="*/ 1877135 w 2601035"/>
              <a:gd name="connsiteY4208" fmla="*/ 232744 h 1729572"/>
              <a:gd name="connsiteX4209" fmla="*/ 1879419 w 2601035"/>
              <a:gd name="connsiteY4209" fmla="*/ 230462 h 1729572"/>
              <a:gd name="connsiteX4210" fmla="*/ 1881702 w 2601035"/>
              <a:gd name="connsiteY4210" fmla="*/ 228180 h 1729572"/>
              <a:gd name="connsiteX4211" fmla="*/ 1881702 w 2601035"/>
              <a:gd name="connsiteY4211" fmla="*/ 225898 h 1729572"/>
              <a:gd name="connsiteX4212" fmla="*/ 1883986 w 2601035"/>
              <a:gd name="connsiteY4212" fmla="*/ 225898 h 1729572"/>
              <a:gd name="connsiteX4213" fmla="*/ 1883986 w 2601035"/>
              <a:gd name="connsiteY4213" fmla="*/ 223616 h 1729572"/>
              <a:gd name="connsiteX4214" fmla="*/ 1883986 w 2601035"/>
              <a:gd name="connsiteY4214" fmla="*/ 221334 h 1729572"/>
              <a:gd name="connsiteX4215" fmla="*/ 1883986 w 2601035"/>
              <a:gd name="connsiteY4215" fmla="*/ 219053 h 1729572"/>
              <a:gd name="connsiteX4216" fmla="*/ 1886270 w 2601035"/>
              <a:gd name="connsiteY4216" fmla="*/ 212207 h 1729572"/>
              <a:gd name="connsiteX4217" fmla="*/ 1886270 w 2601035"/>
              <a:gd name="connsiteY4217" fmla="*/ 207643 h 1729572"/>
              <a:gd name="connsiteX4218" fmla="*/ 1886270 w 2601035"/>
              <a:gd name="connsiteY4218" fmla="*/ 205361 h 1729572"/>
              <a:gd name="connsiteX4219" fmla="*/ 1886270 w 2601035"/>
              <a:gd name="connsiteY4219" fmla="*/ 203079 h 1729572"/>
              <a:gd name="connsiteX4220" fmla="*/ 1888553 w 2601035"/>
              <a:gd name="connsiteY4220" fmla="*/ 203079 h 1729572"/>
              <a:gd name="connsiteX4221" fmla="*/ 1888553 w 2601035"/>
              <a:gd name="connsiteY4221" fmla="*/ 200797 h 1729572"/>
              <a:gd name="connsiteX4222" fmla="*/ 1890837 w 2601035"/>
              <a:gd name="connsiteY4222" fmla="*/ 200797 h 1729572"/>
              <a:gd name="connsiteX4223" fmla="*/ 1890837 w 2601035"/>
              <a:gd name="connsiteY4223" fmla="*/ 198515 h 1729572"/>
              <a:gd name="connsiteX4224" fmla="*/ 1890837 w 2601035"/>
              <a:gd name="connsiteY4224" fmla="*/ 196233 h 1729572"/>
              <a:gd name="connsiteX4225" fmla="*/ 1890837 w 2601035"/>
              <a:gd name="connsiteY4225" fmla="*/ 193952 h 1729572"/>
              <a:gd name="connsiteX4226" fmla="*/ 1883986 w 2601035"/>
              <a:gd name="connsiteY4226" fmla="*/ 187106 h 1729572"/>
              <a:gd name="connsiteX4227" fmla="*/ 1881702 w 2601035"/>
              <a:gd name="connsiteY4227" fmla="*/ 187106 h 1729572"/>
              <a:gd name="connsiteX4228" fmla="*/ 1881702 w 2601035"/>
              <a:gd name="connsiteY4228" fmla="*/ 184824 h 1729572"/>
              <a:gd name="connsiteX4229" fmla="*/ 1881702 w 2601035"/>
              <a:gd name="connsiteY4229" fmla="*/ 182542 h 1729572"/>
              <a:gd name="connsiteX4230" fmla="*/ 1881702 w 2601035"/>
              <a:gd name="connsiteY4230" fmla="*/ 180260 h 1729572"/>
              <a:gd name="connsiteX4231" fmla="*/ 1888553 w 2601035"/>
              <a:gd name="connsiteY4231" fmla="*/ 177978 h 1729572"/>
              <a:gd name="connsiteX4232" fmla="*/ 1890837 w 2601035"/>
              <a:gd name="connsiteY4232" fmla="*/ 175697 h 1729572"/>
              <a:gd name="connsiteX4233" fmla="*/ 1893120 w 2601035"/>
              <a:gd name="connsiteY4233" fmla="*/ 173414 h 1729572"/>
              <a:gd name="connsiteX4234" fmla="*/ 1897688 w 2601035"/>
              <a:gd name="connsiteY4234" fmla="*/ 171133 h 1729572"/>
              <a:gd name="connsiteX4235" fmla="*/ 1904538 w 2601035"/>
              <a:gd name="connsiteY4235" fmla="*/ 168851 h 1729572"/>
              <a:gd name="connsiteX4236" fmla="*/ 1906822 w 2601035"/>
              <a:gd name="connsiteY4236" fmla="*/ 166569 h 1729572"/>
              <a:gd name="connsiteX4237" fmla="*/ 1909106 w 2601035"/>
              <a:gd name="connsiteY4237" fmla="*/ 166569 h 1729572"/>
              <a:gd name="connsiteX4238" fmla="*/ 1911389 w 2601035"/>
              <a:gd name="connsiteY4238" fmla="*/ 164287 h 1729572"/>
              <a:gd name="connsiteX4239" fmla="*/ 1918240 w 2601035"/>
              <a:gd name="connsiteY4239" fmla="*/ 157441 h 1729572"/>
              <a:gd name="connsiteX4240" fmla="*/ 1920524 w 2601035"/>
              <a:gd name="connsiteY4240" fmla="*/ 155159 h 1729572"/>
              <a:gd name="connsiteX4241" fmla="*/ 1922807 w 2601035"/>
              <a:gd name="connsiteY4241" fmla="*/ 152877 h 1729572"/>
              <a:gd name="connsiteX4242" fmla="*/ 1925091 w 2601035"/>
              <a:gd name="connsiteY4242" fmla="*/ 148314 h 1729572"/>
              <a:gd name="connsiteX4243" fmla="*/ 1925091 w 2601035"/>
              <a:gd name="connsiteY4243" fmla="*/ 143750 h 1729572"/>
              <a:gd name="connsiteX4244" fmla="*/ 1925091 w 2601035"/>
              <a:gd name="connsiteY4244" fmla="*/ 141468 h 1729572"/>
              <a:gd name="connsiteX4245" fmla="*/ 1925091 w 2601035"/>
              <a:gd name="connsiteY4245" fmla="*/ 139186 h 1729572"/>
              <a:gd name="connsiteX4246" fmla="*/ 1922807 w 2601035"/>
              <a:gd name="connsiteY4246" fmla="*/ 139186 h 1729572"/>
              <a:gd name="connsiteX4247" fmla="*/ 1920524 w 2601035"/>
              <a:gd name="connsiteY4247" fmla="*/ 134622 h 1729572"/>
              <a:gd name="connsiteX4248" fmla="*/ 1920524 w 2601035"/>
              <a:gd name="connsiteY4248" fmla="*/ 132340 h 1729572"/>
              <a:gd name="connsiteX4249" fmla="*/ 1920524 w 2601035"/>
              <a:gd name="connsiteY4249" fmla="*/ 127777 h 1729572"/>
              <a:gd name="connsiteX4250" fmla="*/ 1915956 w 2601035"/>
              <a:gd name="connsiteY4250" fmla="*/ 125495 h 1729572"/>
              <a:gd name="connsiteX4251" fmla="*/ 1913673 w 2601035"/>
              <a:gd name="connsiteY4251" fmla="*/ 123213 h 1729572"/>
              <a:gd name="connsiteX4252" fmla="*/ 1906822 w 2601035"/>
              <a:gd name="connsiteY4252" fmla="*/ 118658 h 1729572"/>
              <a:gd name="connsiteX4253" fmla="*/ 1904538 w 2601035"/>
              <a:gd name="connsiteY4253" fmla="*/ 116377 h 1729572"/>
              <a:gd name="connsiteX4254" fmla="*/ 1904538 w 2601035"/>
              <a:gd name="connsiteY4254" fmla="*/ 114095 h 1729572"/>
              <a:gd name="connsiteX4255" fmla="*/ 1906822 w 2601035"/>
              <a:gd name="connsiteY4255" fmla="*/ 114095 h 1729572"/>
              <a:gd name="connsiteX4256" fmla="*/ 1909106 w 2601035"/>
              <a:gd name="connsiteY4256" fmla="*/ 109531 h 1729572"/>
              <a:gd name="connsiteX4257" fmla="*/ 1913673 w 2601035"/>
              <a:gd name="connsiteY4257" fmla="*/ 102685 h 1729572"/>
              <a:gd name="connsiteX4258" fmla="*/ 1915956 w 2601035"/>
              <a:gd name="connsiteY4258" fmla="*/ 102685 h 1729572"/>
              <a:gd name="connsiteX4259" fmla="*/ 1918240 w 2601035"/>
              <a:gd name="connsiteY4259" fmla="*/ 102685 h 1729572"/>
              <a:gd name="connsiteX4260" fmla="*/ 1920524 w 2601035"/>
              <a:gd name="connsiteY4260" fmla="*/ 102685 h 1729572"/>
              <a:gd name="connsiteX4261" fmla="*/ 1920524 w 2601035"/>
              <a:gd name="connsiteY4261" fmla="*/ 100403 h 1729572"/>
              <a:gd name="connsiteX4262" fmla="*/ 1922807 w 2601035"/>
              <a:gd name="connsiteY4262" fmla="*/ 100403 h 1729572"/>
              <a:gd name="connsiteX4263" fmla="*/ 1929658 w 2601035"/>
              <a:gd name="connsiteY4263" fmla="*/ 100403 h 1729572"/>
              <a:gd name="connsiteX4264" fmla="*/ 1936509 w 2601035"/>
              <a:gd name="connsiteY4264" fmla="*/ 100403 h 1729572"/>
              <a:gd name="connsiteX4265" fmla="*/ 1938792 w 2601035"/>
              <a:gd name="connsiteY4265" fmla="*/ 100403 h 1729572"/>
              <a:gd name="connsiteX4266" fmla="*/ 1941076 w 2601035"/>
              <a:gd name="connsiteY4266" fmla="*/ 98121 h 1729572"/>
              <a:gd name="connsiteX4267" fmla="*/ 1943360 w 2601035"/>
              <a:gd name="connsiteY4267" fmla="*/ 93558 h 1729572"/>
              <a:gd name="connsiteX4268" fmla="*/ 1943360 w 2601035"/>
              <a:gd name="connsiteY4268" fmla="*/ 91276 h 1729572"/>
              <a:gd name="connsiteX4269" fmla="*/ 1945643 w 2601035"/>
              <a:gd name="connsiteY4269" fmla="*/ 91276 h 1729572"/>
              <a:gd name="connsiteX4270" fmla="*/ 1947927 w 2601035"/>
              <a:gd name="connsiteY4270" fmla="*/ 88994 h 1729572"/>
              <a:gd name="connsiteX4271" fmla="*/ 1950210 w 2601035"/>
              <a:gd name="connsiteY4271" fmla="*/ 86712 h 1729572"/>
              <a:gd name="connsiteX4272" fmla="*/ 1952494 w 2601035"/>
              <a:gd name="connsiteY4272" fmla="*/ 84430 h 1729572"/>
              <a:gd name="connsiteX4273" fmla="*/ 1952494 w 2601035"/>
              <a:gd name="connsiteY4273" fmla="*/ 82148 h 1729572"/>
              <a:gd name="connsiteX4274" fmla="*/ 1957061 w 2601035"/>
              <a:gd name="connsiteY4274" fmla="*/ 79866 h 1729572"/>
              <a:gd name="connsiteX4275" fmla="*/ 1959345 w 2601035"/>
              <a:gd name="connsiteY4275" fmla="*/ 68457 h 1729572"/>
              <a:gd name="connsiteX4276" fmla="*/ 1959345 w 2601035"/>
              <a:gd name="connsiteY4276" fmla="*/ 66175 h 1729572"/>
              <a:gd name="connsiteX4277" fmla="*/ 1959345 w 2601035"/>
              <a:gd name="connsiteY4277" fmla="*/ 63893 h 1729572"/>
              <a:gd name="connsiteX4278" fmla="*/ 1961628 w 2601035"/>
              <a:gd name="connsiteY4278" fmla="*/ 61611 h 1729572"/>
              <a:gd name="connsiteX4279" fmla="*/ 1963912 w 2601035"/>
              <a:gd name="connsiteY4279" fmla="*/ 59329 h 1729572"/>
              <a:gd name="connsiteX4280" fmla="*/ 1966195 w 2601035"/>
              <a:gd name="connsiteY4280" fmla="*/ 59329 h 1729572"/>
              <a:gd name="connsiteX4281" fmla="*/ 1968479 w 2601035"/>
              <a:gd name="connsiteY4281" fmla="*/ 57047 h 1729572"/>
              <a:gd name="connsiteX4282" fmla="*/ 1970763 w 2601035"/>
              <a:gd name="connsiteY4282" fmla="*/ 54765 h 1729572"/>
              <a:gd name="connsiteX4283" fmla="*/ 1973046 w 2601035"/>
              <a:gd name="connsiteY4283" fmla="*/ 54765 h 1729572"/>
              <a:gd name="connsiteX4284" fmla="*/ 1975330 w 2601035"/>
              <a:gd name="connsiteY4284" fmla="*/ 54765 h 1729572"/>
              <a:gd name="connsiteX4285" fmla="*/ 1982181 w 2601035"/>
              <a:gd name="connsiteY4285" fmla="*/ 57047 h 1729572"/>
              <a:gd name="connsiteX4286" fmla="*/ 1991315 w 2601035"/>
              <a:gd name="connsiteY4286" fmla="*/ 59329 h 1729572"/>
              <a:gd name="connsiteX4287" fmla="*/ 1995882 w 2601035"/>
              <a:gd name="connsiteY4287" fmla="*/ 59329 h 1729572"/>
              <a:gd name="connsiteX4288" fmla="*/ 1998166 w 2601035"/>
              <a:gd name="connsiteY4288" fmla="*/ 59329 h 1729572"/>
              <a:gd name="connsiteX4289" fmla="*/ 2000449 w 2601035"/>
              <a:gd name="connsiteY4289" fmla="*/ 59329 h 1729572"/>
              <a:gd name="connsiteX4290" fmla="*/ 2002733 w 2601035"/>
              <a:gd name="connsiteY4290" fmla="*/ 57047 h 1729572"/>
              <a:gd name="connsiteX4291" fmla="*/ 2007300 w 2601035"/>
              <a:gd name="connsiteY4291" fmla="*/ 57047 h 1729572"/>
              <a:gd name="connsiteX4292" fmla="*/ 2009584 w 2601035"/>
              <a:gd name="connsiteY4292" fmla="*/ 57047 h 1729572"/>
              <a:gd name="connsiteX4293" fmla="*/ 2011868 w 2601035"/>
              <a:gd name="connsiteY4293" fmla="*/ 57047 h 1729572"/>
              <a:gd name="connsiteX4294" fmla="*/ 2014151 w 2601035"/>
              <a:gd name="connsiteY4294" fmla="*/ 54765 h 1729572"/>
              <a:gd name="connsiteX4295" fmla="*/ 2016435 w 2601035"/>
              <a:gd name="connsiteY4295" fmla="*/ 54765 h 1729572"/>
              <a:gd name="connsiteX4296" fmla="*/ 2016435 w 2601035"/>
              <a:gd name="connsiteY4296" fmla="*/ 52484 h 1729572"/>
              <a:gd name="connsiteX4297" fmla="*/ 2023285 w 2601035"/>
              <a:gd name="connsiteY4297" fmla="*/ 47920 h 1729572"/>
              <a:gd name="connsiteX4298" fmla="*/ 2023285 w 2601035"/>
              <a:gd name="connsiteY4298" fmla="*/ 45638 h 1729572"/>
              <a:gd name="connsiteX4299" fmla="*/ 2025569 w 2601035"/>
              <a:gd name="connsiteY4299" fmla="*/ 45638 h 1729572"/>
              <a:gd name="connsiteX4300" fmla="*/ 2030136 w 2601035"/>
              <a:gd name="connsiteY4300" fmla="*/ 45638 h 1729572"/>
              <a:gd name="connsiteX4301" fmla="*/ 2032420 w 2601035"/>
              <a:gd name="connsiteY4301" fmla="*/ 45638 h 1729572"/>
              <a:gd name="connsiteX4302" fmla="*/ 2034703 w 2601035"/>
              <a:gd name="connsiteY4302" fmla="*/ 47920 h 1729572"/>
              <a:gd name="connsiteX4303" fmla="*/ 2036987 w 2601035"/>
              <a:gd name="connsiteY4303" fmla="*/ 47920 h 1729572"/>
              <a:gd name="connsiteX4304" fmla="*/ 2041554 w 2601035"/>
              <a:gd name="connsiteY4304" fmla="*/ 50202 h 1729572"/>
              <a:gd name="connsiteX4305" fmla="*/ 2046121 w 2601035"/>
              <a:gd name="connsiteY4305" fmla="*/ 52484 h 1729572"/>
              <a:gd name="connsiteX4306" fmla="*/ 2048405 w 2601035"/>
              <a:gd name="connsiteY4306" fmla="*/ 52484 h 1729572"/>
              <a:gd name="connsiteX4307" fmla="*/ 2050689 w 2601035"/>
              <a:gd name="connsiteY4307" fmla="*/ 52484 h 1729572"/>
              <a:gd name="connsiteX4308" fmla="*/ 2055256 w 2601035"/>
              <a:gd name="connsiteY4308" fmla="*/ 52484 h 1729572"/>
              <a:gd name="connsiteX4309" fmla="*/ 2059823 w 2601035"/>
              <a:gd name="connsiteY4309" fmla="*/ 52484 h 1729572"/>
              <a:gd name="connsiteX4310" fmla="*/ 2064390 w 2601035"/>
              <a:gd name="connsiteY4310" fmla="*/ 54765 h 1729572"/>
              <a:gd name="connsiteX4311" fmla="*/ 2066674 w 2601035"/>
              <a:gd name="connsiteY4311" fmla="*/ 54765 h 1729572"/>
              <a:gd name="connsiteX4312" fmla="*/ 2068957 w 2601035"/>
              <a:gd name="connsiteY4312" fmla="*/ 54765 h 1729572"/>
              <a:gd name="connsiteX4313" fmla="*/ 2071241 w 2601035"/>
              <a:gd name="connsiteY4313" fmla="*/ 54765 h 1729572"/>
              <a:gd name="connsiteX4314" fmla="*/ 2073524 w 2601035"/>
              <a:gd name="connsiteY4314" fmla="*/ 52484 h 1729572"/>
              <a:gd name="connsiteX4315" fmla="*/ 2075808 w 2601035"/>
              <a:gd name="connsiteY4315" fmla="*/ 52484 h 1729572"/>
              <a:gd name="connsiteX4316" fmla="*/ 2080375 w 2601035"/>
              <a:gd name="connsiteY4316" fmla="*/ 50202 h 1729572"/>
              <a:gd name="connsiteX4317" fmla="*/ 2082659 w 2601035"/>
              <a:gd name="connsiteY4317" fmla="*/ 47920 h 1729572"/>
              <a:gd name="connsiteX4318" fmla="*/ 2084943 w 2601035"/>
              <a:gd name="connsiteY4318" fmla="*/ 47920 h 1729572"/>
              <a:gd name="connsiteX4319" fmla="*/ 2087226 w 2601035"/>
              <a:gd name="connsiteY4319" fmla="*/ 47920 h 1729572"/>
              <a:gd name="connsiteX4320" fmla="*/ 2089510 w 2601035"/>
              <a:gd name="connsiteY4320" fmla="*/ 45638 h 1729572"/>
              <a:gd name="connsiteX4321" fmla="*/ 2091793 w 2601035"/>
              <a:gd name="connsiteY4321" fmla="*/ 45638 h 1729572"/>
              <a:gd name="connsiteX4322" fmla="*/ 2091793 w 2601035"/>
              <a:gd name="connsiteY4322" fmla="*/ 43356 h 1729572"/>
              <a:gd name="connsiteX4323" fmla="*/ 2094077 w 2601035"/>
              <a:gd name="connsiteY4323" fmla="*/ 43356 h 1729572"/>
              <a:gd name="connsiteX4324" fmla="*/ 2098644 w 2601035"/>
              <a:gd name="connsiteY4324" fmla="*/ 41074 h 1729572"/>
              <a:gd name="connsiteX4325" fmla="*/ 2100928 w 2601035"/>
              <a:gd name="connsiteY4325" fmla="*/ 43356 h 1729572"/>
              <a:gd name="connsiteX4326" fmla="*/ 2105495 w 2601035"/>
              <a:gd name="connsiteY4326" fmla="*/ 43356 h 1729572"/>
              <a:gd name="connsiteX4327" fmla="*/ 2107778 w 2601035"/>
              <a:gd name="connsiteY4327" fmla="*/ 43356 h 1729572"/>
              <a:gd name="connsiteX4328" fmla="*/ 2112346 w 2601035"/>
              <a:gd name="connsiteY4328" fmla="*/ 43356 h 1729572"/>
              <a:gd name="connsiteX4329" fmla="*/ 2114629 w 2601035"/>
              <a:gd name="connsiteY4329" fmla="*/ 41074 h 1729572"/>
              <a:gd name="connsiteX4330" fmla="*/ 2116913 w 2601035"/>
              <a:gd name="connsiteY4330" fmla="*/ 38792 h 1729572"/>
              <a:gd name="connsiteX4331" fmla="*/ 2123764 w 2601035"/>
              <a:gd name="connsiteY4331" fmla="*/ 38792 h 1729572"/>
              <a:gd name="connsiteX4332" fmla="*/ 2123764 w 2601035"/>
              <a:gd name="connsiteY4332" fmla="*/ 36510 h 1729572"/>
              <a:gd name="connsiteX4333" fmla="*/ 2128331 w 2601035"/>
              <a:gd name="connsiteY4333" fmla="*/ 36510 h 1729572"/>
              <a:gd name="connsiteX4334" fmla="*/ 2130614 w 2601035"/>
              <a:gd name="connsiteY4334" fmla="*/ 36510 h 1729572"/>
              <a:gd name="connsiteX4335" fmla="*/ 2137465 w 2601035"/>
              <a:gd name="connsiteY4335" fmla="*/ 34228 h 1729572"/>
              <a:gd name="connsiteX4336" fmla="*/ 2137465 w 2601035"/>
              <a:gd name="connsiteY4336" fmla="*/ 31946 h 1729572"/>
              <a:gd name="connsiteX4337" fmla="*/ 2142032 w 2601035"/>
              <a:gd name="connsiteY4337" fmla="*/ 29665 h 1729572"/>
              <a:gd name="connsiteX4338" fmla="*/ 2144316 w 2601035"/>
              <a:gd name="connsiteY4338" fmla="*/ 27383 h 1729572"/>
              <a:gd name="connsiteX4339" fmla="*/ 2151167 w 2601035"/>
              <a:gd name="connsiteY4339" fmla="*/ 25101 h 1729572"/>
              <a:gd name="connsiteX4340" fmla="*/ 2153450 w 2601035"/>
              <a:gd name="connsiteY4340" fmla="*/ 22819 h 1729572"/>
              <a:gd name="connsiteX4341" fmla="*/ 2155734 w 2601035"/>
              <a:gd name="connsiteY4341" fmla="*/ 22819 h 1729572"/>
              <a:gd name="connsiteX4342" fmla="*/ 2158018 w 2601035"/>
              <a:gd name="connsiteY4342" fmla="*/ 20537 h 1729572"/>
              <a:gd name="connsiteX4343" fmla="*/ 2160301 w 2601035"/>
              <a:gd name="connsiteY4343" fmla="*/ 20537 h 1729572"/>
              <a:gd name="connsiteX4344" fmla="*/ 2162585 w 2601035"/>
              <a:gd name="connsiteY4344" fmla="*/ 18255 h 1729572"/>
              <a:gd name="connsiteX4345" fmla="*/ 2167152 w 2601035"/>
              <a:gd name="connsiteY4345" fmla="*/ 13691 h 1729572"/>
              <a:gd name="connsiteX4346" fmla="*/ 2169436 w 2601035"/>
              <a:gd name="connsiteY4346" fmla="*/ 13691 h 1729572"/>
              <a:gd name="connsiteX4347" fmla="*/ 2178570 w 2601035"/>
              <a:gd name="connsiteY4347" fmla="*/ 9128 h 1729572"/>
              <a:gd name="connsiteX4348" fmla="*/ 2183137 w 2601035"/>
              <a:gd name="connsiteY4348" fmla="*/ 6846 h 1729572"/>
              <a:gd name="connsiteX4349" fmla="*/ 2183137 w 2601035"/>
              <a:gd name="connsiteY4349" fmla="*/ 4564 h 1729572"/>
              <a:gd name="connsiteX4350" fmla="*/ 2185421 w 2601035"/>
              <a:gd name="connsiteY4350" fmla="*/ 4564 h 1729572"/>
              <a:gd name="connsiteX4351" fmla="*/ 2189988 w 2601035"/>
              <a:gd name="connsiteY4351" fmla="*/ 2282 h 1729572"/>
              <a:gd name="connsiteX4352" fmla="*/ 2192272 w 2601035"/>
              <a:gd name="connsiteY4352" fmla="*/ 0 h 1729572"/>
              <a:gd name="connsiteX4353" fmla="*/ 2194555 w 2601035"/>
              <a:gd name="connsiteY4353" fmla="*/ 2282 h 1729572"/>
              <a:gd name="connsiteX4354" fmla="*/ 2196839 w 2601035"/>
              <a:gd name="connsiteY4354" fmla="*/ 2282 h 1729572"/>
              <a:gd name="connsiteX4355" fmla="*/ 2199122 w 2601035"/>
              <a:gd name="connsiteY4355" fmla="*/ 2282 h 1729572"/>
              <a:gd name="connsiteX4356" fmla="*/ 2199122 w 2601035"/>
              <a:gd name="connsiteY4356" fmla="*/ 4564 h 1729572"/>
              <a:gd name="connsiteX4357" fmla="*/ 2201406 w 2601035"/>
              <a:gd name="connsiteY4357" fmla="*/ 4564 h 1729572"/>
              <a:gd name="connsiteX4358" fmla="*/ 2201406 w 2601035"/>
              <a:gd name="connsiteY4358" fmla="*/ 6846 h 1729572"/>
              <a:gd name="connsiteX4359" fmla="*/ 2203689 w 2601035"/>
              <a:gd name="connsiteY4359" fmla="*/ 6846 h 1729572"/>
              <a:gd name="connsiteX4360" fmla="*/ 2203689 w 2601035"/>
              <a:gd name="connsiteY4360" fmla="*/ 9128 h 1729572"/>
              <a:gd name="connsiteX4361" fmla="*/ 2205973 w 2601035"/>
              <a:gd name="connsiteY4361" fmla="*/ 11409 h 1729572"/>
              <a:gd name="connsiteX4362" fmla="*/ 2208257 w 2601035"/>
              <a:gd name="connsiteY4362" fmla="*/ 13691 h 1729572"/>
              <a:gd name="connsiteX4363" fmla="*/ 2208257 w 2601035"/>
              <a:gd name="connsiteY4363" fmla="*/ 15973 h 1729572"/>
              <a:gd name="connsiteX4364" fmla="*/ 2208257 w 2601035"/>
              <a:gd name="connsiteY4364" fmla="*/ 18255 h 1729572"/>
              <a:gd name="connsiteX4365" fmla="*/ 2210540 w 2601035"/>
              <a:gd name="connsiteY4365" fmla="*/ 18255 h 1729572"/>
              <a:gd name="connsiteX4366" fmla="*/ 2212824 w 2601035"/>
              <a:gd name="connsiteY4366" fmla="*/ 20537 h 1729572"/>
              <a:gd name="connsiteX4367" fmla="*/ 2215108 w 2601035"/>
              <a:gd name="connsiteY4367" fmla="*/ 20537 h 1729572"/>
              <a:gd name="connsiteX4368" fmla="*/ 2215108 w 2601035"/>
              <a:gd name="connsiteY4368" fmla="*/ 22819 h 1729572"/>
              <a:gd name="connsiteX4369" fmla="*/ 2217391 w 2601035"/>
              <a:gd name="connsiteY4369" fmla="*/ 22819 h 1729572"/>
              <a:gd name="connsiteX4370" fmla="*/ 2217391 w 2601035"/>
              <a:gd name="connsiteY4370" fmla="*/ 25101 h 1729572"/>
              <a:gd name="connsiteX4371" fmla="*/ 2219675 w 2601035"/>
              <a:gd name="connsiteY4371" fmla="*/ 25101 h 1729572"/>
              <a:gd name="connsiteX4372" fmla="*/ 2219675 w 2601035"/>
              <a:gd name="connsiteY4372" fmla="*/ 27383 h 1729572"/>
              <a:gd name="connsiteX4373" fmla="*/ 2221958 w 2601035"/>
              <a:gd name="connsiteY4373" fmla="*/ 29665 h 1729572"/>
              <a:gd name="connsiteX4374" fmla="*/ 2221958 w 2601035"/>
              <a:gd name="connsiteY4374" fmla="*/ 31946 h 1729572"/>
              <a:gd name="connsiteX4375" fmla="*/ 2224242 w 2601035"/>
              <a:gd name="connsiteY4375" fmla="*/ 34228 h 1729572"/>
              <a:gd name="connsiteX4376" fmla="*/ 2224242 w 2601035"/>
              <a:gd name="connsiteY4376" fmla="*/ 36510 h 1729572"/>
              <a:gd name="connsiteX4377" fmla="*/ 2224242 w 2601035"/>
              <a:gd name="connsiteY4377" fmla="*/ 38792 h 1729572"/>
              <a:gd name="connsiteX4378" fmla="*/ 2224242 w 2601035"/>
              <a:gd name="connsiteY4378" fmla="*/ 38792 h 1729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</a:cxnLst>
            <a:rect l="l" t="t" r="r" b="b"/>
            <a:pathLst>
              <a:path w="2601035" h="1729572">
                <a:moveTo>
                  <a:pt x="1226301" y="1569849"/>
                </a:moveTo>
                <a:lnTo>
                  <a:pt x="1226301" y="1572131"/>
                </a:lnTo>
                <a:lnTo>
                  <a:pt x="1226301" y="1569849"/>
                </a:lnTo>
                <a:lnTo>
                  <a:pt x="1226301" y="1572131"/>
                </a:lnTo>
                <a:lnTo>
                  <a:pt x="1224017" y="1572131"/>
                </a:lnTo>
                <a:lnTo>
                  <a:pt x="1224017" y="1569849"/>
                </a:lnTo>
                <a:lnTo>
                  <a:pt x="1226301" y="1569849"/>
                </a:lnTo>
                <a:lnTo>
                  <a:pt x="1226301" y="1569849"/>
                </a:lnTo>
                <a:close/>
                <a:moveTo>
                  <a:pt x="1025344" y="1558440"/>
                </a:moveTo>
                <a:lnTo>
                  <a:pt x="1025344" y="1556158"/>
                </a:lnTo>
                <a:lnTo>
                  <a:pt x="1025344" y="1558440"/>
                </a:lnTo>
                <a:lnTo>
                  <a:pt x="1025344" y="1558440"/>
                </a:lnTo>
                <a:close/>
                <a:moveTo>
                  <a:pt x="1048180" y="1553876"/>
                </a:moveTo>
                <a:lnTo>
                  <a:pt x="1048180" y="1556158"/>
                </a:lnTo>
                <a:lnTo>
                  <a:pt x="1045897" y="1556158"/>
                </a:lnTo>
                <a:lnTo>
                  <a:pt x="1048180" y="1556158"/>
                </a:lnTo>
                <a:lnTo>
                  <a:pt x="1048180" y="1553876"/>
                </a:lnTo>
                <a:lnTo>
                  <a:pt x="1045897" y="1553876"/>
                </a:lnTo>
                <a:lnTo>
                  <a:pt x="1048180" y="1553876"/>
                </a:lnTo>
                <a:lnTo>
                  <a:pt x="1045897" y="1553876"/>
                </a:lnTo>
                <a:lnTo>
                  <a:pt x="1048180" y="1553876"/>
                </a:lnTo>
                <a:lnTo>
                  <a:pt x="1048180" y="1553876"/>
                </a:lnTo>
                <a:close/>
                <a:moveTo>
                  <a:pt x="2598751" y="454069"/>
                </a:moveTo>
                <a:lnTo>
                  <a:pt x="2598751" y="451787"/>
                </a:lnTo>
                <a:lnTo>
                  <a:pt x="2598751" y="454069"/>
                </a:lnTo>
                <a:lnTo>
                  <a:pt x="2598751" y="454069"/>
                </a:lnTo>
                <a:close/>
                <a:moveTo>
                  <a:pt x="2224242" y="38792"/>
                </a:moveTo>
                <a:lnTo>
                  <a:pt x="2226526" y="38792"/>
                </a:lnTo>
                <a:lnTo>
                  <a:pt x="2226526" y="41074"/>
                </a:lnTo>
                <a:lnTo>
                  <a:pt x="2228809" y="41074"/>
                </a:lnTo>
                <a:lnTo>
                  <a:pt x="2226526" y="41074"/>
                </a:lnTo>
                <a:lnTo>
                  <a:pt x="2226526" y="43356"/>
                </a:lnTo>
                <a:lnTo>
                  <a:pt x="2226526" y="41074"/>
                </a:lnTo>
                <a:lnTo>
                  <a:pt x="2224242" y="41074"/>
                </a:lnTo>
                <a:lnTo>
                  <a:pt x="2224242" y="43356"/>
                </a:lnTo>
                <a:lnTo>
                  <a:pt x="2226526" y="43356"/>
                </a:lnTo>
                <a:lnTo>
                  <a:pt x="2226526" y="45638"/>
                </a:lnTo>
                <a:lnTo>
                  <a:pt x="2224242" y="45638"/>
                </a:lnTo>
                <a:lnTo>
                  <a:pt x="2226526" y="45638"/>
                </a:lnTo>
                <a:lnTo>
                  <a:pt x="2226526" y="47920"/>
                </a:lnTo>
                <a:lnTo>
                  <a:pt x="2226526" y="50202"/>
                </a:lnTo>
                <a:lnTo>
                  <a:pt x="2226526" y="52484"/>
                </a:lnTo>
                <a:lnTo>
                  <a:pt x="2226526" y="54765"/>
                </a:lnTo>
                <a:lnTo>
                  <a:pt x="2226526" y="57047"/>
                </a:lnTo>
                <a:lnTo>
                  <a:pt x="2226526" y="59329"/>
                </a:lnTo>
                <a:lnTo>
                  <a:pt x="2226526" y="57047"/>
                </a:lnTo>
                <a:lnTo>
                  <a:pt x="2226526" y="59329"/>
                </a:lnTo>
                <a:lnTo>
                  <a:pt x="2226526" y="61611"/>
                </a:lnTo>
                <a:lnTo>
                  <a:pt x="2224242" y="61611"/>
                </a:lnTo>
                <a:lnTo>
                  <a:pt x="2224242" y="63893"/>
                </a:lnTo>
                <a:lnTo>
                  <a:pt x="2226526" y="63893"/>
                </a:lnTo>
                <a:lnTo>
                  <a:pt x="2226526" y="66175"/>
                </a:lnTo>
                <a:lnTo>
                  <a:pt x="2224242" y="66175"/>
                </a:lnTo>
                <a:lnTo>
                  <a:pt x="2224242" y="68457"/>
                </a:lnTo>
                <a:lnTo>
                  <a:pt x="2221958" y="68457"/>
                </a:lnTo>
                <a:lnTo>
                  <a:pt x="2221958" y="70739"/>
                </a:lnTo>
                <a:lnTo>
                  <a:pt x="2221958" y="73021"/>
                </a:lnTo>
                <a:lnTo>
                  <a:pt x="2221958" y="70739"/>
                </a:lnTo>
                <a:lnTo>
                  <a:pt x="2219675" y="70739"/>
                </a:lnTo>
                <a:lnTo>
                  <a:pt x="2219675" y="73021"/>
                </a:lnTo>
                <a:lnTo>
                  <a:pt x="2221958" y="73021"/>
                </a:lnTo>
                <a:lnTo>
                  <a:pt x="2221958" y="75302"/>
                </a:lnTo>
                <a:lnTo>
                  <a:pt x="2224242" y="75302"/>
                </a:lnTo>
                <a:lnTo>
                  <a:pt x="2224242" y="77584"/>
                </a:lnTo>
                <a:lnTo>
                  <a:pt x="2226526" y="77584"/>
                </a:lnTo>
                <a:lnTo>
                  <a:pt x="2226526" y="79866"/>
                </a:lnTo>
                <a:lnTo>
                  <a:pt x="2224242" y="79866"/>
                </a:lnTo>
                <a:lnTo>
                  <a:pt x="2224242" y="82148"/>
                </a:lnTo>
                <a:lnTo>
                  <a:pt x="2224242" y="84430"/>
                </a:lnTo>
                <a:lnTo>
                  <a:pt x="2224242" y="86712"/>
                </a:lnTo>
                <a:lnTo>
                  <a:pt x="2224242" y="84430"/>
                </a:lnTo>
                <a:lnTo>
                  <a:pt x="2226526" y="84430"/>
                </a:lnTo>
                <a:lnTo>
                  <a:pt x="2226526" y="86712"/>
                </a:lnTo>
                <a:lnTo>
                  <a:pt x="2228809" y="86712"/>
                </a:lnTo>
                <a:lnTo>
                  <a:pt x="2231093" y="86712"/>
                </a:lnTo>
                <a:lnTo>
                  <a:pt x="2231093" y="88994"/>
                </a:lnTo>
                <a:lnTo>
                  <a:pt x="2228809" y="88994"/>
                </a:lnTo>
                <a:lnTo>
                  <a:pt x="2226526" y="88994"/>
                </a:lnTo>
                <a:lnTo>
                  <a:pt x="2226526" y="91276"/>
                </a:lnTo>
                <a:lnTo>
                  <a:pt x="2228809" y="91276"/>
                </a:lnTo>
                <a:lnTo>
                  <a:pt x="2228809" y="93558"/>
                </a:lnTo>
                <a:lnTo>
                  <a:pt x="2231093" y="93558"/>
                </a:lnTo>
                <a:lnTo>
                  <a:pt x="2231093" y="95840"/>
                </a:lnTo>
                <a:lnTo>
                  <a:pt x="2228809" y="95840"/>
                </a:lnTo>
                <a:lnTo>
                  <a:pt x="2228809" y="98121"/>
                </a:lnTo>
                <a:lnTo>
                  <a:pt x="2228809" y="100403"/>
                </a:lnTo>
                <a:lnTo>
                  <a:pt x="2228809" y="102685"/>
                </a:lnTo>
                <a:lnTo>
                  <a:pt x="2231093" y="102685"/>
                </a:lnTo>
                <a:lnTo>
                  <a:pt x="2231093" y="104967"/>
                </a:lnTo>
                <a:lnTo>
                  <a:pt x="2231093" y="107249"/>
                </a:lnTo>
                <a:lnTo>
                  <a:pt x="2233376" y="107249"/>
                </a:lnTo>
                <a:lnTo>
                  <a:pt x="2235660" y="107249"/>
                </a:lnTo>
                <a:lnTo>
                  <a:pt x="2235660" y="104967"/>
                </a:lnTo>
                <a:lnTo>
                  <a:pt x="2237943" y="104967"/>
                </a:lnTo>
                <a:lnTo>
                  <a:pt x="2237943" y="107249"/>
                </a:lnTo>
                <a:lnTo>
                  <a:pt x="2237943" y="109531"/>
                </a:lnTo>
                <a:lnTo>
                  <a:pt x="2240227" y="109531"/>
                </a:lnTo>
                <a:lnTo>
                  <a:pt x="2237943" y="107249"/>
                </a:lnTo>
                <a:lnTo>
                  <a:pt x="2240227" y="107249"/>
                </a:lnTo>
                <a:lnTo>
                  <a:pt x="2242511" y="107249"/>
                </a:lnTo>
                <a:lnTo>
                  <a:pt x="2240227" y="109531"/>
                </a:lnTo>
                <a:lnTo>
                  <a:pt x="2237943" y="109531"/>
                </a:lnTo>
                <a:lnTo>
                  <a:pt x="2240227" y="109531"/>
                </a:lnTo>
                <a:lnTo>
                  <a:pt x="2240227" y="111813"/>
                </a:lnTo>
                <a:lnTo>
                  <a:pt x="2242511" y="111813"/>
                </a:lnTo>
                <a:lnTo>
                  <a:pt x="2240227" y="111813"/>
                </a:lnTo>
                <a:lnTo>
                  <a:pt x="2240227" y="114085"/>
                </a:lnTo>
                <a:lnTo>
                  <a:pt x="2240227" y="111813"/>
                </a:lnTo>
                <a:lnTo>
                  <a:pt x="2240227" y="114085"/>
                </a:lnTo>
                <a:lnTo>
                  <a:pt x="2237943" y="114085"/>
                </a:lnTo>
                <a:lnTo>
                  <a:pt x="2240227" y="114085"/>
                </a:lnTo>
                <a:lnTo>
                  <a:pt x="2242511" y="114085"/>
                </a:lnTo>
                <a:lnTo>
                  <a:pt x="2242511" y="116367"/>
                </a:lnTo>
                <a:lnTo>
                  <a:pt x="2244794" y="116367"/>
                </a:lnTo>
                <a:lnTo>
                  <a:pt x="2244794" y="114085"/>
                </a:lnTo>
                <a:lnTo>
                  <a:pt x="2244794" y="116367"/>
                </a:lnTo>
                <a:lnTo>
                  <a:pt x="2247078" y="116367"/>
                </a:lnTo>
                <a:lnTo>
                  <a:pt x="2247078" y="118649"/>
                </a:lnTo>
                <a:lnTo>
                  <a:pt x="2249362" y="118649"/>
                </a:lnTo>
                <a:lnTo>
                  <a:pt x="2251645" y="118649"/>
                </a:lnTo>
                <a:lnTo>
                  <a:pt x="2253929" y="118649"/>
                </a:lnTo>
                <a:lnTo>
                  <a:pt x="2253929" y="120931"/>
                </a:lnTo>
                <a:lnTo>
                  <a:pt x="2256212" y="120931"/>
                </a:lnTo>
                <a:lnTo>
                  <a:pt x="2258496" y="120931"/>
                </a:lnTo>
                <a:lnTo>
                  <a:pt x="2260779" y="120931"/>
                </a:lnTo>
                <a:lnTo>
                  <a:pt x="2263063" y="120931"/>
                </a:lnTo>
                <a:lnTo>
                  <a:pt x="2263063" y="123213"/>
                </a:lnTo>
                <a:lnTo>
                  <a:pt x="2265347" y="123213"/>
                </a:lnTo>
                <a:lnTo>
                  <a:pt x="2265347" y="125495"/>
                </a:lnTo>
                <a:lnTo>
                  <a:pt x="2267630" y="125495"/>
                </a:lnTo>
                <a:lnTo>
                  <a:pt x="2269914" y="125495"/>
                </a:lnTo>
                <a:lnTo>
                  <a:pt x="2272197" y="125495"/>
                </a:lnTo>
                <a:lnTo>
                  <a:pt x="2274481" y="125495"/>
                </a:lnTo>
                <a:lnTo>
                  <a:pt x="2272197" y="125495"/>
                </a:lnTo>
                <a:lnTo>
                  <a:pt x="2272197" y="123213"/>
                </a:lnTo>
                <a:lnTo>
                  <a:pt x="2272197" y="120931"/>
                </a:lnTo>
                <a:lnTo>
                  <a:pt x="2269914" y="120931"/>
                </a:lnTo>
                <a:lnTo>
                  <a:pt x="2269914" y="118649"/>
                </a:lnTo>
                <a:lnTo>
                  <a:pt x="2269914" y="116367"/>
                </a:lnTo>
                <a:lnTo>
                  <a:pt x="2267630" y="116367"/>
                </a:lnTo>
                <a:lnTo>
                  <a:pt x="2267630" y="114085"/>
                </a:lnTo>
                <a:lnTo>
                  <a:pt x="2267630" y="111813"/>
                </a:lnTo>
                <a:lnTo>
                  <a:pt x="2265347" y="111813"/>
                </a:lnTo>
                <a:lnTo>
                  <a:pt x="2265347" y="109531"/>
                </a:lnTo>
                <a:lnTo>
                  <a:pt x="2267630" y="109531"/>
                </a:lnTo>
                <a:lnTo>
                  <a:pt x="2269914" y="111813"/>
                </a:lnTo>
                <a:lnTo>
                  <a:pt x="2272197" y="111813"/>
                </a:lnTo>
                <a:lnTo>
                  <a:pt x="2274481" y="114085"/>
                </a:lnTo>
                <a:lnTo>
                  <a:pt x="2276765" y="114085"/>
                </a:lnTo>
                <a:lnTo>
                  <a:pt x="2276765" y="116367"/>
                </a:lnTo>
                <a:lnTo>
                  <a:pt x="2279048" y="116367"/>
                </a:lnTo>
                <a:lnTo>
                  <a:pt x="2279048" y="118649"/>
                </a:lnTo>
                <a:lnTo>
                  <a:pt x="2281332" y="118649"/>
                </a:lnTo>
                <a:lnTo>
                  <a:pt x="2281332" y="120931"/>
                </a:lnTo>
                <a:lnTo>
                  <a:pt x="2283616" y="123213"/>
                </a:lnTo>
                <a:lnTo>
                  <a:pt x="2283616" y="125495"/>
                </a:lnTo>
                <a:lnTo>
                  <a:pt x="2285899" y="125495"/>
                </a:lnTo>
                <a:lnTo>
                  <a:pt x="2285899" y="127777"/>
                </a:lnTo>
                <a:lnTo>
                  <a:pt x="2288183" y="127777"/>
                </a:lnTo>
                <a:lnTo>
                  <a:pt x="2288183" y="130058"/>
                </a:lnTo>
                <a:lnTo>
                  <a:pt x="2290466" y="130058"/>
                </a:lnTo>
                <a:lnTo>
                  <a:pt x="2290466" y="132340"/>
                </a:lnTo>
                <a:lnTo>
                  <a:pt x="2290466" y="134622"/>
                </a:lnTo>
                <a:lnTo>
                  <a:pt x="2290466" y="136904"/>
                </a:lnTo>
                <a:lnTo>
                  <a:pt x="2288183" y="139186"/>
                </a:lnTo>
                <a:lnTo>
                  <a:pt x="2288183" y="141468"/>
                </a:lnTo>
                <a:lnTo>
                  <a:pt x="2285899" y="141468"/>
                </a:lnTo>
                <a:lnTo>
                  <a:pt x="2285899" y="143750"/>
                </a:lnTo>
                <a:lnTo>
                  <a:pt x="2288183" y="143750"/>
                </a:lnTo>
                <a:lnTo>
                  <a:pt x="2288183" y="146032"/>
                </a:lnTo>
                <a:lnTo>
                  <a:pt x="2290466" y="146032"/>
                </a:lnTo>
                <a:lnTo>
                  <a:pt x="2290466" y="148314"/>
                </a:lnTo>
                <a:lnTo>
                  <a:pt x="2290466" y="150596"/>
                </a:lnTo>
                <a:lnTo>
                  <a:pt x="2290466" y="152877"/>
                </a:lnTo>
                <a:lnTo>
                  <a:pt x="2290466" y="155159"/>
                </a:lnTo>
                <a:lnTo>
                  <a:pt x="2290466" y="157441"/>
                </a:lnTo>
                <a:lnTo>
                  <a:pt x="2288183" y="157441"/>
                </a:lnTo>
                <a:lnTo>
                  <a:pt x="2285899" y="157441"/>
                </a:lnTo>
                <a:lnTo>
                  <a:pt x="2285899" y="155159"/>
                </a:lnTo>
                <a:lnTo>
                  <a:pt x="2283616" y="155159"/>
                </a:lnTo>
                <a:lnTo>
                  <a:pt x="2281332" y="155159"/>
                </a:lnTo>
                <a:lnTo>
                  <a:pt x="2281332" y="157441"/>
                </a:lnTo>
                <a:lnTo>
                  <a:pt x="2281332" y="159723"/>
                </a:lnTo>
                <a:lnTo>
                  <a:pt x="2283616" y="162005"/>
                </a:lnTo>
                <a:lnTo>
                  <a:pt x="2283616" y="164287"/>
                </a:lnTo>
                <a:lnTo>
                  <a:pt x="2281332" y="164287"/>
                </a:lnTo>
                <a:lnTo>
                  <a:pt x="2279048" y="164287"/>
                </a:lnTo>
                <a:lnTo>
                  <a:pt x="2276765" y="164287"/>
                </a:lnTo>
                <a:lnTo>
                  <a:pt x="2274481" y="164287"/>
                </a:lnTo>
                <a:lnTo>
                  <a:pt x="2272197" y="164287"/>
                </a:lnTo>
                <a:lnTo>
                  <a:pt x="2272197" y="166569"/>
                </a:lnTo>
                <a:lnTo>
                  <a:pt x="2269914" y="166569"/>
                </a:lnTo>
                <a:lnTo>
                  <a:pt x="2267630" y="166569"/>
                </a:lnTo>
                <a:lnTo>
                  <a:pt x="2265347" y="166569"/>
                </a:lnTo>
                <a:lnTo>
                  <a:pt x="2265347" y="168851"/>
                </a:lnTo>
                <a:lnTo>
                  <a:pt x="2263063" y="168851"/>
                </a:lnTo>
                <a:lnTo>
                  <a:pt x="2263063" y="171133"/>
                </a:lnTo>
                <a:lnTo>
                  <a:pt x="2263063" y="173414"/>
                </a:lnTo>
                <a:lnTo>
                  <a:pt x="2263063" y="175697"/>
                </a:lnTo>
                <a:lnTo>
                  <a:pt x="2260779" y="175697"/>
                </a:lnTo>
                <a:lnTo>
                  <a:pt x="2260779" y="173414"/>
                </a:lnTo>
                <a:lnTo>
                  <a:pt x="2258496" y="173414"/>
                </a:lnTo>
                <a:lnTo>
                  <a:pt x="2258496" y="175697"/>
                </a:lnTo>
                <a:lnTo>
                  <a:pt x="2256212" y="175697"/>
                </a:lnTo>
                <a:lnTo>
                  <a:pt x="2253929" y="175697"/>
                </a:lnTo>
                <a:lnTo>
                  <a:pt x="2253929" y="177978"/>
                </a:lnTo>
                <a:lnTo>
                  <a:pt x="2251645" y="177978"/>
                </a:lnTo>
                <a:lnTo>
                  <a:pt x="2251645" y="180260"/>
                </a:lnTo>
                <a:lnTo>
                  <a:pt x="2251645" y="182542"/>
                </a:lnTo>
                <a:lnTo>
                  <a:pt x="2251645" y="184824"/>
                </a:lnTo>
                <a:lnTo>
                  <a:pt x="2251645" y="187106"/>
                </a:lnTo>
                <a:lnTo>
                  <a:pt x="2251645" y="189388"/>
                </a:lnTo>
                <a:lnTo>
                  <a:pt x="2251645" y="191670"/>
                </a:lnTo>
                <a:lnTo>
                  <a:pt x="2251645" y="193952"/>
                </a:lnTo>
                <a:lnTo>
                  <a:pt x="2249362" y="193952"/>
                </a:lnTo>
                <a:lnTo>
                  <a:pt x="2249362" y="196233"/>
                </a:lnTo>
                <a:lnTo>
                  <a:pt x="2249362" y="198515"/>
                </a:lnTo>
                <a:lnTo>
                  <a:pt x="2247078" y="200797"/>
                </a:lnTo>
                <a:lnTo>
                  <a:pt x="2247078" y="203079"/>
                </a:lnTo>
                <a:lnTo>
                  <a:pt x="2247078" y="205361"/>
                </a:lnTo>
                <a:lnTo>
                  <a:pt x="2247078" y="207643"/>
                </a:lnTo>
                <a:lnTo>
                  <a:pt x="2244794" y="209925"/>
                </a:lnTo>
                <a:lnTo>
                  <a:pt x="2244794" y="212207"/>
                </a:lnTo>
                <a:lnTo>
                  <a:pt x="2242511" y="212207"/>
                </a:lnTo>
                <a:lnTo>
                  <a:pt x="2240227" y="209925"/>
                </a:lnTo>
                <a:lnTo>
                  <a:pt x="2237943" y="209925"/>
                </a:lnTo>
                <a:lnTo>
                  <a:pt x="2235660" y="209925"/>
                </a:lnTo>
                <a:lnTo>
                  <a:pt x="2233376" y="209925"/>
                </a:lnTo>
                <a:lnTo>
                  <a:pt x="2233376" y="212207"/>
                </a:lnTo>
                <a:lnTo>
                  <a:pt x="2233376" y="214489"/>
                </a:lnTo>
                <a:lnTo>
                  <a:pt x="2233376" y="216770"/>
                </a:lnTo>
                <a:lnTo>
                  <a:pt x="2231093" y="216770"/>
                </a:lnTo>
                <a:lnTo>
                  <a:pt x="2231093" y="219053"/>
                </a:lnTo>
                <a:lnTo>
                  <a:pt x="2233376" y="219053"/>
                </a:lnTo>
                <a:lnTo>
                  <a:pt x="2233376" y="216770"/>
                </a:lnTo>
                <a:lnTo>
                  <a:pt x="2233376" y="219053"/>
                </a:lnTo>
                <a:lnTo>
                  <a:pt x="2233376" y="221334"/>
                </a:lnTo>
                <a:lnTo>
                  <a:pt x="2233376" y="223616"/>
                </a:lnTo>
                <a:lnTo>
                  <a:pt x="2235660" y="223616"/>
                </a:lnTo>
                <a:lnTo>
                  <a:pt x="2235660" y="225898"/>
                </a:lnTo>
                <a:lnTo>
                  <a:pt x="2235660" y="228180"/>
                </a:lnTo>
                <a:lnTo>
                  <a:pt x="2237943" y="228180"/>
                </a:lnTo>
                <a:lnTo>
                  <a:pt x="2237943" y="225898"/>
                </a:lnTo>
                <a:lnTo>
                  <a:pt x="2237943" y="223616"/>
                </a:lnTo>
                <a:lnTo>
                  <a:pt x="2237943" y="225898"/>
                </a:lnTo>
                <a:lnTo>
                  <a:pt x="2237943" y="223616"/>
                </a:lnTo>
                <a:lnTo>
                  <a:pt x="2237943" y="221334"/>
                </a:lnTo>
                <a:lnTo>
                  <a:pt x="2237943" y="223616"/>
                </a:lnTo>
                <a:lnTo>
                  <a:pt x="2240227" y="223616"/>
                </a:lnTo>
                <a:lnTo>
                  <a:pt x="2240227" y="221334"/>
                </a:lnTo>
                <a:lnTo>
                  <a:pt x="2240227" y="223616"/>
                </a:lnTo>
                <a:lnTo>
                  <a:pt x="2242511" y="223616"/>
                </a:lnTo>
                <a:lnTo>
                  <a:pt x="2242511" y="225898"/>
                </a:lnTo>
                <a:lnTo>
                  <a:pt x="2242511" y="228180"/>
                </a:lnTo>
                <a:lnTo>
                  <a:pt x="2240227" y="228180"/>
                </a:lnTo>
                <a:lnTo>
                  <a:pt x="2237943" y="228180"/>
                </a:lnTo>
                <a:lnTo>
                  <a:pt x="2237943" y="230462"/>
                </a:lnTo>
                <a:lnTo>
                  <a:pt x="2235660" y="230462"/>
                </a:lnTo>
                <a:lnTo>
                  <a:pt x="2233376" y="230462"/>
                </a:lnTo>
                <a:lnTo>
                  <a:pt x="2231093" y="232744"/>
                </a:lnTo>
                <a:lnTo>
                  <a:pt x="2228809" y="232744"/>
                </a:lnTo>
                <a:lnTo>
                  <a:pt x="2226526" y="235026"/>
                </a:lnTo>
                <a:lnTo>
                  <a:pt x="2224242" y="235026"/>
                </a:lnTo>
                <a:lnTo>
                  <a:pt x="2224242" y="237308"/>
                </a:lnTo>
                <a:lnTo>
                  <a:pt x="2221958" y="237308"/>
                </a:lnTo>
                <a:lnTo>
                  <a:pt x="2224242" y="239590"/>
                </a:lnTo>
                <a:lnTo>
                  <a:pt x="2224242" y="241871"/>
                </a:lnTo>
                <a:lnTo>
                  <a:pt x="2226526" y="241871"/>
                </a:lnTo>
                <a:lnTo>
                  <a:pt x="2228809" y="241871"/>
                </a:lnTo>
                <a:lnTo>
                  <a:pt x="2231093" y="244153"/>
                </a:lnTo>
                <a:lnTo>
                  <a:pt x="2233376" y="244153"/>
                </a:lnTo>
                <a:lnTo>
                  <a:pt x="2228809" y="246435"/>
                </a:lnTo>
                <a:lnTo>
                  <a:pt x="2228809" y="248717"/>
                </a:lnTo>
                <a:lnTo>
                  <a:pt x="2231093" y="248717"/>
                </a:lnTo>
                <a:lnTo>
                  <a:pt x="2233376" y="248717"/>
                </a:lnTo>
                <a:lnTo>
                  <a:pt x="2235660" y="250999"/>
                </a:lnTo>
                <a:lnTo>
                  <a:pt x="2237943" y="250999"/>
                </a:lnTo>
                <a:lnTo>
                  <a:pt x="2240227" y="250999"/>
                </a:lnTo>
                <a:lnTo>
                  <a:pt x="2240227" y="253281"/>
                </a:lnTo>
                <a:lnTo>
                  <a:pt x="2240227" y="255563"/>
                </a:lnTo>
                <a:lnTo>
                  <a:pt x="2242511" y="255563"/>
                </a:lnTo>
                <a:lnTo>
                  <a:pt x="2244794" y="255563"/>
                </a:lnTo>
                <a:lnTo>
                  <a:pt x="2244794" y="253281"/>
                </a:lnTo>
                <a:lnTo>
                  <a:pt x="2247078" y="253281"/>
                </a:lnTo>
                <a:lnTo>
                  <a:pt x="2247078" y="255563"/>
                </a:lnTo>
                <a:lnTo>
                  <a:pt x="2244794" y="255563"/>
                </a:lnTo>
                <a:lnTo>
                  <a:pt x="2244794" y="257845"/>
                </a:lnTo>
                <a:lnTo>
                  <a:pt x="2244794" y="260126"/>
                </a:lnTo>
                <a:lnTo>
                  <a:pt x="2244794" y="262409"/>
                </a:lnTo>
                <a:lnTo>
                  <a:pt x="2247078" y="262409"/>
                </a:lnTo>
                <a:lnTo>
                  <a:pt x="2249362" y="262409"/>
                </a:lnTo>
                <a:lnTo>
                  <a:pt x="2249362" y="260126"/>
                </a:lnTo>
                <a:lnTo>
                  <a:pt x="2251645" y="260126"/>
                </a:lnTo>
                <a:lnTo>
                  <a:pt x="2251645" y="257845"/>
                </a:lnTo>
                <a:lnTo>
                  <a:pt x="2249362" y="257845"/>
                </a:lnTo>
                <a:lnTo>
                  <a:pt x="2249362" y="255563"/>
                </a:lnTo>
                <a:lnTo>
                  <a:pt x="2251645" y="255563"/>
                </a:lnTo>
                <a:lnTo>
                  <a:pt x="2253929" y="255563"/>
                </a:lnTo>
                <a:lnTo>
                  <a:pt x="2256212" y="255563"/>
                </a:lnTo>
                <a:lnTo>
                  <a:pt x="2258496" y="255563"/>
                </a:lnTo>
                <a:lnTo>
                  <a:pt x="2258496" y="253281"/>
                </a:lnTo>
                <a:lnTo>
                  <a:pt x="2258496" y="255563"/>
                </a:lnTo>
                <a:lnTo>
                  <a:pt x="2260779" y="255563"/>
                </a:lnTo>
                <a:lnTo>
                  <a:pt x="2263063" y="255563"/>
                </a:lnTo>
                <a:lnTo>
                  <a:pt x="2265347" y="255563"/>
                </a:lnTo>
                <a:lnTo>
                  <a:pt x="2267630" y="255563"/>
                </a:lnTo>
                <a:lnTo>
                  <a:pt x="2269914" y="255563"/>
                </a:lnTo>
                <a:lnTo>
                  <a:pt x="2272197" y="255563"/>
                </a:lnTo>
                <a:lnTo>
                  <a:pt x="2274481" y="255563"/>
                </a:lnTo>
                <a:lnTo>
                  <a:pt x="2274481" y="257845"/>
                </a:lnTo>
                <a:lnTo>
                  <a:pt x="2276765" y="257845"/>
                </a:lnTo>
                <a:lnTo>
                  <a:pt x="2276765" y="260126"/>
                </a:lnTo>
                <a:lnTo>
                  <a:pt x="2279048" y="260126"/>
                </a:lnTo>
                <a:lnTo>
                  <a:pt x="2279048" y="262409"/>
                </a:lnTo>
                <a:lnTo>
                  <a:pt x="2281332" y="262409"/>
                </a:lnTo>
                <a:lnTo>
                  <a:pt x="2283616" y="262409"/>
                </a:lnTo>
                <a:lnTo>
                  <a:pt x="2285899" y="262409"/>
                </a:lnTo>
                <a:lnTo>
                  <a:pt x="2288183" y="262409"/>
                </a:lnTo>
                <a:lnTo>
                  <a:pt x="2288183" y="264690"/>
                </a:lnTo>
                <a:lnTo>
                  <a:pt x="2290466" y="264690"/>
                </a:lnTo>
                <a:lnTo>
                  <a:pt x="2292750" y="264690"/>
                </a:lnTo>
                <a:lnTo>
                  <a:pt x="2295033" y="266972"/>
                </a:lnTo>
                <a:lnTo>
                  <a:pt x="2295033" y="264690"/>
                </a:lnTo>
                <a:lnTo>
                  <a:pt x="2295033" y="266972"/>
                </a:lnTo>
                <a:lnTo>
                  <a:pt x="2297317" y="266972"/>
                </a:lnTo>
                <a:lnTo>
                  <a:pt x="2297317" y="269254"/>
                </a:lnTo>
                <a:lnTo>
                  <a:pt x="2299601" y="271526"/>
                </a:lnTo>
                <a:lnTo>
                  <a:pt x="2301884" y="273809"/>
                </a:lnTo>
                <a:lnTo>
                  <a:pt x="2301884" y="276090"/>
                </a:lnTo>
                <a:lnTo>
                  <a:pt x="2304168" y="276090"/>
                </a:lnTo>
                <a:lnTo>
                  <a:pt x="2308735" y="271526"/>
                </a:lnTo>
                <a:lnTo>
                  <a:pt x="2311018" y="269254"/>
                </a:lnTo>
                <a:lnTo>
                  <a:pt x="2313302" y="266972"/>
                </a:lnTo>
                <a:lnTo>
                  <a:pt x="2315586" y="269254"/>
                </a:lnTo>
                <a:lnTo>
                  <a:pt x="2317869" y="269254"/>
                </a:lnTo>
                <a:lnTo>
                  <a:pt x="2322437" y="264690"/>
                </a:lnTo>
                <a:lnTo>
                  <a:pt x="2324720" y="264690"/>
                </a:lnTo>
                <a:lnTo>
                  <a:pt x="2327004" y="264690"/>
                </a:lnTo>
                <a:lnTo>
                  <a:pt x="2329287" y="264690"/>
                </a:lnTo>
                <a:lnTo>
                  <a:pt x="2331571" y="264690"/>
                </a:lnTo>
                <a:lnTo>
                  <a:pt x="2333855" y="264690"/>
                </a:lnTo>
                <a:lnTo>
                  <a:pt x="2336138" y="264690"/>
                </a:lnTo>
                <a:lnTo>
                  <a:pt x="2338422" y="264690"/>
                </a:lnTo>
                <a:lnTo>
                  <a:pt x="2345272" y="260126"/>
                </a:lnTo>
                <a:lnTo>
                  <a:pt x="2347556" y="257845"/>
                </a:lnTo>
                <a:lnTo>
                  <a:pt x="2349840" y="257845"/>
                </a:lnTo>
                <a:lnTo>
                  <a:pt x="2352123" y="257845"/>
                </a:lnTo>
                <a:lnTo>
                  <a:pt x="2354407" y="257845"/>
                </a:lnTo>
                <a:lnTo>
                  <a:pt x="2356691" y="257845"/>
                </a:lnTo>
                <a:lnTo>
                  <a:pt x="2358974" y="257845"/>
                </a:lnTo>
                <a:lnTo>
                  <a:pt x="2363541" y="255563"/>
                </a:lnTo>
                <a:lnTo>
                  <a:pt x="2365825" y="266972"/>
                </a:lnTo>
                <a:lnTo>
                  <a:pt x="2368108" y="266972"/>
                </a:lnTo>
                <a:lnTo>
                  <a:pt x="2374959" y="269254"/>
                </a:lnTo>
                <a:lnTo>
                  <a:pt x="2384094" y="271526"/>
                </a:lnTo>
                <a:lnTo>
                  <a:pt x="2384094" y="273809"/>
                </a:lnTo>
                <a:lnTo>
                  <a:pt x="2384094" y="271526"/>
                </a:lnTo>
                <a:lnTo>
                  <a:pt x="2386377" y="271526"/>
                </a:lnTo>
                <a:lnTo>
                  <a:pt x="2388661" y="271526"/>
                </a:lnTo>
                <a:lnTo>
                  <a:pt x="2388661" y="273809"/>
                </a:lnTo>
                <a:lnTo>
                  <a:pt x="2390945" y="273809"/>
                </a:lnTo>
                <a:lnTo>
                  <a:pt x="2390945" y="276090"/>
                </a:lnTo>
                <a:lnTo>
                  <a:pt x="2390945" y="278372"/>
                </a:lnTo>
                <a:lnTo>
                  <a:pt x="2390945" y="280654"/>
                </a:lnTo>
                <a:lnTo>
                  <a:pt x="2390945" y="282936"/>
                </a:lnTo>
                <a:lnTo>
                  <a:pt x="2390945" y="285218"/>
                </a:lnTo>
                <a:lnTo>
                  <a:pt x="2393228" y="285218"/>
                </a:lnTo>
                <a:lnTo>
                  <a:pt x="2393228" y="287500"/>
                </a:lnTo>
                <a:lnTo>
                  <a:pt x="2393228" y="285218"/>
                </a:lnTo>
                <a:lnTo>
                  <a:pt x="2393228" y="287500"/>
                </a:lnTo>
                <a:lnTo>
                  <a:pt x="2393228" y="285218"/>
                </a:lnTo>
                <a:lnTo>
                  <a:pt x="2395512" y="285218"/>
                </a:lnTo>
                <a:lnTo>
                  <a:pt x="2397795" y="285218"/>
                </a:lnTo>
                <a:lnTo>
                  <a:pt x="2400079" y="285218"/>
                </a:lnTo>
                <a:lnTo>
                  <a:pt x="2402362" y="285218"/>
                </a:lnTo>
                <a:lnTo>
                  <a:pt x="2404646" y="285218"/>
                </a:lnTo>
                <a:lnTo>
                  <a:pt x="2406930" y="285218"/>
                </a:lnTo>
                <a:lnTo>
                  <a:pt x="2409213" y="285218"/>
                </a:lnTo>
                <a:lnTo>
                  <a:pt x="2411497" y="285218"/>
                </a:lnTo>
                <a:lnTo>
                  <a:pt x="2413780" y="285218"/>
                </a:lnTo>
                <a:lnTo>
                  <a:pt x="2413780" y="282936"/>
                </a:lnTo>
                <a:lnTo>
                  <a:pt x="2416064" y="282936"/>
                </a:lnTo>
                <a:lnTo>
                  <a:pt x="2416064" y="280654"/>
                </a:lnTo>
                <a:lnTo>
                  <a:pt x="2416064" y="282936"/>
                </a:lnTo>
                <a:lnTo>
                  <a:pt x="2416064" y="280654"/>
                </a:lnTo>
                <a:lnTo>
                  <a:pt x="2418347" y="280654"/>
                </a:lnTo>
                <a:lnTo>
                  <a:pt x="2418347" y="278372"/>
                </a:lnTo>
                <a:lnTo>
                  <a:pt x="2420631" y="278372"/>
                </a:lnTo>
                <a:lnTo>
                  <a:pt x="2420631" y="280654"/>
                </a:lnTo>
                <a:lnTo>
                  <a:pt x="2422915" y="280654"/>
                </a:lnTo>
                <a:lnTo>
                  <a:pt x="2422915" y="282936"/>
                </a:lnTo>
                <a:lnTo>
                  <a:pt x="2425198" y="282936"/>
                </a:lnTo>
                <a:lnTo>
                  <a:pt x="2422915" y="282936"/>
                </a:lnTo>
                <a:lnTo>
                  <a:pt x="2422915" y="285218"/>
                </a:lnTo>
                <a:lnTo>
                  <a:pt x="2422915" y="282936"/>
                </a:lnTo>
                <a:lnTo>
                  <a:pt x="2422915" y="285218"/>
                </a:lnTo>
                <a:lnTo>
                  <a:pt x="2425198" y="285218"/>
                </a:lnTo>
                <a:lnTo>
                  <a:pt x="2425198" y="287500"/>
                </a:lnTo>
                <a:lnTo>
                  <a:pt x="2425198" y="285218"/>
                </a:lnTo>
                <a:lnTo>
                  <a:pt x="2427482" y="285218"/>
                </a:lnTo>
                <a:lnTo>
                  <a:pt x="2427482" y="287500"/>
                </a:lnTo>
                <a:lnTo>
                  <a:pt x="2427482" y="289782"/>
                </a:lnTo>
                <a:lnTo>
                  <a:pt x="2427482" y="292064"/>
                </a:lnTo>
                <a:lnTo>
                  <a:pt x="2429766" y="292064"/>
                </a:lnTo>
                <a:lnTo>
                  <a:pt x="2427482" y="292064"/>
                </a:lnTo>
                <a:lnTo>
                  <a:pt x="2429766" y="292064"/>
                </a:lnTo>
                <a:lnTo>
                  <a:pt x="2429766" y="294345"/>
                </a:lnTo>
                <a:lnTo>
                  <a:pt x="2429766" y="292064"/>
                </a:lnTo>
                <a:lnTo>
                  <a:pt x="2432049" y="292064"/>
                </a:lnTo>
                <a:lnTo>
                  <a:pt x="2432049" y="294345"/>
                </a:lnTo>
                <a:lnTo>
                  <a:pt x="2434333" y="294345"/>
                </a:lnTo>
                <a:lnTo>
                  <a:pt x="2436616" y="294345"/>
                </a:lnTo>
                <a:lnTo>
                  <a:pt x="2438900" y="294345"/>
                </a:lnTo>
                <a:lnTo>
                  <a:pt x="2441184" y="294345"/>
                </a:lnTo>
                <a:lnTo>
                  <a:pt x="2441184" y="296627"/>
                </a:lnTo>
                <a:lnTo>
                  <a:pt x="2438900" y="296627"/>
                </a:lnTo>
                <a:lnTo>
                  <a:pt x="2438900" y="298909"/>
                </a:lnTo>
                <a:lnTo>
                  <a:pt x="2441184" y="298909"/>
                </a:lnTo>
                <a:lnTo>
                  <a:pt x="2443467" y="298909"/>
                </a:lnTo>
                <a:lnTo>
                  <a:pt x="2443467" y="301191"/>
                </a:lnTo>
                <a:lnTo>
                  <a:pt x="2445751" y="301191"/>
                </a:lnTo>
                <a:lnTo>
                  <a:pt x="2445751" y="298909"/>
                </a:lnTo>
                <a:lnTo>
                  <a:pt x="2445751" y="296627"/>
                </a:lnTo>
                <a:lnTo>
                  <a:pt x="2445751" y="294345"/>
                </a:lnTo>
                <a:lnTo>
                  <a:pt x="2448034" y="294345"/>
                </a:lnTo>
                <a:lnTo>
                  <a:pt x="2448034" y="296627"/>
                </a:lnTo>
                <a:lnTo>
                  <a:pt x="2448034" y="298909"/>
                </a:lnTo>
                <a:lnTo>
                  <a:pt x="2450318" y="298909"/>
                </a:lnTo>
                <a:lnTo>
                  <a:pt x="2450318" y="301191"/>
                </a:lnTo>
                <a:lnTo>
                  <a:pt x="2450318" y="298909"/>
                </a:lnTo>
                <a:lnTo>
                  <a:pt x="2452601" y="298909"/>
                </a:lnTo>
                <a:lnTo>
                  <a:pt x="2454885" y="298909"/>
                </a:lnTo>
                <a:lnTo>
                  <a:pt x="2452601" y="298909"/>
                </a:lnTo>
                <a:lnTo>
                  <a:pt x="2452601" y="296627"/>
                </a:lnTo>
                <a:lnTo>
                  <a:pt x="2454885" y="296627"/>
                </a:lnTo>
                <a:lnTo>
                  <a:pt x="2454885" y="294345"/>
                </a:lnTo>
                <a:lnTo>
                  <a:pt x="2457169" y="294345"/>
                </a:lnTo>
                <a:lnTo>
                  <a:pt x="2457169" y="296627"/>
                </a:lnTo>
                <a:lnTo>
                  <a:pt x="2459452" y="296627"/>
                </a:lnTo>
                <a:lnTo>
                  <a:pt x="2459452" y="294345"/>
                </a:lnTo>
                <a:lnTo>
                  <a:pt x="2457169" y="294345"/>
                </a:lnTo>
                <a:lnTo>
                  <a:pt x="2457169" y="292064"/>
                </a:lnTo>
                <a:lnTo>
                  <a:pt x="2457169" y="289782"/>
                </a:lnTo>
                <a:lnTo>
                  <a:pt x="2459452" y="289782"/>
                </a:lnTo>
                <a:lnTo>
                  <a:pt x="2459452" y="292064"/>
                </a:lnTo>
                <a:lnTo>
                  <a:pt x="2461736" y="292064"/>
                </a:lnTo>
                <a:lnTo>
                  <a:pt x="2461736" y="294345"/>
                </a:lnTo>
                <a:lnTo>
                  <a:pt x="2464020" y="294345"/>
                </a:lnTo>
                <a:lnTo>
                  <a:pt x="2464020" y="296627"/>
                </a:lnTo>
                <a:lnTo>
                  <a:pt x="2464020" y="294345"/>
                </a:lnTo>
                <a:lnTo>
                  <a:pt x="2466303" y="294345"/>
                </a:lnTo>
                <a:lnTo>
                  <a:pt x="2466303" y="292064"/>
                </a:lnTo>
                <a:lnTo>
                  <a:pt x="2468587" y="292064"/>
                </a:lnTo>
                <a:lnTo>
                  <a:pt x="2470870" y="294345"/>
                </a:lnTo>
                <a:lnTo>
                  <a:pt x="2468587" y="294345"/>
                </a:lnTo>
                <a:lnTo>
                  <a:pt x="2468587" y="296627"/>
                </a:lnTo>
                <a:lnTo>
                  <a:pt x="2466303" y="296627"/>
                </a:lnTo>
                <a:lnTo>
                  <a:pt x="2466303" y="298909"/>
                </a:lnTo>
                <a:lnTo>
                  <a:pt x="2466303" y="301191"/>
                </a:lnTo>
                <a:lnTo>
                  <a:pt x="2466303" y="303473"/>
                </a:lnTo>
                <a:lnTo>
                  <a:pt x="2466303" y="305755"/>
                </a:lnTo>
                <a:lnTo>
                  <a:pt x="2468587" y="305755"/>
                </a:lnTo>
                <a:lnTo>
                  <a:pt x="2468587" y="303473"/>
                </a:lnTo>
                <a:lnTo>
                  <a:pt x="2470870" y="303473"/>
                </a:lnTo>
                <a:lnTo>
                  <a:pt x="2470870" y="301191"/>
                </a:lnTo>
                <a:lnTo>
                  <a:pt x="2473154" y="301191"/>
                </a:lnTo>
                <a:lnTo>
                  <a:pt x="2473154" y="303473"/>
                </a:lnTo>
                <a:lnTo>
                  <a:pt x="2473154" y="305755"/>
                </a:lnTo>
                <a:lnTo>
                  <a:pt x="2473154" y="308037"/>
                </a:lnTo>
                <a:lnTo>
                  <a:pt x="2473154" y="305755"/>
                </a:lnTo>
                <a:lnTo>
                  <a:pt x="2475437" y="305755"/>
                </a:lnTo>
                <a:lnTo>
                  <a:pt x="2475437" y="308037"/>
                </a:lnTo>
                <a:lnTo>
                  <a:pt x="2475437" y="310319"/>
                </a:lnTo>
                <a:lnTo>
                  <a:pt x="2473154" y="310319"/>
                </a:lnTo>
                <a:lnTo>
                  <a:pt x="2475437" y="310319"/>
                </a:lnTo>
                <a:lnTo>
                  <a:pt x="2477721" y="310319"/>
                </a:lnTo>
                <a:lnTo>
                  <a:pt x="2480005" y="310319"/>
                </a:lnTo>
                <a:lnTo>
                  <a:pt x="2480005" y="308037"/>
                </a:lnTo>
                <a:lnTo>
                  <a:pt x="2482288" y="308037"/>
                </a:lnTo>
                <a:lnTo>
                  <a:pt x="2482288" y="310319"/>
                </a:lnTo>
                <a:lnTo>
                  <a:pt x="2482288" y="312601"/>
                </a:lnTo>
                <a:lnTo>
                  <a:pt x="2482288" y="314882"/>
                </a:lnTo>
                <a:lnTo>
                  <a:pt x="2480005" y="314882"/>
                </a:lnTo>
                <a:lnTo>
                  <a:pt x="2480005" y="317165"/>
                </a:lnTo>
                <a:lnTo>
                  <a:pt x="2482288" y="317165"/>
                </a:lnTo>
                <a:lnTo>
                  <a:pt x="2484572" y="317165"/>
                </a:lnTo>
                <a:lnTo>
                  <a:pt x="2486855" y="317165"/>
                </a:lnTo>
                <a:lnTo>
                  <a:pt x="2486855" y="314882"/>
                </a:lnTo>
                <a:lnTo>
                  <a:pt x="2489139" y="314882"/>
                </a:lnTo>
                <a:lnTo>
                  <a:pt x="2489139" y="317165"/>
                </a:lnTo>
                <a:lnTo>
                  <a:pt x="2491423" y="317165"/>
                </a:lnTo>
                <a:lnTo>
                  <a:pt x="2491423" y="319446"/>
                </a:lnTo>
                <a:lnTo>
                  <a:pt x="2493706" y="319446"/>
                </a:lnTo>
                <a:lnTo>
                  <a:pt x="2493706" y="317165"/>
                </a:lnTo>
                <a:lnTo>
                  <a:pt x="2495990" y="317165"/>
                </a:lnTo>
                <a:lnTo>
                  <a:pt x="2495990" y="319446"/>
                </a:lnTo>
                <a:lnTo>
                  <a:pt x="2498274" y="319446"/>
                </a:lnTo>
                <a:lnTo>
                  <a:pt x="2498274" y="321728"/>
                </a:lnTo>
                <a:lnTo>
                  <a:pt x="2495990" y="321728"/>
                </a:lnTo>
                <a:lnTo>
                  <a:pt x="2493706" y="321728"/>
                </a:lnTo>
                <a:lnTo>
                  <a:pt x="2493706" y="324010"/>
                </a:lnTo>
                <a:lnTo>
                  <a:pt x="2493706" y="326292"/>
                </a:lnTo>
                <a:lnTo>
                  <a:pt x="2493706" y="328574"/>
                </a:lnTo>
                <a:lnTo>
                  <a:pt x="2495990" y="328574"/>
                </a:lnTo>
                <a:lnTo>
                  <a:pt x="2495990" y="326292"/>
                </a:lnTo>
                <a:lnTo>
                  <a:pt x="2495990" y="324010"/>
                </a:lnTo>
                <a:lnTo>
                  <a:pt x="2498274" y="324010"/>
                </a:lnTo>
                <a:lnTo>
                  <a:pt x="2500557" y="324010"/>
                </a:lnTo>
                <a:lnTo>
                  <a:pt x="2502841" y="324010"/>
                </a:lnTo>
                <a:lnTo>
                  <a:pt x="2502841" y="321728"/>
                </a:lnTo>
                <a:lnTo>
                  <a:pt x="2505124" y="321728"/>
                </a:lnTo>
                <a:lnTo>
                  <a:pt x="2505124" y="324010"/>
                </a:lnTo>
                <a:lnTo>
                  <a:pt x="2502841" y="324010"/>
                </a:lnTo>
                <a:lnTo>
                  <a:pt x="2502841" y="326292"/>
                </a:lnTo>
                <a:lnTo>
                  <a:pt x="2502841" y="328574"/>
                </a:lnTo>
                <a:lnTo>
                  <a:pt x="2502841" y="330856"/>
                </a:lnTo>
                <a:lnTo>
                  <a:pt x="2500557" y="330856"/>
                </a:lnTo>
                <a:lnTo>
                  <a:pt x="2500557" y="333138"/>
                </a:lnTo>
                <a:lnTo>
                  <a:pt x="2502841" y="333138"/>
                </a:lnTo>
                <a:lnTo>
                  <a:pt x="2502841" y="330856"/>
                </a:lnTo>
                <a:lnTo>
                  <a:pt x="2505124" y="330856"/>
                </a:lnTo>
                <a:lnTo>
                  <a:pt x="2507408" y="330856"/>
                </a:lnTo>
                <a:lnTo>
                  <a:pt x="2507408" y="333138"/>
                </a:lnTo>
                <a:lnTo>
                  <a:pt x="2509691" y="333138"/>
                </a:lnTo>
                <a:lnTo>
                  <a:pt x="2509691" y="330856"/>
                </a:lnTo>
                <a:lnTo>
                  <a:pt x="2509691" y="328574"/>
                </a:lnTo>
                <a:lnTo>
                  <a:pt x="2509691" y="326292"/>
                </a:lnTo>
                <a:lnTo>
                  <a:pt x="2509691" y="324010"/>
                </a:lnTo>
                <a:lnTo>
                  <a:pt x="2507408" y="324010"/>
                </a:lnTo>
                <a:lnTo>
                  <a:pt x="2507408" y="321728"/>
                </a:lnTo>
                <a:lnTo>
                  <a:pt x="2509691" y="321728"/>
                </a:lnTo>
                <a:lnTo>
                  <a:pt x="2511975" y="321728"/>
                </a:lnTo>
                <a:lnTo>
                  <a:pt x="2514258" y="321728"/>
                </a:lnTo>
                <a:lnTo>
                  <a:pt x="2516542" y="321728"/>
                </a:lnTo>
                <a:lnTo>
                  <a:pt x="2516542" y="324010"/>
                </a:lnTo>
                <a:lnTo>
                  <a:pt x="2516542" y="326292"/>
                </a:lnTo>
                <a:lnTo>
                  <a:pt x="2516542" y="328574"/>
                </a:lnTo>
                <a:lnTo>
                  <a:pt x="2518826" y="328574"/>
                </a:lnTo>
                <a:lnTo>
                  <a:pt x="2518826" y="330856"/>
                </a:lnTo>
                <a:lnTo>
                  <a:pt x="2516542" y="330856"/>
                </a:lnTo>
                <a:lnTo>
                  <a:pt x="2514258" y="330856"/>
                </a:lnTo>
                <a:lnTo>
                  <a:pt x="2511975" y="330856"/>
                </a:lnTo>
                <a:lnTo>
                  <a:pt x="2511975" y="333138"/>
                </a:lnTo>
                <a:lnTo>
                  <a:pt x="2511975" y="335420"/>
                </a:lnTo>
                <a:lnTo>
                  <a:pt x="2509691" y="335420"/>
                </a:lnTo>
                <a:lnTo>
                  <a:pt x="2509691" y="337701"/>
                </a:lnTo>
                <a:lnTo>
                  <a:pt x="2511975" y="337701"/>
                </a:lnTo>
                <a:lnTo>
                  <a:pt x="2514258" y="337701"/>
                </a:lnTo>
                <a:lnTo>
                  <a:pt x="2514258" y="339983"/>
                </a:lnTo>
                <a:lnTo>
                  <a:pt x="2514258" y="337701"/>
                </a:lnTo>
                <a:lnTo>
                  <a:pt x="2514258" y="339983"/>
                </a:lnTo>
                <a:lnTo>
                  <a:pt x="2514258" y="337701"/>
                </a:lnTo>
                <a:lnTo>
                  <a:pt x="2516542" y="337701"/>
                </a:lnTo>
                <a:lnTo>
                  <a:pt x="2518826" y="337701"/>
                </a:lnTo>
                <a:lnTo>
                  <a:pt x="2521109" y="337701"/>
                </a:lnTo>
                <a:lnTo>
                  <a:pt x="2523393" y="337701"/>
                </a:lnTo>
                <a:lnTo>
                  <a:pt x="2523393" y="335420"/>
                </a:lnTo>
                <a:lnTo>
                  <a:pt x="2525676" y="335420"/>
                </a:lnTo>
                <a:lnTo>
                  <a:pt x="2525676" y="337701"/>
                </a:lnTo>
                <a:lnTo>
                  <a:pt x="2523393" y="337701"/>
                </a:lnTo>
                <a:lnTo>
                  <a:pt x="2523393" y="339983"/>
                </a:lnTo>
                <a:lnTo>
                  <a:pt x="2523393" y="342265"/>
                </a:lnTo>
                <a:lnTo>
                  <a:pt x="2521109" y="342265"/>
                </a:lnTo>
                <a:lnTo>
                  <a:pt x="2523393" y="342265"/>
                </a:lnTo>
                <a:lnTo>
                  <a:pt x="2523393" y="344547"/>
                </a:lnTo>
                <a:lnTo>
                  <a:pt x="2521109" y="344547"/>
                </a:lnTo>
                <a:lnTo>
                  <a:pt x="2518826" y="344547"/>
                </a:lnTo>
                <a:lnTo>
                  <a:pt x="2518826" y="346829"/>
                </a:lnTo>
                <a:lnTo>
                  <a:pt x="2521109" y="346829"/>
                </a:lnTo>
                <a:lnTo>
                  <a:pt x="2521109" y="349111"/>
                </a:lnTo>
                <a:lnTo>
                  <a:pt x="2523393" y="349111"/>
                </a:lnTo>
                <a:lnTo>
                  <a:pt x="2525676" y="349111"/>
                </a:lnTo>
                <a:lnTo>
                  <a:pt x="2525676" y="351393"/>
                </a:lnTo>
                <a:lnTo>
                  <a:pt x="2527960" y="351393"/>
                </a:lnTo>
                <a:lnTo>
                  <a:pt x="2527960" y="349111"/>
                </a:lnTo>
                <a:lnTo>
                  <a:pt x="2527960" y="351393"/>
                </a:lnTo>
                <a:lnTo>
                  <a:pt x="2530244" y="351393"/>
                </a:lnTo>
                <a:lnTo>
                  <a:pt x="2530244" y="349111"/>
                </a:lnTo>
                <a:lnTo>
                  <a:pt x="2532528" y="349111"/>
                </a:lnTo>
                <a:lnTo>
                  <a:pt x="2532528" y="351393"/>
                </a:lnTo>
                <a:lnTo>
                  <a:pt x="2534811" y="351393"/>
                </a:lnTo>
                <a:lnTo>
                  <a:pt x="2534811" y="349111"/>
                </a:lnTo>
                <a:lnTo>
                  <a:pt x="2534811" y="346829"/>
                </a:lnTo>
                <a:lnTo>
                  <a:pt x="2537095" y="346829"/>
                </a:lnTo>
                <a:lnTo>
                  <a:pt x="2537095" y="349111"/>
                </a:lnTo>
                <a:lnTo>
                  <a:pt x="2537095" y="351393"/>
                </a:lnTo>
                <a:lnTo>
                  <a:pt x="2537095" y="353675"/>
                </a:lnTo>
                <a:lnTo>
                  <a:pt x="2539378" y="353675"/>
                </a:lnTo>
                <a:lnTo>
                  <a:pt x="2539378" y="351393"/>
                </a:lnTo>
                <a:lnTo>
                  <a:pt x="2541662" y="351393"/>
                </a:lnTo>
                <a:lnTo>
                  <a:pt x="2541662" y="353675"/>
                </a:lnTo>
                <a:lnTo>
                  <a:pt x="2541662" y="355957"/>
                </a:lnTo>
                <a:lnTo>
                  <a:pt x="2541662" y="358238"/>
                </a:lnTo>
                <a:lnTo>
                  <a:pt x="2539378" y="358238"/>
                </a:lnTo>
                <a:lnTo>
                  <a:pt x="2541662" y="358238"/>
                </a:lnTo>
                <a:lnTo>
                  <a:pt x="2539378" y="358238"/>
                </a:lnTo>
                <a:lnTo>
                  <a:pt x="2541662" y="358238"/>
                </a:lnTo>
                <a:lnTo>
                  <a:pt x="2541662" y="355957"/>
                </a:lnTo>
                <a:lnTo>
                  <a:pt x="2543946" y="355957"/>
                </a:lnTo>
                <a:lnTo>
                  <a:pt x="2546229" y="355957"/>
                </a:lnTo>
                <a:lnTo>
                  <a:pt x="2546229" y="353675"/>
                </a:lnTo>
                <a:lnTo>
                  <a:pt x="2548513" y="353675"/>
                </a:lnTo>
                <a:lnTo>
                  <a:pt x="2548513" y="355957"/>
                </a:lnTo>
                <a:lnTo>
                  <a:pt x="2550796" y="355957"/>
                </a:lnTo>
                <a:lnTo>
                  <a:pt x="2553080" y="355957"/>
                </a:lnTo>
                <a:lnTo>
                  <a:pt x="2555363" y="355957"/>
                </a:lnTo>
                <a:lnTo>
                  <a:pt x="2557647" y="355957"/>
                </a:lnTo>
                <a:lnTo>
                  <a:pt x="2557647" y="358238"/>
                </a:lnTo>
                <a:lnTo>
                  <a:pt x="2557647" y="355957"/>
                </a:lnTo>
                <a:lnTo>
                  <a:pt x="2557647" y="358238"/>
                </a:lnTo>
                <a:lnTo>
                  <a:pt x="2559931" y="358238"/>
                </a:lnTo>
                <a:lnTo>
                  <a:pt x="2559931" y="360521"/>
                </a:lnTo>
                <a:lnTo>
                  <a:pt x="2559931" y="362802"/>
                </a:lnTo>
                <a:lnTo>
                  <a:pt x="2562214" y="362802"/>
                </a:lnTo>
                <a:lnTo>
                  <a:pt x="2564498" y="362802"/>
                </a:lnTo>
                <a:lnTo>
                  <a:pt x="2566781" y="362802"/>
                </a:lnTo>
                <a:lnTo>
                  <a:pt x="2566781" y="365084"/>
                </a:lnTo>
                <a:lnTo>
                  <a:pt x="2566781" y="367366"/>
                </a:lnTo>
                <a:lnTo>
                  <a:pt x="2564498" y="367366"/>
                </a:lnTo>
                <a:lnTo>
                  <a:pt x="2562214" y="367366"/>
                </a:lnTo>
                <a:lnTo>
                  <a:pt x="2562214" y="365084"/>
                </a:lnTo>
                <a:lnTo>
                  <a:pt x="2559931" y="365084"/>
                </a:lnTo>
                <a:lnTo>
                  <a:pt x="2557647" y="365084"/>
                </a:lnTo>
                <a:lnTo>
                  <a:pt x="2557647" y="367366"/>
                </a:lnTo>
                <a:lnTo>
                  <a:pt x="2559931" y="367366"/>
                </a:lnTo>
                <a:lnTo>
                  <a:pt x="2559931" y="369648"/>
                </a:lnTo>
                <a:lnTo>
                  <a:pt x="2562214" y="369648"/>
                </a:lnTo>
                <a:lnTo>
                  <a:pt x="2562214" y="371930"/>
                </a:lnTo>
                <a:lnTo>
                  <a:pt x="2564498" y="371930"/>
                </a:lnTo>
                <a:lnTo>
                  <a:pt x="2564498" y="369648"/>
                </a:lnTo>
                <a:lnTo>
                  <a:pt x="2566781" y="369648"/>
                </a:lnTo>
                <a:lnTo>
                  <a:pt x="2566781" y="371930"/>
                </a:lnTo>
                <a:lnTo>
                  <a:pt x="2569065" y="371930"/>
                </a:lnTo>
                <a:lnTo>
                  <a:pt x="2571348" y="371930"/>
                </a:lnTo>
                <a:lnTo>
                  <a:pt x="2573632" y="371930"/>
                </a:lnTo>
                <a:lnTo>
                  <a:pt x="2575916" y="371930"/>
                </a:lnTo>
                <a:lnTo>
                  <a:pt x="2575916" y="374212"/>
                </a:lnTo>
                <a:lnTo>
                  <a:pt x="2575916" y="376494"/>
                </a:lnTo>
                <a:lnTo>
                  <a:pt x="2573632" y="376494"/>
                </a:lnTo>
                <a:lnTo>
                  <a:pt x="2573632" y="378776"/>
                </a:lnTo>
                <a:lnTo>
                  <a:pt x="2575916" y="378776"/>
                </a:lnTo>
                <a:lnTo>
                  <a:pt x="2578199" y="378776"/>
                </a:lnTo>
                <a:lnTo>
                  <a:pt x="2578199" y="381058"/>
                </a:lnTo>
                <a:lnTo>
                  <a:pt x="2575916" y="381058"/>
                </a:lnTo>
                <a:lnTo>
                  <a:pt x="2578199" y="381058"/>
                </a:lnTo>
                <a:lnTo>
                  <a:pt x="2580483" y="381058"/>
                </a:lnTo>
                <a:lnTo>
                  <a:pt x="2580483" y="383339"/>
                </a:lnTo>
                <a:lnTo>
                  <a:pt x="2582766" y="383339"/>
                </a:lnTo>
                <a:lnTo>
                  <a:pt x="2582766" y="385621"/>
                </a:lnTo>
                <a:lnTo>
                  <a:pt x="2585050" y="385621"/>
                </a:lnTo>
                <a:lnTo>
                  <a:pt x="2585050" y="387903"/>
                </a:lnTo>
                <a:lnTo>
                  <a:pt x="2582766" y="387903"/>
                </a:lnTo>
                <a:lnTo>
                  <a:pt x="2582766" y="390185"/>
                </a:lnTo>
                <a:lnTo>
                  <a:pt x="2585050" y="390185"/>
                </a:lnTo>
                <a:lnTo>
                  <a:pt x="2585050" y="392467"/>
                </a:lnTo>
                <a:lnTo>
                  <a:pt x="2582766" y="392467"/>
                </a:lnTo>
                <a:lnTo>
                  <a:pt x="2582766" y="394749"/>
                </a:lnTo>
                <a:lnTo>
                  <a:pt x="2580483" y="394749"/>
                </a:lnTo>
                <a:lnTo>
                  <a:pt x="2582766" y="394749"/>
                </a:lnTo>
                <a:lnTo>
                  <a:pt x="2582766" y="397031"/>
                </a:lnTo>
                <a:lnTo>
                  <a:pt x="2582766" y="399313"/>
                </a:lnTo>
                <a:lnTo>
                  <a:pt x="2580483" y="399313"/>
                </a:lnTo>
                <a:lnTo>
                  <a:pt x="2580483" y="401594"/>
                </a:lnTo>
                <a:lnTo>
                  <a:pt x="2580483" y="403877"/>
                </a:lnTo>
                <a:lnTo>
                  <a:pt x="2582766" y="403877"/>
                </a:lnTo>
                <a:lnTo>
                  <a:pt x="2582766" y="406158"/>
                </a:lnTo>
                <a:lnTo>
                  <a:pt x="2585050" y="406158"/>
                </a:lnTo>
                <a:lnTo>
                  <a:pt x="2585050" y="408440"/>
                </a:lnTo>
                <a:lnTo>
                  <a:pt x="2587334" y="408440"/>
                </a:lnTo>
                <a:lnTo>
                  <a:pt x="2587334" y="410722"/>
                </a:lnTo>
                <a:lnTo>
                  <a:pt x="2587334" y="413004"/>
                </a:lnTo>
                <a:lnTo>
                  <a:pt x="2585050" y="413004"/>
                </a:lnTo>
                <a:lnTo>
                  <a:pt x="2582766" y="413004"/>
                </a:lnTo>
                <a:lnTo>
                  <a:pt x="2582766" y="415286"/>
                </a:lnTo>
                <a:lnTo>
                  <a:pt x="2582766" y="417568"/>
                </a:lnTo>
                <a:lnTo>
                  <a:pt x="2582766" y="419850"/>
                </a:lnTo>
                <a:lnTo>
                  <a:pt x="2585050" y="419850"/>
                </a:lnTo>
                <a:lnTo>
                  <a:pt x="2582766" y="419850"/>
                </a:lnTo>
                <a:lnTo>
                  <a:pt x="2582766" y="422132"/>
                </a:lnTo>
                <a:lnTo>
                  <a:pt x="2580483" y="422132"/>
                </a:lnTo>
                <a:lnTo>
                  <a:pt x="2580483" y="424404"/>
                </a:lnTo>
                <a:lnTo>
                  <a:pt x="2580483" y="426686"/>
                </a:lnTo>
                <a:lnTo>
                  <a:pt x="2580483" y="428968"/>
                </a:lnTo>
                <a:lnTo>
                  <a:pt x="2582766" y="428968"/>
                </a:lnTo>
                <a:lnTo>
                  <a:pt x="2582766" y="426686"/>
                </a:lnTo>
                <a:lnTo>
                  <a:pt x="2585050" y="426686"/>
                </a:lnTo>
                <a:lnTo>
                  <a:pt x="2585050" y="424404"/>
                </a:lnTo>
                <a:lnTo>
                  <a:pt x="2585050" y="426686"/>
                </a:lnTo>
                <a:lnTo>
                  <a:pt x="2587334" y="426686"/>
                </a:lnTo>
                <a:lnTo>
                  <a:pt x="2587334" y="428968"/>
                </a:lnTo>
                <a:lnTo>
                  <a:pt x="2589617" y="428968"/>
                </a:lnTo>
                <a:lnTo>
                  <a:pt x="2591901" y="428968"/>
                </a:lnTo>
                <a:lnTo>
                  <a:pt x="2591901" y="431250"/>
                </a:lnTo>
                <a:lnTo>
                  <a:pt x="2591901" y="433532"/>
                </a:lnTo>
                <a:lnTo>
                  <a:pt x="2591901" y="435813"/>
                </a:lnTo>
                <a:lnTo>
                  <a:pt x="2589617" y="435813"/>
                </a:lnTo>
                <a:lnTo>
                  <a:pt x="2589617" y="438095"/>
                </a:lnTo>
                <a:lnTo>
                  <a:pt x="2589617" y="440377"/>
                </a:lnTo>
                <a:lnTo>
                  <a:pt x="2589617" y="442659"/>
                </a:lnTo>
                <a:lnTo>
                  <a:pt x="2591901" y="442659"/>
                </a:lnTo>
                <a:lnTo>
                  <a:pt x="2591901" y="444941"/>
                </a:lnTo>
                <a:lnTo>
                  <a:pt x="2594184" y="444941"/>
                </a:lnTo>
                <a:lnTo>
                  <a:pt x="2594184" y="447223"/>
                </a:lnTo>
                <a:lnTo>
                  <a:pt x="2596468" y="447223"/>
                </a:lnTo>
                <a:lnTo>
                  <a:pt x="2598751" y="447223"/>
                </a:lnTo>
                <a:lnTo>
                  <a:pt x="2598751" y="449505"/>
                </a:lnTo>
                <a:lnTo>
                  <a:pt x="2598751" y="451787"/>
                </a:lnTo>
                <a:lnTo>
                  <a:pt x="2601036" y="451787"/>
                </a:lnTo>
                <a:lnTo>
                  <a:pt x="2598751" y="451787"/>
                </a:lnTo>
                <a:lnTo>
                  <a:pt x="2598751" y="454069"/>
                </a:lnTo>
                <a:lnTo>
                  <a:pt x="2598751" y="456350"/>
                </a:lnTo>
                <a:lnTo>
                  <a:pt x="2596468" y="456350"/>
                </a:lnTo>
                <a:lnTo>
                  <a:pt x="2596468" y="458633"/>
                </a:lnTo>
                <a:lnTo>
                  <a:pt x="2596468" y="460914"/>
                </a:lnTo>
                <a:lnTo>
                  <a:pt x="2594184" y="460914"/>
                </a:lnTo>
                <a:lnTo>
                  <a:pt x="2594184" y="463196"/>
                </a:lnTo>
                <a:lnTo>
                  <a:pt x="2591901" y="463196"/>
                </a:lnTo>
                <a:lnTo>
                  <a:pt x="2591901" y="465478"/>
                </a:lnTo>
                <a:lnTo>
                  <a:pt x="2591901" y="467760"/>
                </a:lnTo>
                <a:lnTo>
                  <a:pt x="2589617" y="467760"/>
                </a:lnTo>
                <a:lnTo>
                  <a:pt x="2587334" y="467760"/>
                </a:lnTo>
                <a:lnTo>
                  <a:pt x="2587334" y="470042"/>
                </a:lnTo>
                <a:lnTo>
                  <a:pt x="2587334" y="472324"/>
                </a:lnTo>
                <a:lnTo>
                  <a:pt x="2587334" y="474606"/>
                </a:lnTo>
                <a:lnTo>
                  <a:pt x="2585050" y="474606"/>
                </a:lnTo>
                <a:lnTo>
                  <a:pt x="2585050" y="476888"/>
                </a:lnTo>
                <a:lnTo>
                  <a:pt x="2582766" y="476888"/>
                </a:lnTo>
                <a:lnTo>
                  <a:pt x="2582766" y="479170"/>
                </a:lnTo>
                <a:lnTo>
                  <a:pt x="2580483" y="479170"/>
                </a:lnTo>
                <a:lnTo>
                  <a:pt x="2580483" y="481451"/>
                </a:lnTo>
                <a:lnTo>
                  <a:pt x="2578199" y="481451"/>
                </a:lnTo>
                <a:lnTo>
                  <a:pt x="2575916" y="483733"/>
                </a:lnTo>
                <a:lnTo>
                  <a:pt x="2573632" y="483733"/>
                </a:lnTo>
                <a:lnTo>
                  <a:pt x="2573632" y="486015"/>
                </a:lnTo>
                <a:lnTo>
                  <a:pt x="2575916" y="486015"/>
                </a:lnTo>
                <a:lnTo>
                  <a:pt x="2575916" y="488297"/>
                </a:lnTo>
                <a:lnTo>
                  <a:pt x="2573632" y="488297"/>
                </a:lnTo>
                <a:lnTo>
                  <a:pt x="2573632" y="490579"/>
                </a:lnTo>
                <a:lnTo>
                  <a:pt x="2571348" y="492861"/>
                </a:lnTo>
                <a:lnTo>
                  <a:pt x="2569065" y="492861"/>
                </a:lnTo>
                <a:lnTo>
                  <a:pt x="2569065" y="495143"/>
                </a:lnTo>
                <a:lnTo>
                  <a:pt x="2566781" y="495143"/>
                </a:lnTo>
                <a:lnTo>
                  <a:pt x="2564498" y="495143"/>
                </a:lnTo>
                <a:lnTo>
                  <a:pt x="2566781" y="495143"/>
                </a:lnTo>
                <a:lnTo>
                  <a:pt x="2566781" y="497425"/>
                </a:lnTo>
                <a:lnTo>
                  <a:pt x="2564498" y="497425"/>
                </a:lnTo>
                <a:lnTo>
                  <a:pt x="2564498" y="499706"/>
                </a:lnTo>
                <a:lnTo>
                  <a:pt x="2562214" y="499706"/>
                </a:lnTo>
                <a:lnTo>
                  <a:pt x="2562214" y="501989"/>
                </a:lnTo>
                <a:lnTo>
                  <a:pt x="2559931" y="501989"/>
                </a:lnTo>
                <a:lnTo>
                  <a:pt x="2559931" y="504270"/>
                </a:lnTo>
                <a:lnTo>
                  <a:pt x="2557647" y="504270"/>
                </a:lnTo>
                <a:lnTo>
                  <a:pt x="2557647" y="506552"/>
                </a:lnTo>
                <a:lnTo>
                  <a:pt x="2555363" y="506552"/>
                </a:lnTo>
                <a:lnTo>
                  <a:pt x="2555363" y="508834"/>
                </a:lnTo>
                <a:lnTo>
                  <a:pt x="2553080" y="508834"/>
                </a:lnTo>
                <a:lnTo>
                  <a:pt x="2553080" y="511116"/>
                </a:lnTo>
                <a:lnTo>
                  <a:pt x="2553080" y="513398"/>
                </a:lnTo>
                <a:lnTo>
                  <a:pt x="2553080" y="515680"/>
                </a:lnTo>
                <a:lnTo>
                  <a:pt x="2550796" y="515680"/>
                </a:lnTo>
                <a:lnTo>
                  <a:pt x="2550796" y="517962"/>
                </a:lnTo>
                <a:lnTo>
                  <a:pt x="2548513" y="517962"/>
                </a:lnTo>
                <a:lnTo>
                  <a:pt x="2546229" y="517962"/>
                </a:lnTo>
                <a:lnTo>
                  <a:pt x="2546229" y="520244"/>
                </a:lnTo>
                <a:lnTo>
                  <a:pt x="2546229" y="522526"/>
                </a:lnTo>
                <a:lnTo>
                  <a:pt x="2546229" y="524807"/>
                </a:lnTo>
                <a:lnTo>
                  <a:pt x="2543946" y="524807"/>
                </a:lnTo>
                <a:lnTo>
                  <a:pt x="2543946" y="527089"/>
                </a:lnTo>
                <a:lnTo>
                  <a:pt x="2541662" y="527089"/>
                </a:lnTo>
                <a:lnTo>
                  <a:pt x="2541662" y="529371"/>
                </a:lnTo>
                <a:lnTo>
                  <a:pt x="2539378" y="529371"/>
                </a:lnTo>
                <a:lnTo>
                  <a:pt x="2539378" y="531653"/>
                </a:lnTo>
                <a:lnTo>
                  <a:pt x="2537095" y="531653"/>
                </a:lnTo>
                <a:lnTo>
                  <a:pt x="2537095" y="533935"/>
                </a:lnTo>
                <a:lnTo>
                  <a:pt x="2534811" y="533935"/>
                </a:lnTo>
                <a:lnTo>
                  <a:pt x="2532528" y="536217"/>
                </a:lnTo>
                <a:lnTo>
                  <a:pt x="2532528" y="538499"/>
                </a:lnTo>
                <a:lnTo>
                  <a:pt x="2532528" y="540781"/>
                </a:lnTo>
                <a:lnTo>
                  <a:pt x="2530244" y="540781"/>
                </a:lnTo>
                <a:lnTo>
                  <a:pt x="2527960" y="543063"/>
                </a:lnTo>
                <a:lnTo>
                  <a:pt x="2527960" y="545345"/>
                </a:lnTo>
                <a:lnTo>
                  <a:pt x="2525676" y="543063"/>
                </a:lnTo>
                <a:lnTo>
                  <a:pt x="2525676" y="545345"/>
                </a:lnTo>
                <a:lnTo>
                  <a:pt x="2523393" y="545345"/>
                </a:lnTo>
                <a:lnTo>
                  <a:pt x="2523393" y="547626"/>
                </a:lnTo>
                <a:lnTo>
                  <a:pt x="2521109" y="547626"/>
                </a:lnTo>
                <a:lnTo>
                  <a:pt x="2518826" y="547626"/>
                </a:lnTo>
                <a:lnTo>
                  <a:pt x="2521109" y="547626"/>
                </a:lnTo>
                <a:lnTo>
                  <a:pt x="2518826" y="547626"/>
                </a:lnTo>
                <a:lnTo>
                  <a:pt x="2516542" y="547626"/>
                </a:lnTo>
                <a:lnTo>
                  <a:pt x="2516542" y="549908"/>
                </a:lnTo>
                <a:lnTo>
                  <a:pt x="2516542" y="552190"/>
                </a:lnTo>
                <a:lnTo>
                  <a:pt x="2516542" y="554472"/>
                </a:lnTo>
                <a:lnTo>
                  <a:pt x="2514258" y="554472"/>
                </a:lnTo>
                <a:lnTo>
                  <a:pt x="2514258" y="556754"/>
                </a:lnTo>
                <a:lnTo>
                  <a:pt x="2514258" y="559036"/>
                </a:lnTo>
                <a:lnTo>
                  <a:pt x="2511975" y="559036"/>
                </a:lnTo>
                <a:lnTo>
                  <a:pt x="2511975" y="561318"/>
                </a:lnTo>
                <a:lnTo>
                  <a:pt x="2509691" y="561318"/>
                </a:lnTo>
                <a:lnTo>
                  <a:pt x="2507408" y="561318"/>
                </a:lnTo>
                <a:lnTo>
                  <a:pt x="2507408" y="563600"/>
                </a:lnTo>
                <a:lnTo>
                  <a:pt x="2507408" y="565882"/>
                </a:lnTo>
                <a:lnTo>
                  <a:pt x="2505124" y="565882"/>
                </a:lnTo>
                <a:lnTo>
                  <a:pt x="2502841" y="565882"/>
                </a:lnTo>
                <a:lnTo>
                  <a:pt x="2502841" y="568163"/>
                </a:lnTo>
                <a:lnTo>
                  <a:pt x="2500557" y="568163"/>
                </a:lnTo>
                <a:lnTo>
                  <a:pt x="2500557" y="570445"/>
                </a:lnTo>
                <a:lnTo>
                  <a:pt x="2498274" y="570445"/>
                </a:lnTo>
                <a:lnTo>
                  <a:pt x="2498274" y="572727"/>
                </a:lnTo>
                <a:lnTo>
                  <a:pt x="2495990" y="572727"/>
                </a:lnTo>
                <a:lnTo>
                  <a:pt x="2493706" y="572727"/>
                </a:lnTo>
                <a:lnTo>
                  <a:pt x="2493706" y="575009"/>
                </a:lnTo>
                <a:lnTo>
                  <a:pt x="2495990" y="575009"/>
                </a:lnTo>
                <a:lnTo>
                  <a:pt x="2495990" y="577291"/>
                </a:lnTo>
                <a:lnTo>
                  <a:pt x="2493706" y="577291"/>
                </a:lnTo>
                <a:lnTo>
                  <a:pt x="2493706" y="579573"/>
                </a:lnTo>
                <a:lnTo>
                  <a:pt x="2491423" y="579573"/>
                </a:lnTo>
                <a:lnTo>
                  <a:pt x="2489139" y="579573"/>
                </a:lnTo>
                <a:lnTo>
                  <a:pt x="2489139" y="581855"/>
                </a:lnTo>
                <a:lnTo>
                  <a:pt x="2486855" y="581855"/>
                </a:lnTo>
                <a:lnTo>
                  <a:pt x="2484572" y="581855"/>
                </a:lnTo>
                <a:lnTo>
                  <a:pt x="2484572" y="584127"/>
                </a:lnTo>
                <a:lnTo>
                  <a:pt x="2482288" y="584127"/>
                </a:lnTo>
                <a:lnTo>
                  <a:pt x="2482288" y="586409"/>
                </a:lnTo>
                <a:lnTo>
                  <a:pt x="2482288" y="588691"/>
                </a:lnTo>
                <a:lnTo>
                  <a:pt x="2480005" y="588691"/>
                </a:lnTo>
                <a:lnTo>
                  <a:pt x="2480005" y="590973"/>
                </a:lnTo>
                <a:lnTo>
                  <a:pt x="2477721" y="590973"/>
                </a:lnTo>
                <a:lnTo>
                  <a:pt x="2477721" y="593255"/>
                </a:lnTo>
                <a:lnTo>
                  <a:pt x="2475437" y="593255"/>
                </a:lnTo>
                <a:lnTo>
                  <a:pt x="2473154" y="593255"/>
                </a:lnTo>
                <a:lnTo>
                  <a:pt x="2473154" y="595537"/>
                </a:lnTo>
                <a:lnTo>
                  <a:pt x="2470870" y="595537"/>
                </a:lnTo>
                <a:lnTo>
                  <a:pt x="2470870" y="597818"/>
                </a:lnTo>
                <a:lnTo>
                  <a:pt x="2468587" y="597818"/>
                </a:lnTo>
                <a:lnTo>
                  <a:pt x="2466303" y="597818"/>
                </a:lnTo>
                <a:lnTo>
                  <a:pt x="2464020" y="597818"/>
                </a:lnTo>
                <a:lnTo>
                  <a:pt x="2461736" y="597818"/>
                </a:lnTo>
                <a:lnTo>
                  <a:pt x="2459452" y="597818"/>
                </a:lnTo>
                <a:lnTo>
                  <a:pt x="2457169" y="597818"/>
                </a:lnTo>
                <a:lnTo>
                  <a:pt x="2454885" y="597818"/>
                </a:lnTo>
                <a:lnTo>
                  <a:pt x="2452601" y="597818"/>
                </a:lnTo>
                <a:lnTo>
                  <a:pt x="2450318" y="597818"/>
                </a:lnTo>
                <a:lnTo>
                  <a:pt x="2448034" y="600101"/>
                </a:lnTo>
                <a:lnTo>
                  <a:pt x="2445751" y="597818"/>
                </a:lnTo>
                <a:lnTo>
                  <a:pt x="2445751" y="600101"/>
                </a:lnTo>
                <a:lnTo>
                  <a:pt x="2443467" y="600101"/>
                </a:lnTo>
                <a:lnTo>
                  <a:pt x="2445751" y="600101"/>
                </a:lnTo>
                <a:lnTo>
                  <a:pt x="2443467" y="600101"/>
                </a:lnTo>
                <a:lnTo>
                  <a:pt x="2443467" y="602382"/>
                </a:lnTo>
                <a:lnTo>
                  <a:pt x="2443467" y="600101"/>
                </a:lnTo>
                <a:lnTo>
                  <a:pt x="2441184" y="600101"/>
                </a:lnTo>
                <a:lnTo>
                  <a:pt x="2441184" y="602382"/>
                </a:lnTo>
                <a:lnTo>
                  <a:pt x="2438900" y="602382"/>
                </a:lnTo>
                <a:lnTo>
                  <a:pt x="2438900" y="604664"/>
                </a:lnTo>
                <a:lnTo>
                  <a:pt x="2436616" y="606946"/>
                </a:lnTo>
                <a:lnTo>
                  <a:pt x="2434333" y="606946"/>
                </a:lnTo>
                <a:lnTo>
                  <a:pt x="2434333" y="604664"/>
                </a:lnTo>
                <a:lnTo>
                  <a:pt x="2434333" y="606946"/>
                </a:lnTo>
                <a:lnTo>
                  <a:pt x="2432049" y="609228"/>
                </a:lnTo>
                <a:lnTo>
                  <a:pt x="2432049" y="611510"/>
                </a:lnTo>
                <a:lnTo>
                  <a:pt x="2432049" y="613792"/>
                </a:lnTo>
                <a:lnTo>
                  <a:pt x="2429766" y="613792"/>
                </a:lnTo>
                <a:lnTo>
                  <a:pt x="2427482" y="613792"/>
                </a:lnTo>
                <a:lnTo>
                  <a:pt x="2427482" y="616074"/>
                </a:lnTo>
                <a:lnTo>
                  <a:pt x="2429766" y="616074"/>
                </a:lnTo>
                <a:lnTo>
                  <a:pt x="2427482" y="616074"/>
                </a:lnTo>
                <a:lnTo>
                  <a:pt x="2429766" y="616074"/>
                </a:lnTo>
                <a:lnTo>
                  <a:pt x="2429766" y="618356"/>
                </a:lnTo>
                <a:lnTo>
                  <a:pt x="2427482" y="618356"/>
                </a:lnTo>
                <a:lnTo>
                  <a:pt x="2425198" y="620638"/>
                </a:lnTo>
                <a:lnTo>
                  <a:pt x="2425198" y="622919"/>
                </a:lnTo>
                <a:lnTo>
                  <a:pt x="2422915" y="625201"/>
                </a:lnTo>
                <a:lnTo>
                  <a:pt x="2422915" y="627483"/>
                </a:lnTo>
                <a:lnTo>
                  <a:pt x="2420631" y="627483"/>
                </a:lnTo>
                <a:lnTo>
                  <a:pt x="2420631" y="629765"/>
                </a:lnTo>
                <a:lnTo>
                  <a:pt x="2418347" y="629765"/>
                </a:lnTo>
                <a:lnTo>
                  <a:pt x="2418347" y="632047"/>
                </a:lnTo>
                <a:lnTo>
                  <a:pt x="2416064" y="632047"/>
                </a:lnTo>
                <a:lnTo>
                  <a:pt x="2413780" y="632047"/>
                </a:lnTo>
                <a:lnTo>
                  <a:pt x="2413780" y="634329"/>
                </a:lnTo>
                <a:lnTo>
                  <a:pt x="2416064" y="634329"/>
                </a:lnTo>
                <a:lnTo>
                  <a:pt x="2413780" y="634329"/>
                </a:lnTo>
                <a:lnTo>
                  <a:pt x="2413780" y="636611"/>
                </a:lnTo>
                <a:lnTo>
                  <a:pt x="2411497" y="636611"/>
                </a:lnTo>
                <a:lnTo>
                  <a:pt x="2411497" y="638893"/>
                </a:lnTo>
                <a:lnTo>
                  <a:pt x="2409213" y="638893"/>
                </a:lnTo>
                <a:lnTo>
                  <a:pt x="2409213" y="641175"/>
                </a:lnTo>
                <a:lnTo>
                  <a:pt x="2406930" y="641175"/>
                </a:lnTo>
                <a:lnTo>
                  <a:pt x="2406930" y="638893"/>
                </a:lnTo>
                <a:lnTo>
                  <a:pt x="2406930" y="641175"/>
                </a:lnTo>
                <a:lnTo>
                  <a:pt x="2404646" y="641175"/>
                </a:lnTo>
                <a:lnTo>
                  <a:pt x="2404646" y="643457"/>
                </a:lnTo>
                <a:lnTo>
                  <a:pt x="2402362" y="643457"/>
                </a:lnTo>
                <a:lnTo>
                  <a:pt x="2400079" y="643457"/>
                </a:lnTo>
                <a:lnTo>
                  <a:pt x="2400079" y="645738"/>
                </a:lnTo>
                <a:lnTo>
                  <a:pt x="2397795" y="645738"/>
                </a:lnTo>
                <a:lnTo>
                  <a:pt x="2397795" y="648020"/>
                </a:lnTo>
                <a:lnTo>
                  <a:pt x="2395512" y="648020"/>
                </a:lnTo>
                <a:lnTo>
                  <a:pt x="2397795" y="648020"/>
                </a:lnTo>
                <a:lnTo>
                  <a:pt x="2395512" y="648020"/>
                </a:lnTo>
                <a:lnTo>
                  <a:pt x="2397795" y="648020"/>
                </a:lnTo>
                <a:lnTo>
                  <a:pt x="2395512" y="648020"/>
                </a:lnTo>
                <a:lnTo>
                  <a:pt x="2395512" y="650302"/>
                </a:lnTo>
                <a:lnTo>
                  <a:pt x="2395512" y="652584"/>
                </a:lnTo>
                <a:lnTo>
                  <a:pt x="2393228" y="652584"/>
                </a:lnTo>
                <a:lnTo>
                  <a:pt x="2393228" y="654866"/>
                </a:lnTo>
                <a:lnTo>
                  <a:pt x="2390945" y="654866"/>
                </a:lnTo>
                <a:lnTo>
                  <a:pt x="2390945" y="657148"/>
                </a:lnTo>
                <a:lnTo>
                  <a:pt x="2388661" y="657148"/>
                </a:lnTo>
                <a:lnTo>
                  <a:pt x="2386377" y="657148"/>
                </a:lnTo>
                <a:lnTo>
                  <a:pt x="2388661" y="657148"/>
                </a:lnTo>
                <a:lnTo>
                  <a:pt x="2388661" y="659430"/>
                </a:lnTo>
                <a:lnTo>
                  <a:pt x="2386377" y="659430"/>
                </a:lnTo>
                <a:lnTo>
                  <a:pt x="2384094" y="659430"/>
                </a:lnTo>
                <a:lnTo>
                  <a:pt x="2384094" y="661712"/>
                </a:lnTo>
                <a:lnTo>
                  <a:pt x="2381810" y="661712"/>
                </a:lnTo>
                <a:lnTo>
                  <a:pt x="2381810" y="663994"/>
                </a:lnTo>
                <a:lnTo>
                  <a:pt x="2379526" y="663994"/>
                </a:lnTo>
                <a:lnTo>
                  <a:pt x="2377243" y="663994"/>
                </a:lnTo>
                <a:lnTo>
                  <a:pt x="2374959" y="666275"/>
                </a:lnTo>
                <a:lnTo>
                  <a:pt x="2372676" y="666275"/>
                </a:lnTo>
                <a:lnTo>
                  <a:pt x="2372676" y="668557"/>
                </a:lnTo>
                <a:lnTo>
                  <a:pt x="2370392" y="668557"/>
                </a:lnTo>
                <a:lnTo>
                  <a:pt x="2368108" y="668557"/>
                </a:lnTo>
                <a:lnTo>
                  <a:pt x="2368108" y="670839"/>
                </a:lnTo>
                <a:lnTo>
                  <a:pt x="2365825" y="670839"/>
                </a:lnTo>
                <a:lnTo>
                  <a:pt x="2365825" y="673121"/>
                </a:lnTo>
                <a:lnTo>
                  <a:pt x="2368108" y="673121"/>
                </a:lnTo>
                <a:lnTo>
                  <a:pt x="2368108" y="675403"/>
                </a:lnTo>
                <a:lnTo>
                  <a:pt x="2365825" y="675403"/>
                </a:lnTo>
                <a:lnTo>
                  <a:pt x="2365825" y="677685"/>
                </a:lnTo>
                <a:lnTo>
                  <a:pt x="2363541" y="677685"/>
                </a:lnTo>
                <a:lnTo>
                  <a:pt x="2361258" y="677685"/>
                </a:lnTo>
                <a:lnTo>
                  <a:pt x="2361258" y="679967"/>
                </a:lnTo>
                <a:lnTo>
                  <a:pt x="2358974" y="679967"/>
                </a:lnTo>
                <a:lnTo>
                  <a:pt x="2356691" y="679967"/>
                </a:lnTo>
                <a:lnTo>
                  <a:pt x="2354407" y="679967"/>
                </a:lnTo>
                <a:lnTo>
                  <a:pt x="2354407" y="682249"/>
                </a:lnTo>
                <a:lnTo>
                  <a:pt x="2352123" y="682249"/>
                </a:lnTo>
                <a:lnTo>
                  <a:pt x="2349840" y="682249"/>
                </a:lnTo>
                <a:lnTo>
                  <a:pt x="2349840" y="684531"/>
                </a:lnTo>
                <a:lnTo>
                  <a:pt x="2349840" y="686813"/>
                </a:lnTo>
                <a:lnTo>
                  <a:pt x="2347556" y="686813"/>
                </a:lnTo>
                <a:lnTo>
                  <a:pt x="2345272" y="686813"/>
                </a:lnTo>
                <a:lnTo>
                  <a:pt x="2345272" y="689094"/>
                </a:lnTo>
                <a:lnTo>
                  <a:pt x="2342989" y="689094"/>
                </a:lnTo>
                <a:lnTo>
                  <a:pt x="2340705" y="689094"/>
                </a:lnTo>
                <a:lnTo>
                  <a:pt x="2340705" y="691376"/>
                </a:lnTo>
                <a:lnTo>
                  <a:pt x="2338422" y="691376"/>
                </a:lnTo>
                <a:lnTo>
                  <a:pt x="2336138" y="691376"/>
                </a:lnTo>
                <a:lnTo>
                  <a:pt x="2333855" y="691376"/>
                </a:lnTo>
                <a:lnTo>
                  <a:pt x="2331571" y="691376"/>
                </a:lnTo>
                <a:lnTo>
                  <a:pt x="2329287" y="691376"/>
                </a:lnTo>
                <a:lnTo>
                  <a:pt x="2329287" y="693658"/>
                </a:lnTo>
                <a:lnTo>
                  <a:pt x="2327004" y="693658"/>
                </a:lnTo>
                <a:lnTo>
                  <a:pt x="2324720" y="693658"/>
                </a:lnTo>
                <a:lnTo>
                  <a:pt x="2324720" y="695940"/>
                </a:lnTo>
                <a:lnTo>
                  <a:pt x="2322437" y="695940"/>
                </a:lnTo>
                <a:lnTo>
                  <a:pt x="2320153" y="695940"/>
                </a:lnTo>
                <a:lnTo>
                  <a:pt x="2322437" y="695940"/>
                </a:lnTo>
                <a:lnTo>
                  <a:pt x="2322437" y="698222"/>
                </a:lnTo>
                <a:lnTo>
                  <a:pt x="2320153" y="698222"/>
                </a:lnTo>
                <a:lnTo>
                  <a:pt x="2320153" y="700504"/>
                </a:lnTo>
                <a:lnTo>
                  <a:pt x="2320153" y="702786"/>
                </a:lnTo>
                <a:lnTo>
                  <a:pt x="2317869" y="702786"/>
                </a:lnTo>
                <a:lnTo>
                  <a:pt x="2317869" y="705068"/>
                </a:lnTo>
                <a:lnTo>
                  <a:pt x="2315586" y="705068"/>
                </a:lnTo>
                <a:lnTo>
                  <a:pt x="2315586" y="707350"/>
                </a:lnTo>
                <a:lnTo>
                  <a:pt x="2313302" y="707350"/>
                </a:lnTo>
                <a:lnTo>
                  <a:pt x="2313302" y="709631"/>
                </a:lnTo>
                <a:lnTo>
                  <a:pt x="2315586" y="709631"/>
                </a:lnTo>
                <a:lnTo>
                  <a:pt x="2313302" y="709631"/>
                </a:lnTo>
                <a:lnTo>
                  <a:pt x="2315586" y="709631"/>
                </a:lnTo>
                <a:lnTo>
                  <a:pt x="2315586" y="711913"/>
                </a:lnTo>
                <a:lnTo>
                  <a:pt x="2313302" y="711913"/>
                </a:lnTo>
                <a:lnTo>
                  <a:pt x="2313302" y="714195"/>
                </a:lnTo>
                <a:lnTo>
                  <a:pt x="2311018" y="714195"/>
                </a:lnTo>
                <a:lnTo>
                  <a:pt x="2311018" y="716477"/>
                </a:lnTo>
                <a:lnTo>
                  <a:pt x="2311018" y="714195"/>
                </a:lnTo>
                <a:lnTo>
                  <a:pt x="2311018" y="716477"/>
                </a:lnTo>
                <a:lnTo>
                  <a:pt x="2308735" y="716477"/>
                </a:lnTo>
                <a:lnTo>
                  <a:pt x="2308735" y="718759"/>
                </a:lnTo>
                <a:lnTo>
                  <a:pt x="2306451" y="718759"/>
                </a:lnTo>
                <a:lnTo>
                  <a:pt x="2304168" y="718759"/>
                </a:lnTo>
                <a:lnTo>
                  <a:pt x="2301884" y="718759"/>
                </a:lnTo>
                <a:lnTo>
                  <a:pt x="2301884" y="721041"/>
                </a:lnTo>
                <a:lnTo>
                  <a:pt x="2299601" y="721041"/>
                </a:lnTo>
                <a:lnTo>
                  <a:pt x="2299601" y="723323"/>
                </a:lnTo>
                <a:lnTo>
                  <a:pt x="2297317" y="723323"/>
                </a:lnTo>
                <a:lnTo>
                  <a:pt x="2297317" y="725605"/>
                </a:lnTo>
                <a:lnTo>
                  <a:pt x="2297317" y="727887"/>
                </a:lnTo>
                <a:lnTo>
                  <a:pt x="2297317" y="730169"/>
                </a:lnTo>
                <a:lnTo>
                  <a:pt x="2297317" y="732450"/>
                </a:lnTo>
                <a:lnTo>
                  <a:pt x="2297317" y="734723"/>
                </a:lnTo>
                <a:lnTo>
                  <a:pt x="2295033" y="737005"/>
                </a:lnTo>
                <a:lnTo>
                  <a:pt x="2292750" y="737005"/>
                </a:lnTo>
                <a:lnTo>
                  <a:pt x="2292750" y="739287"/>
                </a:lnTo>
                <a:lnTo>
                  <a:pt x="2295033" y="739287"/>
                </a:lnTo>
                <a:lnTo>
                  <a:pt x="2295033" y="741569"/>
                </a:lnTo>
                <a:lnTo>
                  <a:pt x="2292750" y="741569"/>
                </a:lnTo>
                <a:lnTo>
                  <a:pt x="2292750" y="743850"/>
                </a:lnTo>
                <a:lnTo>
                  <a:pt x="2290466" y="743850"/>
                </a:lnTo>
                <a:lnTo>
                  <a:pt x="2288183" y="743850"/>
                </a:lnTo>
                <a:lnTo>
                  <a:pt x="2288183" y="741569"/>
                </a:lnTo>
                <a:lnTo>
                  <a:pt x="2288183" y="743850"/>
                </a:lnTo>
                <a:lnTo>
                  <a:pt x="2285899" y="743850"/>
                </a:lnTo>
                <a:lnTo>
                  <a:pt x="2283616" y="743850"/>
                </a:lnTo>
                <a:lnTo>
                  <a:pt x="2283616" y="746132"/>
                </a:lnTo>
                <a:lnTo>
                  <a:pt x="2281332" y="746132"/>
                </a:lnTo>
                <a:lnTo>
                  <a:pt x="2281332" y="748414"/>
                </a:lnTo>
                <a:lnTo>
                  <a:pt x="2281332" y="750696"/>
                </a:lnTo>
                <a:lnTo>
                  <a:pt x="2279048" y="750696"/>
                </a:lnTo>
                <a:lnTo>
                  <a:pt x="2279048" y="752978"/>
                </a:lnTo>
                <a:lnTo>
                  <a:pt x="2276765" y="752978"/>
                </a:lnTo>
                <a:lnTo>
                  <a:pt x="2274481" y="752978"/>
                </a:lnTo>
                <a:lnTo>
                  <a:pt x="2274481" y="755260"/>
                </a:lnTo>
                <a:lnTo>
                  <a:pt x="2274481" y="757542"/>
                </a:lnTo>
                <a:lnTo>
                  <a:pt x="2272197" y="757542"/>
                </a:lnTo>
                <a:lnTo>
                  <a:pt x="2272197" y="759824"/>
                </a:lnTo>
                <a:lnTo>
                  <a:pt x="2269914" y="759824"/>
                </a:lnTo>
                <a:lnTo>
                  <a:pt x="2269914" y="762106"/>
                </a:lnTo>
                <a:lnTo>
                  <a:pt x="2267630" y="762106"/>
                </a:lnTo>
                <a:lnTo>
                  <a:pt x="2267630" y="764388"/>
                </a:lnTo>
                <a:lnTo>
                  <a:pt x="2265347" y="764388"/>
                </a:lnTo>
                <a:lnTo>
                  <a:pt x="2265347" y="766669"/>
                </a:lnTo>
                <a:lnTo>
                  <a:pt x="2263063" y="768951"/>
                </a:lnTo>
                <a:lnTo>
                  <a:pt x="2265347" y="771233"/>
                </a:lnTo>
                <a:lnTo>
                  <a:pt x="2263063" y="771233"/>
                </a:lnTo>
                <a:lnTo>
                  <a:pt x="2263063" y="773515"/>
                </a:lnTo>
                <a:lnTo>
                  <a:pt x="2263063" y="775797"/>
                </a:lnTo>
                <a:lnTo>
                  <a:pt x="2260779" y="775797"/>
                </a:lnTo>
                <a:lnTo>
                  <a:pt x="2258496" y="775797"/>
                </a:lnTo>
                <a:lnTo>
                  <a:pt x="2258496" y="778079"/>
                </a:lnTo>
                <a:lnTo>
                  <a:pt x="2256212" y="778079"/>
                </a:lnTo>
                <a:lnTo>
                  <a:pt x="2258496" y="778079"/>
                </a:lnTo>
                <a:lnTo>
                  <a:pt x="2258496" y="780361"/>
                </a:lnTo>
                <a:lnTo>
                  <a:pt x="2256212" y="780361"/>
                </a:lnTo>
                <a:lnTo>
                  <a:pt x="2256212" y="782643"/>
                </a:lnTo>
                <a:lnTo>
                  <a:pt x="2253929" y="782643"/>
                </a:lnTo>
                <a:lnTo>
                  <a:pt x="2253929" y="784925"/>
                </a:lnTo>
                <a:lnTo>
                  <a:pt x="2253929" y="787206"/>
                </a:lnTo>
                <a:lnTo>
                  <a:pt x="2251645" y="787206"/>
                </a:lnTo>
                <a:lnTo>
                  <a:pt x="2251645" y="789488"/>
                </a:lnTo>
                <a:lnTo>
                  <a:pt x="2251645" y="791770"/>
                </a:lnTo>
                <a:lnTo>
                  <a:pt x="2249362" y="791770"/>
                </a:lnTo>
                <a:lnTo>
                  <a:pt x="2247078" y="791770"/>
                </a:lnTo>
                <a:lnTo>
                  <a:pt x="2247078" y="794052"/>
                </a:lnTo>
                <a:lnTo>
                  <a:pt x="2247078" y="796334"/>
                </a:lnTo>
                <a:lnTo>
                  <a:pt x="2247078" y="798616"/>
                </a:lnTo>
                <a:lnTo>
                  <a:pt x="2244794" y="798616"/>
                </a:lnTo>
                <a:lnTo>
                  <a:pt x="2242511" y="798616"/>
                </a:lnTo>
                <a:lnTo>
                  <a:pt x="2242511" y="800898"/>
                </a:lnTo>
                <a:lnTo>
                  <a:pt x="2240227" y="800898"/>
                </a:lnTo>
                <a:lnTo>
                  <a:pt x="2240227" y="798616"/>
                </a:lnTo>
                <a:lnTo>
                  <a:pt x="2240227" y="800898"/>
                </a:lnTo>
                <a:lnTo>
                  <a:pt x="2237943" y="800898"/>
                </a:lnTo>
                <a:lnTo>
                  <a:pt x="2235660" y="800898"/>
                </a:lnTo>
                <a:lnTo>
                  <a:pt x="2233376" y="800898"/>
                </a:lnTo>
                <a:lnTo>
                  <a:pt x="2235660" y="800898"/>
                </a:lnTo>
                <a:lnTo>
                  <a:pt x="2235660" y="803180"/>
                </a:lnTo>
                <a:lnTo>
                  <a:pt x="2233376" y="803180"/>
                </a:lnTo>
                <a:lnTo>
                  <a:pt x="2233376" y="805462"/>
                </a:lnTo>
                <a:lnTo>
                  <a:pt x="2231093" y="805462"/>
                </a:lnTo>
                <a:lnTo>
                  <a:pt x="2231093" y="807744"/>
                </a:lnTo>
                <a:lnTo>
                  <a:pt x="2228809" y="807744"/>
                </a:lnTo>
                <a:lnTo>
                  <a:pt x="2228809" y="810025"/>
                </a:lnTo>
                <a:lnTo>
                  <a:pt x="2228809" y="812307"/>
                </a:lnTo>
                <a:lnTo>
                  <a:pt x="2226526" y="812307"/>
                </a:lnTo>
                <a:lnTo>
                  <a:pt x="2224242" y="812307"/>
                </a:lnTo>
                <a:lnTo>
                  <a:pt x="2224242" y="814589"/>
                </a:lnTo>
                <a:lnTo>
                  <a:pt x="2224242" y="816871"/>
                </a:lnTo>
                <a:lnTo>
                  <a:pt x="2221958" y="816871"/>
                </a:lnTo>
                <a:lnTo>
                  <a:pt x="2219675" y="816871"/>
                </a:lnTo>
                <a:lnTo>
                  <a:pt x="2219675" y="819153"/>
                </a:lnTo>
                <a:lnTo>
                  <a:pt x="2217391" y="819153"/>
                </a:lnTo>
                <a:lnTo>
                  <a:pt x="2217391" y="821435"/>
                </a:lnTo>
                <a:lnTo>
                  <a:pt x="2219675" y="821435"/>
                </a:lnTo>
                <a:lnTo>
                  <a:pt x="2217391" y="821435"/>
                </a:lnTo>
                <a:lnTo>
                  <a:pt x="2219675" y="821435"/>
                </a:lnTo>
                <a:lnTo>
                  <a:pt x="2217391" y="821435"/>
                </a:lnTo>
                <a:lnTo>
                  <a:pt x="2217391" y="823717"/>
                </a:lnTo>
                <a:lnTo>
                  <a:pt x="2217391" y="825999"/>
                </a:lnTo>
                <a:lnTo>
                  <a:pt x="2215108" y="825999"/>
                </a:lnTo>
                <a:lnTo>
                  <a:pt x="2215108" y="828281"/>
                </a:lnTo>
                <a:lnTo>
                  <a:pt x="2215108" y="830562"/>
                </a:lnTo>
                <a:lnTo>
                  <a:pt x="2212824" y="830562"/>
                </a:lnTo>
                <a:lnTo>
                  <a:pt x="2212824" y="832844"/>
                </a:lnTo>
                <a:lnTo>
                  <a:pt x="2210540" y="832844"/>
                </a:lnTo>
                <a:lnTo>
                  <a:pt x="2210540" y="835126"/>
                </a:lnTo>
                <a:lnTo>
                  <a:pt x="2208257" y="835126"/>
                </a:lnTo>
                <a:lnTo>
                  <a:pt x="2210540" y="835126"/>
                </a:lnTo>
                <a:lnTo>
                  <a:pt x="2208257" y="835126"/>
                </a:lnTo>
                <a:lnTo>
                  <a:pt x="2210540" y="835126"/>
                </a:lnTo>
                <a:lnTo>
                  <a:pt x="2210540" y="837408"/>
                </a:lnTo>
                <a:lnTo>
                  <a:pt x="2210540" y="835126"/>
                </a:lnTo>
                <a:lnTo>
                  <a:pt x="2210540" y="837408"/>
                </a:lnTo>
                <a:lnTo>
                  <a:pt x="2208257" y="837408"/>
                </a:lnTo>
                <a:lnTo>
                  <a:pt x="2205973" y="839690"/>
                </a:lnTo>
                <a:lnTo>
                  <a:pt x="2208257" y="839690"/>
                </a:lnTo>
                <a:lnTo>
                  <a:pt x="2205973" y="839690"/>
                </a:lnTo>
                <a:lnTo>
                  <a:pt x="2205973" y="841972"/>
                </a:lnTo>
                <a:lnTo>
                  <a:pt x="2205973" y="844254"/>
                </a:lnTo>
                <a:lnTo>
                  <a:pt x="2203689" y="844254"/>
                </a:lnTo>
                <a:lnTo>
                  <a:pt x="2201406" y="844254"/>
                </a:lnTo>
                <a:lnTo>
                  <a:pt x="2201406" y="846536"/>
                </a:lnTo>
                <a:lnTo>
                  <a:pt x="2201406" y="848818"/>
                </a:lnTo>
                <a:lnTo>
                  <a:pt x="2201406" y="851100"/>
                </a:lnTo>
                <a:lnTo>
                  <a:pt x="2201406" y="853382"/>
                </a:lnTo>
                <a:lnTo>
                  <a:pt x="2199122" y="853382"/>
                </a:lnTo>
                <a:lnTo>
                  <a:pt x="2196839" y="853382"/>
                </a:lnTo>
                <a:lnTo>
                  <a:pt x="2196839" y="855663"/>
                </a:lnTo>
                <a:lnTo>
                  <a:pt x="2194555" y="857945"/>
                </a:lnTo>
                <a:lnTo>
                  <a:pt x="2194555" y="860227"/>
                </a:lnTo>
                <a:lnTo>
                  <a:pt x="2192272" y="860227"/>
                </a:lnTo>
                <a:lnTo>
                  <a:pt x="2194555" y="860227"/>
                </a:lnTo>
                <a:lnTo>
                  <a:pt x="2192272" y="860227"/>
                </a:lnTo>
                <a:lnTo>
                  <a:pt x="2192272" y="862509"/>
                </a:lnTo>
                <a:lnTo>
                  <a:pt x="2189988" y="862509"/>
                </a:lnTo>
                <a:lnTo>
                  <a:pt x="2187704" y="862509"/>
                </a:lnTo>
                <a:lnTo>
                  <a:pt x="2187704" y="864791"/>
                </a:lnTo>
                <a:lnTo>
                  <a:pt x="2185421" y="864791"/>
                </a:lnTo>
                <a:lnTo>
                  <a:pt x="2183137" y="867073"/>
                </a:lnTo>
                <a:lnTo>
                  <a:pt x="2180854" y="867073"/>
                </a:lnTo>
                <a:lnTo>
                  <a:pt x="2180854" y="869355"/>
                </a:lnTo>
                <a:lnTo>
                  <a:pt x="2178570" y="869355"/>
                </a:lnTo>
                <a:lnTo>
                  <a:pt x="2176286" y="869355"/>
                </a:lnTo>
                <a:lnTo>
                  <a:pt x="2176286" y="871637"/>
                </a:lnTo>
                <a:lnTo>
                  <a:pt x="2174003" y="871637"/>
                </a:lnTo>
                <a:lnTo>
                  <a:pt x="2174003" y="873918"/>
                </a:lnTo>
                <a:lnTo>
                  <a:pt x="2174003" y="876200"/>
                </a:lnTo>
                <a:lnTo>
                  <a:pt x="2171719" y="876200"/>
                </a:lnTo>
                <a:lnTo>
                  <a:pt x="2174003" y="876200"/>
                </a:lnTo>
                <a:lnTo>
                  <a:pt x="2171719" y="876200"/>
                </a:lnTo>
                <a:lnTo>
                  <a:pt x="2171719" y="878482"/>
                </a:lnTo>
                <a:lnTo>
                  <a:pt x="2174003" y="878482"/>
                </a:lnTo>
                <a:lnTo>
                  <a:pt x="2171719" y="878482"/>
                </a:lnTo>
                <a:lnTo>
                  <a:pt x="2171719" y="880764"/>
                </a:lnTo>
                <a:lnTo>
                  <a:pt x="2169436" y="880764"/>
                </a:lnTo>
                <a:lnTo>
                  <a:pt x="2169436" y="883046"/>
                </a:lnTo>
                <a:lnTo>
                  <a:pt x="2167152" y="883046"/>
                </a:lnTo>
                <a:lnTo>
                  <a:pt x="2167152" y="885328"/>
                </a:lnTo>
                <a:lnTo>
                  <a:pt x="2167152" y="887610"/>
                </a:lnTo>
                <a:lnTo>
                  <a:pt x="2167152" y="889882"/>
                </a:lnTo>
                <a:lnTo>
                  <a:pt x="2164868" y="889882"/>
                </a:lnTo>
                <a:lnTo>
                  <a:pt x="2162585" y="889882"/>
                </a:lnTo>
                <a:lnTo>
                  <a:pt x="2162585" y="892164"/>
                </a:lnTo>
                <a:lnTo>
                  <a:pt x="2160301" y="892164"/>
                </a:lnTo>
                <a:lnTo>
                  <a:pt x="2160301" y="894446"/>
                </a:lnTo>
                <a:lnTo>
                  <a:pt x="2158018" y="894446"/>
                </a:lnTo>
                <a:lnTo>
                  <a:pt x="2158018" y="896728"/>
                </a:lnTo>
                <a:lnTo>
                  <a:pt x="2155734" y="896728"/>
                </a:lnTo>
                <a:lnTo>
                  <a:pt x="2155734" y="899010"/>
                </a:lnTo>
                <a:lnTo>
                  <a:pt x="2153450" y="899010"/>
                </a:lnTo>
                <a:lnTo>
                  <a:pt x="2153450" y="901292"/>
                </a:lnTo>
                <a:lnTo>
                  <a:pt x="2151167" y="901292"/>
                </a:lnTo>
                <a:lnTo>
                  <a:pt x="2151167" y="903574"/>
                </a:lnTo>
                <a:lnTo>
                  <a:pt x="2151167" y="905856"/>
                </a:lnTo>
                <a:lnTo>
                  <a:pt x="2148883" y="905856"/>
                </a:lnTo>
                <a:lnTo>
                  <a:pt x="2151167" y="905856"/>
                </a:lnTo>
                <a:lnTo>
                  <a:pt x="2148883" y="905856"/>
                </a:lnTo>
                <a:lnTo>
                  <a:pt x="2148883" y="908137"/>
                </a:lnTo>
                <a:lnTo>
                  <a:pt x="2151167" y="908137"/>
                </a:lnTo>
                <a:lnTo>
                  <a:pt x="2148883" y="908137"/>
                </a:lnTo>
                <a:lnTo>
                  <a:pt x="2148883" y="910419"/>
                </a:lnTo>
                <a:lnTo>
                  <a:pt x="2146599" y="910419"/>
                </a:lnTo>
                <a:lnTo>
                  <a:pt x="2146599" y="912701"/>
                </a:lnTo>
                <a:lnTo>
                  <a:pt x="2144316" y="912701"/>
                </a:lnTo>
                <a:lnTo>
                  <a:pt x="2142032" y="912701"/>
                </a:lnTo>
                <a:lnTo>
                  <a:pt x="2144316" y="912701"/>
                </a:lnTo>
                <a:lnTo>
                  <a:pt x="2144316" y="914983"/>
                </a:lnTo>
                <a:lnTo>
                  <a:pt x="2142032" y="914983"/>
                </a:lnTo>
                <a:lnTo>
                  <a:pt x="2142032" y="917265"/>
                </a:lnTo>
                <a:lnTo>
                  <a:pt x="2139749" y="917265"/>
                </a:lnTo>
                <a:lnTo>
                  <a:pt x="2142032" y="917265"/>
                </a:lnTo>
                <a:lnTo>
                  <a:pt x="2142032" y="919547"/>
                </a:lnTo>
                <a:lnTo>
                  <a:pt x="2139749" y="919547"/>
                </a:lnTo>
                <a:lnTo>
                  <a:pt x="2137465" y="919547"/>
                </a:lnTo>
                <a:lnTo>
                  <a:pt x="2135182" y="919547"/>
                </a:lnTo>
                <a:lnTo>
                  <a:pt x="2135182" y="921829"/>
                </a:lnTo>
                <a:lnTo>
                  <a:pt x="2135182" y="919547"/>
                </a:lnTo>
                <a:lnTo>
                  <a:pt x="2132898" y="919547"/>
                </a:lnTo>
                <a:lnTo>
                  <a:pt x="2132898" y="921829"/>
                </a:lnTo>
                <a:lnTo>
                  <a:pt x="2132898" y="924111"/>
                </a:lnTo>
                <a:lnTo>
                  <a:pt x="2132898" y="926393"/>
                </a:lnTo>
                <a:lnTo>
                  <a:pt x="2130614" y="926393"/>
                </a:lnTo>
                <a:lnTo>
                  <a:pt x="2130614" y="928674"/>
                </a:lnTo>
                <a:lnTo>
                  <a:pt x="2128331" y="928674"/>
                </a:lnTo>
                <a:lnTo>
                  <a:pt x="2128331" y="930957"/>
                </a:lnTo>
                <a:lnTo>
                  <a:pt x="2128331" y="933238"/>
                </a:lnTo>
                <a:lnTo>
                  <a:pt x="2128331" y="935520"/>
                </a:lnTo>
                <a:lnTo>
                  <a:pt x="2128331" y="933238"/>
                </a:lnTo>
                <a:lnTo>
                  <a:pt x="2126047" y="935520"/>
                </a:lnTo>
                <a:lnTo>
                  <a:pt x="2123764" y="935520"/>
                </a:lnTo>
                <a:lnTo>
                  <a:pt x="2123764" y="937802"/>
                </a:lnTo>
                <a:lnTo>
                  <a:pt x="2121480" y="937802"/>
                </a:lnTo>
                <a:lnTo>
                  <a:pt x="2119197" y="937802"/>
                </a:lnTo>
                <a:lnTo>
                  <a:pt x="2119197" y="940084"/>
                </a:lnTo>
                <a:lnTo>
                  <a:pt x="2116913" y="942366"/>
                </a:lnTo>
                <a:lnTo>
                  <a:pt x="2114629" y="942366"/>
                </a:lnTo>
                <a:lnTo>
                  <a:pt x="2112346" y="942366"/>
                </a:lnTo>
                <a:lnTo>
                  <a:pt x="2112346" y="944648"/>
                </a:lnTo>
                <a:lnTo>
                  <a:pt x="2110062" y="944648"/>
                </a:lnTo>
                <a:lnTo>
                  <a:pt x="2107778" y="946930"/>
                </a:lnTo>
                <a:lnTo>
                  <a:pt x="2107778" y="949212"/>
                </a:lnTo>
                <a:lnTo>
                  <a:pt x="2105495" y="949212"/>
                </a:lnTo>
                <a:lnTo>
                  <a:pt x="2105495" y="951494"/>
                </a:lnTo>
                <a:lnTo>
                  <a:pt x="2103211" y="951494"/>
                </a:lnTo>
                <a:lnTo>
                  <a:pt x="2103211" y="953775"/>
                </a:lnTo>
                <a:lnTo>
                  <a:pt x="2103211" y="956057"/>
                </a:lnTo>
                <a:lnTo>
                  <a:pt x="2100928" y="956057"/>
                </a:lnTo>
                <a:lnTo>
                  <a:pt x="2098644" y="956057"/>
                </a:lnTo>
                <a:lnTo>
                  <a:pt x="2098644" y="958339"/>
                </a:lnTo>
                <a:lnTo>
                  <a:pt x="2096360" y="958339"/>
                </a:lnTo>
                <a:lnTo>
                  <a:pt x="2094077" y="958339"/>
                </a:lnTo>
                <a:lnTo>
                  <a:pt x="2091793" y="960621"/>
                </a:lnTo>
                <a:lnTo>
                  <a:pt x="2091793" y="962903"/>
                </a:lnTo>
                <a:lnTo>
                  <a:pt x="2089510" y="962903"/>
                </a:lnTo>
                <a:lnTo>
                  <a:pt x="2089510" y="965185"/>
                </a:lnTo>
                <a:lnTo>
                  <a:pt x="2089510" y="967467"/>
                </a:lnTo>
                <a:lnTo>
                  <a:pt x="2087226" y="967467"/>
                </a:lnTo>
                <a:lnTo>
                  <a:pt x="2084943" y="967467"/>
                </a:lnTo>
                <a:lnTo>
                  <a:pt x="2084943" y="969749"/>
                </a:lnTo>
                <a:lnTo>
                  <a:pt x="2082659" y="972030"/>
                </a:lnTo>
                <a:lnTo>
                  <a:pt x="2080375" y="972030"/>
                </a:lnTo>
                <a:lnTo>
                  <a:pt x="2080375" y="974313"/>
                </a:lnTo>
                <a:lnTo>
                  <a:pt x="2080375" y="976594"/>
                </a:lnTo>
                <a:lnTo>
                  <a:pt x="2080375" y="978876"/>
                </a:lnTo>
                <a:lnTo>
                  <a:pt x="2078092" y="978876"/>
                </a:lnTo>
                <a:lnTo>
                  <a:pt x="2080375" y="978876"/>
                </a:lnTo>
                <a:lnTo>
                  <a:pt x="2078092" y="978876"/>
                </a:lnTo>
                <a:lnTo>
                  <a:pt x="2080375" y="978876"/>
                </a:lnTo>
                <a:lnTo>
                  <a:pt x="2078092" y="978876"/>
                </a:lnTo>
                <a:lnTo>
                  <a:pt x="2080375" y="978876"/>
                </a:lnTo>
                <a:lnTo>
                  <a:pt x="2078092" y="978876"/>
                </a:lnTo>
                <a:lnTo>
                  <a:pt x="2080375" y="978876"/>
                </a:lnTo>
                <a:lnTo>
                  <a:pt x="2078092" y="978876"/>
                </a:lnTo>
                <a:lnTo>
                  <a:pt x="2078092" y="981158"/>
                </a:lnTo>
                <a:lnTo>
                  <a:pt x="2078092" y="978876"/>
                </a:lnTo>
                <a:lnTo>
                  <a:pt x="2078092" y="981158"/>
                </a:lnTo>
                <a:lnTo>
                  <a:pt x="2075808" y="981158"/>
                </a:lnTo>
                <a:lnTo>
                  <a:pt x="2075808" y="983440"/>
                </a:lnTo>
                <a:lnTo>
                  <a:pt x="2073524" y="983440"/>
                </a:lnTo>
                <a:lnTo>
                  <a:pt x="2071241" y="983440"/>
                </a:lnTo>
                <a:lnTo>
                  <a:pt x="2071241" y="985722"/>
                </a:lnTo>
                <a:lnTo>
                  <a:pt x="2068957" y="985722"/>
                </a:lnTo>
                <a:lnTo>
                  <a:pt x="2068957" y="988004"/>
                </a:lnTo>
                <a:lnTo>
                  <a:pt x="2066674" y="988004"/>
                </a:lnTo>
                <a:lnTo>
                  <a:pt x="2066674" y="990286"/>
                </a:lnTo>
                <a:lnTo>
                  <a:pt x="2064390" y="990286"/>
                </a:lnTo>
                <a:lnTo>
                  <a:pt x="2066674" y="990286"/>
                </a:lnTo>
                <a:lnTo>
                  <a:pt x="2064390" y="990286"/>
                </a:lnTo>
                <a:lnTo>
                  <a:pt x="2064390" y="992568"/>
                </a:lnTo>
                <a:lnTo>
                  <a:pt x="2062107" y="992568"/>
                </a:lnTo>
                <a:lnTo>
                  <a:pt x="2062107" y="994850"/>
                </a:lnTo>
                <a:lnTo>
                  <a:pt x="2059823" y="994850"/>
                </a:lnTo>
                <a:lnTo>
                  <a:pt x="2059823" y="997131"/>
                </a:lnTo>
                <a:lnTo>
                  <a:pt x="2057539" y="997131"/>
                </a:lnTo>
                <a:lnTo>
                  <a:pt x="2057539" y="999413"/>
                </a:lnTo>
                <a:lnTo>
                  <a:pt x="2055256" y="999413"/>
                </a:lnTo>
                <a:lnTo>
                  <a:pt x="2055256" y="1001695"/>
                </a:lnTo>
                <a:lnTo>
                  <a:pt x="2052972" y="1001695"/>
                </a:lnTo>
                <a:lnTo>
                  <a:pt x="2052972" y="1003977"/>
                </a:lnTo>
                <a:lnTo>
                  <a:pt x="2050689" y="1003977"/>
                </a:lnTo>
                <a:lnTo>
                  <a:pt x="2052972" y="1003977"/>
                </a:lnTo>
                <a:lnTo>
                  <a:pt x="2050689" y="1003977"/>
                </a:lnTo>
                <a:lnTo>
                  <a:pt x="2048405" y="1006259"/>
                </a:lnTo>
                <a:lnTo>
                  <a:pt x="2048405" y="1008541"/>
                </a:lnTo>
                <a:lnTo>
                  <a:pt x="2046121" y="1008541"/>
                </a:lnTo>
                <a:lnTo>
                  <a:pt x="2046121" y="1010823"/>
                </a:lnTo>
                <a:lnTo>
                  <a:pt x="2048405" y="1010823"/>
                </a:lnTo>
                <a:lnTo>
                  <a:pt x="2046121" y="1010823"/>
                </a:lnTo>
                <a:lnTo>
                  <a:pt x="2046121" y="1013105"/>
                </a:lnTo>
                <a:lnTo>
                  <a:pt x="2048405" y="1013105"/>
                </a:lnTo>
                <a:lnTo>
                  <a:pt x="2046121" y="1013105"/>
                </a:lnTo>
                <a:lnTo>
                  <a:pt x="2048405" y="1013105"/>
                </a:lnTo>
                <a:lnTo>
                  <a:pt x="2048405" y="1015386"/>
                </a:lnTo>
                <a:lnTo>
                  <a:pt x="2046121" y="1015386"/>
                </a:lnTo>
                <a:lnTo>
                  <a:pt x="2046121" y="1013105"/>
                </a:lnTo>
                <a:lnTo>
                  <a:pt x="2046121" y="1015386"/>
                </a:lnTo>
                <a:lnTo>
                  <a:pt x="2046121" y="1013105"/>
                </a:lnTo>
                <a:lnTo>
                  <a:pt x="2046121" y="1015386"/>
                </a:lnTo>
                <a:lnTo>
                  <a:pt x="2046121" y="1017669"/>
                </a:lnTo>
                <a:lnTo>
                  <a:pt x="2043838" y="1017669"/>
                </a:lnTo>
                <a:lnTo>
                  <a:pt x="2043838" y="1015386"/>
                </a:lnTo>
                <a:lnTo>
                  <a:pt x="2041554" y="1015386"/>
                </a:lnTo>
                <a:lnTo>
                  <a:pt x="2039270" y="1017669"/>
                </a:lnTo>
                <a:lnTo>
                  <a:pt x="2036987" y="1017669"/>
                </a:lnTo>
                <a:lnTo>
                  <a:pt x="2036987" y="1019950"/>
                </a:lnTo>
                <a:lnTo>
                  <a:pt x="2034703" y="1019950"/>
                </a:lnTo>
                <a:lnTo>
                  <a:pt x="2032420" y="1019950"/>
                </a:lnTo>
                <a:lnTo>
                  <a:pt x="2032420" y="1022232"/>
                </a:lnTo>
                <a:lnTo>
                  <a:pt x="2030136" y="1022232"/>
                </a:lnTo>
                <a:lnTo>
                  <a:pt x="2030136" y="1024514"/>
                </a:lnTo>
                <a:lnTo>
                  <a:pt x="2027853" y="1024514"/>
                </a:lnTo>
                <a:lnTo>
                  <a:pt x="2027853" y="1026796"/>
                </a:lnTo>
                <a:lnTo>
                  <a:pt x="2027853" y="1029078"/>
                </a:lnTo>
                <a:lnTo>
                  <a:pt x="2027853" y="1031360"/>
                </a:lnTo>
                <a:lnTo>
                  <a:pt x="2025569" y="1031360"/>
                </a:lnTo>
                <a:lnTo>
                  <a:pt x="2023285" y="1031360"/>
                </a:lnTo>
                <a:lnTo>
                  <a:pt x="2021002" y="1031360"/>
                </a:lnTo>
                <a:lnTo>
                  <a:pt x="2021002" y="1033642"/>
                </a:lnTo>
                <a:lnTo>
                  <a:pt x="2021002" y="1035924"/>
                </a:lnTo>
                <a:lnTo>
                  <a:pt x="2018718" y="1035924"/>
                </a:lnTo>
                <a:lnTo>
                  <a:pt x="2018718" y="1038206"/>
                </a:lnTo>
                <a:lnTo>
                  <a:pt x="2016435" y="1040487"/>
                </a:lnTo>
                <a:lnTo>
                  <a:pt x="2014151" y="1042769"/>
                </a:lnTo>
                <a:lnTo>
                  <a:pt x="2011868" y="1042769"/>
                </a:lnTo>
                <a:lnTo>
                  <a:pt x="2011868" y="1045051"/>
                </a:lnTo>
                <a:lnTo>
                  <a:pt x="2009584" y="1047324"/>
                </a:lnTo>
                <a:lnTo>
                  <a:pt x="2011868" y="1047324"/>
                </a:lnTo>
                <a:lnTo>
                  <a:pt x="2011868" y="1049605"/>
                </a:lnTo>
                <a:lnTo>
                  <a:pt x="2009584" y="1049605"/>
                </a:lnTo>
                <a:lnTo>
                  <a:pt x="2009584" y="1051887"/>
                </a:lnTo>
                <a:lnTo>
                  <a:pt x="2007300" y="1051887"/>
                </a:lnTo>
                <a:lnTo>
                  <a:pt x="2007300" y="1054169"/>
                </a:lnTo>
                <a:lnTo>
                  <a:pt x="2005017" y="1054169"/>
                </a:lnTo>
                <a:lnTo>
                  <a:pt x="2002733" y="1054169"/>
                </a:lnTo>
                <a:lnTo>
                  <a:pt x="2002733" y="1056451"/>
                </a:lnTo>
                <a:lnTo>
                  <a:pt x="2000449" y="1056451"/>
                </a:lnTo>
                <a:lnTo>
                  <a:pt x="2000449" y="1058733"/>
                </a:lnTo>
                <a:lnTo>
                  <a:pt x="2000449" y="1061015"/>
                </a:lnTo>
                <a:lnTo>
                  <a:pt x="1998166" y="1061015"/>
                </a:lnTo>
                <a:lnTo>
                  <a:pt x="1998166" y="1063297"/>
                </a:lnTo>
                <a:lnTo>
                  <a:pt x="1995882" y="1063297"/>
                </a:lnTo>
                <a:lnTo>
                  <a:pt x="1995882" y="1065579"/>
                </a:lnTo>
                <a:lnTo>
                  <a:pt x="1993599" y="1065579"/>
                </a:lnTo>
                <a:lnTo>
                  <a:pt x="1991315" y="1065579"/>
                </a:lnTo>
                <a:lnTo>
                  <a:pt x="1989031" y="1065579"/>
                </a:lnTo>
                <a:lnTo>
                  <a:pt x="1989031" y="1067861"/>
                </a:lnTo>
                <a:lnTo>
                  <a:pt x="1986748" y="1067861"/>
                </a:lnTo>
                <a:lnTo>
                  <a:pt x="1984464" y="1067861"/>
                </a:lnTo>
                <a:lnTo>
                  <a:pt x="1984464" y="1070142"/>
                </a:lnTo>
                <a:lnTo>
                  <a:pt x="1982181" y="1070142"/>
                </a:lnTo>
                <a:lnTo>
                  <a:pt x="1982181" y="1072425"/>
                </a:lnTo>
                <a:lnTo>
                  <a:pt x="1979897" y="1072425"/>
                </a:lnTo>
                <a:lnTo>
                  <a:pt x="1977614" y="1072425"/>
                </a:lnTo>
                <a:lnTo>
                  <a:pt x="1975330" y="1072425"/>
                </a:lnTo>
                <a:lnTo>
                  <a:pt x="1973046" y="1074706"/>
                </a:lnTo>
                <a:lnTo>
                  <a:pt x="1970763" y="1074706"/>
                </a:lnTo>
                <a:lnTo>
                  <a:pt x="1968479" y="1074706"/>
                </a:lnTo>
                <a:lnTo>
                  <a:pt x="1968479" y="1076988"/>
                </a:lnTo>
                <a:lnTo>
                  <a:pt x="1966195" y="1076988"/>
                </a:lnTo>
                <a:lnTo>
                  <a:pt x="1966195" y="1079270"/>
                </a:lnTo>
                <a:lnTo>
                  <a:pt x="1966195" y="1081552"/>
                </a:lnTo>
                <a:lnTo>
                  <a:pt x="1966195" y="1083834"/>
                </a:lnTo>
                <a:lnTo>
                  <a:pt x="1963912" y="1083834"/>
                </a:lnTo>
                <a:lnTo>
                  <a:pt x="1963912" y="1086116"/>
                </a:lnTo>
                <a:lnTo>
                  <a:pt x="1961628" y="1086116"/>
                </a:lnTo>
                <a:lnTo>
                  <a:pt x="1963912" y="1086116"/>
                </a:lnTo>
                <a:lnTo>
                  <a:pt x="1961628" y="1086116"/>
                </a:lnTo>
                <a:lnTo>
                  <a:pt x="1961628" y="1088398"/>
                </a:lnTo>
                <a:lnTo>
                  <a:pt x="1959345" y="1088398"/>
                </a:lnTo>
                <a:lnTo>
                  <a:pt x="1959345" y="1090680"/>
                </a:lnTo>
                <a:lnTo>
                  <a:pt x="1957061" y="1090680"/>
                </a:lnTo>
                <a:lnTo>
                  <a:pt x="1954778" y="1090680"/>
                </a:lnTo>
                <a:lnTo>
                  <a:pt x="1954778" y="1092962"/>
                </a:lnTo>
                <a:lnTo>
                  <a:pt x="1954778" y="1095243"/>
                </a:lnTo>
                <a:lnTo>
                  <a:pt x="1952494" y="1095243"/>
                </a:lnTo>
                <a:lnTo>
                  <a:pt x="1952494" y="1097525"/>
                </a:lnTo>
                <a:lnTo>
                  <a:pt x="1950210" y="1097525"/>
                </a:lnTo>
                <a:lnTo>
                  <a:pt x="1950210" y="1099807"/>
                </a:lnTo>
                <a:lnTo>
                  <a:pt x="1947927" y="1099807"/>
                </a:lnTo>
                <a:lnTo>
                  <a:pt x="1947927" y="1102089"/>
                </a:lnTo>
                <a:lnTo>
                  <a:pt x="1947927" y="1104371"/>
                </a:lnTo>
                <a:lnTo>
                  <a:pt x="1947927" y="1106653"/>
                </a:lnTo>
                <a:lnTo>
                  <a:pt x="1945643" y="1106653"/>
                </a:lnTo>
                <a:lnTo>
                  <a:pt x="1945643" y="1108935"/>
                </a:lnTo>
                <a:lnTo>
                  <a:pt x="1943360" y="1108935"/>
                </a:lnTo>
                <a:lnTo>
                  <a:pt x="1943360" y="1106653"/>
                </a:lnTo>
                <a:lnTo>
                  <a:pt x="1943360" y="1108935"/>
                </a:lnTo>
                <a:lnTo>
                  <a:pt x="1943360" y="1106653"/>
                </a:lnTo>
                <a:lnTo>
                  <a:pt x="1941076" y="1106653"/>
                </a:lnTo>
                <a:lnTo>
                  <a:pt x="1938792" y="1106653"/>
                </a:lnTo>
                <a:lnTo>
                  <a:pt x="1936509" y="1106653"/>
                </a:lnTo>
                <a:lnTo>
                  <a:pt x="1936509" y="1108935"/>
                </a:lnTo>
                <a:lnTo>
                  <a:pt x="1934225" y="1108935"/>
                </a:lnTo>
                <a:lnTo>
                  <a:pt x="1934225" y="1111217"/>
                </a:lnTo>
                <a:lnTo>
                  <a:pt x="1934225" y="1108935"/>
                </a:lnTo>
                <a:lnTo>
                  <a:pt x="1934225" y="1111217"/>
                </a:lnTo>
                <a:lnTo>
                  <a:pt x="1934225" y="1108935"/>
                </a:lnTo>
                <a:lnTo>
                  <a:pt x="1934225" y="1111217"/>
                </a:lnTo>
                <a:lnTo>
                  <a:pt x="1931941" y="1111217"/>
                </a:lnTo>
                <a:lnTo>
                  <a:pt x="1929658" y="1111217"/>
                </a:lnTo>
                <a:lnTo>
                  <a:pt x="1929658" y="1113498"/>
                </a:lnTo>
                <a:lnTo>
                  <a:pt x="1927374" y="1113498"/>
                </a:lnTo>
                <a:lnTo>
                  <a:pt x="1925091" y="1113498"/>
                </a:lnTo>
                <a:lnTo>
                  <a:pt x="1925091" y="1115781"/>
                </a:lnTo>
                <a:lnTo>
                  <a:pt x="1925091" y="1113498"/>
                </a:lnTo>
                <a:lnTo>
                  <a:pt x="1925091" y="1115781"/>
                </a:lnTo>
                <a:lnTo>
                  <a:pt x="1922807" y="1115781"/>
                </a:lnTo>
                <a:lnTo>
                  <a:pt x="1922807" y="1118062"/>
                </a:lnTo>
                <a:lnTo>
                  <a:pt x="1920524" y="1118062"/>
                </a:lnTo>
                <a:lnTo>
                  <a:pt x="1920524" y="1120344"/>
                </a:lnTo>
                <a:lnTo>
                  <a:pt x="1918240" y="1120344"/>
                </a:lnTo>
                <a:lnTo>
                  <a:pt x="1915956" y="1120344"/>
                </a:lnTo>
                <a:lnTo>
                  <a:pt x="1915956" y="1122626"/>
                </a:lnTo>
                <a:lnTo>
                  <a:pt x="1915956" y="1124908"/>
                </a:lnTo>
                <a:lnTo>
                  <a:pt x="1913673" y="1124908"/>
                </a:lnTo>
                <a:lnTo>
                  <a:pt x="1915956" y="1124908"/>
                </a:lnTo>
                <a:lnTo>
                  <a:pt x="1913673" y="1124908"/>
                </a:lnTo>
                <a:lnTo>
                  <a:pt x="1913673" y="1127190"/>
                </a:lnTo>
                <a:lnTo>
                  <a:pt x="1911389" y="1127190"/>
                </a:lnTo>
                <a:lnTo>
                  <a:pt x="1913673" y="1127190"/>
                </a:lnTo>
                <a:lnTo>
                  <a:pt x="1911389" y="1127190"/>
                </a:lnTo>
                <a:lnTo>
                  <a:pt x="1909106" y="1127190"/>
                </a:lnTo>
                <a:lnTo>
                  <a:pt x="1909106" y="1129472"/>
                </a:lnTo>
                <a:lnTo>
                  <a:pt x="1909106" y="1127190"/>
                </a:lnTo>
                <a:lnTo>
                  <a:pt x="1909106" y="1129472"/>
                </a:lnTo>
                <a:lnTo>
                  <a:pt x="1909106" y="1127190"/>
                </a:lnTo>
                <a:lnTo>
                  <a:pt x="1906822" y="1127190"/>
                </a:lnTo>
                <a:lnTo>
                  <a:pt x="1906822" y="1129472"/>
                </a:lnTo>
                <a:lnTo>
                  <a:pt x="1906822" y="1127190"/>
                </a:lnTo>
                <a:lnTo>
                  <a:pt x="1906822" y="1129472"/>
                </a:lnTo>
                <a:lnTo>
                  <a:pt x="1906822" y="1127190"/>
                </a:lnTo>
                <a:lnTo>
                  <a:pt x="1906822" y="1129472"/>
                </a:lnTo>
                <a:lnTo>
                  <a:pt x="1906822" y="1127190"/>
                </a:lnTo>
                <a:lnTo>
                  <a:pt x="1906822" y="1129472"/>
                </a:lnTo>
                <a:lnTo>
                  <a:pt x="1904538" y="1129472"/>
                </a:lnTo>
                <a:lnTo>
                  <a:pt x="1904538" y="1131754"/>
                </a:lnTo>
                <a:lnTo>
                  <a:pt x="1904538" y="1129472"/>
                </a:lnTo>
                <a:lnTo>
                  <a:pt x="1904538" y="1131754"/>
                </a:lnTo>
                <a:lnTo>
                  <a:pt x="1904538" y="1129472"/>
                </a:lnTo>
                <a:lnTo>
                  <a:pt x="1902255" y="1129472"/>
                </a:lnTo>
                <a:lnTo>
                  <a:pt x="1902255" y="1131754"/>
                </a:lnTo>
                <a:lnTo>
                  <a:pt x="1902255" y="1129472"/>
                </a:lnTo>
                <a:lnTo>
                  <a:pt x="1902255" y="1131754"/>
                </a:lnTo>
                <a:lnTo>
                  <a:pt x="1899971" y="1131754"/>
                </a:lnTo>
                <a:lnTo>
                  <a:pt x="1902255" y="1131754"/>
                </a:lnTo>
                <a:lnTo>
                  <a:pt x="1899971" y="1131754"/>
                </a:lnTo>
                <a:lnTo>
                  <a:pt x="1897688" y="1131754"/>
                </a:lnTo>
                <a:lnTo>
                  <a:pt x="1897688" y="1134036"/>
                </a:lnTo>
                <a:lnTo>
                  <a:pt x="1895404" y="1134036"/>
                </a:lnTo>
                <a:lnTo>
                  <a:pt x="1893120" y="1134036"/>
                </a:lnTo>
                <a:lnTo>
                  <a:pt x="1893120" y="1136318"/>
                </a:lnTo>
                <a:lnTo>
                  <a:pt x="1893120" y="1134036"/>
                </a:lnTo>
                <a:lnTo>
                  <a:pt x="1893120" y="1136318"/>
                </a:lnTo>
                <a:lnTo>
                  <a:pt x="1890837" y="1136318"/>
                </a:lnTo>
                <a:lnTo>
                  <a:pt x="1888553" y="1136318"/>
                </a:lnTo>
                <a:lnTo>
                  <a:pt x="1886270" y="1136318"/>
                </a:lnTo>
                <a:lnTo>
                  <a:pt x="1883986" y="1136318"/>
                </a:lnTo>
                <a:lnTo>
                  <a:pt x="1883986" y="1138599"/>
                </a:lnTo>
                <a:lnTo>
                  <a:pt x="1881702" y="1138599"/>
                </a:lnTo>
                <a:lnTo>
                  <a:pt x="1879419" y="1138599"/>
                </a:lnTo>
                <a:lnTo>
                  <a:pt x="1877135" y="1138599"/>
                </a:lnTo>
                <a:lnTo>
                  <a:pt x="1877135" y="1140881"/>
                </a:lnTo>
                <a:lnTo>
                  <a:pt x="1874852" y="1140881"/>
                </a:lnTo>
                <a:lnTo>
                  <a:pt x="1872568" y="1140881"/>
                </a:lnTo>
                <a:lnTo>
                  <a:pt x="1872568" y="1143163"/>
                </a:lnTo>
                <a:lnTo>
                  <a:pt x="1870285" y="1143163"/>
                </a:lnTo>
                <a:lnTo>
                  <a:pt x="1870285" y="1145445"/>
                </a:lnTo>
                <a:lnTo>
                  <a:pt x="1868001" y="1145445"/>
                </a:lnTo>
                <a:lnTo>
                  <a:pt x="1865717" y="1145445"/>
                </a:lnTo>
                <a:lnTo>
                  <a:pt x="1865717" y="1147727"/>
                </a:lnTo>
                <a:lnTo>
                  <a:pt x="1863434" y="1147727"/>
                </a:lnTo>
                <a:lnTo>
                  <a:pt x="1863434" y="1150009"/>
                </a:lnTo>
                <a:lnTo>
                  <a:pt x="1861150" y="1150009"/>
                </a:lnTo>
                <a:lnTo>
                  <a:pt x="1861150" y="1152291"/>
                </a:lnTo>
                <a:lnTo>
                  <a:pt x="1861150" y="1154573"/>
                </a:lnTo>
                <a:lnTo>
                  <a:pt x="1858866" y="1154573"/>
                </a:lnTo>
                <a:lnTo>
                  <a:pt x="1858866" y="1156855"/>
                </a:lnTo>
                <a:lnTo>
                  <a:pt x="1856583" y="1156855"/>
                </a:lnTo>
                <a:lnTo>
                  <a:pt x="1856583" y="1159137"/>
                </a:lnTo>
                <a:lnTo>
                  <a:pt x="1858866" y="1159137"/>
                </a:lnTo>
                <a:lnTo>
                  <a:pt x="1856583" y="1159137"/>
                </a:lnTo>
                <a:lnTo>
                  <a:pt x="1856583" y="1161418"/>
                </a:lnTo>
                <a:lnTo>
                  <a:pt x="1858866" y="1161418"/>
                </a:lnTo>
                <a:lnTo>
                  <a:pt x="1858866" y="1163700"/>
                </a:lnTo>
                <a:lnTo>
                  <a:pt x="1858866" y="1165982"/>
                </a:lnTo>
                <a:lnTo>
                  <a:pt x="1856583" y="1165982"/>
                </a:lnTo>
                <a:lnTo>
                  <a:pt x="1858866" y="1165982"/>
                </a:lnTo>
                <a:lnTo>
                  <a:pt x="1856583" y="1165982"/>
                </a:lnTo>
                <a:lnTo>
                  <a:pt x="1858866" y="1165982"/>
                </a:lnTo>
                <a:lnTo>
                  <a:pt x="1858866" y="1168264"/>
                </a:lnTo>
                <a:lnTo>
                  <a:pt x="1856583" y="1168264"/>
                </a:lnTo>
                <a:lnTo>
                  <a:pt x="1856583" y="1170546"/>
                </a:lnTo>
                <a:lnTo>
                  <a:pt x="1854299" y="1170546"/>
                </a:lnTo>
                <a:lnTo>
                  <a:pt x="1854299" y="1172828"/>
                </a:lnTo>
                <a:lnTo>
                  <a:pt x="1854299" y="1175110"/>
                </a:lnTo>
                <a:lnTo>
                  <a:pt x="1852016" y="1175110"/>
                </a:lnTo>
                <a:lnTo>
                  <a:pt x="1852016" y="1177392"/>
                </a:lnTo>
                <a:lnTo>
                  <a:pt x="1852016" y="1179674"/>
                </a:lnTo>
                <a:lnTo>
                  <a:pt x="1849732" y="1179674"/>
                </a:lnTo>
                <a:lnTo>
                  <a:pt x="1849732" y="1181955"/>
                </a:lnTo>
                <a:lnTo>
                  <a:pt x="1847448" y="1181955"/>
                </a:lnTo>
                <a:lnTo>
                  <a:pt x="1847448" y="1184237"/>
                </a:lnTo>
                <a:lnTo>
                  <a:pt x="1845165" y="1184237"/>
                </a:lnTo>
                <a:lnTo>
                  <a:pt x="1845165" y="1186519"/>
                </a:lnTo>
                <a:lnTo>
                  <a:pt x="1842881" y="1186519"/>
                </a:lnTo>
                <a:lnTo>
                  <a:pt x="1842881" y="1188801"/>
                </a:lnTo>
                <a:lnTo>
                  <a:pt x="1845165" y="1188801"/>
                </a:lnTo>
                <a:lnTo>
                  <a:pt x="1845165" y="1191083"/>
                </a:lnTo>
                <a:lnTo>
                  <a:pt x="1842881" y="1191083"/>
                </a:lnTo>
                <a:lnTo>
                  <a:pt x="1840598" y="1191083"/>
                </a:lnTo>
                <a:lnTo>
                  <a:pt x="1838314" y="1191083"/>
                </a:lnTo>
                <a:lnTo>
                  <a:pt x="1838314" y="1193365"/>
                </a:lnTo>
                <a:lnTo>
                  <a:pt x="1838314" y="1191083"/>
                </a:lnTo>
                <a:lnTo>
                  <a:pt x="1838314" y="1193365"/>
                </a:lnTo>
                <a:lnTo>
                  <a:pt x="1836031" y="1193365"/>
                </a:lnTo>
                <a:lnTo>
                  <a:pt x="1833747" y="1193365"/>
                </a:lnTo>
                <a:lnTo>
                  <a:pt x="1833747" y="1195637"/>
                </a:lnTo>
                <a:lnTo>
                  <a:pt x="1831463" y="1195637"/>
                </a:lnTo>
                <a:lnTo>
                  <a:pt x="1831463" y="1197919"/>
                </a:lnTo>
                <a:lnTo>
                  <a:pt x="1831463" y="1195637"/>
                </a:lnTo>
                <a:lnTo>
                  <a:pt x="1831463" y="1197919"/>
                </a:lnTo>
                <a:lnTo>
                  <a:pt x="1829180" y="1197919"/>
                </a:lnTo>
                <a:lnTo>
                  <a:pt x="1829180" y="1200201"/>
                </a:lnTo>
                <a:lnTo>
                  <a:pt x="1829180" y="1197919"/>
                </a:lnTo>
                <a:lnTo>
                  <a:pt x="1826896" y="1197919"/>
                </a:lnTo>
                <a:lnTo>
                  <a:pt x="1826896" y="1200201"/>
                </a:lnTo>
                <a:lnTo>
                  <a:pt x="1829180" y="1200201"/>
                </a:lnTo>
                <a:lnTo>
                  <a:pt x="1829180" y="1202483"/>
                </a:lnTo>
                <a:lnTo>
                  <a:pt x="1826896" y="1202483"/>
                </a:lnTo>
                <a:lnTo>
                  <a:pt x="1824612" y="1202483"/>
                </a:lnTo>
                <a:lnTo>
                  <a:pt x="1824612" y="1204765"/>
                </a:lnTo>
                <a:lnTo>
                  <a:pt x="1822329" y="1204765"/>
                </a:lnTo>
                <a:lnTo>
                  <a:pt x="1822329" y="1207047"/>
                </a:lnTo>
                <a:lnTo>
                  <a:pt x="1822329" y="1204765"/>
                </a:lnTo>
                <a:lnTo>
                  <a:pt x="1822329" y="1207047"/>
                </a:lnTo>
                <a:lnTo>
                  <a:pt x="1820045" y="1207047"/>
                </a:lnTo>
                <a:lnTo>
                  <a:pt x="1817762" y="1207047"/>
                </a:lnTo>
                <a:lnTo>
                  <a:pt x="1817762" y="1209329"/>
                </a:lnTo>
                <a:lnTo>
                  <a:pt x="1815478" y="1209329"/>
                </a:lnTo>
                <a:lnTo>
                  <a:pt x="1813195" y="1209329"/>
                </a:lnTo>
                <a:lnTo>
                  <a:pt x="1813195" y="1211610"/>
                </a:lnTo>
                <a:lnTo>
                  <a:pt x="1810911" y="1211610"/>
                </a:lnTo>
                <a:lnTo>
                  <a:pt x="1813195" y="1213893"/>
                </a:lnTo>
                <a:lnTo>
                  <a:pt x="1810911" y="1213893"/>
                </a:lnTo>
                <a:lnTo>
                  <a:pt x="1808627" y="1213893"/>
                </a:lnTo>
                <a:lnTo>
                  <a:pt x="1806344" y="1213893"/>
                </a:lnTo>
                <a:lnTo>
                  <a:pt x="1806344" y="1216174"/>
                </a:lnTo>
                <a:lnTo>
                  <a:pt x="1806344" y="1213893"/>
                </a:lnTo>
                <a:lnTo>
                  <a:pt x="1806344" y="1216174"/>
                </a:lnTo>
                <a:lnTo>
                  <a:pt x="1804060" y="1216174"/>
                </a:lnTo>
                <a:lnTo>
                  <a:pt x="1801777" y="1216174"/>
                </a:lnTo>
                <a:lnTo>
                  <a:pt x="1801777" y="1218456"/>
                </a:lnTo>
                <a:lnTo>
                  <a:pt x="1801777" y="1220738"/>
                </a:lnTo>
                <a:lnTo>
                  <a:pt x="1799493" y="1220738"/>
                </a:lnTo>
                <a:lnTo>
                  <a:pt x="1799493" y="1223020"/>
                </a:lnTo>
                <a:lnTo>
                  <a:pt x="1799493" y="1225302"/>
                </a:lnTo>
                <a:lnTo>
                  <a:pt x="1797209" y="1225302"/>
                </a:lnTo>
                <a:lnTo>
                  <a:pt x="1797209" y="1227584"/>
                </a:lnTo>
                <a:lnTo>
                  <a:pt x="1794926" y="1227584"/>
                </a:lnTo>
                <a:lnTo>
                  <a:pt x="1792642" y="1227584"/>
                </a:lnTo>
                <a:lnTo>
                  <a:pt x="1792642" y="1229866"/>
                </a:lnTo>
                <a:lnTo>
                  <a:pt x="1790358" y="1229866"/>
                </a:lnTo>
                <a:lnTo>
                  <a:pt x="1790358" y="1232148"/>
                </a:lnTo>
                <a:lnTo>
                  <a:pt x="1788075" y="1232148"/>
                </a:lnTo>
                <a:lnTo>
                  <a:pt x="1790358" y="1232148"/>
                </a:lnTo>
                <a:lnTo>
                  <a:pt x="1788075" y="1232148"/>
                </a:lnTo>
                <a:lnTo>
                  <a:pt x="1788075" y="1234430"/>
                </a:lnTo>
                <a:lnTo>
                  <a:pt x="1788075" y="1236711"/>
                </a:lnTo>
                <a:lnTo>
                  <a:pt x="1790358" y="1236711"/>
                </a:lnTo>
                <a:lnTo>
                  <a:pt x="1788075" y="1236711"/>
                </a:lnTo>
                <a:lnTo>
                  <a:pt x="1788075" y="1238993"/>
                </a:lnTo>
                <a:lnTo>
                  <a:pt x="1788075" y="1236711"/>
                </a:lnTo>
                <a:lnTo>
                  <a:pt x="1788075" y="1238993"/>
                </a:lnTo>
                <a:lnTo>
                  <a:pt x="1785791" y="1238993"/>
                </a:lnTo>
                <a:lnTo>
                  <a:pt x="1785791" y="1241275"/>
                </a:lnTo>
                <a:lnTo>
                  <a:pt x="1783508" y="1241275"/>
                </a:lnTo>
                <a:lnTo>
                  <a:pt x="1783508" y="1243557"/>
                </a:lnTo>
                <a:lnTo>
                  <a:pt x="1781224" y="1243557"/>
                </a:lnTo>
                <a:lnTo>
                  <a:pt x="1778941" y="1243557"/>
                </a:lnTo>
                <a:lnTo>
                  <a:pt x="1776657" y="1243557"/>
                </a:lnTo>
                <a:lnTo>
                  <a:pt x="1776657" y="1245839"/>
                </a:lnTo>
                <a:lnTo>
                  <a:pt x="1776657" y="1243557"/>
                </a:lnTo>
                <a:lnTo>
                  <a:pt x="1776657" y="1245839"/>
                </a:lnTo>
                <a:lnTo>
                  <a:pt x="1774373" y="1245839"/>
                </a:lnTo>
                <a:lnTo>
                  <a:pt x="1772090" y="1245839"/>
                </a:lnTo>
                <a:lnTo>
                  <a:pt x="1772090" y="1248121"/>
                </a:lnTo>
                <a:lnTo>
                  <a:pt x="1769806" y="1248121"/>
                </a:lnTo>
                <a:lnTo>
                  <a:pt x="1769806" y="1250403"/>
                </a:lnTo>
                <a:lnTo>
                  <a:pt x="1767522" y="1250403"/>
                </a:lnTo>
                <a:lnTo>
                  <a:pt x="1765239" y="1250403"/>
                </a:lnTo>
                <a:lnTo>
                  <a:pt x="1765239" y="1252685"/>
                </a:lnTo>
                <a:lnTo>
                  <a:pt x="1762955" y="1252685"/>
                </a:lnTo>
                <a:lnTo>
                  <a:pt x="1762955" y="1254967"/>
                </a:lnTo>
                <a:lnTo>
                  <a:pt x="1760672" y="1254967"/>
                </a:lnTo>
                <a:lnTo>
                  <a:pt x="1758388" y="1254967"/>
                </a:lnTo>
                <a:lnTo>
                  <a:pt x="1758388" y="1257249"/>
                </a:lnTo>
                <a:lnTo>
                  <a:pt x="1756105" y="1257249"/>
                </a:lnTo>
                <a:lnTo>
                  <a:pt x="1756105" y="1259530"/>
                </a:lnTo>
                <a:lnTo>
                  <a:pt x="1756105" y="1261812"/>
                </a:lnTo>
                <a:lnTo>
                  <a:pt x="1753821" y="1261812"/>
                </a:lnTo>
                <a:lnTo>
                  <a:pt x="1751537" y="1261812"/>
                </a:lnTo>
                <a:lnTo>
                  <a:pt x="1749254" y="1261812"/>
                </a:lnTo>
                <a:lnTo>
                  <a:pt x="1746970" y="1261812"/>
                </a:lnTo>
                <a:lnTo>
                  <a:pt x="1746970" y="1264094"/>
                </a:lnTo>
                <a:lnTo>
                  <a:pt x="1744687" y="1264094"/>
                </a:lnTo>
                <a:lnTo>
                  <a:pt x="1744687" y="1266376"/>
                </a:lnTo>
                <a:lnTo>
                  <a:pt x="1742403" y="1266376"/>
                </a:lnTo>
                <a:lnTo>
                  <a:pt x="1740119" y="1266376"/>
                </a:lnTo>
                <a:lnTo>
                  <a:pt x="1740119" y="1268658"/>
                </a:lnTo>
                <a:lnTo>
                  <a:pt x="1740119" y="1266376"/>
                </a:lnTo>
                <a:lnTo>
                  <a:pt x="1740119" y="1268658"/>
                </a:lnTo>
                <a:lnTo>
                  <a:pt x="1740119" y="1266376"/>
                </a:lnTo>
                <a:lnTo>
                  <a:pt x="1740119" y="1268658"/>
                </a:lnTo>
                <a:lnTo>
                  <a:pt x="1740119" y="1266376"/>
                </a:lnTo>
                <a:lnTo>
                  <a:pt x="1740119" y="1268658"/>
                </a:lnTo>
                <a:lnTo>
                  <a:pt x="1740119" y="1266376"/>
                </a:lnTo>
                <a:lnTo>
                  <a:pt x="1737836" y="1266376"/>
                </a:lnTo>
                <a:lnTo>
                  <a:pt x="1737836" y="1268658"/>
                </a:lnTo>
                <a:lnTo>
                  <a:pt x="1735552" y="1268658"/>
                </a:lnTo>
                <a:lnTo>
                  <a:pt x="1733268" y="1268658"/>
                </a:lnTo>
                <a:lnTo>
                  <a:pt x="1730985" y="1268658"/>
                </a:lnTo>
                <a:lnTo>
                  <a:pt x="1730985" y="1270940"/>
                </a:lnTo>
                <a:lnTo>
                  <a:pt x="1730985" y="1268658"/>
                </a:lnTo>
                <a:lnTo>
                  <a:pt x="1730985" y="1270940"/>
                </a:lnTo>
                <a:lnTo>
                  <a:pt x="1728701" y="1270940"/>
                </a:lnTo>
                <a:lnTo>
                  <a:pt x="1728701" y="1273222"/>
                </a:lnTo>
                <a:lnTo>
                  <a:pt x="1726418" y="1273222"/>
                </a:lnTo>
                <a:lnTo>
                  <a:pt x="1724134" y="1273222"/>
                </a:lnTo>
                <a:lnTo>
                  <a:pt x="1724134" y="1275504"/>
                </a:lnTo>
                <a:lnTo>
                  <a:pt x="1721851" y="1275504"/>
                </a:lnTo>
                <a:lnTo>
                  <a:pt x="1721851" y="1277786"/>
                </a:lnTo>
                <a:lnTo>
                  <a:pt x="1719567" y="1277786"/>
                </a:lnTo>
                <a:lnTo>
                  <a:pt x="1719567" y="1280067"/>
                </a:lnTo>
                <a:lnTo>
                  <a:pt x="1717283" y="1280067"/>
                </a:lnTo>
                <a:lnTo>
                  <a:pt x="1717283" y="1282349"/>
                </a:lnTo>
                <a:lnTo>
                  <a:pt x="1715000" y="1282349"/>
                </a:lnTo>
                <a:lnTo>
                  <a:pt x="1715000" y="1284631"/>
                </a:lnTo>
                <a:lnTo>
                  <a:pt x="1712716" y="1284631"/>
                </a:lnTo>
                <a:lnTo>
                  <a:pt x="1712716" y="1286913"/>
                </a:lnTo>
                <a:lnTo>
                  <a:pt x="1712716" y="1289195"/>
                </a:lnTo>
                <a:lnTo>
                  <a:pt x="1710433" y="1289195"/>
                </a:lnTo>
                <a:lnTo>
                  <a:pt x="1708149" y="1289195"/>
                </a:lnTo>
                <a:lnTo>
                  <a:pt x="1705866" y="1289195"/>
                </a:lnTo>
                <a:lnTo>
                  <a:pt x="1705866" y="1291477"/>
                </a:lnTo>
                <a:lnTo>
                  <a:pt x="1703582" y="1291477"/>
                </a:lnTo>
                <a:lnTo>
                  <a:pt x="1703582" y="1293759"/>
                </a:lnTo>
                <a:lnTo>
                  <a:pt x="1705866" y="1293759"/>
                </a:lnTo>
                <a:lnTo>
                  <a:pt x="1703582" y="1293759"/>
                </a:lnTo>
                <a:lnTo>
                  <a:pt x="1701298" y="1293759"/>
                </a:lnTo>
                <a:lnTo>
                  <a:pt x="1701298" y="1296041"/>
                </a:lnTo>
                <a:lnTo>
                  <a:pt x="1699015" y="1296041"/>
                </a:lnTo>
                <a:lnTo>
                  <a:pt x="1699015" y="1298323"/>
                </a:lnTo>
                <a:lnTo>
                  <a:pt x="1696731" y="1298323"/>
                </a:lnTo>
                <a:lnTo>
                  <a:pt x="1696731" y="1300605"/>
                </a:lnTo>
                <a:lnTo>
                  <a:pt x="1694447" y="1300605"/>
                </a:lnTo>
                <a:lnTo>
                  <a:pt x="1694447" y="1302886"/>
                </a:lnTo>
                <a:lnTo>
                  <a:pt x="1692164" y="1302886"/>
                </a:lnTo>
                <a:lnTo>
                  <a:pt x="1692164" y="1305168"/>
                </a:lnTo>
                <a:lnTo>
                  <a:pt x="1689880" y="1305168"/>
                </a:lnTo>
                <a:lnTo>
                  <a:pt x="1689880" y="1307450"/>
                </a:lnTo>
                <a:lnTo>
                  <a:pt x="1687597" y="1307450"/>
                </a:lnTo>
                <a:lnTo>
                  <a:pt x="1687597" y="1309732"/>
                </a:lnTo>
                <a:lnTo>
                  <a:pt x="1687597" y="1307450"/>
                </a:lnTo>
                <a:lnTo>
                  <a:pt x="1687597" y="1309732"/>
                </a:lnTo>
                <a:lnTo>
                  <a:pt x="1685313" y="1309732"/>
                </a:lnTo>
                <a:lnTo>
                  <a:pt x="1683029" y="1309732"/>
                </a:lnTo>
                <a:lnTo>
                  <a:pt x="1683029" y="1312014"/>
                </a:lnTo>
                <a:lnTo>
                  <a:pt x="1680746" y="1312014"/>
                </a:lnTo>
                <a:lnTo>
                  <a:pt x="1680746" y="1314296"/>
                </a:lnTo>
                <a:lnTo>
                  <a:pt x="1678462" y="1314296"/>
                </a:lnTo>
                <a:lnTo>
                  <a:pt x="1678462" y="1316578"/>
                </a:lnTo>
                <a:lnTo>
                  <a:pt x="1676179" y="1316578"/>
                </a:lnTo>
                <a:lnTo>
                  <a:pt x="1673895" y="1316578"/>
                </a:lnTo>
                <a:lnTo>
                  <a:pt x="1671612" y="1316578"/>
                </a:lnTo>
                <a:lnTo>
                  <a:pt x="1671612" y="1318860"/>
                </a:lnTo>
                <a:lnTo>
                  <a:pt x="1669328" y="1318860"/>
                </a:lnTo>
                <a:lnTo>
                  <a:pt x="1669328" y="1321142"/>
                </a:lnTo>
                <a:lnTo>
                  <a:pt x="1669328" y="1318860"/>
                </a:lnTo>
                <a:lnTo>
                  <a:pt x="1669328" y="1321142"/>
                </a:lnTo>
                <a:lnTo>
                  <a:pt x="1667044" y="1321142"/>
                </a:lnTo>
                <a:lnTo>
                  <a:pt x="1667044" y="1323423"/>
                </a:lnTo>
                <a:lnTo>
                  <a:pt x="1664761" y="1323423"/>
                </a:lnTo>
                <a:lnTo>
                  <a:pt x="1662477" y="1323423"/>
                </a:lnTo>
                <a:lnTo>
                  <a:pt x="1662477" y="1325705"/>
                </a:lnTo>
                <a:lnTo>
                  <a:pt x="1660193" y="1325705"/>
                </a:lnTo>
                <a:lnTo>
                  <a:pt x="1657910" y="1327987"/>
                </a:lnTo>
                <a:lnTo>
                  <a:pt x="1655626" y="1327987"/>
                </a:lnTo>
                <a:lnTo>
                  <a:pt x="1653343" y="1327987"/>
                </a:lnTo>
                <a:lnTo>
                  <a:pt x="1653343" y="1330269"/>
                </a:lnTo>
                <a:lnTo>
                  <a:pt x="1651059" y="1330269"/>
                </a:lnTo>
                <a:lnTo>
                  <a:pt x="1651059" y="1332551"/>
                </a:lnTo>
                <a:lnTo>
                  <a:pt x="1648776" y="1332551"/>
                </a:lnTo>
                <a:lnTo>
                  <a:pt x="1648776" y="1334833"/>
                </a:lnTo>
                <a:lnTo>
                  <a:pt x="1646492" y="1334833"/>
                </a:lnTo>
                <a:lnTo>
                  <a:pt x="1646492" y="1337115"/>
                </a:lnTo>
                <a:lnTo>
                  <a:pt x="1644208" y="1337115"/>
                </a:lnTo>
                <a:lnTo>
                  <a:pt x="1644208" y="1339397"/>
                </a:lnTo>
                <a:lnTo>
                  <a:pt x="1641925" y="1339397"/>
                </a:lnTo>
                <a:lnTo>
                  <a:pt x="1639641" y="1339397"/>
                </a:lnTo>
                <a:lnTo>
                  <a:pt x="1639641" y="1341679"/>
                </a:lnTo>
                <a:lnTo>
                  <a:pt x="1637358" y="1341679"/>
                </a:lnTo>
                <a:lnTo>
                  <a:pt x="1637358" y="1343961"/>
                </a:lnTo>
                <a:lnTo>
                  <a:pt x="1635074" y="1343961"/>
                </a:lnTo>
                <a:lnTo>
                  <a:pt x="1637358" y="1343961"/>
                </a:lnTo>
                <a:lnTo>
                  <a:pt x="1637358" y="1346242"/>
                </a:lnTo>
                <a:lnTo>
                  <a:pt x="1635074" y="1346242"/>
                </a:lnTo>
                <a:lnTo>
                  <a:pt x="1637358" y="1346242"/>
                </a:lnTo>
                <a:lnTo>
                  <a:pt x="1635074" y="1346242"/>
                </a:lnTo>
                <a:lnTo>
                  <a:pt x="1637358" y="1346242"/>
                </a:lnTo>
                <a:lnTo>
                  <a:pt x="1635074" y="1346242"/>
                </a:lnTo>
                <a:lnTo>
                  <a:pt x="1637358" y="1346242"/>
                </a:lnTo>
                <a:lnTo>
                  <a:pt x="1635074" y="1346242"/>
                </a:lnTo>
                <a:lnTo>
                  <a:pt x="1635074" y="1348524"/>
                </a:lnTo>
                <a:lnTo>
                  <a:pt x="1632790" y="1348524"/>
                </a:lnTo>
                <a:lnTo>
                  <a:pt x="1632790" y="1350797"/>
                </a:lnTo>
                <a:lnTo>
                  <a:pt x="1630507" y="1350797"/>
                </a:lnTo>
                <a:lnTo>
                  <a:pt x="1628223" y="1350797"/>
                </a:lnTo>
                <a:lnTo>
                  <a:pt x="1625939" y="1350797"/>
                </a:lnTo>
                <a:lnTo>
                  <a:pt x="1625939" y="1353088"/>
                </a:lnTo>
                <a:lnTo>
                  <a:pt x="1623656" y="1353088"/>
                </a:lnTo>
                <a:lnTo>
                  <a:pt x="1621372" y="1353088"/>
                </a:lnTo>
                <a:lnTo>
                  <a:pt x="1621372" y="1355361"/>
                </a:lnTo>
                <a:lnTo>
                  <a:pt x="1619089" y="1355361"/>
                </a:lnTo>
                <a:lnTo>
                  <a:pt x="1619089" y="1357642"/>
                </a:lnTo>
                <a:lnTo>
                  <a:pt x="1616805" y="1357642"/>
                </a:lnTo>
                <a:lnTo>
                  <a:pt x="1616805" y="1359924"/>
                </a:lnTo>
                <a:lnTo>
                  <a:pt x="1616805" y="1362206"/>
                </a:lnTo>
                <a:lnTo>
                  <a:pt x="1614522" y="1362206"/>
                </a:lnTo>
                <a:lnTo>
                  <a:pt x="1612238" y="1362206"/>
                </a:lnTo>
                <a:lnTo>
                  <a:pt x="1612238" y="1364488"/>
                </a:lnTo>
                <a:lnTo>
                  <a:pt x="1609954" y="1364488"/>
                </a:lnTo>
                <a:lnTo>
                  <a:pt x="1607671" y="1364488"/>
                </a:lnTo>
                <a:lnTo>
                  <a:pt x="1607671" y="1366770"/>
                </a:lnTo>
                <a:lnTo>
                  <a:pt x="1605387" y="1366770"/>
                </a:lnTo>
                <a:lnTo>
                  <a:pt x="1605387" y="1369052"/>
                </a:lnTo>
                <a:lnTo>
                  <a:pt x="1603104" y="1369052"/>
                </a:lnTo>
                <a:lnTo>
                  <a:pt x="1600820" y="1369052"/>
                </a:lnTo>
                <a:lnTo>
                  <a:pt x="1600820" y="1371334"/>
                </a:lnTo>
                <a:lnTo>
                  <a:pt x="1598537" y="1371334"/>
                </a:lnTo>
                <a:lnTo>
                  <a:pt x="1596253" y="1371334"/>
                </a:lnTo>
                <a:lnTo>
                  <a:pt x="1596253" y="1373616"/>
                </a:lnTo>
                <a:lnTo>
                  <a:pt x="1593969" y="1373616"/>
                </a:lnTo>
                <a:lnTo>
                  <a:pt x="1591686" y="1373616"/>
                </a:lnTo>
                <a:lnTo>
                  <a:pt x="1591686" y="1375898"/>
                </a:lnTo>
                <a:lnTo>
                  <a:pt x="1589402" y="1375898"/>
                </a:lnTo>
                <a:lnTo>
                  <a:pt x="1589402" y="1378179"/>
                </a:lnTo>
                <a:lnTo>
                  <a:pt x="1587118" y="1378179"/>
                </a:lnTo>
                <a:lnTo>
                  <a:pt x="1587118" y="1380461"/>
                </a:lnTo>
                <a:lnTo>
                  <a:pt x="1584835" y="1380461"/>
                </a:lnTo>
                <a:lnTo>
                  <a:pt x="1582551" y="1380461"/>
                </a:lnTo>
                <a:lnTo>
                  <a:pt x="1582551" y="1382743"/>
                </a:lnTo>
                <a:lnTo>
                  <a:pt x="1580268" y="1382743"/>
                </a:lnTo>
                <a:lnTo>
                  <a:pt x="1580268" y="1385025"/>
                </a:lnTo>
                <a:lnTo>
                  <a:pt x="1577984" y="1385025"/>
                </a:lnTo>
                <a:lnTo>
                  <a:pt x="1575700" y="1385025"/>
                </a:lnTo>
                <a:lnTo>
                  <a:pt x="1575700" y="1387307"/>
                </a:lnTo>
                <a:lnTo>
                  <a:pt x="1573417" y="1387307"/>
                </a:lnTo>
                <a:lnTo>
                  <a:pt x="1573417" y="1389589"/>
                </a:lnTo>
                <a:lnTo>
                  <a:pt x="1571133" y="1389589"/>
                </a:lnTo>
                <a:lnTo>
                  <a:pt x="1571133" y="1391871"/>
                </a:lnTo>
                <a:lnTo>
                  <a:pt x="1568850" y="1391871"/>
                </a:lnTo>
                <a:lnTo>
                  <a:pt x="1566566" y="1391871"/>
                </a:lnTo>
                <a:lnTo>
                  <a:pt x="1566566" y="1394153"/>
                </a:lnTo>
                <a:lnTo>
                  <a:pt x="1564283" y="1394153"/>
                </a:lnTo>
                <a:lnTo>
                  <a:pt x="1564283" y="1396435"/>
                </a:lnTo>
                <a:lnTo>
                  <a:pt x="1561999" y="1396435"/>
                </a:lnTo>
                <a:lnTo>
                  <a:pt x="1561999" y="1398717"/>
                </a:lnTo>
                <a:lnTo>
                  <a:pt x="1559715" y="1398717"/>
                </a:lnTo>
                <a:lnTo>
                  <a:pt x="1557432" y="1398717"/>
                </a:lnTo>
                <a:lnTo>
                  <a:pt x="1557432" y="1400998"/>
                </a:lnTo>
                <a:lnTo>
                  <a:pt x="1555148" y="1400998"/>
                </a:lnTo>
                <a:lnTo>
                  <a:pt x="1552864" y="1400998"/>
                </a:lnTo>
                <a:lnTo>
                  <a:pt x="1552864" y="1403280"/>
                </a:lnTo>
                <a:lnTo>
                  <a:pt x="1550581" y="1403280"/>
                </a:lnTo>
                <a:lnTo>
                  <a:pt x="1550581" y="1405562"/>
                </a:lnTo>
                <a:lnTo>
                  <a:pt x="1548297" y="1405562"/>
                </a:lnTo>
                <a:lnTo>
                  <a:pt x="1548297" y="1407844"/>
                </a:lnTo>
                <a:lnTo>
                  <a:pt x="1548297" y="1410126"/>
                </a:lnTo>
                <a:lnTo>
                  <a:pt x="1546014" y="1410126"/>
                </a:lnTo>
                <a:lnTo>
                  <a:pt x="1546014" y="1412408"/>
                </a:lnTo>
                <a:lnTo>
                  <a:pt x="1543730" y="1412408"/>
                </a:lnTo>
                <a:lnTo>
                  <a:pt x="1543730" y="1414690"/>
                </a:lnTo>
                <a:lnTo>
                  <a:pt x="1541447" y="1414690"/>
                </a:lnTo>
                <a:lnTo>
                  <a:pt x="1539163" y="1414690"/>
                </a:lnTo>
                <a:lnTo>
                  <a:pt x="1536879" y="1414690"/>
                </a:lnTo>
                <a:lnTo>
                  <a:pt x="1534596" y="1414690"/>
                </a:lnTo>
                <a:lnTo>
                  <a:pt x="1534596" y="1416972"/>
                </a:lnTo>
                <a:lnTo>
                  <a:pt x="1532312" y="1416972"/>
                </a:lnTo>
                <a:lnTo>
                  <a:pt x="1530029" y="1416972"/>
                </a:lnTo>
                <a:lnTo>
                  <a:pt x="1530029" y="1419254"/>
                </a:lnTo>
                <a:lnTo>
                  <a:pt x="1530029" y="1416972"/>
                </a:lnTo>
                <a:lnTo>
                  <a:pt x="1527745" y="1416972"/>
                </a:lnTo>
                <a:lnTo>
                  <a:pt x="1527745" y="1419254"/>
                </a:lnTo>
                <a:lnTo>
                  <a:pt x="1525461" y="1419254"/>
                </a:lnTo>
                <a:lnTo>
                  <a:pt x="1525461" y="1421535"/>
                </a:lnTo>
                <a:lnTo>
                  <a:pt x="1523178" y="1421535"/>
                </a:lnTo>
                <a:lnTo>
                  <a:pt x="1523178" y="1423817"/>
                </a:lnTo>
                <a:lnTo>
                  <a:pt x="1523178" y="1421535"/>
                </a:lnTo>
                <a:lnTo>
                  <a:pt x="1523178" y="1423817"/>
                </a:lnTo>
                <a:lnTo>
                  <a:pt x="1520894" y="1423817"/>
                </a:lnTo>
                <a:lnTo>
                  <a:pt x="1520894" y="1421535"/>
                </a:lnTo>
                <a:lnTo>
                  <a:pt x="1520894" y="1423817"/>
                </a:lnTo>
                <a:lnTo>
                  <a:pt x="1518610" y="1423817"/>
                </a:lnTo>
                <a:lnTo>
                  <a:pt x="1518610" y="1426099"/>
                </a:lnTo>
                <a:lnTo>
                  <a:pt x="1518610" y="1428381"/>
                </a:lnTo>
                <a:lnTo>
                  <a:pt x="1516327" y="1428381"/>
                </a:lnTo>
                <a:lnTo>
                  <a:pt x="1516327" y="1430663"/>
                </a:lnTo>
                <a:lnTo>
                  <a:pt x="1516327" y="1432945"/>
                </a:lnTo>
                <a:lnTo>
                  <a:pt x="1516327" y="1430663"/>
                </a:lnTo>
                <a:lnTo>
                  <a:pt x="1514043" y="1430663"/>
                </a:lnTo>
                <a:lnTo>
                  <a:pt x="1514043" y="1432945"/>
                </a:lnTo>
                <a:lnTo>
                  <a:pt x="1511760" y="1432945"/>
                </a:lnTo>
                <a:lnTo>
                  <a:pt x="1511760" y="1435227"/>
                </a:lnTo>
                <a:lnTo>
                  <a:pt x="1511760" y="1437509"/>
                </a:lnTo>
                <a:lnTo>
                  <a:pt x="1509476" y="1437509"/>
                </a:lnTo>
                <a:lnTo>
                  <a:pt x="1509476" y="1439791"/>
                </a:lnTo>
                <a:lnTo>
                  <a:pt x="1507193" y="1439791"/>
                </a:lnTo>
                <a:lnTo>
                  <a:pt x="1504909" y="1439791"/>
                </a:lnTo>
                <a:lnTo>
                  <a:pt x="1502625" y="1439791"/>
                </a:lnTo>
                <a:lnTo>
                  <a:pt x="1502625" y="1442073"/>
                </a:lnTo>
                <a:lnTo>
                  <a:pt x="1502625" y="1439791"/>
                </a:lnTo>
                <a:lnTo>
                  <a:pt x="1500342" y="1442073"/>
                </a:lnTo>
                <a:lnTo>
                  <a:pt x="1498058" y="1442073"/>
                </a:lnTo>
                <a:lnTo>
                  <a:pt x="1495775" y="1442073"/>
                </a:lnTo>
                <a:lnTo>
                  <a:pt x="1493491" y="1442073"/>
                </a:lnTo>
                <a:lnTo>
                  <a:pt x="1493491" y="1444354"/>
                </a:lnTo>
                <a:lnTo>
                  <a:pt x="1491208" y="1444354"/>
                </a:lnTo>
                <a:lnTo>
                  <a:pt x="1488924" y="1444354"/>
                </a:lnTo>
                <a:lnTo>
                  <a:pt x="1488924" y="1446636"/>
                </a:lnTo>
                <a:lnTo>
                  <a:pt x="1486640" y="1446636"/>
                </a:lnTo>
                <a:lnTo>
                  <a:pt x="1484357" y="1448918"/>
                </a:lnTo>
                <a:lnTo>
                  <a:pt x="1484357" y="1451200"/>
                </a:lnTo>
                <a:lnTo>
                  <a:pt x="1482073" y="1451200"/>
                </a:lnTo>
                <a:lnTo>
                  <a:pt x="1482073" y="1453482"/>
                </a:lnTo>
                <a:lnTo>
                  <a:pt x="1479789" y="1453482"/>
                </a:lnTo>
                <a:lnTo>
                  <a:pt x="1477506" y="1453482"/>
                </a:lnTo>
                <a:lnTo>
                  <a:pt x="1475222" y="1455764"/>
                </a:lnTo>
                <a:lnTo>
                  <a:pt x="1472939" y="1455764"/>
                </a:lnTo>
                <a:lnTo>
                  <a:pt x="1472939" y="1458046"/>
                </a:lnTo>
                <a:lnTo>
                  <a:pt x="1470655" y="1458046"/>
                </a:lnTo>
                <a:lnTo>
                  <a:pt x="1468371" y="1458046"/>
                </a:lnTo>
                <a:lnTo>
                  <a:pt x="1466088" y="1458046"/>
                </a:lnTo>
                <a:lnTo>
                  <a:pt x="1463804" y="1458046"/>
                </a:lnTo>
                <a:lnTo>
                  <a:pt x="1461521" y="1460328"/>
                </a:lnTo>
                <a:lnTo>
                  <a:pt x="1459227" y="1460328"/>
                </a:lnTo>
                <a:lnTo>
                  <a:pt x="1456954" y="1460328"/>
                </a:lnTo>
                <a:lnTo>
                  <a:pt x="1454660" y="1460328"/>
                </a:lnTo>
                <a:lnTo>
                  <a:pt x="1454660" y="1462610"/>
                </a:lnTo>
                <a:lnTo>
                  <a:pt x="1452377" y="1462610"/>
                </a:lnTo>
                <a:lnTo>
                  <a:pt x="1450103" y="1462610"/>
                </a:lnTo>
                <a:lnTo>
                  <a:pt x="1447810" y="1462610"/>
                </a:lnTo>
                <a:lnTo>
                  <a:pt x="1447810" y="1464891"/>
                </a:lnTo>
                <a:lnTo>
                  <a:pt x="1445526" y="1464891"/>
                </a:lnTo>
                <a:lnTo>
                  <a:pt x="1445526" y="1467174"/>
                </a:lnTo>
                <a:lnTo>
                  <a:pt x="1443252" y="1467174"/>
                </a:lnTo>
                <a:lnTo>
                  <a:pt x="1443252" y="1469455"/>
                </a:lnTo>
                <a:lnTo>
                  <a:pt x="1440959" y="1469455"/>
                </a:lnTo>
                <a:lnTo>
                  <a:pt x="1438675" y="1469455"/>
                </a:lnTo>
                <a:lnTo>
                  <a:pt x="1436392" y="1469455"/>
                </a:lnTo>
                <a:lnTo>
                  <a:pt x="1436392" y="1471737"/>
                </a:lnTo>
                <a:lnTo>
                  <a:pt x="1436392" y="1474019"/>
                </a:lnTo>
                <a:lnTo>
                  <a:pt x="1434108" y="1474019"/>
                </a:lnTo>
                <a:lnTo>
                  <a:pt x="1431824" y="1474019"/>
                </a:lnTo>
                <a:lnTo>
                  <a:pt x="1431824" y="1476301"/>
                </a:lnTo>
                <a:lnTo>
                  <a:pt x="1429541" y="1476301"/>
                </a:lnTo>
                <a:lnTo>
                  <a:pt x="1429541" y="1478583"/>
                </a:lnTo>
                <a:lnTo>
                  <a:pt x="1427257" y="1478583"/>
                </a:lnTo>
                <a:lnTo>
                  <a:pt x="1427257" y="1480865"/>
                </a:lnTo>
                <a:lnTo>
                  <a:pt x="1424983" y="1480865"/>
                </a:lnTo>
                <a:lnTo>
                  <a:pt x="1422690" y="1480865"/>
                </a:lnTo>
                <a:lnTo>
                  <a:pt x="1420406" y="1480865"/>
                </a:lnTo>
                <a:lnTo>
                  <a:pt x="1420406" y="1483147"/>
                </a:lnTo>
                <a:lnTo>
                  <a:pt x="1418123" y="1483147"/>
                </a:lnTo>
                <a:lnTo>
                  <a:pt x="1415839" y="1483147"/>
                </a:lnTo>
                <a:lnTo>
                  <a:pt x="1413556" y="1483147"/>
                </a:lnTo>
                <a:lnTo>
                  <a:pt x="1411272" y="1483147"/>
                </a:lnTo>
                <a:lnTo>
                  <a:pt x="1408988" y="1483147"/>
                </a:lnTo>
                <a:lnTo>
                  <a:pt x="1408988" y="1485429"/>
                </a:lnTo>
                <a:lnTo>
                  <a:pt x="1406705" y="1485429"/>
                </a:lnTo>
                <a:lnTo>
                  <a:pt x="1404421" y="1485429"/>
                </a:lnTo>
                <a:lnTo>
                  <a:pt x="1402138" y="1485429"/>
                </a:lnTo>
                <a:lnTo>
                  <a:pt x="1402138" y="1487710"/>
                </a:lnTo>
                <a:lnTo>
                  <a:pt x="1399854" y="1487710"/>
                </a:lnTo>
                <a:lnTo>
                  <a:pt x="1397571" y="1487710"/>
                </a:lnTo>
                <a:lnTo>
                  <a:pt x="1395287" y="1487710"/>
                </a:lnTo>
                <a:lnTo>
                  <a:pt x="1395287" y="1489992"/>
                </a:lnTo>
                <a:lnTo>
                  <a:pt x="1393003" y="1489992"/>
                </a:lnTo>
                <a:lnTo>
                  <a:pt x="1390720" y="1489992"/>
                </a:lnTo>
                <a:lnTo>
                  <a:pt x="1388436" y="1489992"/>
                </a:lnTo>
                <a:lnTo>
                  <a:pt x="1386152" y="1489992"/>
                </a:lnTo>
                <a:lnTo>
                  <a:pt x="1386152" y="1492274"/>
                </a:lnTo>
                <a:lnTo>
                  <a:pt x="1383869" y="1492274"/>
                </a:lnTo>
                <a:lnTo>
                  <a:pt x="1381585" y="1492274"/>
                </a:lnTo>
                <a:lnTo>
                  <a:pt x="1379302" y="1492274"/>
                </a:lnTo>
                <a:lnTo>
                  <a:pt x="1379302" y="1494556"/>
                </a:lnTo>
                <a:lnTo>
                  <a:pt x="1377018" y="1494556"/>
                </a:lnTo>
                <a:lnTo>
                  <a:pt x="1379302" y="1494556"/>
                </a:lnTo>
                <a:lnTo>
                  <a:pt x="1377018" y="1494556"/>
                </a:lnTo>
                <a:lnTo>
                  <a:pt x="1377018" y="1496838"/>
                </a:lnTo>
                <a:lnTo>
                  <a:pt x="1374734" y="1496838"/>
                </a:lnTo>
                <a:lnTo>
                  <a:pt x="1374734" y="1499120"/>
                </a:lnTo>
                <a:lnTo>
                  <a:pt x="1372451" y="1499120"/>
                </a:lnTo>
                <a:lnTo>
                  <a:pt x="1370167" y="1499120"/>
                </a:lnTo>
                <a:lnTo>
                  <a:pt x="1367884" y="1499120"/>
                </a:lnTo>
                <a:lnTo>
                  <a:pt x="1367884" y="1501402"/>
                </a:lnTo>
                <a:lnTo>
                  <a:pt x="1367884" y="1503684"/>
                </a:lnTo>
                <a:lnTo>
                  <a:pt x="1365600" y="1503684"/>
                </a:lnTo>
                <a:lnTo>
                  <a:pt x="1363317" y="1503684"/>
                </a:lnTo>
                <a:lnTo>
                  <a:pt x="1363317" y="1505956"/>
                </a:lnTo>
                <a:lnTo>
                  <a:pt x="1361033" y="1505956"/>
                </a:lnTo>
                <a:lnTo>
                  <a:pt x="1358749" y="1505956"/>
                </a:lnTo>
                <a:lnTo>
                  <a:pt x="1358749" y="1508247"/>
                </a:lnTo>
                <a:lnTo>
                  <a:pt x="1356466" y="1508247"/>
                </a:lnTo>
                <a:lnTo>
                  <a:pt x="1356466" y="1510520"/>
                </a:lnTo>
                <a:lnTo>
                  <a:pt x="1354182" y="1510520"/>
                </a:lnTo>
                <a:lnTo>
                  <a:pt x="1351898" y="1510520"/>
                </a:lnTo>
                <a:lnTo>
                  <a:pt x="1349615" y="1510520"/>
                </a:lnTo>
                <a:lnTo>
                  <a:pt x="1349615" y="1512802"/>
                </a:lnTo>
                <a:lnTo>
                  <a:pt x="1347331" y="1512802"/>
                </a:lnTo>
                <a:lnTo>
                  <a:pt x="1347331" y="1515084"/>
                </a:lnTo>
                <a:lnTo>
                  <a:pt x="1345048" y="1515084"/>
                </a:lnTo>
                <a:lnTo>
                  <a:pt x="1342764" y="1515084"/>
                </a:lnTo>
                <a:lnTo>
                  <a:pt x="1342764" y="1517366"/>
                </a:lnTo>
                <a:lnTo>
                  <a:pt x="1342764" y="1519648"/>
                </a:lnTo>
                <a:lnTo>
                  <a:pt x="1340481" y="1519648"/>
                </a:lnTo>
                <a:lnTo>
                  <a:pt x="1338197" y="1519648"/>
                </a:lnTo>
                <a:lnTo>
                  <a:pt x="1335913" y="1519648"/>
                </a:lnTo>
                <a:lnTo>
                  <a:pt x="1333630" y="1519648"/>
                </a:lnTo>
                <a:lnTo>
                  <a:pt x="1331346" y="1519648"/>
                </a:lnTo>
                <a:lnTo>
                  <a:pt x="1331346" y="1521929"/>
                </a:lnTo>
                <a:lnTo>
                  <a:pt x="1329063" y="1521929"/>
                </a:lnTo>
                <a:lnTo>
                  <a:pt x="1329063" y="1524211"/>
                </a:lnTo>
                <a:lnTo>
                  <a:pt x="1326779" y="1524211"/>
                </a:lnTo>
                <a:lnTo>
                  <a:pt x="1326779" y="1526493"/>
                </a:lnTo>
                <a:lnTo>
                  <a:pt x="1324495" y="1526493"/>
                </a:lnTo>
                <a:lnTo>
                  <a:pt x="1324495" y="1528775"/>
                </a:lnTo>
                <a:lnTo>
                  <a:pt x="1322212" y="1528775"/>
                </a:lnTo>
                <a:lnTo>
                  <a:pt x="1319928" y="1528775"/>
                </a:lnTo>
                <a:lnTo>
                  <a:pt x="1319928" y="1531057"/>
                </a:lnTo>
                <a:lnTo>
                  <a:pt x="1317644" y="1531057"/>
                </a:lnTo>
                <a:lnTo>
                  <a:pt x="1317644" y="1533339"/>
                </a:lnTo>
                <a:lnTo>
                  <a:pt x="1315361" y="1533339"/>
                </a:lnTo>
                <a:lnTo>
                  <a:pt x="1313077" y="1533339"/>
                </a:lnTo>
                <a:lnTo>
                  <a:pt x="1310794" y="1533339"/>
                </a:lnTo>
                <a:lnTo>
                  <a:pt x="1308510" y="1533339"/>
                </a:lnTo>
                <a:lnTo>
                  <a:pt x="1308510" y="1535621"/>
                </a:lnTo>
                <a:lnTo>
                  <a:pt x="1306227" y="1535621"/>
                </a:lnTo>
                <a:lnTo>
                  <a:pt x="1303943" y="1535621"/>
                </a:lnTo>
                <a:lnTo>
                  <a:pt x="1301659" y="1535621"/>
                </a:lnTo>
                <a:lnTo>
                  <a:pt x="1301659" y="1537903"/>
                </a:lnTo>
                <a:lnTo>
                  <a:pt x="1299376" y="1537903"/>
                </a:lnTo>
                <a:lnTo>
                  <a:pt x="1297092" y="1537903"/>
                </a:lnTo>
                <a:lnTo>
                  <a:pt x="1297092" y="1540185"/>
                </a:lnTo>
                <a:lnTo>
                  <a:pt x="1297092" y="1537903"/>
                </a:lnTo>
                <a:lnTo>
                  <a:pt x="1294809" y="1537903"/>
                </a:lnTo>
                <a:lnTo>
                  <a:pt x="1292525" y="1540185"/>
                </a:lnTo>
                <a:lnTo>
                  <a:pt x="1290242" y="1540185"/>
                </a:lnTo>
                <a:lnTo>
                  <a:pt x="1287958" y="1540185"/>
                </a:lnTo>
                <a:lnTo>
                  <a:pt x="1287958" y="1542466"/>
                </a:lnTo>
                <a:lnTo>
                  <a:pt x="1287958" y="1540185"/>
                </a:lnTo>
                <a:lnTo>
                  <a:pt x="1287958" y="1542466"/>
                </a:lnTo>
                <a:lnTo>
                  <a:pt x="1285674" y="1542466"/>
                </a:lnTo>
                <a:lnTo>
                  <a:pt x="1283391" y="1542466"/>
                </a:lnTo>
                <a:lnTo>
                  <a:pt x="1283391" y="1540185"/>
                </a:lnTo>
                <a:lnTo>
                  <a:pt x="1283391" y="1542466"/>
                </a:lnTo>
                <a:lnTo>
                  <a:pt x="1281107" y="1542466"/>
                </a:lnTo>
                <a:lnTo>
                  <a:pt x="1281107" y="1540185"/>
                </a:lnTo>
                <a:lnTo>
                  <a:pt x="1278823" y="1540185"/>
                </a:lnTo>
                <a:lnTo>
                  <a:pt x="1276540" y="1540185"/>
                </a:lnTo>
                <a:lnTo>
                  <a:pt x="1274256" y="1540185"/>
                </a:lnTo>
                <a:lnTo>
                  <a:pt x="1274256" y="1537903"/>
                </a:lnTo>
                <a:lnTo>
                  <a:pt x="1271973" y="1537903"/>
                </a:lnTo>
                <a:lnTo>
                  <a:pt x="1269689" y="1537903"/>
                </a:lnTo>
                <a:lnTo>
                  <a:pt x="1267405" y="1537903"/>
                </a:lnTo>
                <a:lnTo>
                  <a:pt x="1265122" y="1537903"/>
                </a:lnTo>
                <a:lnTo>
                  <a:pt x="1262838" y="1537903"/>
                </a:lnTo>
                <a:lnTo>
                  <a:pt x="1260555" y="1537903"/>
                </a:lnTo>
                <a:lnTo>
                  <a:pt x="1258271" y="1537903"/>
                </a:lnTo>
                <a:lnTo>
                  <a:pt x="1255988" y="1537903"/>
                </a:lnTo>
                <a:lnTo>
                  <a:pt x="1255988" y="1535621"/>
                </a:lnTo>
                <a:lnTo>
                  <a:pt x="1255988" y="1537903"/>
                </a:lnTo>
                <a:lnTo>
                  <a:pt x="1255988" y="1535621"/>
                </a:lnTo>
                <a:lnTo>
                  <a:pt x="1255988" y="1537903"/>
                </a:lnTo>
                <a:lnTo>
                  <a:pt x="1253704" y="1537903"/>
                </a:lnTo>
                <a:lnTo>
                  <a:pt x="1251420" y="1537903"/>
                </a:lnTo>
                <a:lnTo>
                  <a:pt x="1249137" y="1537903"/>
                </a:lnTo>
                <a:lnTo>
                  <a:pt x="1246853" y="1537903"/>
                </a:lnTo>
                <a:lnTo>
                  <a:pt x="1244569" y="1537903"/>
                </a:lnTo>
                <a:lnTo>
                  <a:pt x="1244569" y="1540185"/>
                </a:lnTo>
                <a:lnTo>
                  <a:pt x="1242286" y="1540185"/>
                </a:lnTo>
                <a:lnTo>
                  <a:pt x="1240002" y="1540185"/>
                </a:lnTo>
                <a:lnTo>
                  <a:pt x="1237719" y="1540185"/>
                </a:lnTo>
                <a:lnTo>
                  <a:pt x="1235435" y="1540185"/>
                </a:lnTo>
                <a:lnTo>
                  <a:pt x="1233152" y="1540185"/>
                </a:lnTo>
                <a:lnTo>
                  <a:pt x="1230868" y="1540185"/>
                </a:lnTo>
                <a:lnTo>
                  <a:pt x="1230868" y="1537903"/>
                </a:lnTo>
                <a:lnTo>
                  <a:pt x="1230868" y="1540185"/>
                </a:lnTo>
                <a:lnTo>
                  <a:pt x="1230868" y="1537903"/>
                </a:lnTo>
                <a:lnTo>
                  <a:pt x="1228584" y="1537903"/>
                </a:lnTo>
                <a:lnTo>
                  <a:pt x="1226301" y="1537903"/>
                </a:lnTo>
                <a:lnTo>
                  <a:pt x="1224017" y="1537903"/>
                </a:lnTo>
                <a:lnTo>
                  <a:pt x="1224017" y="1535621"/>
                </a:lnTo>
                <a:lnTo>
                  <a:pt x="1221734" y="1535621"/>
                </a:lnTo>
                <a:lnTo>
                  <a:pt x="1219450" y="1535621"/>
                </a:lnTo>
                <a:lnTo>
                  <a:pt x="1219450" y="1533339"/>
                </a:lnTo>
                <a:lnTo>
                  <a:pt x="1217166" y="1533339"/>
                </a:lnTo>
                <a:lnTo>
                  <a:pt x="1214883" y="1533339"/>
                </a:lnTo>
                <a:lnTo>
                  <a:pt x="1214883" y="1531057"/>
                </a:lnTo>
                <a:lnTo>
                  <a:pt x="1212599" y="1531057"/>
                </a:lnTo>
                <a:lnTo>
                  <a:pt x="1210315" y="1531057"/>
                </a:lnTo>
                <a:lnTo>
                  <a:pt x="1208032" y="1531057"/>
                </a:lnTo>
                <a:lnTo>
                  <a:pt x="1208032" y="1528775"/>
                </a:lnTo>
                <a:lnTo>
                  <a:pt x="1205748" y="1528775"/>
                </a:lnTo>
                <a:lnTo>
                  <a:pt x="1203465" y="1528775"/>
                </a:lnTo>
                <a:lnTo>
                  <a:pt x="1203465" y="1526493"/>
                </a:lnTo>
                <a:lnTo>
                  <a:pt x="1201181" y="1526493"/>
                </a:lnTo>
                <a:lnTo>
                  <a:pt x="1198898" y="1526493"/>
                </a:lnTo>
                <a:lnTo>
                  <a:pt x="1196614" y="1526493"/>
                </a:lnTo>
                <a:lnTo>
                  <a:pt x="1196614" y="1524211"/>
                </a:lnTo>
                <a:lnTo>
                  <a:pt x="1194330" y="1524211"/>
                </a:lnTo>
                <a:lnTo>
                  <a:pt x="1192047" y="1524211"/>
                </a:lnTo>
                <a:lnTo>
                  <a:pt x="1189763" y="1524211"/>
                </a:lnTo>
                <a:lnTo>
                  <a:pt x="1189763" y="1521929"/>
                </a:lnTo>
                <a:lnTo>
                  <a:pt x="1187480" y="1521929"/>
                </a:lnTo>
                <a:lnTo>
                  <a:pt x="1185196" y="1521929"/>
                </a:lnTo>
                <a:lnTo>
                  <a:pt x="1182913" y="1521929"/>
                </a:lnTo>
                <a:lnTo>
                  <a:pt x="1180629" y="1521929"/>
                </a:lnTo>
                <a:lnTo>
                  <a:pt x="1180629" y="1519648"/>
                </a:lnTo>
                <a:lnTo>
                  <a:pt x="1178345" y="1519648"/>
                </a:lnTo>
                <a:lnTo>
                  <a:pt x="1176062" y="1519648"/>
                </a:lnTo>
                <a:lnTo>
                  <a:pt x="1173778" y="1519648"/>
                </a:lnTo>
                <a:lnTo>
                  <a:pt x="1171494" y="1519648"/>
                </a:lnTo>
                <a:lnTo>
                  <a:pt x="1171494" y="1517366"/>
                </a:lnTo>
                <a:lnTo>
                  <a:pt x="1169211" y="1517366"/>
                </a:lnTo>
                <a:lnTo>
                  <a:pt x="1166927" y="1517366"/>
                </a:lnTo>
                <a:lnTo>
                  <a:pt x="1164644" y="1517366"/>
                </a:lnTo>
                <a:lnTo>
                  <a:pt x="1162360" y="1517366"/>
                </a:lnTo>
                <a:lnTo>
                  <a:pt x="1160076" y="1517366"/>
                </a:lnTo>
                <a:lnTo>
                  <a:pt x="1157793" y="1517366"/>
                </a:lnTo>
                <a:lnTo>
                  <a:pt x="1155509" y="1517366"/>
                </a:lnTo>
                <a:lnTo>
                  <a:pt x="1155509" y="1515084"/>
                </a:lnTo>
                <a:lnTo>
                  <a:pt x="1155509" y="1517366"/>
                </a:lnTo>
                <a:lnTo>
                  <a:pt x="1155509" y="1515084"/>
                </a:lnTo>
                <a:lnTo>
                  <a:pt x="1153226" y="1515084"/>
                </a:lnTo>
                <a:lnTo>
                  <a:pt x="1150942" y="1515084"/>
                </a:lnTo>
                <a:lnTo>
                  <a:pt x="1148659" y="1515084"/>
                </a:lnTo>
                <a:lnTo>
                  <a:pt x="1146375" y="1515084"/>
                </a:lnTo>
                <a:lnTo>
                  <a:pt x="1144091" y="1515084"/>
                </a:lnTo>
                <a:lnTo>
                  <a:pt x="1141808" y="1515084"/>
                </a:lnTo>
                <a:lnTo>
                  <a:pt x="1139524" y="1515084"/>
                </a:lnTo>
                <a:lnTo>
                  <a:pt x="1137240" y="1515084"/>
                </a:lnTo>
                <a:lnTo>
                  <a:pt x="1134957" y="1515084"/>
                </a:lnTo>
                <a:lnTo>
                  <a:pt x="1132673" y="1515084"/>
                </a:lnTo>
                <a:lnTo>
                  <a:pt x="1130390" y="1515084"/>
                </a:lnTo>
                <a:lnTo>
                  <a:pt x="1128106" y="1515084"/>
                </a:lnTo>
                <a:lnTo>
                  <a:pt x="1125823" y="1515084"/>
                </a:lnTo>
                <a:lnTo>
                  <a:pt x="1123539" y="1515084"/>
                </a:lnTo>
                <a:lnTo>
                  <a:pt x="1121255" y="1515084"/>
                </a:lnTo>
                <a:lnTo>
                  <a:pt x="1121255" y="1517366"/>
                </a:lnTo>
                <a:lnTo>
                  <a:pt x="1118972" y="1517366"/>
                </a:lnTo>
                <a:lnTo>
                  <a:pt x="1116688" y="1517366"/>
                </a:lnTo>
                <a:lnTo>
                  <a:pt x="1114405" y="1517366"/>
                </a:lnTo>
                <a:lnTo>
                  <a:pt x="1112121" y="1517366"/>
                </a:lnTo>
                <a:lnTo>
                  <a:pt x="1109837" y="1517366"/>
                </a:lnTo>
                <a:lnTo>
                  <a:pt x="1107554" y="1517366"/>
                </a:lnTo>
                <a:lnTo>
                  <a:pt x="1105270" y="1517366"/>
                </a:lnTo>
                <a:lnTo>
                  <a:pt x="1102986" y="1517366"/>
                </a:lnTo>
                <a:lnTo>
                  <a:pt x="1100703" y="1517366"/>
                </a:lnTo>
                <a:lnTo>
                  <a:pt x="1098419" y="1517366"/>
                </a:lnTo>
                <a:lnTo>
                  <a:pt x="1098419" y="1519648"/>
                </a:lnTo>
                <a:lnTo>
                  <a:pt x="1096136" y="1519648"/>
                </a:lnTo>
                <a:lnTo>
                  <a:pt x="1093852" y="1519648"/>
                </a:lnTo>
                <a:lnTo>
                  <a:pt x="1091569" y="1519648"/>
                </a:lnTo>
                <a:lnTo>
                  <a:pt x="1089285" y="1519648"/>
                </a:lnTo>
                <a:lnTo>
                  <a:pt x="1087001" y="1519648"/>
                </a:lnTo>
                <a:lnTo>
                  <a:pt x="1084718" y="1521929"/>
                </a:lnTo>
                <a:lnTo>
                  <a:pt x="1082434" y="1521929"/>
                </a:lnTo>
                <a:lnTo>
                  <a:pt x="1080151" y="1521929"/>
                </a:lnTo>
                <a:lnTo>
                  <a:pt x="1077867" y="1521929"/>
                </a:lnTo>
                <a:lnTo>
                  <a:pt x="1075584" y="1521929"/>
                </a:lnTo>
                <a:lnTo>
                  <a:pt x="1075584" y="1524211"/>
                </a:lnTo>
                <a:lnTo>
                  <a:pt x="1073300" y="1524211"/>
                </a:lnTo>
                <a:lnTo>
                  <a:pt x="1071016" y="1524211"/>
                </a:lnTo>
                <a:lnTo>
                  <a:pt x="1068733" y="1524211"/>
                </a:lnTo>
                <a:lnTo>
                  <a:pt x="1068733" y="1526493"/>
                </a:lnTo>
                <a:lnTo>
                  <a:pt x="1066449" y="1526493"/>
                </a:lnTo>
                <a:lnTo>
                  <a:pt x="1064165" y="1526493"/>
                </a:lnTo>
                <a:lnTo>
                  <a:pt x="1064165" y="1528775"/>
                </a:lnTo>
                <a:lnTo>
                  <a:pt x="1061882" y="1528775"/>
                </a:lnTo>
                <a:lnTo>
                  <a:pt x="1059598" y="1528775"/>
                </a:lnTo>
                <a:lnTo>
                  <a:pt x="1059598" y="1531057"/>
                </a:lnTo>
                <a:lnTo>
                  <a:pt x="1057315" y="1531057"/>
                </a:lnTo>
                <a:lnTo>
                  <a:pt x="1055031" y="1531057"/>
                </a:lnTo>
                <a:lnTo>
                  <a:pt x="1055031" y="1533339"/>
                </a:lnTo>
                <a:lnTo>
                  <a:pt x="1052747" y="1533339"/>
                </a:lnTo>
                <a:lnTo>
                  <a:pt x="1050464" y="1533339"/>
                </a:lnTo>
                <a:lnTo>
                  <a:pt x="1050464" y="1535621"/>
                </a:lnTo>
                <a:lnTo>
                  <a:pt x="1048180" y="1535621"/>
                </a:lnTo>
                <a:lnTo>
                  <a:pt x="1045897" y="1537903"/>
                </a:lnTo>
                <a:lnTo>
                  <a:pt x="1043613" y="1540185"/>
                </a:lnTo>
                <a:lnTo>
                  <a:pt x="1041330" y="1540185"/>
                </a:lnTo>
                <a:lnTo>
                  <a:pt x="1041330" y="1542466"/>
                </a:lnTo>
                <a:lnTo>
                  <a:pt x="1039046" y="1542466"/>
                </a:lnTo>
                <a:lnTo>
                  <a:pt x="1036762" y="1542466"/>
                </a:lnTo>
                <a:lnTo>
                  <a:pt x="1036762" y="1544748"/>
                </a:lnTo>
                <a:lnTo>
                  <a:pt x="1034479" y="1544748"/>
                </a:lnTo>
                <a:lnTo>
                  <a:pt x="1034479" y="1547030"/>
                </a:lnTo>
                <a:lnTo>
                  <a:pt x="1032195" y="1547030"/>
                </a:lnTo>
                <a:lnTo>
                  <a:pt x="1029911" y="1547030"/>
                </a:lnTo>
                <a:lnTo>
                  <a:pt x="1029911" y="1549312"/>
                </a:lnTo>
                <a:lnTo>
                  <a:pt x="1027628" y="1549312"/>
                </a:lnTo>
                <a:lnTo>
                  <a:pt x="1027628" y="1551594"/>
                </a:lnTo>
                <a:lnTo>
                  <a:pt x="1025344" y="1551594"/>
                </a:lnTo>
                <a:lnTo>
                  <a:pt x="1025344" y="1553876"/>
                </a:lnTo>
                <a:lnTo>
                  <a:pt x="1023061" y="1553876"/>
                </a:lnTo>
                <a:lnTo>
                  <a:pt x="1023061" y="1556158"/>
                </a:lnTo>
                <a:lnTo>
                  <a:pt x="1023061" y="1563004"/>
                </a:lnTo>
                <a:lnTo>
                  <a:pt x="1020777" y="1563004"/>
                </a:lnTo>
                <a:lnTo>
                  <a:pt x="1023061" y="1560722"/>
                </a:lnTo>
                <a:lnTo>
                  <a:pt x="1023061" y="1558440"/>
                </a:lnTo>
                <a:lnTo>
                  <a:pt x="1023061" y="1556158"/>
                </a:lnTo>
                <a:lnTo>
                  <a:pt x="1023061" y="1553876"/>
                </a:lnTo>
                <a:lnTo>
                  <a:pt x="1020777" y="1553876"/>
                </a:lnTo>
                <a:lnTo>
                  <a:pt x="1018494" y="1553876"/>
                </a:lnTo>
                <a:lnTo>
                  <a:pt x="1020777" y="1556158"/>
                </a:lnTo>
                <a:lnTo>
                  <a:pt x="1018494" y="1553876"/>
                </a:lnTo>
                <a:lnTo>
                  <a:pt x="1018494" y="1556158"/>
                </a:lnTo>
                <a:lnTo>
                  <a:pt x="1018494" y="1558440"/>
                </a:lnTo>
                <a:lnTo>
                  <a:pt x="1020777" y="1558440"/>
                </a:lnTo>
                <a:lnTo>
                  <a:pt x="1020777" y="1560722"/>
                </a:lnTo>
                <a:lnTo>
                  <a:pt x="1020777" y="1558440"/>
                </a:lnTo>
                <a:lnTo>
                  <a:pt x="1020777" y="1560722"/>
                </a:lnTo>
                <a:lnTo>
                  <a:pt x="1018494" y="1560722"/>
                </a:lnTo>
                <a:lnTo>
                  <a:pt x="1016210" y="1560722"/>
                </a:lnTo>
                <a:lnTo>
                  <a:pt x="1016210" y="1558440"/>
                </a:lnTo>
                <a:lnTo>
                  <a:pt x="1016210" y="1560722"/>
                </a:lnTo>
                <a:lnTo>
                  <a:pt x="1013926" y="1560722"/>
                </a:lnTo>
                <a:lnTo>
                  <a:pt x="1013926" y="1563004"/>
                </a:lnTo>
                <a:lnTo>
                  <a:pt x="1013926" y="1565286"/>
                </a:lnTo>
                <a:lnTo>
                  <a:pt x="1011643" y="1565286"/>
                </a:lnTo>
                <a:lnTo>
                  <a:pt x="1011643" y="1567567"/>
                </a:lnTo>
                <a:lnTo>
                  <a:pt x="1009359" y="1567567"/>
                </a:lnTo>
                <a:lnTo>
                  <a:pt x="1009359" y="1569849"/>
                </a:lnTo>
                <a:lnTo>
                  <a:pt x="1007076" y="1569849"/>
                </a:lnTo>
                <a:lnTo>
                  <a:pt x="1007076" y="1572131"/>
                </a:lnTo>
                <a:lnTo>
                  <a:pt x="1007076" y="1574413"/>
                </a:lnTo>
                <a:lnTo>
                  <a:pt x="1004792" y="1574413"/>
                </a:lnTo>
                <a:lnTo>
                  <a:pt x="1004792" y="1576695"/>
                </a:lnTo>
                <a:lnTo>
                  <a:pt x="1004792" y="1578977"/>
                </a:lnTo>
                <a:lnTo>
                  <a:pt x="1002508" y="1578977"/>
                </a:lnTo>
                <a:lnTo>
                  <a:pt x="1002508" y="1581259"/>
                </a:lnTo>
                <a:lnTo>
                  <a:pt x="1000225" y="1581259"/>
                </a:lnTo>
                <a:lnTo>
                  <a:pt x="1000225" y="1583541"/>
                </a:lnTo>
                <a:lnTo>
                  <a:pt x="1002508" y="1583541"/>
                </a:lnTo>
                <a:lnTo>
                  <a:pt x="1000225" y="1583541"/>
                </a:lnTo>
                <a:lnTo>
                  <a:pt x="1000225" y="1585822"/>
                </a:lnTo>
                <a:lnTo>
                  <a:pt x="1000225" y="1588104"/>
                </a:lnTo>
                <a:lnTo>
                  <a:pt x="1000225" y="1590386"/>
                </a:lnTo>
                <a:lnTo>
                  <a:pt x="997941" y="1590386"/>
                </a:lnTo>
                <a:lnTo>
                  <a:pt x="997941" y="1592668"/>
                </a:lnTo>
                <a:lnTo>
                  <a:pt x="997941" y="1594950"/>
                </a:lnTo>
                <a:lnTo>
                  <a:pt x="997941" y="1597232"/>
                </a:lnTo>
                <a:lnTo>
                  <a:pt x="995657" y="1597232"/>
                </a:lnTo>
                <a:lnTo>
                  <a:pt x="995657" y="1599514"/>
                </a:lnTo>
                <a:lnTo>
                  <a:pt x="995657" y="1601796"/>
                </a:lnTo>
                <a:lnTo>
                  <a:pt x="995657" y="1604078"/>
                </a:lnTo>
                <a:lnTo>
                  <a:pt x="995657" y="1606360"/>
                </a:lnTo>
                <a:lnTo>
                  <a:pt x="995657" y="1608642"/>
                </a:lnTo>
                <a:lnTo>
                  <a:pt x="993374" y="1608642"/>
                </a:lnTo>
                <a:lnTo>
                  <a:pt x="993374" y="1610923"/>
                </a:lnTo>
                <a:lnTo>
                  <a:pt x="993374" y="1613205"/>
                </a:lnTo>
                <a:lnTo>
                  <a:pt x="993374" y="1615487"/>
                </a:lnTo>
                <a:lnTo>
                  <a:pt x="995657" y="1615487"/>
                </a:lnTo>
                <a:lnTo>
                  <a:pt x="993374" y="1615487"/>
                </a:lnTo>
                <a:lnTo>
                  <a:pt x="995657" y="1615487"/>
                </a:lnTo>
                <a:lnTo>
                  <a:pt x="995657" y="1617769"/>
                </a:lnTo>
                <a:lnTo>
                  <a:pt x="997941" y="1617769"/>
                </a:lnTo>
                <a:lnTo>
                  <a:pt x="997941" y="1620051"/>
                </a:lnTo>
                <a:lnTo>
                  <a:pt x="1000225" y="1620051"/>
                </a:lnTo>
                <a:lnTo>
                  <a:pt x="1004792" y="1620051"/>
                </a:lnTo>
                <a:lnTo>
                  <a:pt x="1000225" y="1622333"/>
                </a:lnTo>
                <a:lnTo>
                  <a:pt x="1002508" y="1622333"/>
                </a:lnTo>
                <a:lnTo>
                  <a:pt x="1000225" y="1622333"/>
                </a:lnTo>
                <a:lnTo>
                  <a:pt x="1000225" y="1624615"/>
                </a:lnTo>
                <a:lnTo>
                  <a:pt x="1002508" y="1624615"/>
                </a:lnTo>
                <a:lnTo>
                  <a:pt x="1000225" y="1624615"/>
                </a:lnTo>
                <a:lnTo>
                  <a:pt x="1002508" y="1624615"/>
                </a:lnTo>
                <a:lnTo>
                  <a:pt x="1004792" y="1624615"/>
                </a:lnTo>
                <a:lnTo>
                  <a:pt x="1002508" y="1624615"/>
                </a:lnTo>
                <a:lnTo>
                  <a:pt x="1004792" y="1624615"/>
                </a:lnTo>
                <a:lnTo>
                  <a:pt x="1004792" y="1622333"/>
                </a:lnTo>
                <a:lnTo>
                  <a:pt x="1007076" y="1622333"/>
                </a:lnTo>
                <a:lnTo>
                  <a:pt x="1007076" y="1620051"/>
                </a:lnTo>
                <a:lnTo>
                  <a:pt x="1004792" y="1620051"/>
                </a:lnTo>
                <a:lnTo>
                  <a:pt x="1004792" y="1617769"/>
                </a:lnTo>
                <a:lnTo>
                  <a:pt x="1004792" y="1620051"/>
                </a:lnTo>
                <a:lnTo>
                  <a:pt x="1007076" y="1620051"/>
                </a:lnTo>
                <a:lnTo>
                  <a:pt x="1007076" y="1622333"/>
                </a:lnTo>
                <a:lnTo>
                  <a:pt x="1004792" y="1622333"/>
                </a:lnTo>
                <a:lnTo>
                  <a:pt x="1004792" y="1624615"/>
                </a:lnTo>
                <a:lnTo>
                  <a:pt x="1007076" y="1624615"/>
                </a:lnTo>
                <a:lnTo>
                  <a:pt x="1007076" y="1626897"/>
                </a:lnTo>
                <a:lnTo>
                  <a:pt x="1007076" y="1629178"/>
                </a:lnTo>
                <a:lnTo>
                  <a:pt x="1009359" y="1629178"/>
                </a:lnTo>
                <a:lnTo>
                  <a:pt x="1011643" y="1629178"/>
                </a:lnTo>
                <a:lnTo>
                  <a:pt x="1011643" y="1631460"/>
                </a:lnTo>
                <a:lnTo>
                  <a:pt x="1013926" y="1631460"/>
                </a:lnTo>
                <a:lnTo>
                  <a:pt x="1016210" y="1631460"/>
                </a:lnTo>
                <a:lnTo>
                  <a:pt x="1016210" y="1633742"/>
                </a:lnTo>
                <a:lnTo>
                  <a:pt x="1018494" y="1633742"/>
                </a:lnTo>
                <a:lnTo>
                  <a:pt x="1018494" y="1636024"/>
                </a:lnTo>
                <a:lnTo>
                  <a:pt x="1020777" y="1636024"/>
                </a:lnTo>
                <a:lnTo>
                  <a:pt x="1020777" y="1638306"/>
                </a:lnTo>
                <a:lnTo>
                  <a:pt x="1020777" y="1640588"/>
                </a:lnTo>
                <a:lnTo>
                  <a:pt x="1023061" y="1640588"/>
                </a:lnTo>
                <a:lnTo>
                  <a:pt x="1023061" y="1642870"/>
                </a:lnTo>
                <a:lnTo>
                  <a:pt x="1023061" y="1645152"/>
                </a:lnTo>
                <a:lnTo>
                  <a:pt x="1023061" y="1647434"/>
                </a:lnTo>
                <a:lnTo>
                  <a:pt x="1025344" y="1647434"/>
                </a:lnTo>
                <a:lnTo>
                  <a:pt x="1025344" y="1649716"/>
                </a:lnTo>
                <a:lnTo>
                  <a:pt x="1027628" y="1649716"/>
                </a:lnTo>
                <a:lnTo>
                  <a:pt x="1025344" y="1649716"/>
                </a:lnTo>
                <a:lnTo>
                  <a:pt x="1027628" y="1649716"/>
                </a:lnTo>
                <a:lnTo>
                  <a:pt x="1027628" y="1651997"/>
                </a:lnTo>
                <a:lnTo>
                  <a:pt x="1025344" y="1651997"/>
                </a:lnTo>
                <a:lnTo>
                  <a:pt x="1025344" y="1649716"/>
                </a:lnTo>
                <a:lnTo>
                  <a:pt x="1025344" y="1651997"/>
                </a:lnTo>
                <a:lnTo>
                  <a:pt x="1023061" y="1651997"/>
                </a:lnTo>
                <a:lnTo>
                  <a:pt x="1023061" y="1649716"/>
                </a:lnTo>
                <a:lnTo>
                  <a:pt x="1020777" y="1649716"/>
                </a:lnTo>
                <a:lnTo>
                  <a:pt x="1018494" y="1649716"/>
                </a:lnTo>
                <a:lnTo>
                  <a:pt x="1016210" y="1649716"/>
                </a:lnTo>
                <a:lnTo>
                  <a:pt x="1016210" y="1647434"/>
                </a:lnTo>
                <a:lnTo>
                  <a:pt x="1016210" y="1649716"/>
                </a:lnTo>
                <a:lnTo>
                  <a:pt x="1013926" y="1649716"/>
                </a:lnTo>
                <a:lnTo>
                  <a:pt x="1013926" y="1647434"/>
                </a:lnTo>
                <a:lnTo>
                  <a:pt x="1013926" y="1649716"/>
                </a:lnTo>
                <a:lnTo>
                  <a:pt x="1011643" y="1649716"/>
                </a:lnTo>
                <a:lnTo>
                  <a:pt x="1009359" y="1649716"/>
                </a:lnTo>
                <a:lnTo>
                  <a:pt x="1007076" y="1649716"/>
                </a:lnTo>
                <a:lnTo>
                  <a:pt x="1007076" y="1651997"/>
                </a:lnTo>
                <a:lnTo>
                  <a:pt x="1007076" y="1654279"/>
                </a:lnTo>
                <a:lnTo>
                  <a:pt x="1004792" y="1654279"/>
                </a:lnTo>
                <a:lnTo>
                  <a:pt x="1004792" y="1656561"/>
                </a:lnTo>
                <a:lnTo>
                  <a:pt x="1002508" y="1656561"/>
                </a:lnTo>
                <a:lnTo>
                  <a:pt x="1000225" y="1656561"/>
                </a:lnTo>
                <a:lnTo>
                  <a:pt x="1000225" y="1658843"/>
                </a:lnTo>
                <a:lnTo>
                  <a:pt x="1000225" y="1656561"/>
                </a:lnTo>
                <a:lnTo>
                  <a:pt x="997941" y="1656561"/>
                </a:lnTo>
                <a:lnTo>
                  <a:pt x="995657" y="1656561"/>
                </a:lnTo>
                <a:lnTo>
                  <a:pt x="993374" y="1656561"/>
                </a:lnTo>
                <a:lnTo>
                  <a:pt x="991090" y="1656561"/>
                </a:lnTo>
                <a:lnTo>
                  <a:pt x="991090" y="1658843"/>
                </a:lnTo>
                <a:lnTo>
                  <a:pt x="988807" y="1658843"/>
                </a:lnTo>
                <a:lnTo>
                  <a:pt x="986523" y="1658843"/>
                </a:lnTo>
                <a:lnTo>
                  <a:pt x="984240" y="1658843"/>
                </a:lnTo>
                <a:lnTo>
                  <a:pt x="981956" y="1658843"/>
                </a:lnTo>
                <a:lnTo>
                  <a:pt x="981956" y="1656561"/>
                </a:lnTo>
                <a:lnTo>
                  <a:pt x="979672" y="1656561"/>
                </a:lnTo>
                <a:lnTo>
                  <a:pt x="977389" y="1656561"/>
                </a:lnTo>
                <a:lnTo>
                  <a:pt x="975105" y="1656561"/>
                </a:lnTo>
                <a:lnTo>
                  <a:pt x="972822" y="1656561"/>
                </a:lnTo>
                <a:lnTo>
                  <a:pt x="970538" y="1656561"/>
                </a:lnTo>
                <a:lnTo>
                  <a:pt x="968255" y="1656561"/>
                </a:lnTo>
                <a:lnTo>
                  <a:pt x="968255" y="1654279"/>
                </a:lnTo>
                <a:lnTo>
                  <a:pt x="965971" y="1654279"/>
                </a:lnTo>
                <a:lnTo>
                  <a:pt x="963687" y="1654279"/>
                </a:lnTo>
                <a:lnTo>
                  <a:pt x="961404" y="1654279"/>
                </a:lnTo>
                <a:lnTo>
                  <a:pt x="959120" y="1654279"/>
                </a:lnTo>
                <a:lnTo>
                  <a:pt x="959120" y="1651997"/>
                </a:lnTo>
                <a:lnTo>
                  <a:pt x="956836" y="1651997"/>
                </a:lnTo>
                <a:lnTo>
                  <a:pt x="956836" y="1654279"/>
                </a:lnTo>
                <a:lnTo>
                  <a:pt x="954553" y="1651997"/>
                </a:lnTo>
                <a:lnTo>
                  <a:pt x="952269" y="1651997"/>
                </a:lnTo>
                <a:lnTo>
                  <a:pt x="949986" y="1651997"/>
                </a:lnTo>
                <a:lnTo>
                  <a:pt x="947702" y="1651997"/>
                </a:lnTo>
                <a:lnTo>
                  <a:pt x="945418" y="1651997"/>
                </a:lnTo>
                <a:lnTo>
                  <a:pt x="943135" y="1651997"/>
                </a:lnTo>
                <a:lnTo>
                  <a:pt x="940851" y="1651997"/>
                </a:lnTo>
                <a:lnTo>
                  <a:pt x="938568" y="1651997"/>
                </a:lnTo>
                <a:lnTo>
                  <a:pt x="936284" y="1651997"/>
                </a:lnTo>
                <a:lnTo>
                  <a:pt x="936284" y="1654279"/>
                </a:lnTo>
                <a:lnTo>
                  <a:pt x="934001" y="1654279"/>
                </a:lnTo>
                <a:lnTo>
                  <a:pt x="934001" y="1651997"/>
                </a:lnTo>
                <a:lnTo>
                  <a:pt x="934001" y="1654279"/>
                </a:lnTo>
                <a:lnTo>
                  <a:pt x="934001" y="1651997"/>
                </a:lnTo>
                <a:lnTo>
                  <a:pt x="931717" y="1651997"/>
                </a:lnTo>
                <a:lnTo>
                  <a:pt x="931717" y="1654279"/>
                </a:lnTo>
                <a:lnTo>
                  <a:pt x="929433" y="1654279"/>
                </a:lnTo>
                <a:lnTo>
                  <a:pt x="929433" y="1651997"/>
                </a:lnTo>
                <a:lnTo>
                  <a:pt x="929433" y="1654279"/>
                </a:lnTo>
                <a:lnTo>
                  <a:pt x="929433" y="1651997"/>
                </a:lnTo>
                <a:lnTo>
                  <a:pt x="927150" y="1651997"/>
                </a:lnTo>
                <a:lnTo>
                  <a:pt x="927150" y="1654279"/>
                </a:lnTo>
                <a:lnTo>
                  <a:pt x="927150" y="1651997"/>
                </a:lnTo>
                <a:lnTo>
                  <a:pt x="927150" y="1654279"/>
                </a:lnTo>
                <a:lnTo>
                  <a:pt x="924866" y="1654279"/>
                </a:lnTo>
                <a:lnTo>
                  <a:pt x="924866" y="1651997"/>
                </a:lnTo>
                <a:lnTo>
                  <a:pt x="922582" y="1651997"/>
                </a:lnTo>
                <a:lnTo>
                  <a:pt x="920299" y="1651997"/>
                </a:lnTo>
                <a:lnTo>
                  <a:pt x="920299" y="1649716"/>
                </a:lnTo>
                <a:lnTo>
                  <a:pt x="918015" y="1649716"/>
                </a:lnTo>
                <a:lnTo>
                  <a:pt x="915732" y="1649716"/>
                </a:lnTo>
                <a:lnTo>
                  <a:pt x="915732" y="1647434"/>
                </a:lnTo>
                <a:lnTo>
                  <a:pt x="913448" y="1647434"/>
                </a:lnTo>
                <a:lnTo>
                  <a:pt x="911165" y="1647434"/>
                </a:lnTo>
                <a:lnTo>
                  <a:pt x="908881" y="1647434"/>
                </a:lnTo>
                <a:lnTo>
                  <a:pt x="906597" y="1647434"/>
                </a:lnTo>
                <a:lnTo>
                  <a:pt x="906597" y="1645152"/>
                </a:lnTo>
                <a:lnTo>
                  <a:pt x="904314" y="1645152"/>
                </a:lnTo>
                <a:lnTo>
                  <a:pt x="902030" y="1645152"/>
                </a:lnTo>
                <a:lnTo>
                  <a:pt x="902030" y="1642870"/>
                </a:lnTo>
                <a:lnTo>
                  <a:pt x="899746" y="1642870"/>
                </a:lnTo>
                <a:lnTo>
                  <a:pt x="897463" y="1642870"/>
                </a:lnTo>
                <a:lnTo>
                  <a:pt x="897463" y="1640588"/>
                </a:lnTo>
                <a:lnTo>
                  <a:pt x="897463" y="1642870"/>
                </a:lnTo>
                <a:lnTo>
                  <a:pt x="897463" y="1640588"/>
                </a:lnTo>
                <a:lnTo>
                  <a:pt x="895179" y="1640588"/>
                </a:lnTo>
                <a:lnTo>
                  <a:pt x="892896" y="1640588"/>
                </a:lnTo>
                <a:lnTo>
                  <a:pt x="892896" y="1638306"/>
                </a:lnTo>
                <a:lnTo>
                  <a:pt x="890612" y="1638306"/>
                </a:lnTo>
                <a:lnTo>
                  <a:pt x="890612" y="1636024"/>
                </a:lnTo>
                <a:lnTo>
                  <a:pt x="888328" y="1636024"/>
                </a:lnTo>
                <a:lnTo>
                  <a:pt x="886045" y="1636024"/>
                </a:lnTo>
                <a:lnTo>
                  <a:pt x="883761" y="1636024"/>
                </a:lnTo>
                <a:lnTo>
                  <a:pt x="883761" y="1633742"/>
                </a:lnTo>
                <a:lnTo>
                  <a:pt x="881478" y="1633742"/>
                </a:lnTo>
                <a:lnTo>
                  <a:pt x="879194" y="1633742"/>
                </a:lnTo>
                <a:lnTo>
                  <a:pt x="876911" y="1633742"/>
                </a:lnTo>
                <a:lnTo>
                  <a:pt x="876911" y="1631460"/>
                </a:lnTo>
                <a:lnTo>
                  <a:pt x="874627" y="1631460"/>
                </a:lnTo>
                <a:lnTo>
                  <a:pt x="872343" y="1631460"/>
                </a:lnTo>
                <a:lnTo>
                  <a:pt x="870060" y="1631460"/>
                </a:lnTo>
                <a:lnTo>
                  <a:pt x="870060" y="1629178"/>
                </a:lnTo>
                <a:lnTo>
                  <a:pt x="867776" y="1629178"/>
                </a:lnTo>
                <a:lnTo>
                  <a:pt x="865492" y="1629178"/>
                </a:lnTo>
                <a:lnTo>
                  <a:pt x="863209" y="1629178"/>
                </a:lnTo>
                <a:lnTo>
                  <a:pt x="860925" y="1629178"/>
                </a:lnTo>
                <a:lnTo>
                  <a:pt x="860925" y="1626897"/>
                </a:lnTo>
                <a:lnTo>
                  <a:pt x="858642" y="1626897"/>
                </a:lnTo>
                <a:lnTo>
                  <a:pt x="856358" y="1626897"/>
                </a:lnTo>
                <a:lnTo>
                  <a:pt x="854075" y="1626897"/>
                </a:lnTo>
                <a:lnTo>
                  <a:pt x="851791" y="1626897"/>
                </a:lnTo>
                <a:lnTo>
                  <a:pt x="849507" y="1626897"/>
                </a:lnTo>
                <a:lnTo>
                  <a:pt x="847224" y="1626897"/>
                </a:lnTo>
                <a:lnTo>
                  <a:pt x="844940" y="1626897"/>
                </a:lnTo>
                <a:lnTo>
                  <a:pt x="842657" y="1626897"/>
                </a:lnTo>
                <a:lnTo>
                  <a:pt x="842657" y="1624615"/>
                </a:lnTo>
                <a:lnTo>
                  <a:pt x="840373" y="1624615"/>
                </a:lnTo>
                <a:lnTo>
                  <a:pt x="838089" y="1624615"/>
                </a:lnTo>
                <a:lnTo>
                  <a:pt x="835806" y="1624615"/>
                </a:lnTo>
                <a:lnTo>
                  <a:pt x="833522" y="1624615"/>
                </a:lnTo>
                <a:lnTo>
                  <a:pt x="831238" y="1624615"/>
                </a:lnTo>
                <a:lnTo>
                  <a:pt x="828955" y="1624615"/>
                </a:lnTo>
                <a:lnTo>
                  <a:pt x="826671" y="1624615"/>
                </a:lnTo>
                <a:lnTo>
                  <a:pt x="824388" y="1624615"/>
                </a:lnTo>
                <a:lnTo>
                  <a:pt x="822104" y="1624615"/>
                </a:lnTo>
                <a:lnTo>
                  <a:pt x="819821" y="1624615"/>
                </a:lnTo>
                <a:lnTo>
                  <a:pt x="819821" y="1626897"/>
                </a:lnTo>
                <a:lnTo>
                  <a:pt x="817537" y="1626897"/>
                </a:lnTo>
                <a:lnTo>
                  <a:pt x="815253" y="1626897"/>
                </a:lnTo>
                <a:lnTo>
                  <a:pt x="812970" y="1626897"/>
                </a:lnTo>
                <a:lnTo>
                  <a:pt x="810686" y="1626897"/>
                </a:lnTo>
                <a:lnTo>
                  <a:pt x="808403" y="1626897"/>
                </a:lnTo>
                <a:lnTo>
                  <a:pt x="806119" y="1626897"/>
                </a:lnTo>
                <a:lnTo>
                  <a:pt x="803835" y="1626897"/>
                </a:lnTo>
                <a:lnTo>
                  <a:pt x="803835" y="1629178"/>
                </a:lnTo>
                <a:lnTo>
                  <a:pt x="801552" y="1629178"/>
                </a:lnTo>
                <a:lnTo>
                  <a:pt x="799268" y="1629178"/>
                </a:lnTo>
                <a:lnTo>
                  <a:pt x="796985" y="1629178"/>
                </a:lnTo>
                <a:lnTo>
                  <a:pt x="794701" y="1629178"/>
                </a:lnTo>
                <a:lnTo>
                  <a:pt x="792417" y="1629178"/>
                </a:lnTo>
                <a:lnTo>
                  <a:pt x="792417" y="1631460"/>
                </a:lnTo>
                <a:lnTo>
                  <a:pt x="790134" y="1631460"/>
                </a:lnTo>
                <a:lnTo>
                  <a:pt x="787850" y="1631460"/>
                </a:lnTo>
                <a:lnTo>
                  <a:pt x="785567" y="1631460"/>
                </a:lnTo>
                <a:lnTo>
                  <a:pt x="783283" y="1631460"/>
                </a:lnTo>
                <a:lnTo>
                  <a:pt x="783283" y="1633742"/>
                </a:lnTo>
                <a:lnTo>
                  <a:pt x="780999" y="1633742"/>
                </a:lnTo>
                <a:lnTo>
                  <a:pt x="778716" y="1633742"/>
                </a:lnTo>
                <a:lnTo>
                  <a:pt x="778716" y="1636024"/>
                </a:lnTo>
                <a:lnTo>
                  <a:pt x="776432" y="1636024"/>
                </a:lnTo>
                <a:lnTo>
                  <a:pt x="774149" y="1636024"/>
                </a:lnTo>
                <a:lnTo>
                  <a:pt x="774149" y="1638306"/>
                </a:lnTo>
                <a:lnTo>
                  <a:pt x="771865" y="1638306"/>
                </a:lnTo>
                <a:lnTo>
                  <a:pt x="769582" y="1638306"/>
                </a:lnTo>
                <a:lnTo>
                  <a:pt x="769582" y="1640588"/>
                </a:lnTo>
                <a:lnTo>
                  <a:pt x="767298" y="1640588"/>
                </a:lnTo>
                <a:lnTo>
                  <a:pt x="767298" y="1642870"/>
                </a:lnTo>
                <a:lnTo>
                  <a:pt x="765014" y="1642870"/>
                </a:lnTo>
                <a:lnTo>
                  <a:pt x="765014" y="1645152"/>
                </a:lnTo>
                <a:lnTo>
                  <a:pt x="762731" y="1645152"/>
                </a:lnTo>
                <a:lnTo>
                  <a:pt x="762731" y="1647434"/>
                </a:lnTo>
                <a:lnTo>
                  <a:pt x="760447" y="1647434"/>
                </a:lnTo>
                <a:lnTo>
                  <a:pt x="760447" y="1649716"/>
                </a:lnTo>
                <a:lnTo>
                  <a:pt x="760447" y="1651997"/>
                </a:lnTo>
                <a:lnTo>
                  <a:pt x="762731" y="1651997"/>
                </a:lnTo>
                <a:lnTo>
                  <a:pt x="762731" y="1654279"/>
                </a:lnTo>
                <a:lnTo>
                  <a:pt x="762731" y="1656561"/>
                </a:lnTo>
                <a:lnTo>
                  <a:pt x="762731" y="1658843"/>
                </a:lnTo>
                <a:lnTo>
                  <a:pt x="760447" y="1658843"/>
                </a:lnTo>
                <a:lnTo>
                  <a:pt x="760447" y="1661125"/>
                </a:lnTo>
                <a:lnTo>
                  <a:pt x="760447" y="1663407"/>
                </a:lnTo>
                <a:lnTo>
                  <a:pt x="760447" y="1665679"/>
                </a:lnTo>
                <a:lnTo>
                  <a:pt x="760447" y="1667961"/>
                </a:lnTo>
                <a:lnTo>
                  <a:pt x="760447" y="1670243"/>
                </a:lnTo>
                <a:lnTo>
                  <a:pt x="760447" y="1672525"/>
                </a:lnTo>
                <a:lnTo>
                  <a:pt x="758163" y="1672525"/>
                </a:lnTo>
                <a:lnTo>
                  <a:pt x="758163" y="1674807"/>
                </a:lnTo>
                <a:lnTo>
                  <a:pt x="760447" y="1674807"/>
                </a:lnTo>
                <a:lnTo>
                  <a:pt x="758163" y="1674807"/>
                </a:lnTo>
                <a:lnTo>
                  <a:pt x="758163" y="1677089"/>
                </a:lnTo>
                <a:lnTo>
                  <a:pt x="755880" y="1677089"/>
                </a:lnTo>
                <a:lnTo>
                  <a:pt x="753596" y="1677089"/>
                </a:lnTo>
                <a:lnTo>
                  <a:pt x="753596" y="1679371"/>
                </a:lnTo>
                <a:lnTo>
                  <a:pt x="753596" y="1681653"/>
                </a:lnTo>
                <a:lnTo>
                  <a:pt x="751313" y="1681653"/>
                </a:lnTo>
                <a:lnTo>
                  <a:pt x="751313" y="1683934"/>
                </a:lnTo>
                <a:lnTo>
                  <a:pt x="749029" y="1683934"/>
                </a:lnTo>
                <a:lnTo>
                  <a:pt x="749029" y="1686216"/>
                </a:lnTo>
                <a:lnTo>
                  <a:pt x="746745" y="1686216"/>
                </a:lnTo>
                <a:lnTo>
                  <a:pt x="746745" y="1688499"/>
                </a:lnTo>
                <a:lnTo>
                  <a:pt x="744462" y="1688499"/>
                </a:lnTo>
                <a:lnTo>
                  <a:pt x="744462" y="1690780"/>
                </a:lnTo>
                <a:lnTo>
                  <a:pt x="742178" y="1690780"/>
                </a:lnTo>
                <a:lnTo>
                  <a:pt x="742178" y="1693062"/>
                </a:lnTo>
                <a:lnTo>
                  <a:pt x="739895" y="1693062"/>
                </a:lnTo>
                <a:lnTo>
                  <a:pt x="739895" y="1695344"/>
                </a:lnTo>
                <a:lnTo>
                  <a:pt x="737611" y="1695344"/>
                </a:lnTo>
                <a:lnTo>
                  <a:pt x="737611" y="1697626"/>
                </a:lnTo>
                <a:lnTo>
                  <a:pt x="735328" y="1697626"/>
                </a:lnTo>
                <a:lnTo>
                  <a:pt x="735328" y="1699908"/>
                </a:lnTo>
                <a:lnTo>
                  <a:pt x="733044" y="1699908"/>
                </a:lnTo>
                <a:lnTo>
                  <a:pt x="733044" y="1702189"/>
                </a:lnTo>
                <a:lnTo>
                  <a:pt x="733044" y="1704472"/>
                </a:lnTo>
                <a:lnTo>
                  <a:pt x="730760" y="1704472"/>
                </a:lnTo>
                <a:lnTo>
                  <a:pt x="730760" y="1706754"/>
                </a:lnTo>
                <a:lnTo>
                  <a:pt x="730760" y="1709035"/>
                </a:lnTo>
                <a:lnTo>
                  <a:pt x="728477" y="1709035"/>
                </a:lnTo>
                <a:lnTo>
                  <a:pt x="728477" y="1711317"/>
                </a:lnTo>
                <a:lnTo>
                  <a:pt x="730760" y="1711317"/>
                </a:lnTo>
                <a:lnTo>
                  <a:pt x="730760" y="1713599"/>
                </a:lnTo>
                <a:lnTo>
                  <a:pt x="733044" y="1713599"/>
                </a:lnTo>
                <a:lnTo>
                  <a:pt x="733044" y="1715881"/>
                </a:lnTo>
                <a:lnTo>
                  <a:pt x="735328" y="1715881"/>
                </a:lnTo>
                <a:lnTo>
                  <a:pt x="735328" y="1718163"/>
                </a:lnTo>
                <a:lnTo>
                  <a:pt x="737611" y="1718163"/>
                </a:lnTo>
                <a:lnTo>
                  <a:pt x="737611" y="1720445"/>
                </a:lnTo>
                <a:lnTo>
                  <a:pt x="739895" y="1720445"/>
                </a:lnTo>
                <a:lnTo>
                  <a:pt x="737611" y="1720445"/>
                </a:lnTo>
                <a:lnTo>
                  <a:pt x="739895" y="1720445"/>
                </a:lnTo>
                <a:lnTo>
                  <a:pt x="739895" y="1722727"/>
                </a:lnTo>
                <a:lnTo>
                  <a:pt x="742178" y="1722727"/>
                </a:lnTo>
                <a:lnTo>
                  <a:pt x="739895" y="1722727"/>
                </a:lnTo>
                <a:lnTo>
                  <a:pt x="737611" y="1722727"/>
                </a:lnTo>
                <a:lnTo>
                  <a:pt x="735328" y="1722727"/>
                </a:lnTo>
                <a:lnTo>
                  <a:pt x="733044" y="1722727"/>
                </a:lnTo>
                <a:lnTo>
                  <a:pt x="733044" y="1725009"/>
                </a:lnTo>
                <a:lnTo>
                  <a:pt x="730760" y="1725009"/>
                </a:lnTo>
                <a:lnTo>
                  <a:pt x="730760" y="1727290"/>
                </a:lnTo>
                <a:lnTo>
                  <a:pt x="730760" y="1729572"/>
                </a:lnTo>
                <a:lnTo>
                  <a:pt x="728477" y="1729572"/>
                </a:lnTo>
                <a:lnTo>
                  <a:pt x="726193" y="1729572"/>
                </a:lnTo>
                <a:lnTo>
                  <a:pt x="726193" y="1727290"/>
                </a:lnTo>
                <a:lnTo>
                  <a:pt x="726193" y="1729572"/>
                </a:lnTo>
                <a:lnTo>
                  <a:pt x="726193" y="1727290"/>
                </a:lnTo>
                <a:lnTo>
                  <a:pt x="723909" y="1727290"/>
                </a:lnTo>
                <a:lnTo>
                  <a:pt x="721626" y="1727290"/>
                </a:lnTo>
                <a:lnTo>
                  <a:pt x="721626" y="1725009"/>
                </a:lnTo>
                <a:lnTo>
                  <a:pt x="719342" y="1725009"/>
                </a:lnTo>
                <a:lnTo>
                  <a:pt x="717059" y="1725009"/>
                </a:lnTo>
                <a:lnTo>
                  <a:pt x="714775" y="1725009"/>
                </a:lnTo>
                <a:lnTo>
                  <a:pt x="712492" y="1725009"/>
                </a:lnTo>
                <a:lnTo>
                  <a:pt x="710208" y="1725009"/>
                </a:lnTo>
                <a:lnTo>
                  <a:pt x="707924" y="1725009"/>
                </a:lnTo>
                <a:lnTo>
                  <a:pt x="705641" y="1725009"/>
                </a:lnTo>
                <a:lnTo>
                  <a:pt x="705641" y="1722727"/>
                </a:lnTo>
                <a:lnTo>
                  <a:pt x="705641" y="1725009"/>
                </a:lnTo>
                <a:lnTo>
                  <a:pt x="705641" y="1722727"/>
                </a:lnTo>
                <a:lnTo>
                  <a:pt x="705641" y="1725009"/>
                </a:lnTo>
                <a:lnTo>
                  <a:pt x="705641" y="1722727"/>
                </a:lnTo>
                <a:lnTo>
                  <a:pt x="705641" y="1725009"/>
                </a:lnTo>
                <a:lnTo>
                  <a:pt x="705641" y="1722727"/>
                </a:lnTo>
                <a:lnTo>
                  <a:pt x="705641" y="1725009"/>
                </a:lnTo>
                <a:lnTo>
                  <a:pt x="705641" y="1722727"/>
                </a:lnTo>
                <a:lnTo>
                  <a:pt x="703357" y="1722727"/>
                </a:lnTo>
                <a:lnTo>
                  <a:pt x="701074" y="1722727"/>
                </a:lnTo>
                <a:lnTo>
                  <a:pt x="698790" y="1722727"/>
                </a:lnTo>
                <a:lnTo>
                  <a:pt x="698790" y="1720445"/>
                </a:lnTo>
                <a:lnTo>
                  <a:pt x="696506" y="1720445"/>
                </a:lnTo>
                <a:lnTo>
                  <a:pt x="694223" y="1720445"/>
                </a:lnTo>
                <a:lnTo>
                  <a:pt x="691939" y="1720445"/>
                </a:lnTo>
                <a:lnTo>
                  <a:pt x="689655" y="1720445"/>
                </a:lnTo>
                <a:lnTo>
                  <a:pt x="689655" y="1722727"/>
                </a:lnTo>
                <a:lnTo>
                  <a:pt x="687372" y="1722727"/>
                </a:lnTo>
                <a:lnTo>
                  <a:pt x="685088" y="1722727"/>
                </a:lnTo>
                <a:lnTo>
                  <a:pt x="685088" y="1720445"/>
                </a:lnTo>
                <a:lnTo>
                  <a:pt x="685088" y="1722727"/>
                </a:lnTo>
                <a:lnTo>
                  <a:pt x="682805" y="1722727"/>
                </a:lnTo>
                <a:lnTo>
                  <a:pt x="682805" y="1720445"/>
                </a:lnTo>
                <a:lnTo>
                  <a:pt x="680521" y="1720445"/>
                </a:lnTo>
                <a:lnTo>
                  <a:pt x="678238" y="1720445"/>
                </a:lnTo>
                <a:lnTo>
                  <a:pt x="680521" y="1720445"/>
                </a:lnTo>
                <a:lnTo>
                  <a:pt x="678238" y="1720445"/>
                </a:lnTo>
                <a:lnTo>
                  <a:pt x="675954" y="1720445"/>
                </a:lnTo>
                <a:lnTo>
                  <a:pt x="675954" y="1718163"/>
                </a:lnTo>
                <a:lnTo>
                  <a:pt x="673670" y="1718163"/>
                </a:lnTo>
                <a:lnTo>
                  <a:pt x="673670" y="1715881"/>
                </a:lnTo>
                <a:lnTo>
                  <a:pt x="671387" y="1715881"/>
                </a:lnTo>
                <a:lnTo>
                  <a:pt x="669103" y="1715881"/>
                </a:lnTo>
                <a:lnTo>
                  <a:pt x="666820" y="1715881"/>
                </a:lnTo>
                <a:lnTo>
                  <a:pt x="664536" y="1715881"/>
                </a:lnTo>
                <a:lnTo>
                  <a:pt x="662253" y="1715881"/>
                </a:lnTo>
                <a:lnTo>
                  <a:pt x="659969" y="1715881"/>
                </a:lnTo>
                <a:lnTo>
                  <a:pt x="657685" y="1715881"/>
                </a:lnTo>
                <a:lnTo>
                  <a:pt x="655402" y="1715881"/>
                </a:lnTo>
                <a:lnTo>
                  <a:pt x="655402" y="1718163"/>
                </a:lnTo>
                <a:lnTo>
                  <a:pt x="653118" y="1718163"/>
                </a:lnTo>
                <a:lnTo>
                  <a:pt x="653118" y="1720445"/>
                </a:lnTo>
                <a:lnTo>
                  <a:pt x="653118" y="1722727"/>
                </a:lnTo>
                <a:lnTo>
                  <a:pt x="650834" y="1722727"/>
                </a:lnTo>
                <a:lnTo>
                  <a:pt x="648551" y="1722727"/>
                </a:lnTo>
                <a:lnTo>
                  <a:pt x="648551" y="1720445"/>
                </a:lnTo>
                <a:lnTo>
                  <a:pt x="648551" y="1722727"/>
                </a:lnTo>
                <a:lnTo>
                  <a:pt x="648551" y="1720445"/>
                </a:lnTo>
                <a:lnTo>
                  <a:pt x="648551" y="1722727"/>
                </a:lnTo>
                <a:lnTo>
                  <a:pt x="646267" y="1722727"/>
                </a:lnTo>
                <a:lnTo>
                  <a:pt x="646267" y="1720445"/>
                </a:lnTo>
                <a:lnTo>
                  <a:pt x="643984" y="1720445"/>
                </a:lnTo>
                <a:lnTo>
                  <a:pt x="641700" y="1720445"/>
                </a:lnTo>
                <a:lnTo>
                  <a:pt x="639416" y="1720445"/>
                </a:lnTo>
                <a:lnTo>
                  <a:pt x="639416" y="1718163"/>
                </a:lnTo>
                <a:lnTo>
                  <a:pt x="639416" y="1720445"/>
                </a:lnTo>
                <a:lnTo>
                  <a:pt x="639416" y="1718163"/>
                </a:lnTo>
                <a:lnTo>
                  <a:pt x="639416" y="1720445"/>
                </a:lnTo>
                <a:lnTo>
                  <a:pt x="639416" y="1718163"/>
                </a:lnTo>
                <a:lnTo>
                  <a:pt x="637133" y="1718163"/>
                </a:lnTo>
                <a:lnTo>
                  <a:pt x="634849" y="1718163"/>
                </a:lnTo>
                <a:lnTo>
                  <a:pt x="637133" y="1718163"/>
                </a:lnTo>
                <a:lnTo>
                  <a:pt x="634849" y="1718163"/>
                </a:lnTo>
                <a:lnTo>
                  <a:pt x="632566" y="1718163"/>
                </a:lnTo>
                <a:lnTo>
                  <a:pt x="632566" y="1715881"/>
                </a:lnTo>
                <a:lnTo>
                  <a:pt x="630282" y="1715881"/>
                </a:lnTo>
                <a:lnTo>
                  <a:pt x="627999" y="1715881"/>
                </a:lnTo>
                <a:lnTo>
                  <a:pt x="625715" y="1715881"/>
                </a:lnTo>
                <a:lnTo>
                  <a:pt x="623431" y="1715881"/>
                </a:lnTo>
                <a:lnTo>
                  <a:pt x="621148" y="1715881"/>
                </a:lnTo>
                <a:lnTo>
                  <a:pt x="618864" y="1715881"/>
                </a:lnTo>
                <a:lnTo>
                  <a:pt x="616580" y="1715881"/>
                </a:lnTo>
                <a:lnTo>
                  <a:pt x="616580" y="1713599"/>
                </a:lnTo>
                <a:lnTo>
                  <a:pt x="616580" y="1715881"/>
                </a:lnTo>
                <a:lnTo>
                  <a:pt x="616580" y="1713599"/>
                </a:lnTo>
                <a:lnTo>
                  <a:pt x="614297" y="1713599"/>
                </a:lnTo>
                <a:lnTo>
                  <a:pt x="612013" y="1713599"/>
                </a:lnTo>
                <a:lnTo>
                  <a:pt x="609730" y="1713599"/>
                </a:lnTo>
                <a:lnTo>
                  <a:pt x="609730" y="1711317"/>
                </a:lnTo>
                <a:lnTo>
                  <a:pt x="607446" y="1711317"/>
                </a:lnTo>
                <a:lnTo>
                  <a:pt x="605163" y="1711317"/>
                </a:lnTo>
                <a:lnTo>
                  <a:pt x="605163" y="1709035"/>
                </a:lnTo>
                <a:lnTo>
                  <a:pt x="602879" y="1709035"/>
                </a:lnTo>
                <a:lnTo>
                  <a:pt x="602879" y="1706754"/>
                </a:lnTo>
                <a:lnTo>
                  <a:pt x="600595" y="1706754"/>
                </a:lnTo>
                <a:lnTo>
                  <a:pt x="598312" y="1706754"/>
                </a:lnTo>
                <a:lnTo>
                  <a:pt x="598312" y="1704472"/>
                </a:lnTo>
                <a:lnTo>
                  <a:pt x="596028" y="1704472"/>
                </a:lnTo>
                <a:lnTo>
                  <a:pt x="596028" y="1702189"/>
                </a:lnTo>
                <a:lnTo>
                  <a:pt x="593745" y="1702189"/>
                </a:lnTo>
                <a:lnTo>
                  <a:pt x="593745" y="1699908"/>
                </a:lnTo>
                <a:lnTo>
                  <a:pt x="591461" y="1699908"/>
                </a:lnTo>
                <a:lnTo>
                  <a:pt x="591461" y="1697626"/>
                </a:lnTo>
                <a:lnTo>
                  <a:pt x="589177" y="1697626"/>
                </a:lnTo>
                <a:lnTo>
                  <a:pt x="586894" y="1697626"/>
                </a:lnTo>
                <a:lnTo>
                  <a:pt x="586894" y="1695344"/>
                </a:lnTo>
                <a:lnTo>
                  <a:pt x="584610" y="1695344"/>
                </a:lnTo>
                <a:lnTo>
                  <a:pt x="582326" y="1695344"/>
                </a:lnTo>
                <a:lnTo>
                  <a:pt x="582326" y="1693062"/>
                </a:lnTo>
                <a:lnTo>
                  <a:pt x="580043" y="1693062"/>
                </a:lnTo>
                <a:lnTo>
                  <a:pt x="580043" y="1690780"/>
                </a:lnTo>
                <a:lnTo>
                  <a:pt x="580043" y="1693062"/>
                </a:lnTo>
                <a:lnTo>
                  <a:pt x="580043" y="1690780"/>
                </a:lnTo>
                <a:lnTo>
                  <a:pt x="580043" y="1693062"/>
                </a:lnTo>
                <a:lnTo>
                  <a:pt x="580043" y="1690780"/>
                </a:lnTo>
                <a:lnTo>
                  <a:pt x="577759" y="1690780"/>
                </a:lnTo>
                <a:lnTo>
                  <a:pt x="575476" y="1690780"/>
                </a:lnTo>
                <a:lnTo>
                  <a:pt x="575476" y="1688499"/>
                </a:lnTo>
                <a:lnTo>
                  <a:pt x="575476" y="1690780"/>
                </a:lnTo>
                <a:lnTo>
                  <a:pt x="575476" y="1688499"/>
                </a:lnTo>
                <a:lnTo>
                  <a:pt x="573192" y="1688499"/>
                </a:lnTo>
                <a:lnTo>
                  <a:pt x="570909" y="1688499"/>
                </a:lnTo>
                <a:lnTo>
                  <a:pt x="568625" y="1688499"/>
                </a:lnTo>
                <a:lnTo>
                  <a:pt x="566341" y="1688499"/>
                </a:lnTo>
                <a:lnTo>
                  <a:pt x="564058" y="1688499"/>
                </a:lnTo>
                <a:lnTo>
                  <a:pt x="561774" y="1688499"/>
                </a:lnTo>
                <a:lnTo>
                  <a:pt x="559491" y="1688499"/>
                </a:lnTo>
                <a:lnTo>
                  <a:pt x="557207" y="1688499"/>
                </a:lnTo>
                <a:lnTo>
                  <a:pt x="554924" y="1688499"/>
                </a:lnTo>
                <a:lnTo>
                  <a:pt x="552640" y="1688499"/>
                </a:lnTo>
                <a:lnTo>
                  <a:pt x="550356" y="1688499"/>
                </a:lnTo>
                <a:lnTo>
                  <a:pt x="548073" y="1688499"/>
                </a:lnTo>
                <a:lnTo>
                  <a:pt x="548073" y="1686216"/>
                </a:lnTo>
                <a:lnTo>
                  <a:pt x="545789" y="1686216"/>
                </a:lnTo>
                <a:lnTo>
                  <a:pt x="545789" y="1688499"/>
                </a:lnTo>
                <a:lnTo>
                  <a:pt x="545789" y="1686216"/>
                </a:lnTo>
                <a:lnTo>
                  <a:pt x="545789" y="1688499"/>
                </a:lnTo>
                <a:lnTo>
                  <a:pt x="545789" y="1686216"/>
                </a:lnTo>
                <a:lnTo>
                  <a:pt x="543505" y="1686216"/>
                </a:lnTo>
                <a:lnTo>
                  <a:pt x="543505" y="1683934"/>
                </a:lnTo>
                <a:lnTo>
                  <a:pt x="541222" y="1683934"/>
                </a:lnTo>
                <a:lnTo>
                  <a:pt x="541222" y="1686216"/>
                </a:lnTo>
                <a:lnTo>
                  <a:pt x="541222" y="1683934"/>
                </a:lnTo>
                <a:lnTo>
                  <a:pt x="541222" y="1686216"/>
                </a:lnTo>
                <a:lnTo>
                  <a:pt x="541222" y="1683934"/>
                </a:lnTo>
                <a:lnTo>
                  <a:pt x="538938" y="1683934"/>
                </a:lnTo>
                <a:lnTo>
                  <a:pt x="536655" y="1683934"/>
                </a:lnTo>
                <a:lnTo>
                  <a:pt x="534371" y="1683934"/>
                </a:lnTo>
                <a:lnTo>
                  <a:pt x="534371" y="1681653"/>
                </a:lnTo>
                <a:lnTo>
                  <a:pt x="532087" y="1681653"/>
                </a:lnTo>
                <a:lnTo>
                  <a:pt x="529804" y="1681653"/>
                </a:lnTo>
                <a:lnTo>
                  <a:pt x="527520" y="1681653"/>
                </a:lnTo>
                <a:lnTo>
                  <a:pt x="527520" y="1679371"/>
                </a:lnTo>
                <a:lnTo>
                  <a:pt x="525237" y="1679371"/>
                </a:lnTo>
                <a:lnTo>
                  <a:pt x="522953" y="1679371"/>
                </a:lnTo>
                <a:lnTo>
                  <a:pt x="520670" y="1679371"/>
                </a:lnTo>
                <a:lnTo>
                  <a:pt x="520670" y="1677089"/>
                </a:lnTo>
                <a:lnTo>
                  <a:pt x="518386" y="1677089"/>
                </a:lnTo>
                <a:lnTo>
                  <a:pt x="516102" y="1677089"/>
                </a:lnTo>
                <a:lnTo>
                  <a:pt x="513819" y="1677089"/>
                </a:lnTo>
                <a:lnTo>
                  <a:pt x="513819" y="1674807"/>
                </a:lnTo>
                <a:lnTo>
                  <a:pt x="511535" y="1674807"/>
                </a:lnTo>
                <a:lnTo>
                  <a:pt x="511535" y="1672525"/>
                </a:lnTo>
                <a:lnTo>
                  <a:pt x="509251" y="1672525"/>
                </a:lnTo>
                <a:lnTo>
                  <a:pt x="506968" y="1672525"/>
                </a:lnTo>
                <a:lnTo>
                  <a:pt x="504684" y="1672525"/>
                </a:lnTo>
                <a:lnTo>
                  <a:pt x="502401" y="1672525"/>
                </a:lnTo>
                <a:lnTo>
                  <a:pt x="500117" y="1672525"/>
                </a:lnTo>
                <a:lnTo>
                  <a:pt x="500117" y="1670243"/>
                </a:lnTo>
                <a:lnTo>
                  <a:pt x="500117" y="1672525"/>
                </a:lnTo>
                <a:lnTo>
                  <a:pt x="497834" y="1672525"/>
                </a:lnTo>
                <a:lnTo>
                  <a:pt x="497834" y="1670243"/>
                </a:lnTo>
                <a:lnTo>
                  <a:pt x="495550" y="1670243"/>
                </a:lnTo>
                <a:lnTo>
                  <a:pt x="493266" y="1670243"/>
                </a:lnTo>
                <a:lnTo>
                  <a:pt x="490983" y="1670243"/>
                </a:lnTo>
                <a:lnTo>
                  <a:pt x="488699" y="1670243"/>
                </a:lnTo>
                <a:lnTo>
                  <a:pt x="486416" y="1670243"/>
                </a:lnTo>
                <a:lnTo>
                  <a:pt x="486416" y="1672525"/>
                </a:lnTo>
                <a:lnTo>
                  <a:pt x="484132" y="1672525"/>
                </a:lnTo>
                <a:lnTo>
                  <a:pt x="484132" y="1670243"/>
                </a:lnTo>
                <a:lnTo>
                  <a:pt x="481848" y="1670243"/>
                </a:lnTo>
                <a:lnTo>
                  <a:pt x="479565" y="1670243"/>
                </a:lnTo>
                <a:lnTo>
                  <a:pt x="477281" y="1670243"/>
                </a:lnTo>
                <a:lnTo>
                  <a:pt x="477281" y="1667961"/>
                </a:lnTo>
                <a:lnTo>
                  <a:pt x="474997" y="1667961"/>
                </a:lnTo>
                <a:lnTo>
                  <a:pt x="472714" y="1667961"/>
                </a:lnTo>
                <a:lnTo>
                  <a:pt x="470430" y="1667961"/>
                </a:lnTo>
                <a:lnTo>
                  <a:pt x="468147" y="1667961"/>
                </a:lnTo>
                <a:lnTo>
                  <a:pt x="465863" y="1667961"/>
                </a:lnTo>
                <a:lnTo>
                  <a:pt x="463580" y="1667961"/>
                </a:lnTo>
                <a:lnTo>
                  <a:pt x="461296" y="1667961"/>
                </a:lnTo>
                <a:lnTo>
                  <a:pt x="459012" y="1667961"/>
                </a:lnTo>
                <a:lnTo>
                  <a:pt x="459012" y="1665679"/>
                </a:lnTo>
                <a:lnTo>
                  <a:pt x="456729" y="1665679"/>
                </a:lnTo>
                <a:lnTo>
                  <a:pt x="454445" y="1665679"/>
                </a:lnTo>
                <a:lnTo>
                  <a:pt x="452162" y="1665679"/>
                </a:lnTo>
                <a:lnTo>
                  <a:pt x="449878" y="1665679"/>
                </a:lnTo>
                <a:lnTo>
                  <a:pt x="447595" y="1665679"/>
                </a:lnTo>
                <a:lnTo>
                  <a:pt x="445311" y="1665679"/>
                </a:lnTo>
                <a:lnTo>
                  <a:pt x="443027" y="1665679"/>
                </a:lnTo>
                <a:lnTo>
                  <a:pt x="440744" y="1665679"/>
                </a:lnTo>
                <a:lnTo>
                  <a:pt x="438460" y="1665679"/>
                </a:lnTo>
                <a:lnTo>
                  <a:pt x="438460" y="1663407"/>
                </a:lnTo>
                <a:lnTo>
                  <a:pt x="436176" y="1663407"/>
                </a:lnTo>
                <a:lnTo>
                  <a:pt x="433893" y="1663407"/>
                </a:lnTo>
                <a:lnTo>
                  <a:pt x="431609" y="1663407"/>
                </a:lnTo>
                <a:lnTo>
                  <a:pt x="429326" y="1663407"/>
                </a:lnTo>
                <a:lnTo>
                  <a:pt x="427042" y="1663407"/>
                </a:lnTo>
                <a:lnTo>
                  <a:pt x="427042" y="1661125"/>
                </a:lnTo>
                <a:lnTo>
                  <a:pt x="424758" y="1661125"/>
                </a:lnTo>
                <a:lnTo>
                  <a:pt x="422475" y="1661125"/>
                </a:lnTo>
                <a:lnTo>
                  <a:pt x="420191" y="1661125"/>
                </a:lnTo>
                <a:lnTo>
                  <a:pt x="417908" y="1661125"/>
                </a:lnTo>
                <a:lnTo>
                  <a:pt x="415624" y="1661125"/>
                </a:lnTo>
                <a:lnTo>
                  <a:pt x="413341" y="1661125"/>
                </a:lnTo>
                <a:lnTo>
                  <a:pt x="411057" y="1658843"/>
                </a:lnTo>
                <a:lnTo>
                  <a:pt x="408773" y="1658843"/>
                </a:lnTo>
                <a:lnTo>
                  <a:pt x="408773" y="1661125"/>
                </a:lnTo>
                <a:lnTo>
                  <a:pt x="406490" y="1661125"/>
                </a:lnTo>
                <a:lnTo>
                  <a:pt x="404206" y="1661125"/>
                </a:lnTo>
                <a:lnTo>
                  <a:pt x="401922" y="1661125"/>
                </a:lnTo>
                <a:lnTo>
                  <a:pt x="401922" y="1658843"/>
                </a:lnTo>
                <a:lnTo>
                  <a:pt x="399639" y="1658843"/>
                </a:lnTo>
                <a:lnTo>
                  <a:pt x="397355" y="1658843"/>
                </a:lnTo>
                <a:lnTo>
                  <a:pt x="395072" y="1658843"/>
                </a:lnTo>
                <a:lnTo>
                  <a:pt x="392788" y="1658843"/>
                </a:lnTo>
                <a:lnTo>
                  <a:pt x="390505" y="1658843"/>
                </a:lnTo>
                <a:lnTo>
                  <a:pt x="388221" y="1658843"/>
                </a:lnTo>
                <a:lnTo>
                  <a:pt x="385937" y="1658843"/>
                </a:lnTo>
                <a:lnTo>
                  <a:pt x="383654" y="1658843"/>
                </a:lnTo>
                <a:lnTo>
                  <a:pt x="383654" y="1656561"/>
                </a:lnTo>
                <a:lnTo>
                  <a:pt x="381370" y="1656561"/>
                </a:lnTo>
                <a:lnTo>
                  <a:pt x="379087" y="1656561"/>
                </a:lnTo>
                <a:lnTo>
                  <a:pt x="376803" y="1656561"/>
                </a:lnTo>
                <a:lnTo>
                  <a:pt x="374519" y="1656561"/>
                </a:lnTo>
                <a:lnTo>
                  <a:pt x="372236" y="1656561"/>
                </a:lnTo>
                <a:lnTo>
                  <a:pt x="369952" y="1656561"/>
                </a:lnTo>
                <a:lnTo>
                  <a:pt x="369952" y="1654279"/>
                </a:lnTo>
                <a:lnTo>
                  <a:pt x="367668" y="1654279"/>
                </a:lnTo>
                <a:lnTo>
                  <a:pt x="367668" y="1656561"/>
                </a:lnTo>
                <a:lnTo>
                  <a:pt x="365385" y="1656561"/>
                </a:lnTo>
                <a:lnTo>
                  <a:pt x="365385" y="1654279"/>
                </a:lnTo>
                <a:lnTo>
                  <a:pt x="365385" y="1656561"/>
                </a:lnTo>
                <a:lnTo>
                  <a:pt x="365385" y="1654279"/>
                </a:lnTo>
                <a:lnTo>
                  <a:pt x="363101" y="1654279"/>
                </a:lnTo>
                <a:lnTo>
                  <a:pt x="360818" y="1654279"/>
                </a:lnTo>
                <a:lnTo>
                  <a:pt x="360818" y="1651997"/>
                </a:lnTo>
                <a:lnTo>
                  <a:pt x="358534" y="1651997"/>
                </a:lnTo>
                <a:lnTo>
                  <a:pt x="356251" y="1651997"/>
                </a:lnTo>
                <a:lnTo>
                  <a:pt x="353967" y="1651997"/>
                </a:lnTo>
                <a:lnTo>
                  <a:pt x="351683" y="1651997"/>
                </a:lnTo>
                <a:lnTo>
                  <a:pt x="349400" y="1651997"/>
                </a:lnTo>
                <a:lnTo>
                  <a:pt x="349400" y="1649716"/>
                </a:lnTo>
                <a:lnTo>
                  <a:pt x="347116" y="1649716"/>
                </a:lnTo>
                <a:lnTo>
                  <a:pt x="344833" y="1649716"/>
                </a:lnTo>
                <a:lnTo>
                  <a:pt x="342549" y="1649716"/>
                </a:lnTo>
                <a:lnTo>
                  <a:pt x="340266" y="1649716"/>
                </a:lnTo>
                <a:lnTo>
                  <a:pt x="340266" y="1647434"/>
                </a:lnTo>
                <a:lnTo>
                  <a:pt x="340266" y="1649716"/>
                </a:lnTo>
                <a:lnTo>
                  <a:pt x="340266" y="1647434"/>
                </a:lnTo>
                <a:lnTo>
                  <a:pt x="337982" y="1647434"/>
                </a:lnTo>
                <a:lnTo>
                  <a:pt x="337982" y="1649716"/>
                </a:lnTo>
                <a:lnTo>
                  <a:pt x="337982" y="1647434"/>
                </a:lnTo>
                <a:lnTo>
                  <a:pt x="335698" y="1647434"/>
                </a:lnTo>
                <a:lnTo>
                  <a:pt x="333415" y="1647434"/>
                </a:lnTo>
                <a:lnTo>
                  <a:pt x="331131" y="1647434"/>
                </a:lnTo>
                <a:lnTo>
                  <a:pt x="328847" y="1647434"/>
                </a:lnTo>
                <a:lnTo>
                  <a:pt x="326564" y="1647434"/>
                </a:lnTo>
                <a:lnTo>
                  <a:pt x="326564" y="1645152"/>
                </a:lnTo>
                <a:lnTo>
                  <a:pt x="324280" y="1647434"/>
                </a:lnTo>
                <a:lnTo>
                  <a:pt x="324280" y="1645152"/>
                </a:lnTo>
                <a:lnTo>
                  <a:pt x="321997" y="1645152"/>
                </a:lnTo>
                <a:lnTo>
                  <a:pt x="321997" y="1642870"/>
                </a:lnTo>
                <a:lnTo>
                  <a:pt x="321997" y="1640588"/>
                </a:lnTo>
                <a:lnTo>
                  <a:pt x="319713" y="1640588"/>
                </a:lnTo>
                <a:lnTo>
                  <a:pt x="319713" y="1638306"/>
                </a:lnTo>
                <a:lnTo>
                  <a:pt x="321997" y="1638306"/>
                </a:lnTo>
                <a:lnTo>
                  <a:pt x="319713" y="1638306"/>
                </a:lnTo>
                <a:lnTo>
                  <a:pt x="319713" y="1636024"/>
                </a:lnTo>
                <a:lnTo>
                  <a:pt x="317429" y="1636024"/>
                </a:lnTo>
                <a:lnTo>
                  <a:pt x="317429" y="1633742"/>
                </a:lnTo>
                <a:lnTo>
                  <a:pt x="317429" y="1631460"/>
                </a:lnTo>
                <a:lnTo>
                  <a:pt x="317429" y="1629178"/>
                </a:lnTo>
                <a:lnTo>
                  <a:pt x="317429" y="1626897"/>
                </a:lnTo>
                <a:lnTo>
                  <a:pt x="319713" y="1626897"/>
                </a:lnTo>
                <a:lnTo>
                  <a:pt x="319713" y="1624615"/>
                </a:lnTo>
                <a:lnTo>
                  <a:pt x="319713" y="1626897"/>
                </a:lnTo>
                <a:lnTo>
                  <a:pt x="319713" y="1624615"/>
                </a:lnTo>
                <a:lnTo>
                  <a:pt x="319713" y="1622333"/>
                </a:lnTo>
                <a:lnTo>
                  <a:pt x="317429" y="1622333"/>
                </a:lnTo>
                <a:lnTo>
                  <a:pt x="319713" y="1622333"/>
                </a:lnTo>
                <a:lnTo>
                  <a:pt x="319713" y="1620051"/>
                </a:lnTo>
                <a:lnTo>
                  <a:pt x="317429" y="1620051"/>
                </a:lnTo>
                <a:lnTo>
                  <a:pt x="317429" y="1617769"/>
                </a:lnTo>
                <a:lnTo>
                  <a:pt x="319713" y="1617769"/>
                </a:lnTo>
                <a:lnTo>
                  <a:pt x="321997" y="1617769"/>
                </a:lnTo>
                <a:lnTo>
                  <a:pt x="321997" y="1615487"/>
                </a:lnTo>
                <a:lnTo>
                  <a:pt x="324280" y="1615487"/>
                </a:lnTo>
                <a:lnTo>
                  <a:pt x="324280" y="1613205"/>
                </a:lnTo>
                <a:lnTo>
                  <a:pt x="321997" y="1613205"/>
                </a:lnTo>
                <a:lnTo>
                  <a:pt x="321997" y="1610923"/>
                </a:lnTo>
                <a:lnTo>
                  <a:pt x="319713" y="1610923"/>
                </a:lnTo>
                <a:lnTo>
                  <a:pt x="321997" y="1610923"/>
                </a:lnTo>
                <a:lnTo>
                  <a:pt x="319713" y="1610923"/>
                </a:lnTo>
                <a:lnTo>
                  <a:pt x="319713" y="1608642"/>
                </a:lnTo>
                <a:lnTo>
                  <a:pt x="321997" y="1608642"/>
                </a:lnTo>
                <a:lnTo>
                  <a:pt x="324280" y="1608642"/>
                </a:lnTo>
                <a:lnTo>
                  <a:pt x="324280" y="1606360"/>
                </a:lnTo>
                <a:lnTo>
                  <a:pt x="326564" y="1606360"/>
                </a:lnTo>
                <a:lnTo>
                  <a:pt x="328847" y="1606360"/>
                </a:lnTo>
                <a:lnTo>
                  <a:pt x="331131" y="1606360"/>
                </a:lnTo>
                <a:lnTo>
                  <a:pt x="333415" y="1606360"/>
                </a:lnTo>
                <a:lnTo>
                  <a:pt x="333415" y="1604078"/>
                </a:lnTo>
                <a:lnTo>
                  <a:pt x="335698" y="1604078"/>
                </a:lnTo>
                <a:lnTo>
                  <a:pt x="335698" y="1601796"/>
                </a:lnTo>
                <a:lnTo>
                  <a:pt x="335698" y="1599514"/>
                </a:lnTo>
                <a:lnTo>
                  <a:pt x="337982" y="1599514"/>
                </a:lnTo>
                <a:lnTo>
                  <a:pt x="337982" y="1597232"/>
                </a:lnTo>
                <a:lnTo>
                  <a:pt x="340266" y="1597232"/>
                </a:lnTo>
                <a:lnTo>
                  <a:pt x="328847" y="1594950"/>
                </a:lnTo>
                <a:lnTo>
                  <a:pt x="310579" y="1590386"/>
                </a:lnTo>
                <a:lnTo>
                  <a:pt x="306012" y="1585822"/>
                </a:lnTo>
                <a:lnTo>
                  <a:pt x="290026" y="1583541"/>
                </a:lnTo>
                <a:lnTo>
                  <a:pt x="287733" y="1572131"/>
                </a:lnTo>
                <a:lnTo>
                  <a:pt x="287733" y="1569849"/>
                </a:lnTo>
                <a:lnTo>
                  <a:pt x="285459" y="1569849"/>
                </a:lnTo>
                <a:lnTo>
                  <a:pt x="283166" y="1567567"/>
                </a:lnTo>
                <a:lnTo>
                  <a:pt x="280882" y="1567567"/>
                </a:lnTo>
                <a:lnTo>
                  <a:pt x="278599" y="1567567"/>
                </a:lnTo>
                <a:lnTo>
                  <a:pt x="274031" y="1565286"/>
                </a:lnTo>
                <a:lnTo>
                  <a:pt x="274031" y="1567567"/>
                </a:lnTo>
                <a:lnTo>
                  <a:pt x="271748" y="1567567"/>
                </a:lnTo>
                <a:lnTo>
                  <a:pt x="269464" y="1567567"/>
                </a:lnTo>
                <a:lnTo>
                  <a:pt x="269464" y="1569849"/>
                </a:lnTo>
                <a:lnTo>
                  <a:pt x="267181" y="1569849"/>
                </a:lnTo>
                <a:lnTo>
                  <a:pt x="264897" y="1569849"/>
                </a:lnTo>
                <a:lnTo>
                  <a:pt x="264897" y="1576695"/>
                </a:lnTo>
                <a:lnTo>
                  <a:pt x="258046" y="1576695"/>
                </a:lnTo>
                <a:lnTo>
                  <a:pt x="253489" y="1574413"/>
                </a:lnTo>
                <a:lnTo>
                  <a:pt x="244345" y="1574413"/>
                </a:lnTo>
                <a:lnTo>
                  <a:pt x="239778" y="1572131"/>
                </a:lnTo>
                <a:lnTo>
                  <a:pt x="232927" y="1572131"/>
                </a:lnTo>
                <a:lnTo>
                  <a:pt x="239778" y="1565286"/>
                </a:lnTo>
                <a:lnTo>
                  <a:pt x="244345" y="1558440"/>
                </a:lnTo>
                <a:lnTo>
                  <a:pt x="244345" y="1553876"/>
                </a:lnTo>
                <a:lnTo>
                  <a:pt x="244345" y="1551594"/>
                </a:lnTo>
                <a:lnTo>
                  <a:pt x="246629" y="1549312"/>
                </a:lnTo>
                <a:lnTo>
                  <a:pt x="246629" y="1547030"/>
                </a:lnTo>
                <a:lnTo>
                  <a:pt x="246629" y="1544748"/>
                </a:lnTo>
                <a:lnTo>
                  <a:pt x="246629" y="1540185"/>
                </a:lnTo>
                <a:lnTo>
                  <a:pt x="251196" y="1540185"/>
                </a:lnTo>
                <a:lnTo>
                  <a:pt x="255763" y="1540185"/>
                </a:lnTo>
                <a:lnTo>
                  <a:pt x="258046" y="1540185"/>
                </a:lnTo>
                <a:lnTo>
                  <a:pt x="260330" y="1540185"/>
                </a:lnTo>
                <a:lnTo>
                  <a:pt x="267181" y="1537903"/>
                </a:lnTo>
                <a:lnTo>
                  <a:pt x="267181" y="1535621"/>
                </a:lnTo>
                <a:lnTo>
                  <a:pt x="271748" y="1535621"/>
                </a:lnTo>
                <a:lnTo>
                  <a:pt x="274031" y="1535621"/>
                </a:lnTo>
                <a:lnTo>
                  <a:pt x="276315" y="1533339"/>
                </a:lnTo>
                <a:lnTo>
                  <a:pt x="280882" y="1531057"/>
                </a:lnTo>
                <a:lnTo>
                  <a:pt x="280882" y="1524211"/>
                </a:lnTo>
                <a:lnTo>
                  <a:pt x="285459" y="1519648"/>
                </a:lnTo>
                <a:lnTo>
                  <a:pt x="285459" y="1517366"/>
                </a:lnTo>
                <a:lnTo>
                  <a:pt x="285459" y="1510520"/>
                </a:lnTo>
                <a:lnTo>
                  <a:pt x="296868" y="1519648"/>
                </a:lnTo>
                <a:lnTo>
                  <a:pt x="310579" y="1517366"/>
                </a:lnTo>
                <a:lnTo>
                  <a:pt x="317429" y="1517366"/>
                </a:lnTo>
                <a:lnTo>
                  <a:pt x="319713" y="1519648"/>
                </a:lnTo>
                <a:lnTo>
                  <a:pt x="324280" y="1519648"/>
                </a:lnTo>
                <a:lnTo>
                  <a:pt x="326564" y="1519648"/>
                </a:lnTo>
                <a:lnTo>
                  <a:pt x="326564" y="1510520"/>
                </a:lnTo>
                <a:lnTo>
                  <a:pt x="326564" y="1499120"/>
                </a:lnTo>
                <a:lnTo>
                  <a:pt x="306012" y="1485429"/>
                </a:lnTo>
                <a:lnTo>
                  <a:pt x="306012" y="1478583"/>
                </a:lnTo>
                <a:lnTo>
                  <a:pt x="306012" y="1476301"/>
                </a:lnTo>
                <a:lnTo>
                  <a:pt x="299161" y="1478583"/>
                </a:lnTo>
                <a:lnTo>
                  <a:pt x="299161" y="1460328"/>
                </a:lnTo>
                <a:lnTo>
                  <a:pt x="301444" y="1451200"/>
                </a:lnTo>
                <a:lnTo>
                  <a:pt x="301444" y="1446636"/>
                </a:lnTo>
                <a:lnTo>
                  <a:pt x="292310" y="1442073"/>
                </a:lnTo>
                <a:lnTo>
                  <a:pt x="285459" y="1439791"/>
                </a:lnTo>
                <a:lnTo>
                  <a:pt x="280882" y="1437509"/>
                </a:lnTo>
                <a:lnTo>
                  <a:pt x="269464" y="1435227"/>
                </a:lnTo>
                <a:lnTo>
                  <a:pt x="267181" y="1432945"/>
                </a:lnTo>
                <a:lnTo>
                  <a:pt x="264897" y="1430663"/>
                </a:lnTo>
                <a:lnTo>
                  <a:pt x="264897" y="1428381"/>
                </a:lnTo>
                <a:lnTo>
                  <a:pt x="262614" y="1426099"/>
                </a:lnTo>
                <a:lnTo>
                  <a:pt x="253489" y="1428381"/>
                </a:lnTo>
                <a:lnTo>
                  <a:pt x="251196" y="1428381"/>
                </a:lnTo>
                <a:lnTo>
                  <a:pt x="237494" y="1426099"/>
                </a:lnTo>
                <a:lnTo>
                  <a:pt x="232927" y="1428381"/>
                </a:lnTo>
                <a:lnTo>
                  <a:pt x="228360" y="1428381"/>
                </a:lnTo>
                <a:lnTo>
                  <a:pt x="226076" y="1428381"/>
                </a:lnTo>
                <a:lnTo>
                  <a:pt x="219225" y="1428381"/>
                </a:lnTo>
                <a:lnTo>
                  <a:pt x="214658" y="1428381"/>
                </a:lnTo>
                <a:lnTo>
                  <a:pt x="216942" y="1435227"/>
                </a:lnTo>
                <a:lnTo>
                  <a:pt x="214658" y="1432945"/>
                </a:lnTo>
                <a:lnTo>
                  <a:pt x="210091" y="1426099"/>
                </a:lnTo>
                <a:lnTo>
                  <a:pt x="207807" y="1423817"/>
                </a:lnTo>
                <a:lnTo>
                  <a:pt x="205524" y="1419254"/>
                </a:lnTo>
                <a:lnTo>
                  <a:pt x="203240" y="1416972"/>
                </a:lnTo>
                <a:lnTo>
                  <a:pt x="200956" y="1414690"/>
                </a:lnTo>
                <a:lnTo>
                  <a:pt x="198673" y="1412408"/>
                </a:lnTo>
                <a:lnTo>
                  <a:pt x="196389" y="1410126"/>
                </a:lnTo>
                <a:lnTo>
                  <a:pt x="194106" y="1407844"/>
                </a:lnTo>
                <a:lnTo>
                  <a:pt x="194106" y="1405562"/>
                </a:lnTo>
                <a:lnTo>
                  <a:pt x="184971" y="1405562"/>
                </a:lnTo>
                <a:lnTo>
                  <a:pt x="180404" y="1405562"/>
                </a:lnTo>
                <a:lnTo>
                  <a:pt x="175837" y="1405562"/>
                </a:lnTo>
                <a:lnTo>
                  <a:pt x="157568" y="1407844"/>
                </a:lnTo>
                <a:lnTo>
                  <a:pt x="153001" y="1407844"/>
                </a:lnTo>
                <a:lnTo>
                  <a:pt x="150717" y="1407844"/>
                </a:lnTo>
                <a:lnTo>
                  <a:pt x="143867" y="1407844"/>
                </a:lnTo>
                <a:lnTo>
                  <a:pt x="141583" y="1407844"/>
                </a:lnTo>
                <a:lnTo>
                  <a:pt x="137016" y="1407844"/>
                </a:lnTo>
                <a:lnTo>
                  <a:pt x="130165" y="1414690"/>
                </a:lnTo>
                <a:lnTo>
                  <a:pt x="114180" y="1414690"/>
                </a:lnTo>
                <a:lnTo>
                  <a:pt x="95911" y="1419254"/>
                </a:lnTo>
                <a:lnTo>
                  <a:pt x="84493" y="1423817"/>
                </a:lnTo>
                <a:lnTo>
                  <a:pt x="82210" y="1423817"/>
                </a:lnTo>
                <a:lnTo>
                  <a:pt x="68508" y="1428381"/>
                </a:lnTo>
                <a:lnTo>
                  <a:pt x="59374" y="1426099"/>
                </a:lnTo>
                <a:lnTo>
                  <a:pt x="45672" y="1426099"/>
                </a:lnTo>
                <a:lnTo>
                  <a:pt x="31970" y="1426099"/>
                </a:lnTo>
                <a:lnTo>
                  <a:pt x="29687" y="1426099"/>
                </a:lnTo>
                <a:lnTo>
                  <a:pt x="15985" y="1426099"/>
                </a:lnTo>
                <a:lnTo>
                  <a:pt x="13702" y="1426099"/>
                </a:lnTo>
                <a:lnTo>
                  <a:pt x="15985" y="1423817"/>
                </a:lnTo>
                <a:lnTo>
                  <a:pt x="4567" y="1419254"/>
                </a:lnTo>
                <a:lnTo>
                  <a:pt x="0" y="1416972"/>
                </a:lnTo>
                <a:lnTo>
                  <a:pt x="0" y="1414690"/>
                </a:lnTo>
                <a:lnTo>
                  <a:pt x="0" y="1412408"/>
                </a:lnTo>
                <a:lnTo>
                  <a:pt x="0" y="1410126"/>
                </a:lnTo>
                <a:lnTo>
                  <a:pt x="0" y="1387307"/>
                </a:lnTo>
                <a:lnTo>
                  <a:pt x="11418" y="1387307"/>
                </a:lnTo>
                <a:lnTo>
                  <a:pt x="11418" y="1380461"/>
                </a:lnTo>
                <a:lnTo>
                  <a:pt x="15985" y="1380461"/>
                </a:lnTo>
                <a:lnTo>
                  <a:pt x="25120" y="1362206"/>
                </a:lnTo>
                <a:lnTo>
                  <a:pt x="25120" y="1359924"/>
                </a:lnTo>
                <a:lnTo>
                  <a:pt x="27403" y="1353088"/>
                </a:lnTo>
                <a:lnTo>
                  <a:pt x="31970" y="1346242"/>
                </a:lnTo>
                <a:lnTo>
                  <a:pt x="31970" y="1343961"/>
                </a:lnTo>
                <a:lnTo>
                  <a:pt x="36538" y="1339397"/>
                </a:lnTo>
                <a:lnTo>
                  <a:pt x="41105" y="1334833"/>
                </a:lnTo>
                <a:lnTo>
                  <a:pt x="45672" y="1330269"/>
                </a:lnTo>
                <a:lnTo>
                  <a:pt x="45672" y="1327987"/>
                </a:lnTo>
                <a:lnTo>
                  <a:pt x="50239" y="1309732"/>
                </a:lnTo>
                <a:lnTo>
                  <a:pt x="59374" y="1296041"/>
                </a:lnTo>
                <a:lnTo>
                  <a:pt x="66224" y="1286913"/>
                </a:lnTo>
                <a:lnTo>
                  <a:pt x="70792" y="1282349"/>
                </a:lnTo>
                <a:lnTo>
                  <a:pt x="70792" y="1268658"/>
                </a:lnTo>
                <a:lnTo>
                  <a:pt x="68508" y="1266376"/>
                </a:lnTo>
                <a:lnTo>
                  <a:pt x="66224" y="1264094"/>
                </a:lnTo>
                <a:lnTo>
                  <a:pt x="61657" y="1259530"/>
                </a:lnTo>
                <a:lnTo>
                  <a:pt x="61657" y="1257249"/>
                </a:lnTo>
                <a:lnTo>
                  <a:pt x="73075" y="1248121"/>
                </a:lnTo>
                <a:lnTo>
                  <a:pt x="70792" y="1241275"/>
                </a:lnTo>
                <a:lnTo>
                  <a:pt x="66224" y="1229866"/>
                </a:lnTo>
                <a:lnTo>
                  <a:pt x="84493" y="1209329"/>
                </a:lnTo>
                <a:lnTo>
                  <a:pt x="84493" y="1197919"/>
                </a:lnTo>
                <a:lnTo>
                  <a:pt x="107329" y="1197919"/>
                </a:lnTo>
                <a:lnTo>
                  <a:pt x="116463" y="1197919"/>
                </a:lnTo>
                <a:lnTo>
                  <a:pt x="123314" y="1191083"/>
                </a:lnTo>
                <a:lnTo>
                  <a:pt x="121031" y="1186519"/>
                </a:lnTo>
                <a:lnTo>
                  <a:pt x="118747" y="1184237"/>
                </a:lnTo>
                <a:lnTo>
                  <a:pt x="116463" y="1177392"/>
                </a:lnTo>
                <a:lnTo>
                  <a:pt x="111896" y="1165982"/>
                </a:lnTo>
                <a:lnTo>
                  <a:pt x="116463" y="1163700"/>
                </a:lnTo>
                <a:lnTo>
                  <a:pt x="132449" y="1152291"/>
                </a:lnTo>
                <a:lnTo>
                  <a:pt x="134732" y="1152291"/>
                </a:lnTo>
                <a:lnTo>
                  <a:pt x="137016" y="1152291"/>
                </a:lnTo>
                <a:lnTo>
                  <a:pt x="146150" y="1152291"/>
                </a:lnTo>
                <a:lnTo>
                  <a:pt x="148434" y="1156855"/>
                </a:lnTo>
                <a:lnTo>
                  <a:pt x="150717" y="1159137"/>
                </a:lnTo>
                <a:lnTo>
                  <a:pt x="168986" y="1161418"/>
                </a:lnTo>
                <a:lnTo>
                  <a:pt x="184971" y="1168264"/>
                </a:lnTo>
                <a:lnTo>
                  <a:pt x="187255" y="1168264"/>
                </a:lnTo>
                <a:lnTo>
                  <a:pt x="189539" y="1168264"/>
                </a:lnTo>
                <a:lnTo>
                  <a:pt x="212375" y="1172828"/>
                </a:lnTo>
                <a:lnTo>
                  <a:pt x="219225" y="1147727"/>
                </a:lnTo>
                <a:lnTo>
                  <a:pt x="203240" y="1150009"/>
                </a:lnTo>
                <a:lnTo>
                  <a:pt x="203240" y="1145445"/>
                </a:lnTo>
                <a:lnTo>
                  <a:pt x="203240" y="1136318"/>
                </a:lnTo>
                <a:lnTo>
                  <a:pt x="203240" y="1134036"/>
                </a:lnTo>
                <a:lnTo>
                  <a:pt x="196389" y="1127190"/>
                </a:lnTo>
                <a:lnTo>
                  <a:pt x="196389" y="1124908"/>
                </a:lnTo>
                <a:lnTo>
                  <a:pt x="175837" y="1113498"/>
                </a:lnTo>
                <a:lnTo>
                  <a:pt x="173553" y="1111217"/>
                </a:lnTo>
                <a:lnTo>
                  <a:pt x="180404" y="1106653"/>
                </a:lnTo>
                <a:lnTo>
                  <a:pt x="182688" y="1104371"/>
                </a:lnTo>
                <a:lnTo>
                  <a:pt x="184971" y="1086116"/>
                </a:lnTo>
                <a:lnTo>
                  <a:pt x="180404" y="1074706"/>
                </a:lnTo>
                <a:lnTo>
                  <a:pt x="178121" y="1063297"/>
                </a:lnTo>
                <a:lnTo>
                  <a:pt x="166702" y="1051887"/>
                </a:lnTo>
                <a:lnTo>
                  <a:pt x="162135" y="1047324"/>
                </a:lnTo>
                <a:lnTo>
                  <a:pt x="162135" y="1033642"/>
                </a:lnTo>
                <a:lnTo>
                  <a:pt x="162135" y="1026796"/>
                </a:lnTo>
                <a:lnTo>
                  <a:pt x="153001" y="1010823"/>
                </a:lnTo>
                <a:lnTo>
                  <a:pt x="168986" y="1001695"/>
                </a:lnTo>
                <a:lnTo>
                  <a:pt x="171270" y="1001695"/>
                </a:lnTo>
                <a:lnTo>
                  <a:pt x="175837" y="1001695"/>
                </a:lnTo>
                <a:lnTo>
                  <a:pt x="182688" y="999413"/>
                </a:lnTo>
                <a:lnTo>
                  <a:pt x="182688" y="994850"/>
                </a:lnTo>
                <a:lnTo>
                  <a:pt x="184971" y="992568"/>
                </a:lnTo>
                <a:lnTo>
                  <a:pt x="189539" y="981158"/>
                </a:lnTo>
                <a:lnTo>
                  <a:pt x="189539" y="978876"/>
                </a:lnTo>
                <a:lnTo>
                  <a:pt x="194106" y="983440"/>
                </a:lnTo>
                <a:lnTo>
                  <a:pt x="196389" y="985722"/>
                </a:lnTo>
                <a:lnTo>
                  <a:pt x="198673" y="985722"/>
                </a:lnTo>
                <a:lnTo>
                  <a:pt x="200956" y="988004"/>
                </a:lnTo>
                <a:lnTo>
                  <a:pt x="203240" y="988004"/>
                </a:lnTo>
                <a:lnTo>
                  <a:pt x="210091" y="990286"/>
                </a:lnTo>
                <a:lnTo>
                  <a:pt x="216942" y="994850"/>
                </a:lnTo>
                <a:lnTo>
                  <a:pt x="221509" y="985722"/>
                </a:lnTo>
                <a:lnTo>
                  <a:pt x="221509" y="983440"/>
                </a:lnTo>
                <a:lnTo>
                  <a:pt x="221509" y="981158"/>
                </a:lnTo>
                <a:lnTo>
                  <a:pt x="223792" y="981158"/>
                </a:lnTo>
                <a:lnTo>
                  <a:pt x="223792" y="978876"/>
                </a:lnTo>
                <a:lnTo>
                  <a:pt x="230643" y="967467"/>
                </a:lnTo>
                <a:lnTo>
                  <a:pt x="242061" y="967467"/>
                </a:lnTo>
                <a:lnTo>
                  <a:pt x="251196" y="967467"/>
                </a:lnTo>
                <a:lnTo>
                  <a:pt x="255763" y="967467"/>
                </a:lnTo>
                <a:lnTo>
                  <a:pt x="260330" y="969749"/>
                </a:lnTo>
                <a:lnTo>
                  <a:pt x="267181" y="969749"/>
                </a:lnTo>
                <a:lnTo>
                  <a:pt x="276315" y="972030"/>
                </a:lnTo>
                <a:lnTo>
                  <a:pt x="280882" y="972030"/>
                </a:lnTo>
                <a:lnTo>
                  <a:pt x="303728" y="972030"/>
                </a:lnTo>
                <a:lnTo>
                  <a:pt x="306012" y="972030"/>
                </a:lnTo>
                <a:lnTo>
                  <a:pt x="310579" y="967467"/>
                </a:lnTo>
                <a:lnTo>
                  <a:pt x="308295" y="962903"/>
                </a:lnTo>
                <a:lnTo>
                  <a:pt x="303728" y="956057"/>
                </a:lnTo>
                <a:lnTo>
                  <a:pt x="299161" y="953775"/>
                </a:lnTo>
                <a:lnTo>
                  <a:pt x="303728" y="940084"/>
                </a:lnTo>
                <a:lnTo>
                  <a:pt x="306012" y="933238"/>
                </a:lnTo>
                <a:lnTo>
                  <a:pt x="306012" y="930957"/>
                </a:lnTo>
                <a:lnTo>
                  <a:pt x="306012" y="928674"/>
                </a:lnTo>
                <a:lnTo>
                  <a:pt x="315146" y="926393"/>
                </a:lnTo>
                <a:lnTo>
                  <a:pt x="319713" y="921829"/>
                </a:lnTo>
                <a:lnTo>
                  <a:pt x="321997" y="919547"/>
                </a:lnTo>
                <a:lnTo>
                  <a:pt x="326564" y="917265"/>
                </a:lnTo>
                <a:lnTo>
                  <a:pt x="328847" y="914983"/>
                </a:lnTo>
                <a:lnTo>
                  <a:pt x="333415" y="912701"/>
                </a:lnTo>
                <a:lnTo>
                  <a:pt x="340266" y="903574"/>
                </a:lnTo>
                <a:lnTo>
                  <a:pt x="344833" y="905856"/>
                </a:lnTo>
                <a:lnTo>
                  <a:pt x="347116" y="908137"/>
                </a:lnTo>
                <a:lnTo>
                  <a:pt x="351683" y="910419"/>
                </a:lnTo>
                <a:lnTo>
                  <a:pt x="358534" y="917265"/>
                </a:lnTo>
                <a:lnTo>
                  <a:pt x="365385" y="924111"/>
                </a:lnTo>
                <a:lnTo>
                  <a:pt x="365385" y="926393"/>
                </a:lnTo>
                <a:lnTo>
                  <a:pt x="367668" y="926393"/>
                </a:lnTo>
                <a:lnTo>
                  <a:pt x="369952" y="928674"/>
                </a:lnTo>
                <a:lnTo>
                  <a:pt x="374519" y="930957"/>
                </a:lnTo>
                <a:lnTo>
                  <a:pt x="381370" y="933238"/>
                </a:lnTo>
                <a:lnTo>
                  <a:pt x="383654" y="933238"/>
                </a:lnTo>
                <a:lnTo>
                  <a:pt x="388221" y="930957"/>
                </a:lnTo>
                <a:lnTo>
                  <a:pt x="392788" y="926393"/>
                </a:lnTo>
                <a:lnTo>
                  <a:pt x="395072" y="924111"/>
                </a:lnTo>
                <a:lnTo>
                  <a:pt x="397355" y="924111"/>
                </a:lnTo>
                <a:lnTo>
                  <a:pt x="399639" y="924111"/>
                </a:lnTo>
                <a:lnTo>
                  <a:pt x="401922" y="921829"/>
                </a:lnTo>
                <a:lnTo>
                  <a:pt x="406490" y="917265"/>
                </a:lnTo>
                <a:lnTo>
                  <a:pt x="408773" y="912701"/>
                </a:lnTo>
                <a:lnTo>
                  <a:pt x="415624" y="910419"/>
                </a:lnTo>
                <a:lnTo>
                  <a:pt x="415624" y="908137"/>
                </a:lnTo>
                <a:lnTo>
                  <a:pt x="415624" y="910419"/>
                </a:lnTo>
                <a:lnTo>
                  <a:pt x="417908" y="910419"/>
                </a:lnTo>
                <a:lnTo>
                  <a:pt x="431609" y="908137"/>
                </a:lnTo>
                <a:lnTo>
                  <a:pt x="436176" y="903574"/>
                </a:lnTo>
                <a:lnTo>
                  <a:pt x="436176" y="901292"/>
                </a:lnTo>
                <a:lnTo>
                  <a:pt x="436176" y="899010"/>
                </a:lnTo>
                <a:lnTo>
                  <a:pt x="436176" y="896728"/>
                </a:lnTo>
                <a:lnTo>
                  <a:pt x="433893" y="892164"/>
                </a:lnTo>
                <a:lnTo>
                  <a:pt x="436176" y="892164"/>
                </a:lnTo>
                <a:lnTo>
                  <a:pt x="438460" y="892164"/>
                </a:lnTo>
                <a:lnTo>
                  <a:pt x="445311" y="894446"/>
                </a:lnTo>
                <a:lnTo>
                  <a:pt x="452162" y="894446"/>
                </a:lnTo>
                <a:lnTo>
                  <a:pt x="454445" y="894446"/>
                </a:lnTo>
                <a:lnTo>
                  <a:pt x="456729" y="894446"/>
                </a:lnTo>
                <a:lnTo>
                  <a:pt x="461296" y="889882"/>
                </a:lnTo>
                <a:lnTo>
                  <a:pt x="456729" y="887610"/>
                </a:lnTo>
                <a:lnTo>
                  <a:pt x="459012" y="885328"/>
                </a:lnTo>
                <a:lnTo>
                  <a:pt x="461296" y="883046"/>
                </a:lnTo>
                <a:lnTo>
                  <a:pt x="465863" y="880764"/>
                </a:lnTo>
                <a:lnTo>
                  <a:pt x="468147" y="878482"/>
                </a:lnTo>
                <a:lnTo>
                  <a:pt x="468147" y="873918"/>
                </a:lnTo>
                <a:lnTo>
                  <a:pt x="468147" y="867073"/>
                </a:lnTo>
                <a:lnTo>
                  <a:pt x="465863" y="867073"/>
                </a:lnTo>
                <a:lnTo>
                  <a:pt x="459012" y="862509"/>
                </a:lnTo>
                <a:lnTo>
                  <a:pt x="456729" y="864791"/>
                </a:lnTo>
                <a:lnTo>
                  <a:pt x="454445" y="873918"/>
                </a:lnTo>
                <a:lnTo>
                  <a:pt x="454445" y="864791"/>
                </a:lnTo>
                <a:lnTo>
                  <a:pt x="454445" y="862509"/>
                </a:lnTo>
                <a:lnTo>
                  <a:pt x="456729" y="855663"/>
                </a:lnTo>
                <a:lnTo>
                  <a:pt x="459012" y="855663"/>
                </a:lnTo>
                <a:lnTo>
                  <a:pt x="459012" y="853382"/>
                </a:lnTo>
                <a:lnTo>
                  <a:pt x="461296" y="851100"/>
                </a:lnTo>
                <a:lnTo>
                  <a:pt x="463580" y="851100"/>
                </a:lnTo>
                <a:lnTo>
                  <a:pt x="468147" y="851100"/>
                </a:lnTo>
                <a:lnTo>
                  <a:pt x="470430" y="848818"/>
                </a:lnTo>
                <a:lnTo>
                  <a:pt x="468147" y="846536"/>
                </a:lnTo>
                <a:lnTo>
                  <a:pt x="465863" y="844254"/>
                </a:lnTo>
                <a:lnTo>
                  <a:pt x="468147" y="837408"/>
                </a:lnTo>
                <a:lnTo>
                  <a:pt x="468147" y="832844"/>
                </a:lnTo>
                <a:lnTo>
                  <a:pt x="472714" y="832844"/>
                </a:lnTo>
                <a:lnTo>
                  <a:pt x="481848" y="835126"/>
                </a:lnTo>
                <a:lnTo>
                  <a:pt x="481848" y="832844"/>
                </a:lnTo>
                <a:lnTo>
                  <a:pt x="486416" y="830562"/>
                </a:lnTo>
                <a:lnTo>
                  <a:pt x="486416" y="828281"/>
                </a:lnTo>
                <a:lnTo>
                  <a:pt x="486416" y="825999"/>
                </a:lnTo>
                <a:lnTo>
                  <a:pt x="484132" y="825999"/>
                </a:lnTo>
                <a:lnTo>
                  <a:pt x="484132" y="823717"/>
                </a:lnTo>
                <a:lnTo>
                  <a:pt x="490983" y="816871"/>
                </a:lnTo>
                <a:lnTo>
                  <a:pt x="493266" y="814589"/>
                </a:lnTo>
                <a:lnTo>
                  <a:pt x="497834" y="807744"/>
                </a:lnTo>
                <a:lnTo>
                  <a:pt x="493266" y="805462"/>
                </a:lnTo>
                <a:lnTo>
                  <a:pt x="490983" y="803180"/>
                </a:lnTo>
                <a:lnTo>
                  <a:pt x="488699" y="803180"/>
                </a:lnTo>
                <a:lnTo>
                  <a:pt x="484132" y="798616"/>
                </a:lnTo>
                <a:lnTo>
                  <a:pt x="486416" y="796334"/>
                </a:lnTo>
                <a:lnTo>
                  <a:pt x="488699" y="794052"/>
                </a:lnTo>
                <a:lnTo>
                  <a:pt x="486416" y="794052"/>
                </a:lnTo>
                <a:lnTo>
                  <a:pt x="481848" y="789488"/>
                </a:lnTo>
                <a:lnTo>
                  <a:pt x="474997" y="787206"/>
                </a:lnTo>
                <a:lnTo>
                  <a:pt x="472714" y="784925"/>
                </a:lnTo>
                <a:lnTo>
                  <a:pt x="470430" y="784925"/>
                </a:lnTo>
                <a:lnTo>
                  <a:pt x="470430" y="787206"/>
                </a:lnTo>
                <a:lnTo>
                  <a:pt x="465863" y="787206"/>
                </a:lnTo>
                <a:lnTo>
                  <a:pt x="459012" y="789488"/>
                </a:lnTo>
                <a:lnTo>
                  <a:pt x="456729" y="789488"/>
                </a:lnTo>
                <a:lnTo>
                  <a:pt x="454445" y="789488"/>
                </a:lnTo>
                <a:lnTo>
                  <a:pt x="454445" y="780361"/>
                </a:lnTo>
                <a:lnTo>
                  <a:pt x="456729" y="780361"/>
                </a:lnTo>
                <a:lnTo>
                  <a:pt x="461296" y="764388"/>
                </a:lnTo>
                <a:lnTo>
                  <a:pt x="468147" y="766669"/>
                </a:lnTo>
                <a:lnTo>
                  <a:pt x="470430" y="766669"/>
                </a:lnTo>
                <a:lnTo>
                  <a:pt x="470430" y="764388"/>
                </a:lnTo>
                <a:lnTo>
                  <a:pt x="472714" y="764388"/>
                </a:lnTo>
                <a:lnTo>
                  <a:pt x="472714" y="762106"/>
                </a:lnTo>
                <a:lnTo>
                  <a:pt x="472714" y="752978"/>
                </a:lnTo>
                <a:lnTo>
                  <a:pt x="474997" y="752978"/>
                </a:lnTo>
                <a:lnTo>
                  <a:pt x="479565" y="752978"/>
                </a:lnTo>
                <a:lnTo>
                  <a:pt x="481848" y="750696"/>
                </a:lnTo>
                <a:lnTo>
                  <a:pt x="481848" y="748414"/>
                </a:lnTo>
                <a:lnTo>
                  <a:pt x="470430" y="743850"/>
                </a:lnTo>
                <a:lnTo>
                  <a:pt x="470430" y="741569"/>
                </a:lnTo>
                <a:lnTo>
                  <a:pt x="470430" y="739287"/>
                </a:lnTo>
                <a:lnTo>
                  <a:pt x="468147" y="730169"/>
                </a:lnTo>
                <a:lnTo>
                  <a:pt x="470430" y="725605"/>
                </a:lnTo>
                <a:lnTo>
                  <a:pt x="472714" y="721041"/>
                </a:lnTo>
                <a:lnTo>
                  <a:pt x="488699" y="721041"/>
                </a:lnTo>
                <a:lnTo>
                  <a:pt x="495550" y="723323"/>
                </a:lnTo>
                <a:lnTo>
                  <a:pt x="497834" y="723323"/>
                </a:lnTo>
                <a:lnTo>
                  <a:pt x="500117" y="723323"/>
                </a:lnTo>
                <a:lnTo>
                  <a:pt x="502401" y="725605"/>
                </a:lnTo>
                <a:lnTo>
                  <a:pt x="504684" y="727887"/>
                </a:lnTo>
                <a:lnTo>
                  <a:pt x="506968" y="727887"/>
                </a:lnTo>
                <a:lnTo>
                  <a:pt x="511535" y="730169"/>
                </a:lnTo>
                <a:lnTo>
                  <a:pt x="511535" y="725605"/>
                </a:lnTo>
                <a:lnTo>
                  <a:pt x="513819" y="727887"/>
                </a:lnTo>
                <a:lnTo>
                  <a:pt x="516102" y="730169"/>
                </a:lnTo>
                <a:lnTo>
                  <a:pt x="520670" y="727887"/>
                </a:lnTo>
                <a:lnTo>
                  <a:pt x="520670" y="725605"/>
                </a:lnTo>
                <a:lnTo>
                  <a:pt x="522953" y="725605"/>
                </a:lnTo>
                <a:lnTo>
                  <a:pt x="525237" y="725605"/>
                </a:lnTo>
                <a:lnTo>
                  <a:pt x="525237" y="723323"/>
                </a:lnTo>
                <a:lnTo>
                  <a:pt x="527520" y="723323"/>
                </a:lnTo>
                <a:lnTo>
                  <a:pt x="529804" y="721041"/>
                </a:lnTo>
                <a:lnTo>
                  <a:pt x="529804" y="718759"/>
                </a:lnTo>
                <a:lnTo>
                  <a:pt x="529804" y="711913"/>
                </a:lnTo>
                <a:lnTo>
                  <a:pt x="534371" y="709631"/>
                </a:lnTo>
                <a:lnTo>
                  <a:pt x="536655" y="707350"/>
                </a:lnTo>
                <a:lnTo>
                  <a:pt x="564058" y="705068"/>
                </a:lnTo>
                <a:lnTo>
                  <a:pt x="561774" y="695940"/>
                </a:lnTo>
                <a:lnTo>
                  <a:pt x="570909" y="705068"/>
                </a:lnTo>
                <a:lnTo>
                  <a:pt x="570909" y="707350"/>
                </a:lnTo>
                <a:lnTo>
                  <a:pt x="582326" y="702786"/>
                </a:lnTo>
                <a:lnTo>
                  <a:pt x="593745" y="702786"/>
                </a:lnTo>
                <a:lnTo>
                  <a:pt x="596028" y="702786"/>
                </a:lnTo>
                <a:lnTo>
                  <a:pt x="596028" y="700504"/>
                </a:lnTo>
                <a:lnTo>
                  <a:pt x="596028" y="698222"/>
                </a:lnTo>
                <a:lnTo>
                  <a:pt x="596028" y="689094"/>
                </a:lnTo>
                <a:lnTo>
                  <a:pt x="598312" y="682249"/>
                </a:lnTo>
                <a:lnTo>
                  <a:pt x="598312" y="677685"/>
                </a:lnTo>
                <a:lnTo>
                  <a:pt x="598312" y="663994"/>
                </a:lnTo>
                <a:lnTo>
                  <a:pt x="598312" y="661712"/>
                </a:lnTo>
                <a:lnTo>
                  <a:pt x="593745" y="648020"/>
                </a:lnTo>
                <a:lnTo>
                  <a:pt x="591461" y="645738"/>
                </a:lnTo>
                <a:lnTo>
                  <a:pt x="598312" y="636611"/>
                </a:lnTo>
                <a:lnTo>
                  <a:pt x="600595" y="632047"/>
                </a:lnTo>
                <a:lnTo>
                  <a:pt x="600595" y="629765"/>
                </a:lnTo>
                <a:lnTo>
                  <a:pt x="600595" y="622919"/>
                </a:lnTo>
                <a:lnTo>
                  <a:pt x="596028" y="618356"/>
                </a:lnTo>
                <a:lnTo>
                  <a:pt x="605163" y="613792"/>
                </a:lnTo>
                <a:lnTo>
                  <a:pt x="607446" y="611510"/>
                </a:lnTo>
                <a:lnTo>
                  <a:pt x="609730" y="611510"/>
                </a:lnTo>
                <a:lnTo>
                  <a:pt x="609730" y="606946"/>
                </a:lnTo>
                <a:lnTo>
                  <a:pt x="612013" y="588691"/>
                </a:lnTo>
                <a:lnTo>
                  <a:pt x="612013" y="584127"/>
                </a:lnTo>
                <a:lnTo>
                  <a:pt x="614297" y="584127"/>
                </a:lnTo>
                <a:lnTo>
                  <a:pt x="614297" y="581855"/>
                </a:lnTo>
                <a:lnTo>
                  <a:pt x="616580" y="581855"/>
                </a:lnTo>
                <a:lnTo>
                  <a:pt x="618864" y="579573"/>
                </a:lnTo>
                <a:lnTo>
                  <a:pt x="621148" y="577291"/>
                </a:lnTo>
                <a:lnTo>
                  <a:pt x="623431" y="577291"/>
                </a:lnTo>
                <a:lnTo>
                  <a:pt x="623431" y="575009"/>
                </a:lnTo>
                <a:lnTo>
                  <a:pt x="625715" y="575009"/>
                </a:lnTo>
                <a:lnTo>
                  <a:pt x="627999" y="575009"/>
                </a:lnTo>
                <a:lnTo>
                  <a:pt x="630282" y="575009"/>
                </a:lnTo>
                <a:lnTo>
                  <a:pt x="632566" y="572727"/>
                </a:lnTo>
                <a:lnTo>
                  <a:pt x="634849" y="572727"/>
                </a:lnTo>
                <a:lnTo>
                  <a:pt x="637133" y="572727"/>
                </a:lnTo>
                <a:lnTo>
                  <a:pt x="639416" y="572727"/>
                </a:lnTo>
                <a:lnTo>
                  <a:pt x="639416" y="570445"/>
                </a:lnTo>
                <a:lnTo>
                  <a:pt x="641700" y="570445"/>
                </a:lnTo>
                <a:lnTo>
                  <a:pt x="643984" y="570445"/>
                </a:lnTo>
                <a:lnTo>
                  <a:pt x="646267" y="570445"/>
                </a:lnTo>
                <a:lnTo>
                  <a:pt x="648551" y="570445"/>
                </a:lnTo>
                <a:lnTo>
                  <a:pt x="650834" y="570445"/>
                </a:lnTo>
                <a:lnTo>
                  <a:pt x="650834" y="572727"/>
                </a:lnTo>
                <a:lnTo>
                  <a:pt x="653118" y="572727"/>
                </a:lnTo>
                <a:lnTo>
                  <a:pt x="655402" y="572727"/>
                </a:lnTo>
                <a:lnTo>
                  <a:pt x="659969" y="575009"/>
                </a:lnTo>
                <a:lnTo>
                  <a:pt x="662253" y="575009"/>
                </a:lnTo>
                <a:lnTo>
                  <a:pt x="662253" y="577291"/>
                </a:lnTo>
                <a:lnTo>
                  <a:pt x="662253" y="579573"/>
                </a:lnTo>
                <a:lnTo>
                  <a:pt x="664536" y="579573"/>
                </a:lnTo>
                <a:lnTo>
                  <a:pt x="666820" y="577291"/>
                </a:lnTo>
                <a:lnTo>
                  <a:pt x="666820" y="575009"/>
                </a:lnTo>
                <a:lnTo>
                  <a:pt x="669103" y="575009"/>
                </a:lnTo>
                <a:lnTo>
                  <a:pt x="671387" y="575009"/>
                </a:lnTo>
                <a:lnTo>
                  <a:pt x="673670" y="575009"/>
                </a:lnTo>
                <a:lnTo>
                  <a:pt x="675954" y="572727"/>
                </a:lnTo>
                <a:lnTo>
                  <a:pt x="678238" y="572727"/>
                </a:lnTo>
                <a:lnTo>
                  <a:pt x="680521" y="572727"/>
                </a:lnTo>
                <a:lnTo>
                  <a:pt x="682805" y="572727"/>
                </a:lnTo>
                <a:lnTo>
                  <a:pt x="685088" y="572727"/>
                </a:lnTo>
                <a:lnTo>
                  <a:pt x="687372" y="570445"/>
                </a:lnTo>
                <a:lnTo>
                  <a:pt x="689655" y="570445"/>
                </a:lnTo>
                <a:lnTo>
                  <a:pt x="691939" y="570445"/>
                </a:lnTo>
                <a:lnTo>
                  <a:pt x="691939" y="568163"/>
                </a:lnTo>
                <a:lnTo>
                  <a:pt x="694223" y="568163"/>
                </a:lnTo>
                <a:lnTo>
                  <a:pt x="696506" y="565882"/>
                </a:lnTo>
                <a:lnTo>
                  <a:pt x="696506" y="563600"/>
                </a:lnTo>
                <a:lnTo>
                  <a:pt x="698790" y="561318"/>
                </a:lnTo>
                <a:lnTo>
                  <a:pt x="701074" y="559036"/>
                </a:lnTo>
                <a:lnTo>
                  <a:pt x="703357" y="559036"/>
                </a:lnTo>
                <a:lnTo>
                  <a:pt x="703357" y="556754"/>
                </a:lnTo>
                <a:lnTo>
                  <a:pt x="705641" y="556754"/>
                </a:lnTo>
                <a:lnTo>
                  <a:pt x="705641" y="559036"/>
                </a:lnTo>
                <a:lnTo>
                  <a:pt x="707924" y="559036"/>
                </a:lnTo>
                <a:lnTo>
                  <a:pt x="710208" y="559036"/>
                </a:lnTo>
                <a:lnTo>
                  <a:pt x="710208" y="561318"/>
                </a:lnTo>
                <a:lnTo>
                  <a:pt x="712492" y="561318"/>
                </a:lnTo>
                <a:lnTo>
                  <a:pt x="714775" y="563600"/>
                </a:lnTo>
                <a:lnTo>
                  <a:pt x="717059" y="563600"/>
                </a:lnTo>
                <a:lnTo>
                  <a:pt x="717059" y="561318"/>
                </a:lnTo>
                <a:lnTo>
                  <a:pt x="717059" y="559036"/>
                </a:lnTo>
                <a:lnTo>
                  <a:pt x="717059" y="556754"/>
                </a:lnTo>
                <a:lnTo>
                  <a:pt x="714775" y="556754"/>
                </a:lnTo>
                <a:lnTo>
                  <a:pt x="714775" y="554472"/>
                </a:lnTo>
                <a:lnTo>
                  <a:pt x="714775" y="552190"/>
                </a:lnTo>
                <a:lnTo>
                  <a:pt x="714775" y="549908"/>
                </a:lnTo>
                <a:lnTo>
                  <a:pt x="712492" y="547626"/>
                </a:lnTo>
                <a:lnTo>
                  <a:pt x="712492" y="545345"/>
                </a:lnTo>
                <a:lnTo>
                  <a:pt x="714775" y="545345"/>
                </a:lnTo>
                <a:lnTo>
                  <a:pt x="717059" y="543063"/>
                </a:lnTo>
                <a:lnTo>
                  <a:pt x="719342" y="543063"/>
                </a:lnTo>
                <a:lnTo>
                  <a:pt x="721626" y="540781"/>
                </a:lnTo>
                <a:lnTo>
                  <a:pt x="723909" y="540781"/>
                </a:lnTo>
                <a:lnTo>
                  <a:pt x="726193" y="540781"/>
                </a:lnTo>
                <a:lnTo>
                  <a:pt x="726193" y="538499"/>
                </a:lnTo>
                <a:lnTo>
                  <a:pt x="728477" y="538499"/>
                </a:lnTo>
                <a:lnTo>
                  <a:pt x="728477" y="540781"/>
                </a:lnTo>
                <a:lnTo>
                  <a:pt x="730760" y="540781"/>
                </a:lnTo>
                <a:lnTo>
                  <a:pt x="733044" y="538499"/>
                </a:lnTo>
                <a:lnTo>
                  <a:pt x="735328" y="538499"/>
                </a:lnTo>
                <a:lnTo>
                  <a:pt x="737611" y="538499"/>
                </a:lnTo>
                <a:lnTo>
                  <a:pt x="739895" y="540781"/>
                </a:lnTo>
                <a:lnTo>
                  <a:pt x="742178" y="540781"/>
                </a:lnTo>
                <a:lnTo>
                  <a:pt x="744462" y="540781"/>
                </a:lnTo>
                <a:lnTo>
                  <a:pt x="744462" y="538499"/>
                </a:lnTo>
                <a:lnTo>
                  <a:pt x="744462" y="536217"/>
                </a:lnTo>
                <a:lnTo>
                  <a:pt x="744462" y="533935"/>
                </a:lnTo>
                <a:lnTo>
                  <a:pt x="746745" y="533935"/>
                </a:lnTo>
                <a:lnTo>
                  <a:pt x="746745" y="531653"/>
                </a:lnTo>
                <a:lnTo>
                  <a:pt x="749029" y="529371"/>
                </a:lnTo>
                <a:lnTo>
                  <a:pt x="749029" y="527089"/>
                </a:lnTo>
                <a:lnTo>
                  <a:pt x="751313" y="527089"/>
                </a:lnTo>
                <a:lnTo>
                  <a:pt x="751313" y="524807"/>
                </a:lnTo>
                <a:lnTo>
                  <a:pt x="753596" y="524807"/>
                </a:lnTo>
                <a:lnTo>
                  <a:pt x="755880" y="524807"/>
                </a:lnTo>
                <a:lnTo>
                  <a:pt x="755880" y="522526"/>
                </a:lnTo>
                <a:lnTo>
                  <a:pt x="758163" y="522526"/>
                </a:lnTo>
                <a:lnTo>
                  <a:pt x="760447" y="520244"/>
                </a:lnTo>
                <a:lnTo>
                  <a:pt x="762731" y="520244"/>
                </a:lnTo>
                <a:lnTo>
                  <a:pt x="765014" y="517962"/>
                </a:lnTo>
                <a:lnTo>
                  <a:pt x="767298" y="517962"/>
                </a:lnTo>
                <a:lnTo>
                  <a:pt x="769582" y="517962"/>
                </a:lnTo>
                <a:lnTo>
                  <a:pt x="771865" y="517962"/>
                </a:lnTo>
                <a:lnTo>
                  <a:pt x="774149" y="517962"/>
                </a:lnTo>
                <a:lnTo>
                  <a:pt x="776432" y="517962"/>
                </a:lnTo>
                <a:lnTo>
                  <a:pt x="778716" y="517962"/>
                </a:lnTo>
                <a:lnTo>
                  <a:pt x="780999" y="517962"/>
                </a:lnTo>
                <a:lnTo>
                  <a:pt x="783283" y="520244"/>
                </a:lnTo>
                <a:lnTo>
                  <a:pt x="785567" y="520244"/>
                </a:lnTo>
                <a:lnTo>
                  <a:pt x="785567" y="517962"/>
                </a:lnTo>
                <a:lnTo>
                  <a:pt x="787850" y="517962"/>
                </a:lnTo>
                <a:lnTo>
                  <a:pt x="787850" y="515680"/>
                </a:lnTo>
                <a:lnTo>
                  <a:pt x="790134" y="513398"/>
                </a:lnTo>
                <a:lnTo>
                  <a:pt x="792417" y="515680"/>
                </a:lnTo>
                <a:lnTo>
                  <a:pt x="794701" y="515680"/>
                </a:lnTo>
                <a:lnTo>
                  <a:pt x="796985" y="515680"/>
                </a:lnTo>
                <a:lnTo>
                  <a:pt x="799268" y="515680"/>
                </a:lnTo>
                <a:lnTo>
                  <a:pt x="801552" y="515680"/>
                </a:lnTo>
                <a:lnTo>
                  <a:pt x="801552" y="513398"/>
                </a:lnTo>
                <a:lnTo>
                  <a:pt x="803835" y="511116"/>
                </a:lnTo>
                <a:lnTo>
                  <a:pt x="803835" y="508834"/>
                </a:lnTo>
                <a:lnTo>
                  <a:pt x="806119" y="508834"/>
                </a:lnTo>
                <a:lnTo>
                  <a:pt x="808403" y="508834"/>
                </a:lnTo>
                <a:lnTo>
                  <a:pt x="808403" y="506552"/>
                </a:lnTo>
                <a:lnTo>
                  <a:pt x="810686" y="506552"/>
                </a:lnTo>
                <a:lnTo>
                  <a:pt x="817537" y="508834"/>
                </a:lnTo>
                <a:lnTo>
                  <a:pt x="817537" y="506552"/>
                </a:lnTo>
                <a:lnTo>
                  <a:pt x="819821" y="504270"/>
                </a:lnTo>
                <a:lnTo>
                  <a:pt x="822104" y="506552"/>
                </a:lnTo>
                <a:lnTo>
                  <a:pt x="824388" y="506552"/>
                </a:lnTo>
                <a:lnTo>
                  <a:pt x="826671" y="504270"/>
                </a:lnTo>
                <a:lnTo>
                  <a:pt x="826671" y="501989"/>
                </a:lnTo>
                <a:lnTo>
                  <a:pt x="826671" y="499706"/>
                </a:lnTo>
                <a:lnTo>
                  <a:pt x="828955" y="499706"/>
                </a:lnTo>
                <a:lnTo>
                  <a:pt x="828955" y="497425"/>
                </a:lnTo>
                <a:lnTo>
                  <a:pt x="831238" y="497425"/>
                </a:lnTo>
                <a:lnTo>
                  <a:pt x="831238" y="495143"/>
                </a:lnTo>
                <a:lnTo>
                  <a:pt x="833522" y="495143"/>
                </a:lnTo>
                <a:lnTo>
                  <a:pt x="833522" y="497425"/>
                </a:lnTo>
                <a:lnTo>
                  <a:pt x="835806" y="497425"/>
                </a:lnTo>
                <a:lnTo>
                  <a:pt x="835806" y="495143"/>
                </a:lnTo>
                <a:lnTo>
                  <a:pt x="838089" y="495143"/>
                </a:lnTo>
                <a:lnTo>
                  <a:pt x="838089" y="492861"/>
                </a:lnTo>
                <a:lnTo>
                  <a:pt x="835806" y="492861"/>
                </a:lnTo>
                <a:lnTo>
                  <a:pt x="835806" y="490579"/>
                </a:lnTo>
                <a:lnTo>
                  <a:pt x="838089" y="488297"/>
                </a:lnTo>
                <a:lnTo>
                  <a:pt x="838089" y="486015"/>
                </a:lnTo>
                <a:lnTo>
                  <a:pt x="840373" y="486015"/>
                </a:lnTo>
                <a:lnTo>
                  <a:pt x="842657" y="486015"/>
                </a:lnTo>
                <a:lnTo>
                  <a:pt x="842657" y="488297"/>
                </a:lnTo>
                <a:lnTo>
                  <a:pt x="844940" y="488297"/>
                </a:lnTo>
                <a:lnTo>
                  <a:pt x="847224" y="490579"/>
                </a:lnTo>
                <a:lnTo>
                  <a:pt x="849507" y="490579"/>
                </a:lnTo>
                <a:lnTo>
                  <a:pt x="854075" y="492861"/>
                </a:lnTo>
                <a:lnTo>
                  <a:pt x="856358" y="495143"/>
                </a:lnTo>
                <a:lnTo>
                  <a:pt x="858642" y="495143"/>
                </a:lnTo>
                <a:lnTo>
                  <a:pt x="858642" y="497425"/>
                </a:lnTo>
                <a:lnTo>
                  <a:pt x="858642" y="499706"/>
                </a:lnTo>
                <a:lnTo>
                  <a:pt x="860925" y="499706"/>
                </a:lnTo>
                <a:lnTo>
                  <a:pt x="863209" y="499706"/>
                </a:lnTo>
                <a:lnTo>
                  <a:pt x="865492" y="499706"/>
                </a:lnTo>
                <a:lnTo>
                  <a:pt x="865492" y="495143"/>
                </a:lnTo>
                <a:lnTo>
                  <a:pt x="872343" y="497425"/>
                </a:lnTo>
                <a:lnTo>
                  <a:pt x="881478" y="501989"/>
                </a:lnTo>
                <a:lnTo>
                  <a:pt x="888328" y="504270"/>
                </a:lnTo>
                <a:lnTo>
                  <a:pt x="890612" y="504270"/>
                </a:lnTo>
                <a:lnTo>
                  <a:pt x="890612" y="501989"/>
                </a:lnTo>
                <a:lnTo>
                  <a:pt x="892896" y="501989"/>
                </a:lnTo>
                <a:lnTo>
                  <a:pt x="895179" y="499706"/>
                </a:lnTo>
                <a:lnTo>
                  <a:pt x="897463" y="499706"/>
                </a:lnTo>
                <a:lnTo>
                  <a:pt x="897463" y="497425"/>
                </a:lnTo>
                <a:lnTo>
                  <a:pt x="899746" y="497425"/>
                </a:lnTo>
                <a:lnTo>
                  <a:pt x="899746" y="490579"/>
                </a:lnTo>
                <a:lnTo>
                  <a:pt x="897463" y="488297"/>
                </a:lnTo>
                <a:lnTo>
                  <a:pt x="897463" y="486015"/>
                </a:lnTo>
                <a:lnTo>
                  <a:pt x="897463" y="479170"/>
                </a:lnTo>
                <a:lnTo>
                  <a:pt x="899746" y="470042"/>
                </a:lnTo>
                <a:lnTo>
                  <a:pt x="902030" y="463196"/>
                </a:lnTo>
                <a:lnTo>
                  <a:pt x="904314" y="460914"/>
                </a:lnTo>
                <a:lnTo>
                  <a:pt x="911165" y="463196"/>
                </a:lnTo>
                <a:lnTo>
                  <a:pt x="913448" y="458633"/>
                </a:lnTo>
                <a:lnTo>
                  <a:pt x="913448" y="456350"/>
                </a:lnTo>
                <a:lnTo>
                  <a:pt x="915732" y="454069"/>
                </a:lnTo>
                <a:lnTo>
                  <a:pt x="920299" y="449505"/>
                </a:lnTo>
                <a:lnTo>
                  <a:pt x="920299" y="447223"/>
                </a:lnTo>
                <a:lnTo>
                  <a:pt x="922582" y="440377"/>
                </a:lnTo>
                <a:lnTo>
                  <a:pt x="918015" y="431250"/>
                </a:lnTo>
                <a:lnTo>
                  <a:pt x="922582" y="428968"/>
                </a:lnTo>
                <a:lnTo>
                  <a:pt x="927150" y="428968"/>
                </a:lnTo>
                <a:lnTo>
                  <a:pt x="931717" y="426686"/>
                </a:lnTo>
                <a:lnTo>
                  <a:pt x="934001" y="422132"/>
                </a:lnTo>
                <a:lnTo>
                  <a:pt x="940851" y="410722"/>
                </a:lnTo>
                <a:lnTo>
                  <a:pt x="934001" y="408440"/>
                </a:lnTo>
                <a:lnTo>
                  <a:pt x="929433" y="403877"/>
                </a:lnTo>
                <a:lnTo>
                  <a:pt x="929433" y="399313"/>
                </a:lnTo>
                <a:lnTo>
                  <a:pt x="931717" y="399313"/>
                </a:lnTo>
                <a:lnTo>
                  <a:pt x="931717" y="397031"/>
                </a:lnTo>
                <a:lnTo>
                  <a:pt x="934001" y="397031"/>
                </a:lnTo>
                <a:lnTo>
                  <a:pt x="936284" y="392467"/>
                </a:lnTo>
                <a:lnTo>
                  <a:pt x="943135" y="387903"/>
                </a:lnTo>
                <a:lnTo>
                  <a:pt x="940851" y="385621"/>
                </a:lnTo>
                <a:lnTo>
                  <a:pt x="940851" y="383339"/>
                </a:lnTo>
                <a:lnTo>
                  <a:pt x="940851" y="378776"/>
                </a:lnTo>
                <a:lnTo>
                  <a:pt x="943135" y="376494"/>
                </a:lnTo>
                <a:lnTo>
                  <a:pt x="943135" y="374212"/>
                </a:lnTo>
                <a:lnTo>
                  <a:pt x="943135" y="369648"/>
                </a:lnTo>
                <a:lnTo>
                  <a:pt x="945418" y="367366"/>
                </a:lnTo>
                <a:lnTo>
                  <a:pt x="945418" y="365084"/>
                </a:lnTo>
                <a:lnTo>
                  <a:pt x="945418" y="367366"/>
                </a:lnTo>
                <a:lnTo>
                  <a:pt x="943135" y="365084"/>
                </a:lnTo>
                <a:lnTo>
                  <a:pt x="940851" y="365084"/>
                </a:lnTo>
                <a:lnTo>
                  <a:pt x="940851" y="362802"/>
                </a:lnTo>
                <a:lnTo>
                  <a:pt x="938568" y="360521"/>
                </a:lnTo>
                <a:lnTo>
                  <a:pt x="929433" y="353675"/>
                </a:lnTo>
                <a:lnTo>
                  <a:pt x="927150" y="353675"/>
                </a:lnTo>
                <a:lnTo>
                  <a:pt x="934001" y="344547"/>
                </a:lnTo>
                <a:lnTo>
                  <a:pt x="945418" y="337701"/>
                </a:lnTo>
                <a:lnTo>
                  <a:pt x="949986" y="330856"/>
                </a:lnTo>
                <a:lnTo>
                  <a:pt x="954553" y="321728"/>
                </a:lnTo>
                <a:lnTo>
                  <a:pt x="954553" y="319446"/>
                </a:lnTo>
                <a:lnTo>
                  <a:pt x="947702" y="324010"/>
                </a:lnTo>
                <a:lnTo>
                  <a:pt x="940851" y="319446"/>
                </a:lnTo>
                <a:lnTo>
                  <a:pt x="940851" y="317165"/>
                </a:lnTo>
                <a:lnTo>
                  <a:pt x="934001" y="319446"/>
                </a:lnTo>
                <a:lnTo>
                  <a:pt x="931717" y="317165"/>
                </a:lnTo>
                <a:lnTo>
                  <a:pt x="931717" y="314882"/>
                </a:lnTo>
                <a:lnTo>
                  <a:pt x="931717" y="312601"/>
                </a:lnTo>
                <a:lnTo>
                  <a:pt x="931717" y="308037"/>
                </a:lnTo>
                <a:lnTo>
                  <a:pt x="929433" y="301191"/>
                </a:lnTo>
                <a:lnTo>
                  <a:pt x="929433" y="298909"/>
                </a:lnTo>
                <a:lnTo>
                  <a:pt x="929433" y="294345"/>
                </a:lnTo>
                <a:lnTo>
                  <a:pt x="929433" y="292064"/>
                </a:lnTo>
                <a:lnTo>
                  <a:pt x="924866" y="292064"/>
                </a:lnTo>
                <a:lnTo>
                  <a:pt x="924866" y="289782"/>
                </a:lnTo>
                <a:lnTo>
                  <a:pt x="924866" y="287500"/>
                </a:lnTo>
                <a:lnTo>
                  <a:pt x="924866" y="285218"/>
                </a:lnTo>
                <a:lnTo>
                  <a:pt x="924866" y="282936"/>
                </a:lnTo>
                <a:lnTo>
                  <a:pt x="924866" y="278372"/>
                </a:lnTo>
                <a:lnTo>
                  <a:pt x="922582" y="278372"/>
                </a:lnTo>
                <a:lnTo>
                  <a:pt x="922582" y="276090"/>
                </a:lnTo>
                <a:lnTo>
                  <a:pt x="924866" y="273809"/>
                </a:lnTo>
                <a:lnTo>
                  <a:pt x="927150" y="271526"/>
                </a:lnTo>
                <a:lnTo>
                  <a:pt x="927150" y="269254"/>
                </a:lnTo>
                <a:lnTo>
                  <a:pt x="924866" y="269254"/>
                </a:lnTo>
                <a:lnTo>
                  <a:pt x="922582" y="266972"/>
                </a:lnTo>
                <a:lnTo>
                  <a:pt x="922582" y="264690"/>
                </a:lnTo>
                <a:lnTo>
                  <a:pt x="922582" y="262409"/>
                </a:lnTo>
                <a:lnTo>
                  <a:pt x="922582" y="257845"/>
                </a:lnTo>
                <a:lnTo>
                  <a:pt x="924866" y="253281"/>
                </a:lnTo>
                <a:lnTo>
                  <a:pt x="924866" y="255563"/>
                </a:lnTo>
                <a:lnTo>
                  <a:pt x="927150" y="255563"/>
                </a:lnTo>
                <a:lnTo>
                  <a:pt x="927150" y="257845"/>
                </a:lnTo>
                <a:lnTo>
                  <a:pt x="929433" y="257845"/>
                </a:lnTo>
                <a:lnTo>
                  <a:pt x="929433" y="255563"/>
                </a:lnTo>
                <a:lnTo>
                  <a:pt x="931717" y="255563"/>
                </a:lnTo>
                <a:lnTo>
                  <a:pt x="934001" y="255563"/>
                </a:lnTo>
                <a:lnTo>
                  <a:pt x="934001" y="253281"/>
                </a:lnTo>
                <a:lnTo>
                  <a:pt x="936284" y="253281"/>
                </a:lnTo>
                <a:lnTo>
                  <a:pt x="938568" y="253281"/>
                </a:lnTo>
                <a:lnTo>
                  <a:pt x="938568" y="250999"/>
                </a:lnTo>
                <a:lnTo>
                  <a:pt x="940851" y="250999"/>
                </a:lnTo>
                <a:lnTo>
                  <a:pt x="943135" y="250999"/>
                </a:lnTo>
                <a:lnTo>
                  <a:pt x="943135" y="248717"/>
                </a:lnTo>
                <a:lnTo>
                  <a:pt x="945418" y="248717"/>
                </a:lnTo>
                <a:lnTo>
                  <a:pt x="947702" y="248717"/>
                </a:lnTo>
                <a:lnTo>
                  <a:pt x="949986" y="248717"/>
                </a:lnTo>
                <a:lnTo>
                  <a:pt x="952269" y="248717"/>
                </a:lnTo>
                <a:lnTo>
                  <a:pt x="954553" y="248717"/>
                </a:lnTo>
                <a:lnTo>
                  <a:pt x="956836" y="248717"/>
                </a:lnTo>
                <a:lnTo>
                  <a:pt x="959120" y="248717"/>
                </a:lnTo>
                <a:lnTo>
                  <a:pt x="961404" y="248717"/>
                </a:lnTo>
                <a:lnTo>
                  <a:pt x="961404" y="246435"/>
                </a:lnTo>
                <a:lnTo>
                  <a:pt x="963687" y="246435"/>
                </a:lnTo>
                <a:lnTo>
                  <a:pt x="963687" y="244153"/>
                </a:lnTo>
                <a:lnTo>
                  <a:pt x="965971" y="244153"/>
                </a:lnTo>
                <a:lnTo>
                  <a:pt x="965971" y="241871"/>
                </a:lnTo>
                <a:lnTo>
                  <a:pt x="968255" y="241871"/>
                </a:lnTo>
                <a:lnTo>
                  <a:pt x="968255" y="239590"/>
                </a:lnTo>
                <a:lnTo>
                  <a:pt x="968255" y="237308"/>
                </a:lnTo>
                <a:lnTo>
                  <a:pt x="970538" y="237308"/>
                </a:lnTo>
                <a:lnTo>
                  <a:pt x="972822" y="237308"/>
                </a:lnTo>
                <a:lnTo>
                  <a:pt x="972822" y="239590"/>
                </a:lnTo>
                <a:lnTo>
                  <a:pt x="975105" y="239590"/>
                </a:lnTo>
                <a:lnTo>
                  <a:pt x="975105" y="241871"/>
                </a:lnTo>
                <a:lnTo>
                  <a:pt x="975105" y="244153"/>
                </a:lnTo>
                <a:lnTo>
                  <a:pt x="975105" y="246435"/>
                </a:lnTo>
                <a:lnTo>
                  <a:pt x="977389" y="246435"/>
                </a:lnTo>
                <a:lnTo>
                  <a:pt x="977389" y="248717"/>
                </a:lnTo>
                <a:lnTo>
                  <a:pt x="979672" y="248717"/>
                </a:lnTo>
                <a:lnTo>
                  <a:pt x="979672" y="250999"/>
                </a:lnTo>
                <a:lnTo>
                  <a:pt x="981956" y="250999"/>
                </a:lnTo>
                <a:lnTo>
                  <a:pt x="981956" y="253281"/>
                </a:lnTo>
                <a:lnTo>
                  <a:pt x="981956" y="255563"/>
                </a:lnTo>
                <a:lnTo>
                  <a:pt x="979672" y="255563"/>
                </a:lnTo>
                <a:lnTo>
                  <a:pt x="979672" y="257845"/>
                </a:lnTo>
                <a:lnTo>
                  <a:pt x="977389" y="260126"/>
                </a:lnTo>
                <a:lnTo>
                  <a:pt x="977389" y="262409"/>
                </a:lnTo>
                <a:lnTo>
                  <a:pt x="975105" y="262409"/>
                </a:lnTo>
                <a:lnTo>
                  <a:pt x="977389" y="264690"/>
                </a:lnTo>
                <a:lnTo>
                  <a:pt x="979672" y="264690"/>
                </a:lnTo>
                <a:lnTo>
                  <a:pt x="979672" y="266972"/>
                </a:lnTo>
                <a:lnTo>
                  <a:pt x="981956" y="266972"/>
                </a:lnTo>
                <a:lnTo>
                  <a:pt x="984240" y="266972"/>
                </a:lnTo>
                <a:lnTo>
                  <a:pt x="986523" y="266972"/>
                </a:lnTo>
                <a:lnTo>
                  <a:pt x="986523" y="264690"/>
                </a:lnTo>
                <a:lnTo>
                  <a:pt x="988807" y="264690"/>
                </a:lnTo>
                <a:lnTo>
                  <a:pt x="991090" y="264690"/>
                </a:lnTo>
                <a:lnTo>
                  <a:pt x="991090" y="262409"/>
                </a:lnTo>
                <a:lnTo>
                  <a:pt x="993374" y="262409"/>
                </a:lnTo>
                <a:lnTo>
                  <a:pt x="993374" y="260126"/>
                </a:lnTo>
                <a:lnTo>
                  <a:pt x="995657" y="260126"/>
                </a:lnTo>
                <a:lnTo>
                  <a:pt x="997941" y="260126"/>
                </a:lnTo>
                <a:lnTo>
                  <a:pt x="997941" y="257845"/>
                </a:lnTo>
                <a:lnTo>
                  <a:pt x="1000225" y="257845"/>
                </a:lnTo>
                <a:lnTo>
                  <a:pt x="1000225" y="260126"/>
                </a:lnTo>
                <a:lnTo>
                  <a:pt x="1002508" y="260126"/>
                </a:lnTo>
                <a:lnTo>
                  <a:pt x="1002508" y="262409"/>
                </a:lnTo>
                <a:lnTo>
                  <a:pt x="1002508" y="264690"/>
                </a:lnTo>
                <a:lnTo>
                  <a:pt x="1002508" y="266972"/>
                </a:lnTo>
                <a:lnTo>
                  <a:pt x="1000225" y="266972"/>
                </a:lnTo>
                <a:lnTo>
                  <a:pt x="1000225" y="269254"/>
                </a:lnTo>
                <a:lnTo>
                  <a:pt x="1002508" y="269254"/>
                </a:lnTo>
                <a:lnTo>
                  <a:pt x="1002508" y="271526"/>
                </a:lnTo>
                <a:lnTo>
                  <a:pt x="1004792" y="271526"/>
                </a:lnTo>
                <a:lnTo>
                  <a:pt x="1007076" y="273809"/>
                </a:lnTo>
                <a:lnTo>
                  <a:pt x="1009359" y="273809"/>
                </a:lnTo>
                <a:lnTo>
                  <a:pt x="1011643" y="273809"/>
                </a:lnTo>
                <a:lnTo>
                  <a:pt x="1011643" y="276090"/>
                </a:lnTo>
                <a:lnTo>
                  <a:pt x="1013926" y="276090"/>
                </a:lnTo>
                <a:lnTo>
                  <a:pt x="1016210" y="276090"/>
                </a:lnTo>
                <a:lnTo>
                  <a:pt x="1018494" y="276090"/>
                </a:lnTo>
                <a:lnTo>
                  <a:pt x="1020777" y="276090"/>
                </a:lnTo>
                <a:lnTo>
                  <a:pt x="1023061" y="276090"/>
                </a:lnTo>
                <a:lnTo>
                  <a:pt x="1025344" y="276090"/>
                </a:lnTo>
                <a:lnTo>
                  <a:pt x="1027628" y="276090"/>
                </a:lnTo>
                <a:lnTo>
                  <a:pt x="1027628" y="278372"/>
                </a:lnTo>
                <a:lnTo>
                  <a:pt x="1029911" y="278372"/>
                </a:lnTo>
                <a:lnTo>
                  <a:pt x="1032195" y="278372"/>
                </a:lnTo>
                <a:lnTo>
                  <a:pt x="1032195" y="276090"/>
                </a:lnTo>
                <a:lnTo>
                  <a:pt x="1034479" y="276090"/>
                </a:lnTo>
                <a:lnTo>
                  <a:pt x="1036762" y="273809"/>
                </a:lnTo>
                <a:lnTo>
                  <a:pt x="1036762" y="271526"/>
                </a:lnTo>
                <a:lnTo>
                  <a:pt x="1036762" y="269254"/>
                </a:lnTo>
                <a:lnTo>
                  <a:pt x="1036762" y="266972"/>
                </a:lnTo>
                <a:lnTo>
                  <a:pt x="1036762" y="264690"/>
                </a:lnTo>
                <a:lnTo>
                  <a:pt x="1036762" y="262409"/>
                </a:lnTo>
                <a:lnTo>
                  <a:pt x="1036762" y="260126"/>
                </a:lnTo>
                <a:lnTo>
                  <a:pt x="1039046" y="260126"/>
                </a:lnTo>
                <a:lnTo>
                  <a:pt x="1039046" y="257845"/>
                </a:lnTo>
                <a:lnTo>
                  <a:pt x="1041330" y="257845"/>
                </a:lnTo>
                <a:lnTo>
                  <a:pt x="1041330" y="255563"/>
                </a:lnTo>
                <a:lnTo>
                  <a:pt x="1043613" y="255563"/>
                </a:lnTo>
                <a:lnTo>
                  <a:pt x="1045897" y="255563"/>
                </a:lnTo>
                <a:lnTo>
                  <a:pt x="1048180" y="255563"/>
                </a:lnTo>
                <a:lnTo>
                  <a:pt x="1050464" y="255563"/>
                </a:lnTo>
                <a:lnTo>
                  <a:pt x="1052747" y="255563"/>
                </a:lnTo>
                <a:lnTo>
                  <a:pt x="1055031" y="255563"/>
                </a:lnTo>
                <a:lnTo>
                  <a:pt x="1055031" y="253281"/>
                </a:lnTo>
                <a:lnTo>
                  <a:pt x="1057315" y="253281"/>
                </a:lnTo>
                <a:lnTo>
                  <a:pt x="1057315" y="255563"/>
                </a:lnTo>
                <a:lnTo>
                  <a:pt x="1059598" y="255563"/>
                </a:lnTo>
                <a:lnTo>
                  <a:pt x="1061882" y="255563"/>
                </a:lnTo>
                <a:lnTo>
                  <a:pt x="1061882" y="253281"/>
                </a:lnTo>
                <a:lnTo>
                  <a:pt x="1061882" y="250999"/>
                </a:lnTo>
                <a:lnTo>
                  <a:pt x="1064165" y="250999"/>
                </a:lnTo>
                <a:lnTo>
                  <a:pt x="1064165" y="248717"/>
                </a:lnTo>
                <a:lnTo>
                  <a:pt x="1064165" y="246435"/>
                </a:lnTo>
                <a:lnTo>
                  <a:pt x="1066449" y="246435"/>
                </a:lnTo>
                <a:lnTo>
                  <a:pt x="1068733" y="246435"/>
                </a:lnTo>
                <a:lnTo>
                  <a:pt x="1071016" y="246435"/>
                </a:lnTo>
                <a:lnTo>
                  <a:pt x="1073300" y="246435"/>
                </a:lnTo>
                <a:lnTo>
                  <a:pt x="1075584" y="246435"/>
                </a:lnTo>
                <a:lnTo>
                  <a:pt x="1075584" y="244153"/>
                </a:lnTo>
                <a:lnTo>
                  <a:pt x="1075584" y="241871"/>
                </a:lnTo>
                <a:lnTo>
                  <a:pt x="1077867" y="241871"/>
                </a:lnTo>
                <a:lnTo>
                  <a:pt x="1075584" y="241871"/>
                </a:lnTo>
                <a:lnTo>
                  <a:pt x="1075584" y="239590"/>
                </a:lnTo>
                <a:lnTo>
                  <a:pt x="1075584" y="237308"/>
                </a:lnTo>
                <a:lnTo>
                  <a:pt x="1073300" y="237308"/>
                </a:lnTo>
                <a:lnTo>
                  <a:pt x="1073300" y="235026"/>
                </a:lnTo>
                <a:lnTo>
                  <a:pt x="1073300" y="232744"/>
                </a:lnTo>
                <a:lnTo>
                  <a:pt x="1071016" y="232744"/>
                </a:lnTo>
                <a:lnTo>
                  <a:pt x="1071016" y="230462"/>
                </a:lnTo>
                <a:lnTo>
                  <a:pt x="1071016" y="228180"/>
                </a:lnTo>
                <a:lnTo>
                  <a:pt x="1068733" y="228180"/>
                </a:lnTo>
                <a:lnTo>
                  <a:pt x="1068733" y="225898"/>
                </a:lnTo>
                <a:lnTo>
                  <a:pt x="1068733" y="223616"/>
                </a:lnTo>
                <a:lnTo>
                  <a:pt x="1071016" y="223616"/>
                </a:lnTo>
                <a:lnTo>
                  <a:pt x="1071016" y="221334"/>
                </a:lnTo>
                <a:lnTo>
                  <a:pt x="1071016" y="219053"/>
                </a:lnTo>
                <a:lnTo>
                  <a:pt x="1073300" y="219053"/>
                </a:lnTo>
                <a:lnTo>
                  <a:pt x="1073300" y="216770"/>
                </a:lnTo>
                <a:lnTo>
                  <a:pt x="1075584" y="216770"/>
                </a:lnTo>
                <a:lnTo>
                  <a:pt x="1077867" y="216770"/>
                </a:lnTo>
                <a:lnTo>
                  <a:pt x="1080151" y="216770"/>
                </a:lnTo>
                <a:lnTo>
                  <a:pt x="1080151" y="219053"/>
                </a:lnTo>
                <a:lnTo>
                  <a:pt x="1082434" y="219053"/>
                </a:lnTo>
                <a:lnTo>
                  <a:pt x="1082434" y="221334"/>
                </a:lnTo>
                <a:lnTo>
                  <a:pt x="1084718" y="221334"/>
                </a:lnTo>
                <a:lnTo>
                  <a:pt x="1084718" y="223616"/>
                </a:lnTo>
                <a:lnTo>
                  <a:pt x="1087001" y="223616"/>
                </a:lnTo>
                <a:lnTo>
                  <a:pt x="1087001" y="225898"/>
                </a:lnTo>
                <a:lnTo>
                  <a:pt x="1087001" y="228180"/>
                </a:lnTo>
                <a:lnTo>
                  <a:pt x="1089285" y="228180"/>
                </a:lnTo>
                <a:lnTo>
                  <a:pt x="1089285" y="230462"/>
                </a:lnTo>
                <a:lnTo>
                  <a:pt x="1087001" y="230462"/>
                </a:lnTo>
                <a:lnTo>
                  <a:pt x="1087001" y="232744"/>
                </a:lnTo>
                <a:lnTo>
                  <a:pt x="1087001" y="235026"/>
                </a:lnTo>
                <a:lnTo>
                  <a:pt x="1089285" y="235026"/>
                </a:lnTo>
                <a:lnTo>
                  <a:pt x="1091569" y="235026"/>
                </a:lnTo>
                <a:lnTo>
                  <a:pt x="1093852" y="232744"/>
                </a:lnTo>
                <a:lnTo>
                  <a:pt x="1093852" y="230462"/>
                </a:lnTo>
                <a:lnTo>
                  <a:pt x="1093852" y="228180"/>
                </a:lnTo>
                <a:lnTo>
                  <a:pt x="1093852" y="225898"/>
                </a:lnTo>
                <a:lnTo>
                  <a:pt x="1093852" y="223616"/>
                </a:lnTo>
                <a:lnTo>
                  <a:pt x="1096136" y="221334"/>
                </a:lnTo>
                <a:lnTo>
                  <a:pt x="1096136" y="219053"/>
                </a:lnTo>
                <a:lnTo>
                  <a:pt x="1098419" y="219053"/>
                </a:lnTo>
                <a:lnTo>
                  <a:pt x="1100703" y="219053"/>
                </a:lnTo>
                <a:lnTo>
                  <a:pt x="1100703" y="216770"/>
                </a:lnTo>
                <a:lnTo>
                  <a:pt x="1102986" y="216770"/>
                </a:lnTo>
                <a:lnTo>
                  <a:pt x="1105270" y="216770"/>
                </a:lnTo>
                <a:lnTo>
                  <a:pt x="1105270" y="214489"/>
                </a:lnTo>
                <a:lnTo>
                  <a:pt x="1107554" y="214489"/>
                </a:lnTo>
                <a:lnTo>
                  <a:pt x="1109837" y="214489"/>
                </a:lnTo>
                <a:lnTo>
                  <a:pt x="1112121" y="214489"/>
                </a:lnTo>
                <a:lnTo>
                  <a:pt x="1114405" y="214489"/>
                </a:lnTo>
                <a:lnTo>
                  <a:pt x="1116688" y="214489"/>
                </a:lnTo>
                <a:lnTo>
                  <a:pt x="1118972" y="214489"/>
                </a:lnTo>
                <a:lnTo>
                  <a:pt x="1118972" y="212207"/>
                </a:lnTo>
                <a:lnTo>
                  <a:pt x="1121255" y="212207"/>
                </a:lnTo>
                <a:lnTo>
                  <a:pt x="1123539" y="212207"/>
                </a:lnTo>
                <a:lnTo>
                  <a:pt x="1125823" y="212207"/>
                </a:lnTo>
                <a:lnTo>
                  <a:pt x="1128106" y="212207"/>
                </a:lnTo>
                <a:lnTo>
                  <a:pt x="1128106" y="209925"/>
                </a:lnTo>
                <a:lnTo>
                  <a:pt x="1130390" y="209925"/>
                </a:lnTo>
                <a:lnTo>
                  <a:pt x="1132673" y="209925"/>
                </a:lnTo>
                <a:lnTo>
                  <a:pt x="1132673" y="207643"/>
                </a:lnTo>
                <a:lnTo>
                  <a:pt x="1134957" y="207643"/>
                </a:lnTo>
                <a:lnTo>
                  <a:pt x="1137240" y="207643"/>
                </a:lnTo>
                <a:lnTo>
                  <a:pt x="1137240" y="209925"/>
                </a:lnTo>
                <a:lnTo>
                  <a:pt x="1139524" y="209925"/>
                </a:lnTo>
                <a:lnTo>
                  <a:pt x="1139524" y="207643"/>
                </a:lnTo>
                <a:lnTo>
                  <a:pt x="1141808" y="207643"/>
                </a:lnTo>
                <a:lnTo>
                  <a:pt x="1144091" y="207643"/>
                </a:lnTo>
                <a:lnTo>
                  <a:pt x="1146375" y="207643"/>
                </a:lnTo>
                <a:lnTo>
                  <a:pt x="1146375" y="205361"/>
                </a:lnTo>
                <a:lnTo>
                  <a:pt x="1148659" y="205361"/>
                </a:lnTo>
                <a:lnTo>
                  <a:pt x="1150942" y="205361"/>
                </a:lnTo>
                <a:lnTo>
                  <a:pt x="1150942" y="207643"/>
                </a:lnTo>
                <a:lnTo>
                  <a:pt x="1153226" y="207643"/>
                </a:lnTo>
                <a:lnTo>
                  <a:pt x="1153226" y="209925"/>
                </a:lnTo>
                <a:lnTo>
                  <a:pt x="1155509" y="209925"/>
                </a:lnTo>
                <a:lnTo>
                  <a:pt x="1155509" y="212207"/>
                </a:lnTo>
                <a:lnTo>
                  <a:pt x="1155509" y="214489"/>
                </a:lnTo>
                <a:lnTo>
                  <a:pt x="1157793" y="214489"/>
                </a:lnTo>
                <a:lnTo>
                  <a:pt x="1160076" y="214489"/>
                </a:lnTo>
                <a:lnTo>
                  <a:pt x="1162360" y="214489"/>
                </a:lnTo>
                <a:lnTo>
                  <a:pt x="1162360" y="216770"/>
                </a:lnTo>
                <a:lnTo>
                  <a:pt x="1164644" y="216770"/>
                </a:lnTo>
                <a:lnTo>
                  <a:pt x="1164644" y="214489"/>
                </a:lnTo>
                <a:lnTo>
                  <a:pt x="1166927" y="214489"/>
                </a:lnTo>
                <a:lnTo>
                  <a:pt x="1166927" y="212207"/>
                </a:lnTo>
                <a:lnTo>
                  <a:pt x="1166927" y="209925"/>
                </a:lnTo>
                <a:lnTo>
                  <a:pt x="1166927" y="207643"/>
                </a:lnTo>
                <a:lnTo>
                  <a:pt x="1166927" y="205361"/>
                </a:lnTo>
                <a:lnTo>
                  <a:pt x="1166927" y="203079"/>
                </a:lnTo>
                <a:lnTo>
                  <a:pt x="1164644" y="203079"/>
                </a:lnTo>
                <a:lnTo>
                  <a:pt x="1162360" y="203079"/>
                </a:lnTo>
                <a:lnTo>
                  <a:pt x="1160076" y="200797"/>
                </a:lnTo>
                <a:lnTo>
                  <a:pt x="1160076" y="198515"/>
                </a:lnTo>
                <a:lnTo>
                  <a:pt x="1162360" y="198515"/>
                </a:lnTo>
                <a:lnTo>
                  <a:pt x="1162360" y="196233"/>
                </a:lnTo>
                <a:lnTo>
                  <a:pt x="1162360" y="193952"/>
                </a:lnTo>
                <a:lnTo>
                  <a:pt x="1164644" y="193952"/>
                </a:lnTo>
                <a:lnTo>
                  <a:pt x="1166927" y="193952"/>
                </a:lnTo>
                <a:lnTo>
                  <a:pt x="1166927" y="191670"/>
                </a:lnTo>
                <a:lnTo>
                  <a:pt x="1169211" y="191670"/>
                </a:lnTo>
                <a:lnTo>
                  <a:pt x="1171494" y="191670"/>
                </a:lnTo>
                <a:lnTo>
                  <a:pt x="1173778" y="191670"/>
                </a:lnTo>
                <a:lnTo>
                  <a:pt x="1173778" y="193952"/>
                </a:lnTo>
                <a:lnTo>
                  <a:pt x="1176062" y="193952"/>
                </a:lnTo>
                <a:lnTo>
                  <a:pt x="1178345" y="193952"/>
                </a:lnTo>
                <a:lnTo>
                  <a:pt x="1178345" y="196233"/>
                </a:lnTo>
                <a:lnTo>
                  <a:pt x="1180629" y="196233"/>
                </a:lnTo>
                <a:lnTo>
                  <a:pt x="1180629" y="198515"/>
                </a:lnTo>
                <a:lnTo>
                  <a:pt x="1182913" y="198515"/>
                </a:lnTo>
                <a:lnTo>
                  <a:pt x="1182913" y="200797"/>
                </a:lnTo>
                <a:lnTo>
                  <a:pt x="1182913" y="203079"/>
                </a:lnTo>
                <a:lnTo>
                  <a:pt x="1185196" y="203079"/>
                </a:lnTo>
                <a:lnTo>
                  <a:pt x="1185196" y="205361"/>
                </a:lnTo>
                <a:lnTo>
                  <a:pt x="1185196" y="207643"/>
                </a:lnTo>
                <a:lnTo>
                  <a:pt x="1182913" y="207643"/>
                </a:lnTo>
                <a:lnTo>
                  <a:pt x="1182913" y="209925"/>
                </a:lnTo>
                <a:lnTo>
                  <a:pt x="1182913" y="212207"/>
                </a:lnTo>
                <a:lnTo>
                  <a:pt x="1185196" y="212207"/>
                </a:lnTo>
                <a:lnTo>
                  <a:pt x="1187480" y="212207"/>
                </a:lnTo>
                <a:lnTo>
                  <a:pt x="1189763" y="212207"/>
                </a:lnTo>
                <a:lnTo>
                  <a:pt x="1192047" y="212207"/>
                </a:lnTo>
                <a:lnTo>
                  <a:pt x="1194330" y="212207"/>
                </a:lnTo>
                <a:lnTo>
                  <a:pt x="1196614" y="212207"/>
                </a:lnTo>
                <a:lnTo>
                  <a:pt x="1196614" y="214489"/>
                </a:lnTo>
                <a:lnTo>
                  <a:pt x="1198898" y="214489"/>
                </a:lnTo>
                <a:lnTo>
                  <a:pt x="1201181" y="214489"/>
                </a:lnTo>
                <a:lnTo>
                  <a:pt x="1203465" y="214489"/>
                </a:lnTo>
                <a:lnTo>
                  <a:pt x="1205748" y="214489"/>
                </a:lnTo>
                <a:lnTo>
                  <a:pt x="1208032" y="214489"/>
                </a:lnTo>
                <a:lnTo>
                  <a:pt x="1208032" y="216770"/>
                </a:lnTo>
                <a:lnTo>
                  <a:pt x="1208032" y="219053"/>
                </a:lnTo>
                <a:lnTo>
                  <a:pt x="1208032" y="221334"/>
                </a:lnTo>
                <a:lnTo>
                  <a:pt x="1208032" y="223616"/>
                </a:lnTo>
                <a:lnTo>
                  <a:pt x="1208032" y="225898"/>
                </a:lnTo>
                <a:lnTo>
                  <a:pt x="1210315" y="225898"/>
                </a:lnTo>
                <a:lnTo>
                  <a:pt x="1210315" y="228180"/>
                </a:lnTo>
                <a:lnTo>
                  <a:pt x="1212599" y="228180"/>
                </a:lnTo>
                <a:lnTo>
                  <a:pt x="1212599" y="230462"/>
                </a:lnTo>
                <a:lnTo>
                  <a:pt x="1214883" y="230462"/>
                </a:lnTo>
                <a:lnTo>
                  <a:pt x="1214883" y="232744"/>
                </a:lnTo>
                <a:lnTo>
                  <a:pt x="1212599" y="232744"/>
                </a:lnTo>
                <a:lnTo>
                  <a:pt x="1212599" y="235026"/>
                </a:lnTo>
                <a:lnTo>
                  <a:pt x="1214883" y="235026"/>
                </a:lnTo>
                <a:lnTo>
                  <a:pt x="1217166" y="235026"/>
                </a:lnTo>
                <a:lnTo>
                  <a:pt x="1217166" y="237308"/>
                </a:lnTo>
                <a:lnTo>
                  <a:pt x="1219450" y="237308"/>
                </a:lnTo>
                <a:lnTo>
                  <a:pt x="1219450" y="235026"/>
                </a:lnTo>
                <a:lnTo>
                  <a:pt x="1221734" y="235026"/>
                </a:lnTo>
                <a:lnTo>
                  <a:pt x="1224017" y="232744"/>
                </a:lnTo>
                <a:lnTo>
                  <a:pt x="1226301" y="232744"/>
                </a:lnTo>
                <a:lnTo>
                  <a:pt x="1228584" y="232744"/>
                </a:lnTo>
                <a:lnTo>
                  <a:pt x="1230868" y="232744"/>
                </a:lnTo>
                <a:lnTo>
                  <a:pt x="1230868" y="235026"/>
                </a:lnTo>
                <a:lnTo>
                  <a:pt x="1233152" y="235026"/>
                </a:lnTo>
                <a:lnTo>
                  <a:pt x="1235435" y="235026"/>
                </a:lnTo>
                <a:lnTo>
                  <a:pt x="1235435" y="237308"/>
                </a:lnTo>
                <a:lnTo>
                  <a:pt x="1237719" y="237308"/>
                </a:lnTo>
                <a:lnTo>
                  <a:pt x="1240002" y="237308"/>
                </a:lnTo>
                <a:lnTo>
                  <a:pt x="1242286" y="237308"/>
                </a:lnTo>
                <a:lnTo>
                  <a:pt x="1244569" y="237308"/>
                </a:lnTo>
                <a:lnTo>
                  <a:pt x="1244569" y="235026"/>
                </a:lnTo>
                <a:lnTo>
                  <a:pt x="1244569" y="232744"/>
                </a:lnTo>
                <a:lnTo>
                  <a:pt x="1246853" y="232744"/>
                </a:lnTo>
                <a:lnTo>
                  <a:pt x="1249137" y="232744"/>
                </a:lnTo>
                <a:lnTo>
                  <a:pt x="1251420" y="232744"/>
                </a:lnTo>
                <a:lnTo>
                  <a:pt x="1253704" y="232744"/>
                </a:lnTo>
                <a:lnTo>
                  <a:pt x="1253704" y="230462"/>
                </a:lnTo>
                <a:lnTo>
                  <a:pt x="1255988" y="230462"/>
                </a:lnTo>
                <a:lnTo>
                  <a:pt x="1255988" y="228180"/>
                </a:lnTo>
                <a:lnTo>
                  <a:pt x="1258271" y="228180"/>
                </a:lnTo>
                <a:lnTo>
                  <a:pt x="1258271" y="225898"/>
                </a:lnTo>
                <a:lnTo>
                  <a:pt x="1260555" y="225898"/>
                </a:lnTo>
                <a:lnTo>
                  <a:pt x="1262838" y="225898"/>
                </a:lnTo>
                <a:lnTo>
                  <a:pt x="1265122" y="225898"/>
                </a:lnTo>
                <a:lnTo>
                  <a:pt x="1267405" y="225898"/>
                </a:lnTo>
                <a:lnTo>
                  <a:pt x="1269689" y="225898"/>
                </a:lnTo>
                <a:lnTo>
                  <a:pt x="1271973" y="225898"/>
                </a:lnTo>
                <a:lnTo>
                  <a:pt x="1274256" y="225898"/>
                </a:lnTo>
                <a:lnTo>
                  <a:pt x="1274256" y="228180"/>
                </a:lnTo>
                <a:lnTo>
                  <a:pt x="1276540" y="228180"/>
                </a:lnTo>
                <a:lnTo>
                  <a:pt x="1276540" y="230462"/>
                </a:lnTo>
                <a:lnTo>
                  <a:pt x="1278823" y="230462"/>
                </a:lnTo>
                <a:lnTo>
                  <a:pt x="1281107" y="230462"/>
                </a:lnTo>
                <a:lnTo>
                  <a:pt x="1281107" y="232744"/>
                </a:lnTo>
                <a:lnTo>
                  <a:pt x="1283391" y="232744"/>
                </a:lnTo>
                <a:lnTo>
                  <a:pt x="1283391" y="235026"/>
                </a:lnTo>
                <a:lnTo>
                  <a:pt x="1285674" y="235026"/>
                </a:lnTo>
                <a:lnTo>
                  <a:pt x="1287958" y="235026"/>
                </a:lnTo>
                <a:lnTo>
                  <a:pt x="1287958" y="237308"/>
                </a:lnTo>
                <a:lnTo>
                  <a:pt x="1287958" y="239590"/>
                </a:lnTo>
                <a:lnTo>
                  <a:pt x="1287958" y="241871"/>
                </a:lnTo>
                <a:lnTo>
                  <a:pt x="1287958" y="244153"/>
                </a:lnTo>
                <a:lnTo>
                  <a:pt x="1287958" y="246435"/>
                </a:lnTo>
                <a:lnTo>
                  <a:pt x="1285674" y="246435"/>
                </a:lnTo>
                <a:lnTo>
                  <a:pt x="1285674" y="248717"/>
                </a:lnTo>
                <a:lnTo>
                  <a:pt x="1285674" y="250999"/>
                </a:lnTo>
                <a:lnTo>
                  <a:pt x="1287958" y="250999"/>
                </a:lnTo>
                <a:lnTo>
                  <a:pt x="1290242" y="250999"/>
                </a:lnTo>
                <a:lnTo>
                  <a:pt x="1292525" y="250999"/>
                </a:lnTo>
                <a:lnTo>
                  <a:pt x="1292525" y="253281"/>
                </a:lnTo>
                <a:lnTo>
                  <a:pt x="1294809" y="253281"/>
                </a:lnTo>
                <a:lnTo>
                  <a:pt x="1297092" y="253281"/>
                </a:lnTo>
                <a:lnTo>
                  <a:pt x="1297092" y="255563"/>
                </a:lnTo>
                <a:lnTo>
                  <a:pt x="1299376" y="255563"/>
                </a:lnTo>
                <a:lnTo>
                  <a:pt x="1301659" y="255563"/>
                </a:lnTo>
                <a:lnTo>
                  <a:pt x="1301659" y="257845"/>
                </a:lnTo>
                <a:lnTo>
                  <a:pt x="1303943" y="257845"/>
                </a:lnTo>
                <a:lnTo>
                  <a:pt x="1303943" y="260126"/>
                </a:lnTo>
                <a:lnTo>
                  <a:pt x="1306227" y="260126"/>
                </a:lnTo>
                <a:lnTo>
                  <a:pt x="1306227" y="262409"/>
                </a:lnTo>
                <a:lnTo>
                  <a:pt x="1308510" y="262409"/>
                </a:lnTo>
                <a:lnTo>
                  <a:pt x="1310794" y="264690"/>
                </a:lnTo>
                <a:lnTo>
                  <a:pt x="1313077" y="264690"/>
                </a:lnTo>
                <a:lnTo>
                  <a:pt x="1315361" y="264690"/>
                </a:lnTo>
                <a:lnTo>
                  <a:pt x="1315361" y="266972"/>
                </a:lnTo>
                <a:lnTo>
                  <a:pt x="1317644" y="266972"/>
                </a:lnTo>
                <a:lnTo>
                  <a:pt x="1319928" y="266972"/>
                </a:lnTo>
                <a:lnTo>
                  <a:pt x="1322212" y="266972"/>
                </a:lnTo>
                <a:lnTo>
                  <a:pt x="1322212" y="264690"/>
                </a:lnTo>
                <a:lnTo>
                  <a:pt x="1324495" y="264690"/>
                </a:lnTo>
                <a:lnTo>
                  <a:pt x="1326779" y="264690"/>
                </a:lnTo>
                <a:lnTo>
                  <a:pt x="1329063" y="264690"/>
                </a:lnTo>
                <a:lnTo>
                  <a:pt x="1331346" y="264690"/>
                </a:lnTo>
                <a:lnTo>
                  <a:pt x="1333630" y="264690"/>
                </a:lnTo>
                <a:lnTo>
                  <a:pt x="1335913" y="264690"/>
                </a:lnTo>
                <a:lnTo>
                  <a:pt x="1338197" y="264690"/>
                </a:lnTo>
                <a:lnTo>
                  <a:pt x="1340481" y="264690"/>
                </a:lnTo>
                <a:lnTo>
                  <a:pt x="1340481" y="266972"/>
                </a:lnTo>
                <a:lnTo>
                  <a:pt x="1340481" y="269254"/>
                </a:lnTo>
                <a:lnTo>
                  <a:pt x="1340481" y="271526"/>
                </a:lnTo>
                <a:lnTo>
                  <a:pt x="1338197" y="271526"/>
                </a:lnTo>
                <a:lnTo>
                  <a:pt x="1338197" y="273809"/>
                </a:lnTo>
                <a:lnTo>
                  <a:pt x="1335913" y="273809"/>
                </a:lnTo>
                <a:lnTo>
                  <a:pt x="1335913" y="276090"/>
                </a:lnTo>
                <a:lnTo>
                  <a:pt x="1338197" y="276090"/>
                </a:lnTo>
                <a:lnTo>
                  <a:pt x="1338197" y="278372"/>
                </a:lnTo>
                <a:lnTo>
                  <a:pt x="1340481" y="278372"/>
                </a:lnTo>
                <a:lnTo>
                  <a:pt x="1342764" y="278372"/>
                </a:lnTo>
                <a:lnTo>
                  <a:pt x="1342764" y="276090"/>
                </a:lnTo>
                <a:lnTo>
                  <a:pt x="1345048" y="276090"/>
                </a:lnTo>
                <a:lnTo>
                  <a:pt x="1347331" y="276090"/>
                </a:lnTo>
                <a:lnTo>
                  <a:pt x="1349615" y="273809"/>
                </a:lnTo>
                <a:lnTo>
                  <a:pt x="1349615" y="271526"/>
                </a:lnTo>
                <a:lnTo>
                  <a:pt x="1351898" y="271526"/>
                </a:lnTo>
                <a:lnTo>
                  <a:pt x="1351898" y="269254"/>
                </a:lnTo>
                <a:lnTo>
                  <a:pt x="1351898" y="266972"/>
                </a:lnTo>
                <a:lnTo>
                  <a:pt x="1354182" y="266972"/>
                </a:lnTo>
                <a:lnTo>
                  <a:pt x="1356466" y="266972"/>
                </a:lnTo>
                <a:lnTo>
                  <a:pt x="1356466" y="269254"/>
                </a:lnTo>
                <a:lnTo>
                  <a:pt x="1356466" y="271526"/>
                </a:lnTo>
                <a:lnTo>
                  <a:pt x="1356466" y="273809"/>
                </a:lnTo>
                <a:lnTo>
                  <a:pt x="1358749" y="273809"/>
                </a:lnTo>
                <a:lnTo>
                  <a:pt x="1358749" y="276090"/>
                </a:lnTo>
                <a:lnTo>
                  <a:pt x="1361033" y="276090"/>
                </a:lnTo>
                <a:lnTo>
                  <a:pt x="1363317" y="276090"/>
                </a:lnTo>
                <a:lnTo>
                  <a:pt x="1363317" y="273809"/>
                </a:lnTo>
                <a:lnTo>
                  <a:pt x="1365600" y="273809"/>
                </a:lnTo>
                <a:lnTo>
                  <a:pt x="1367884" y="273809"/>
                </a:lnTo>
                <a:lnTo>
                  <a:pt x="1367884" y="271526"/>
                </a:lnTo>
                <a:lnTo>
                  <a:pt x="1370167" y="271526"/>
                </a:lnTo>
                <a:lnTo>
                  <a:pt x="1370167" y="269254"/>
                </a:lnTo>
                <a:lnTo>
                  <a:pt x="1370167" y="266972"/>
                </a:lnTo>
                <a:lnTo>
                  <a:pt x="1372451" y="266972"/>
                </a:lnTo>
                <a:lnTo>
                  <a:pt x="1374734" y="266972"/>
                </a:lnTo>
                <a:lnTo>
                  <a:pt x="1374734" y="264690"/>
                </a:lnTo>
                <a:lnTo>
                  <a:pt x="1377018" y="264690"/>
                </a:lnTo>
                <a:lnTo>
                  <a:pt x="1379302" y="264690"/>
                </a:lnTo>
                <a:lnTo>
                  <a:pt x="1379302" y="266972"/>
                </a:lnTo>
                <a:lnTo>
                  <a:pt x="1381585" y="266972"/>
                </a:lnTo>
                <a:lnTo>
                  <a:pt x="1381585" y="264690"/>
                </a:lnTo>
                <a:lnTo>
                  <a:pt x="1383869" y="264690"/>
                </a:lnTo>
                <a:lnTo>
                  <a:pt x="1383869" y="262409"/>
                </a:lnTo>
                <a:lnTo>
                  <a:pt x="1386152" y="262409"/>
                </a:lnTo>
                <a:lnTo>
                  <a:pt x="1388436" y="262409"/>
                </a:lnTo>
                <a:lnTo>
                  <a:pt x="1388436" y="260126"/>
                </a:lnTo>
                <a:lnTo>
                  <a:pt x="1390720" y="260126"/>
                </a:lnTo>
                <a:lnTo>
                  <a:pt x="1390720" y="257845"/>
                </a:lnTo>
                <a:lnTo>
                  <a:pt x="1393003" y="257845"/>
                </a:lnTo>
                <a:lnTo>
                  <a:pt x="1395287" y="257845"/>
                </a:lnTo>
                <a:lnTo>
                  <a:pt x="1395287" y="255563"/>
                </a:lnTo>
                <a:lnTo>
                  <a:pt x="1397571" y="255563"/>
                </a:lnTo>
                <a:lnTo>
                  <a:pt x="1399854" y="255563"/>
                </a:lnTo>
                <a:lnTo>
                  <a:pt x="1402138" y="255563"/>
                </a:lnTo>
                <a:lnTo>
                  <a:pt x="1404421" y="255563"/>
                </a:lnTo>
                <a:lnTo>
                  <a:pt x="1404421" y="257845"/>
                </a:lnTo>
                <a:lnTo>
                  <a:pt x="1406705" y="257845"/>
                </a:lnTo>
                <a:lnTo>
                  <a:pt x="1406705" y="260126"/>
                </a:lnTo>
                <a:lnTo>
                  <a:pt x="1408988" y="262409"/>
                </a:lnTo>
                <a:lnTo>
                  <a:pt x="1408988" y="264690"/>
                </a:lnTo>
                <a:lnTo>
                  <a:pt x="1411272" y="264690"/>
                </a:lnTo>
                <a:lnTo>
                  <a:pt x="1411272" y="266972"/>
                </a:lnTo>
                <a:lnTo>
                  <a:pt x="1413556" y="266972"/>
                </a:lnTo>
                <a:lnTo>
                  <a:pt x="1413556" y="269254"/>
                </a:lnTo>
                <a:lnTo>
                  <a:pt x="1413556" y="271526"/>
                </a:lnTo>
                <a:lnTo>
                  <a:pt x="1413556" y="273809"/>
                </a:lnTo>
                <a:lnTo>
                  <a:pt x="1415839" y="273809"/>
                </a:lnTo>
                <a:lnTo>
                  <a:pt x="1418123" y="273809"/>
                </a:lnTo>
                <a:lnTo>
                  <a:pt x="1420406" y="273809"/>
                </a:lnTo>
                <a:lnTo>
                  <a:pt x="1422690" y="273809"/>
                </a:lnTo>
                <a:lnTo>
                  <a:pt x="1424974" y="273809"/>
                </a:lnTo>
                <a:lnTo>
                  <a:pt x="1424974" y="271526"/>
                </a:lnTo>
                <a:lnTo>
                  <a:pt x="1427257" y="271526"/>
                </a:lnTo>
                <a:lnTo>
                  <a:pt x="1427257" y="269254"/>
                </a:lnTo>
                <a:lnTo>
                  <a:pt x="1427257" y="266972"/>
                </a:lnTo>
                <a:lnTo>
                  <a:pt x="1424974" y="266972"/>
                </a:lnTo>
                <a:lnTo>
                  <a:pt x="1424974" y="264690"/>
                </a:lnTo>
                <a:lnTo>
                  <a:pt x="1427257" y="264690"/>
                </a:lnTo>
                <a:lnTo>
                  <a:pt x="1427257" y="262409"/>
                </a:lnTo>
                <a:lnTo>
                  <a:pt x="1429541" y="262409"/>
                </a:lnTo>
                <a:lnTo>
                  <a:pt x="1429541" y="264690"/>
                </a:lnTo>
                <a:lnTo>
                  <a:pt x="1431824" y="264690"/>
                </a:lnTo>
                <a:lnTo>
                  <a:pt x="1431824" y="266972"/>
                </a:lnTo>
                <a:lnTo>
                  <a:pt x="1434108" y="266972"/>
                </a:lnTo>
                <a:lnTo>
                  <a:pt x="1436392" y="266972"/>
                </a:lnTo>
                <a:lnTo>
                  <a:pt x="1438675" y="266972"/>
                </a:lnTo>
                <a:lnTo>
                  <a:pt x="1440959" y="264690"/>
                </a:lnTo>
                <a:lnTo>
                  <a:pt x="1443242" y="264690"/>
                </a:lnTo>
                <a:lnTo>
                  <a:pt x="1443242" y="266972"/>
                </a:lnTo>
                <a:lnTo>
                  <a:pt x="1445526" y="266972"/>
                </a:lnTo>
                <a:lnTo>
                  <a:pt x="1445526" y="264690"/>
                </a:lnTo>
                <a:lnTo>
                  <a:pt x="1447810" y="264690"/>
                </a:lnTo>
                <a:lnTo>
                  <a:pt x="1450093" y="264690"/>
                </a:lnTo>
                <a:lnTo>
                  <a:pt x="1450093" y="262409"/>
                </a:lnTo>
                <a:lnTo>
                  <a:pt x="1452377" y="262409"/>
                </a:lnTo>
                <a:lnTo>
                  <a:pt x="1452377" y="260126"/>
                </a:lnTo>
                <a:lnTo>
                  <a:pt x="1450093" y="260126"/>
                </a:lnTo>
                <a:lnTo>
                  <a:pt x="1450093" y="257845"/>
                </a:lnTo>
                <a:lnTo>
                  <a:pt x="1450093" y="255563"/>
                </a:lnTo>
                <a:lnTo>
                  <a:pt x="1447810" y="255563"/>
                </a:lnTo>
                <a:lnTo>
                  <a:pt x="1447810" y="253281"/>
                </a:lnTo>
                <a:lnTo>
                  <a:pt x="1447810" y="250999"/>
                </a:lnTo>
                <a:lnTo>
                  <a:pt x="1445526" y="250999"/>
                </a:lnTo>
                <a:lnTo>
                  <a:pt x="1445526" y="248717"/>
                </a:lnTo>
                <a:lnTo>
                  <a:pt x="1445526" y="246435"/>
                </a:lnTo>
                <a:lnTo>
                  <a:pt x="1447810" y="246435"/>
                </a:lnTo>
                <a:lnTo>
                  <a:pt x="1450093" y="246435"/>
                </a:lnTo>
                <a:lnTo>
                  <a:pt x="1450093" y="244153"/>
                </a:lnTo>
                <a:lnTo>
                  <a:pt x="1450093" y="241871"/>
                </a:lnTo>
                <a:lnTo>
                  <a:pt x="1452377" y="241871"/>
                </a:lnTo>
                <a:lnTo>
                  <a:pt x="1454660" y="241871"/>
                </a:lnTo>
                <a:lnTo>
                  <a:pt x="1454660" y="239590"/>
                </a:lnTo>
                <a:lnTo>
                  <a:pt x="1456944" y="239590"/>
                </a:lnTo>
                <a:lnTo>
                  <a:pt x="1459227" y="239590"/>
                </a:lnTo>
                <a:lnTo>
                  <a:pt x="1461511" y="239590"/>
                </a:lnTo>
                <a:lnTo>
                  <a:pt x="1461511" y="237308"/>
                </a:lnTo>
                <a:lnTo>
                  <a:pt x="1463795" y="237308"/>
                </a:lnTo>
                <a:lnTo>
                  <a:pt x="1466078" y="237308"/>
                </a:lnTo>
                <a:lnTo>
                  <a:pt x="1468362" y="237308"/>
                </a:lnTo>
                <a:lnTo>
                  <a:pt x="1470646" y="237308"/>
                </a:lnTo>
                <a:lnTo>
                  <a:pt x="1472929" y="237308"/>
                </a:lnTo>
                <a:lnTo>
                  <a:pt x="1472929" y="239590"/>
                </a:lnTo>
                <a:lnTo>
                  <a:pt x="1472929" y="241871"/>
                </a:lnTo>
                <a:lnTo>
                  <a:pt x="1475213" y="241871"/>
                </a:lnTo>
                <a:lnTo>
                  <a:pt x="1477496" y="241871"/>
                </a:lnTo>
                <a:lnTo>
                  <a:pt x="1479780" y="241871"/>
                </a:lnTo>
                <a:lnTo>
                  <a:pt x="1479780" y="239590"/>
                </a:lnTo>
                <a:lnTo>
                  <a:pt x="1482064" y="239590"/>
                </a:lnTo>
                <a:lnTo>
                  <a:pt x="1482064" y="237308"/>
                </a:lnTo>
                <a:lnTo>
                  <a:pt x="1484347" y="237308"/>
                </a:lnTo>
                <a:lnTo>
                  <a:pt x="1484347" y="235026"/>
                </a:lnTo>
                <a:lnTo>
                  <a:pt x="1484347" y="232744"/>
                </a:lnTo>
                <a:lnTo>
                  <a:pt x="1484347" y="230462"/>
                </a:lnTo>
                <a:lnTo>
                  <a:pt x="1482064" y="230462"/>
                </a:lnTo>
                <a:lnTo>
                  <a:pt x="1479780" y="230462"/>
                </a:lnTo>
                <a:lnTo>
                  <a:pt x="1479780" y="228180"/>
                </a:lnTo>
                <a:lnTo>
                  <a:pt x="1477496" y="228180"/>
                </a:lnTo>
                <a:lnTo>
                  <a:pt x="1477496" y="225898"/>
                </a:lnTo>
                <a:lnTo>
                  <a:pt x="1477496" y="223616"/>
                </a:lnTo>
                <a:lnTo>
                  <a:pt x="1475213" y="223616"/>
                </a:lnTo>
                <a:lnTo>
                  <a:pt x="1475213" y="221334"/>
                </a:lnTo>
                <a:lnTo>
                  <a:pt x="1472929" y="221334"/>
                </a:lnTo>
                <a:lnTo>
                  <a:pt x="1470646" y="221334"/>
                </a:lnTo>
                <a:lnTo>
                  <a:pt x="1470646" y="219053"/>
                </a:lnTo>
                <a:lnTo>
                  <a:pt x="1468362" y="219053"/>
                </a:lnTo>
                <a:lnTo>
                  <a:pt x="1468362" y="216770"/>
                </a:lnTo>
                <a:lnTo>
                  <a:pt x="1470646" y="216770"/>
                </a:lnTo>
                <a:lnTo>
                  <a:pt x="1470646" y="214489"/>
                </a:lnTo>
                <a:lnTo>
                  <a:pt x="1472929" y="212207"/>
                </a:lnTo>
                <a:lnTo>
                  <a:pt x="1475213" y="212207"/>
                </a:lnTo>
                <a:lnTo>
                  <a:pt x="1477496" y="212207"/>
                </a:lnTo>
                <a:lnTo>
                  <a:pt x="1479780" y="212207"/>
                </a:lnTo>
                <a:lnTo>
                  <a:pt x="1482064" y="212207"/>
                </a:lnTo>
                <a:lnTo>
                  <a:pt x="1484347" y="212207"/>
                </a:lnTo>
                <a:lnTo>
                  <a:pt x="1486631" y="212207"/>
                </a:lnTo>
                <a:lnTo>
                  <a:pt x="1488914" y="212207"/>
                </a:lnTo>
                <a:lnTo>
                  <a:pt x="1491198" y="212207"/>
                </a:lnTo>
                <a:lnTo>
                  <a:pt x="1491198" y="209925"/>
                </a:lnTo>
                <a:lnTo>
                  <a:pt x="1493481" y="209925"/>
                </a:lnTo>
                <a:lnTo>
                  <a:pt x="1495765" y="209925"/>
                </a:lnTo>
                <a:lnTo>
                  <a:pt x="1498049" y="209925"/>
                </a:lnTo>
                <a:lnTo>
                  <a:pt x="1500332" y="209925"/>
                </a:lnTo>
                <a:lnTo>
                  <a:pt x="1502616" y="209925"/>
                </a:lnTo>
                <a:lnTo>
                  <a:pt x="1502616" y="212207"/>
                </a:lnTo>
                <a:lnTo>
                  <a:pt x="1500332" y="212207"/>
                </a:lnTo>
                <a:lnTo>
                  <a:pt x="1500332" y="214489"/>
                </a:lnTo>
                <a:lnTo>
                  <a:pt x="1502616" y="216770"/>
                </a:lnTo>
                <a:lnTo>
                  <a:pt x="1502616" y="219053"/>
                </a:lnTo>
                <a:lnTo>
                  <a:pt x="1504900" y="219053"/>
                </a:lnTo>
                <a:lnTo>
                  <a:pt x="1504900" y="221334"/>
                </a:lnTo>
                <a:lnTo>
                  <a:pt x="1507183" y="221334"/>
                </a:lnTo>
                <a:lnTo>
                  <a:pt x="1509467" y="221334"/>
                </a:lnTo>
                <a:lnTo>
                  <a:pt x="1509467" y="219053"/>
                </a:lnTo>
                <a:lnTo>
                  <a:pt x="1511750" y="219053"/>
                </a:lnTo>
                <a:lnTo>
                  <a:pt x="1511750" y="216770"/>
                </a:lnTo>
                <a:lnTo>
                  <a:pt x="1511750" y="214489"/>
                </a:lnTo>
                <a:lnTo>
                  <a:pt x="1514034" y="214489"/>
                </a:lnTo>
                <a:lnTo>
                  <a:pt x="1516317" y="214489"/>
                </a:lnTo>
                <a:lnTo>
                  <a:pt x="1518601" y="212207"/>
                </a:lnTo>
                <a:lnTo>
                  <a:pt x="1518601" y="209925"/>
                </a:lnTo>
                <a:lnTo>
                  <a:pt x="1518601" y="207643"/>
                </a:lnTo>
                <a:lnTo>
                  <a:pt x="1516317" y="207643"/>
                </a:lnTo>
                <a:lnTo>
                  <a:pt x="1516317" y="205361"/>
                </a:lnTo>
                <a:lnTo>
                  <a:pt x="1516317" y="203079"/>
                </a:lnTo>
                <a:lnTo>
                  <a:pt x="1516317" y="200797"/>
                </a:lnTo>
                <a:lnTo>
                  <a:pt x="1518601" y="200797"/>
                </a:lnTo>
                <a:lnTo>
                  <a:pt x="1520885" y="203079"/>
                </a:lnTo>
                <a:lnTo>
                  <a:pt x="1523168" y="203079"/>
                </a:lnTo>
                <a:lnTo>
                  <a:pt x="1525452" y="203079"/>
                </a:lnTo>
                <a:lnTo>
                  <a:pt x="1527735" y="203079"/>
                </a:lnTo>
                <a:lnTo>
                  <a:pt x="1530019" y="203079"/>
                </a:lnTo>
                <a:lnTo>
                  <a:pt x="1532303" y="203079"/>
                </a:lnTo>
                <a:lnTo>
                  <a:pt x="1532303" y="205361"/>
                </a:lnTo>
                <a:lnTo>
                  <a:pt x="1534586" y="205361"/>
                </a:lnTo>
                <a:lnTo>
                  <a:pt x="1534586" y="207643"/>
                </a:lnTo>
                <a:lnTo>
                  <a:pt x="1536870" y="207643"/>
                </a:lnTo>
                <a:lnTo>
                  <a:pt x="1539154" y="205361"/>
                </a:lnTo>
                <a:lnTo>
                  <a:pt x="1541437" y="203079"/>
                </a:lnTo>
                <a:lnTo>
                  <a:pt x="1541437" y="200797"/>
                </a:lnTo>
                <a:lnTo>
                  <a:pt x="1543721" y="200797"/>
                </a:lnTo>
                <a:lnTo>
                  <a:pt x="1543721" y="198515"/>
                </a:lnTo>
                <a:lnTo>
                  <a:pt x="1543721" y="196233"/>
                </a:lnTo>
                <a:lnTo>
                  <a:pt x="1543721" y="193952"/>
                </a:lnTo>
                <a:lnTo>
                  <a:pt x="1546004" y="193952"/>
                </a:lnTo>
                <a:lnTo>
                  <a:pt x="1546004" y="191670"/>
                </a:lnTo>
                <a:lnTo>
                  <a:pt x="1546004" y="193952"/>
                </a:lnTo>
                <a:lnTo>
                  <a:pt x="1548288" y="193952"/>
                </a:lnTo>
                <a:lnTo>
                  <a:pt x="1548288" y="196233"/>
                </a:lnTo>
                <a:lnTo>
                  <a:pt x="1548288" y="198515"/>
                </a:lnTo>
                <a:lnTo>
                  <a:pt x="1548288" y="200797"/>
                </a:lnTo>
                <a:lnTo>
                  <a:pt x="1548288" y="203079"/>
                </a:lnTo>
                <a:lnTo>
                  <a:pt x="1550571" y="203079"/>
                </a:lnTo>
                <a:lnTo>
                  <a:pt x="1552855" y="200797"/>
                </a:lnTo>
                <a:lnTo>
                  <a:pt x="1550571" y="198515"/>
                </a:lnTo>
                <a:lnTo>
                  <a:pt x="1552855" y="196233"/>
                </a:lnTo>
                <a:lnTo>
                  <a:pt x="1552855" y="193952"/>
                </a:lnTo>
                <a:lnTo>
                  <a:pt x="1552855" y="191670"/>
                </a:lnTo>
                <a:lnTo>
                  <a:pt x="1555139" y="189388"/>
                </a:lnTo>
                <a:lnTo>
                  <a:pt x="1557422" y="189388"/>
                </a:lnTo>
                <a:lnTo>
                  <a:pt x="1557422" y="191670"/>
                </a:lnTo>
                <a:lnTo>
                  <a:pt x="1557422" y="193952"/>
                </a:lnTo>
                <a:lnTo>
                  <a:pt x="1557422" y="196233"/>
                </a:lnTo>
                <a:lnTo>
                  <a:pt x="1559706" y="196233"/>
                </a:lnTo>
                <a:lnTo>
                  <a:pt x="1559706" y="198515"/>
                </a:lnTo>
                <a:lnTo>
                  <a:pt x="1561989" y="198515"/>
                </a:lnTo>
                <a:lnTo>
                  <a:pt x="1564273" y="198515"/>
                </a:lnTo>
                <a:lnTo>
                  <a:pt x="1564273" y="200797"/>
                </a:lnTo>
                <a:lnTo>
                  <a:pt x="1566556" y="200797"/>
                </a:lnTo>
                <a:lnTo>
                  <a:pt x="1566556" y="198515"/>
                </a:lnTo>
                <a:lnTo>
                  <a:pt x="1568840" y="198515"/>
                </a:lnTo>
                <a:lnTo>
                  <a:pt x="1571124" y="198515"/>
                </a:lnTo>
                <a:lnTo>
                  <a:pt x="1571124" y="200797"/>
                </a:lnTo>
                <a:lnTo>
                  <a:pt x="1573407" y="200797"/>
                </a:lnTo>
                <a:lnTo>
                  <a:pt x="1573407" y="203079"/>
                </a:lnTo>
                <a:lnTo>
                  <a:pt x="1575691" y="203079"/>
                </a:lnTo>
                <a:lnTo>
                  <a:pt x="1577975" y="200797"/>
                </a:lnTo>
                <a:lnTo>
                  <a:pt x="1577975" y="198515"/>
                </a:lnTo>
                <a:lnTo>
                  <a:pt x="1575691" y="198515"/>
                </a:lnTo>
                <a:lnTo>
                  <a:pt x="1575691" y="196233"/>
                </a:lnTo>
                <a:lnTo>
                  <a:pt x="1577975" y="196233"/>
                </a:lnTo>
                <a:lnTo>
                  <a:pt x="1577975" y="193952"/>
                </a:lnTo>
                <a:lnTo>
                  <a:pt x="1580258" y="193952"/>
                </a:lnTo>
                <a:lnTo>
                  <a:pt x="1582542" y="193952"/>
                </a:lnTo>
                <a:lnTo>
                  <a:pt x="1584825" y="193952"/>
                </a:lnTo>
                <a:lnTo>
                  <a:pt x="1584825" y="191670"/>
                </a:lnTo>
                <a:lnTo>
                  <a:pt x="1587109" y="191670"/>
                </a:lnTo>
                <a:lnTo>
                  <a:pt x="1587109" y="189388"/>
                </a:lnTo>
                <a:lnTo>
                  <a:pt x="1584825" y="189388"/>
                </a:lnTo>
                <a:lnTo>
                  <a:pt x="1584825" y="187106"/>
                </a:lnTo>
                <a:lnTo>
                  <a:pt x="1582542" y="187106"/>
                </a:lnTo>
                <a:lnTo>
                  <a:pt x="1582542" y="184824"/>
                </a:lnTo>
                <a:lnTo>
                  <a:pt x="1580258" y="184824"/>
                </a:lnTo>
                <a:lnTo>
                  <a:pt x="1577975" y="184824"/>
                </a:lnTo>
                <a:lnTo>
                  <a:pt x="1577975" y="182542"/>
                </a:lnTo>
                <a:lnTo>
                  <a:pt x="1575691" y="182542"/>
                </a:lnTo>
                <a:lnTo>
                  <a:pt x="1575691" y="180260"/>
                </a:lnTo>
                <a:lnTo>
                  <a:pt x="1573407" y="180260"/>
                </a:lnTo>
                <a:lnTo>
                  <a:pt x="1575691" y="180260"/>
                </a:lnTo>
                <a:lnTo>
                  <a:pt x="1573407" y="180260"/>
                </a:lnTo>
                <a:lnTo>
                  <a:pt x="1575691" y="180260"/>
                </a:lnTo>
                <a:lnTo>
                  <a:pt x="1575691" y="177978"/>
                </a:lnTo>
                <a:lnTo>
                  <a:pt x="1575691" y="175697"/>
                </a:lnTo>
                <a:lnTo>
                  <a:pt x="1577975" y="175697"/>
                </a:lnTo>
                <a:lnTo>
                  <a:pt x="1577975" y="173414"/>
                </a:lnTo>
                <a:lnTo>
                  <a:pt x="1580258" y="173414"/>
                </a:lnTo>
                <a:lnTo>
                  <a:pt x="1582542" y="173414"/>
                </a:lnTo>
                <a:lnTo>
                  <a:pt x="1582542" y="175697"/>
                </a:lnTo>
                <a:lnTo>
                  <a:pt x="1584825" y="175697"/>
                </a:lnTo>
                <a:lnTo>
                  <a:pt x="1587109" y="175697"/>
                </a:lnTo>
                <a:lnTo>
                  <a:pt x="1589393" y="177978"/>
                </a:lnTo>
                <a:lnTo>
                  <a:pt x="1591676" y="177978"/>
                </a:lnTo>
                <a:lnTo>
                  <a:pt x="1593960" y="177978"/>
                </a:lnTo>
                <a:lnTo>
                  <a:pt x="1593960" y="175697"/>
                </a:lnTo>
                <a:lnTo>
                  <a:pt x="1596243" y="175697"/>
                </a:lnTo>
                <a:lnTo>
                  <a:pt x="1596243" y="173414"/>
                </a:lnTo>
                <a:lnTo>
                  <a:pt x="1598527" y="173414"/>
                </a:lnTo>
                <a:lnTo>
                  <a:pt x="1600810" y="173414"/>
                </a:lnTo>
                <a:lnTo>
                  <a:pt x="1600810" y="171133"/>
                </a:lnTo>
                <a:lnTo>
                  <a:pt x="1600810" y="168851"/>
                </a:lnTo>
                <a:lnTo>
                  <a:pt x="1598527" y="168851"/>
                </a:lnTo>
                <a:lnTo>
                  <a:pt x="1598527" y="166569"/>
                </a:lnTo>
                <a:lnTo>
                  <a:pt x="1596243" y="168851"/>
                </a:lnTo>
                <a:lnTo>
                  <a:pt x="1593960" y="168851"/>
                </a:lnTo>
                <a:lnTo>
                  <a:pt x="1591676" y="168851"/>
                </a:lnTo>
                <a:lnTo>
                  <a:pt x="1589393" y="168851"/>
                </a:lnTo>
                <a:lnTo>
                  <a:pt x="1587109" y="168851"/>
                </a:lnTo>
                <a:lnTo>
                  <a:pt x="1587109" y="166569"/>
                </a:lnTo>
                <a:lnTo>
                  <a:pt x="1584825" y="166569"/>
                </a:lnTo>
                <a:lnTo>
                  <a:pt x="1584825" y="164287"/>
                </a:lnTo>
                <a:lnTo>
                  <a:pt x="1587109" y="164287"/>
                </a:lnTo>
                <a:lnTo>
                  <a:pt x="1589393" y="164287"/>
                </a:lnTo>
                <a:lnTo>
                  <a:pt x="1589393" y="162005"/>
                </a:lnTo>
                <a:lnTo>
                  <a:pt x="1589393" y="159723"/>
                </a:lnTo>
                <a:lnTo>
                  <a:pt x="1591676" y="159723"/>
                </a:lnTo>
                <a:lnTo>
                  <a:pt x="1591676" y="157441"/>
                </a:lnTo>
                <a:lnTo>
                  <a:pt x="1591676" y="155159"/>
                </a:lnTo>
                <a:lnTo>
                  <a:pt x="1593960" y="155159"/>
                </a:lnTo>
                <a:lnTo>
                  <a:pt x="1593960" y="157441"/>
                </a:lnTo>
                <a:lnTo>
                  <a:pt x="1596243" y="157441"/>
                </a:lnTo>
                <a:lnTo>
                  <a:pt x="1598527" y="157441"/>
                </a:lnTo>
                <a:lnTo>
                  <a:pt x="1600810" y="157441"/>
                </a:lnTo>
                <a:lnTo>
                  <a:pt x="1600810" y="159723"/>
                </a:lnTo>
                <a:lnTo>
                  <a:pt x="1603094" y="159723"/>
                </a:lnTo>
                <a:lnTo>
                  <a:pt x="1605378" y="159723"/>
                </a:lnTo>
                <a:lnTo>
                  <a:pt x="1605378" y="157441"/>
                </a:lnTo>
                <a:lnTo>
                  <a:pt x="1607661" y="157441"/>
                </a:lnTo>
                <a:lnTo>
                  <a:pt x="1609945" y="155159"/>
                </a:lnTo>
                <a:lnTo>
                  <a:pt x="1612229" y="155159"/>
                </a:lnTo>
                <a:lnTo>
                  <a:pt x="1614512" y="155159"/>
                </a:lnTo>
                <a:lnTo>
                  <a:pt x="1614512" y="152877"/>
                </a:lnTo>
                <a:lnTo>
                  <a:pt x="1612229" y="150596"/>
                </a:lnTo>
                <a:lnTo>
                  <a:pt x="1614512" y="150596"/>
                </a:lnTo>
                <a:lnTo>
                  <a:pt x="1614512" y="148314"/>
                </a:lnTo>
                <a:lnTo>
                  <a:pt x="1612229" y="148314"/>
                </a:lnTo>
                <a:lnTo>
                  <a:pt x="1612229" y="146032"/>
                </a:lnTo>
                <a:lnTo>
                  <a:pt x="1609945" y="146032"/>
                </a:lnTo>
                <a:lnTo>
                  <a:pt x="1612229" y="143750"/>
                </a:lnTo>
                <a:lnTo>
                  <a:pt x="1612229" y="141468"/>
                </a:lnTo>
                <a:lnTo>
                  <a:pt x="1609945" y="141468"/>
                </a:lnTo>
                <a:lnTo>
                  <a:pt x="1609945" y="139186"/>
                </a:lnTo>
                <a:lnTo>
                  <a:pt x="1607661" y="139186"/>
                </a:lnTo>
                <a:lnTo>
                  <a:pt x="1605378" y="141468"/>
                </a:lnTo>
                <a:lnTo>
                  <a:pt x="1605378" y="143750"/>
                </a:lnTo>
                <a:lnTo>
                  <a:pt x="1605378" y="146032"/>
                </a:lnTo>
                <a:lnTo>
                  <a:pt x="1603094" y="146032"/>
                </a:lnTo>
                <a:lnTo>
                  <a:pt x="1600810" y="146032"/>
                </a:lnTo>
                <a:lnTo>
                  <a:pt x="1600810" y="143750"/>
                </a:lnTo>
                <a:lnTo>
                  <a:pt x="1600810" y="141468"/>
                </a:lnTo>
                <a:lnTo>
                  <a:pt x="1598527" y="139186"/>
                </a:lnTo>
                <a:lnTo>
                  <a:pt x="1600810" y="136904"/>
                </a:lnTo>
                <a:lnTo>
                  <a:pt x="1600810" y="134622"/>
                </a:lnTo>
                <a:lnTo>
                  <a:pt x="1600810" y="132340"/>
                </a:lnTo>
                <a:lnTo>
                  <a:pt x="1598527" y="132340"/>
                </a:lnTo>
                <a:lnTo>
                  <a:pt x="1598527" y="130058"/>
                </a:lnTo>
                <a:lnTo>
                  <a:pt x="1596243" y="130058"/>
                </a:lnTo>
                <a:lnTo>
                  <a:pt x="1593960" y="130058"/>
                </a:lnTo>
                <a:lnTo>
                  <a:pt x="1593960" y="127777"/>
                </a:lnTo>
                <a:lnTo>
                  <a:pt x="1596243" y="127777"/>
                </a:lnTo>
                <a:lnTo>
                  <a:pt x="1598527" y="127777"/>
                </a:lnTo>
                <a:lnTo>
                  <a:pt x="1598527" y="125495"/>
                </a:lnTo>
                <a:lnTo>
                  <a:pt x="1600810" y="125495"/>
                </a:lnTo>
                <a:lnTo>
                  <a:pt x="1603094" y="127777"/>
                </a:lnTo>
                <a:lnTo>
                  <a:pt x="1605378" y="127777"/>
                </a:lnTo>
                <a:lnTo>
                  <a:pt x="1609945" y="127777"/>
                </a:lnTo>
                <a:lnTo>
                  <a:pt x="1612229" y="127777"/>
                </a:lnTo>
                <a:lnTo>
                  <a:pt x="1612229" y="130058"/>
                </a:lnTo>
                <a:lnTo>
                  <a:pt x="1616796" y="130058"/>
                </a:lnTo>
                <a:lnTo>
                  <a:pt x="1619079" y="127777"/>
                </a:lnTo>
                <a:lnTo>
                  <a:pt x="1621363" y="125495"/>
                </a:lnTo>
                <a:lnTo>
                  <a:pt x="1623646" y="123213"/>
                </a:lnTo>
                <a:lnTo>
                  <a:pt x="1625930" y="123213"/>
                </a:lnTo>
                <a:lnTo>
                  <a:pt x="1628214" y="123213"/>
                </a:lnTo>
                <a:lnTo>
                  <a:pt x="1630497" y="123213"/>
                </a:lnTo>
                <a:lnTo>
                  <a:pt x="1632781" y="120931"/>
                </a:lnTo>
                <a:lnTo>
                  <a:pt x="1635064" y="120931"/>
                </a:lnTo>
                <a:lnTo>
                  <a:pt x="1637348" y="120931"/>
                </a:lnTo>
                <a:lnTo>
                  <a:pt x="1639632" y="120931"/>
                </a:lnTo>
                <a:lnTo>
                  <a:pt x="1641915" y="123213"/>
                </a:lnTo>
                <a:lnTo>
                  <a:pt x="1641915" y="125495"/>
                </a:lnTo>
                <a:lnTo>
                  <a:pt x="1641915" y="130058"/>
                </a:lnTo>
                <a:lnTo>
                  <a:pt x="1641915" y="132340"/>
                </a:lnTo>
                <a:lnTo>
                  <a:pt x="1644199" y="134622"/>
                </a:lnTo>
                <a:lnTo>
                  <a:pt x="1646483" y="139186"/>
                </a:lnTo>
                <a:lnTo>
                  <a:pt x="1648766" y="141468"/>
                </a:lnTo>
                <a:lnTo>
                  <a:pt x="1648766" y="143750"/>
                </a:lnTo>
                <a:lnTo>
                  <a:pt x="1651050" y="146032"/>
                </a:lnTo>
                <a:lnTo>
                  <a:pt x="1653333" y="148314"/>
                </a:lnTo>
                <a:lnTo>
                  <a:pt x="1662468" y="148314"/>
                </a:lnTo>
                <a:lnTo>
                  <a:pt x="1664751" y="148314"/>
                </a:lnTo>
                <a:lnTo>
                  <a:pt x="1667035" y="148314"/>
                </a:lnTo>
                <a:lnTo>
                  <a:pt x="1667035" y="150596"/>
                </a:lnTo>
                <a:lnTo>
                  <a:pt x="1669319" y="150596"/>
                </a:lnTo>
                <a:lnTo>
                  <a:pt x="1671602" y="155159"/>
                </a:lnTo>
                <a:lnTo>
                  <a:pt x="1673886" y="157441"/>
                </a:lnTo>
                <a:lnTo>
                  <a:pt x="1673886" y="159723"/>
                </a:lnTo>
                <a:lnTo>
                  <a:pt x="1673886" y="162005"/>
                </a:lnTo>
                <a:lnTo>
                  <a:pt x="1676169" y="166569"/>
                </a:lnTo>
                <a:lnTo>
                  <a:pt x="1676169" y="168851"/>
                </a:lnTo>
                <a:lnTo>
                  <a:pt x="1678453" y="173414"/>
                </a:lnTo>
                <a:lnTo>
                  <a:pt x="1678453" y="175697"/>
                </a:lnTo>
                <a:lnTo>
                  <a:pt x="1680736" y="175697"/>
                </a:lnTo>
                <a:lnTo>
                  <a:pt x="1685304" y="175697"/>
                </a:lnTo>
                <a:lnTo>
                  <a:pt x="1687587" y="177978"/>
                </a:lnTo>
                <a:lnTo>
                  <a:pt x="1689871" y="180260"/>
                </a:lnTo>
                <a:lnTo>
                  <a:pt x="1692154" y="184824"/>
                </a:lnTo>
                <a:lnTo>
                  <a:pt x="1689871" y="189388"/>
                </a:lnTo>
                <a:lnTo>
                  <a:pt x="1689871" y="191670"/>
                </a:lnTo>
                <a:lnTo>
                  <a:pt x="1692154" y="191670"/>
                </a:lnTo>
                <a:lnTo>
                  <a:pt x="1692154" y="193952"/>
                </a:lnTo>
                <a:lnTo>
                  <a:pt x="1694438" y="196233"/>
                </a:lnTo>
                <a:lnTo>
                  <a:pt x="1701289" y="198515"/>
                </a:lnTo>
                <a:lnTo>
                  <a:pt x="1708140" y="203079"/>
                </a:lnTo>
                <a:lnTo>
                  <a:pt x="1708140" y="205361"/>
                </a:lnTo>
                <a:lnTo>
                  <a:pt x="1715000" y="207643"/>
                </a:lnTo>
                <a:lnTo>
                  <a:pt x="1719567" y="212207"/>
                </a:lnTo>
                <a:lnTo>
                  <a:pt x="1719567" y="216770"/>
                </a:lnTo>
                <a:lnTo>
                  <a:pt x="1721851" y="219053"/>
                </a:lnTo>
                <a:lnTo>
                  <a:pt x="1721851" y="221334"/>
                </a:lnTo>
                <a:lnTo>
                  <a:pt x="1726408" y="223616"/>
                </a:lnTo>
                <a:lnTo>
                  <a:pt x="1728701" y="225898"/>
                </a:lnTo>
                <a:lnTo>
                  <a:pt x="1728701" y="228180"/>
                </a:lnTo>
                <a:lnTo>
                  <a:pt x="1730985" y="230462"/>
                </a:lnTo>
                <a:lnTo>
                  <a:pt x="1733259" y="235026"/>
                </a:lnTo>
                <a:lnTo>
                  <a:pt x="1737836" y="237308"/>
                </a:lnTo>
                <a:lnTo>
                  <a:pt x="1742394" y="239590"/>
                </a:lnTo>
                <a:lnTo>
                  <a:pt x="1744687" y="239590"/>
                </a:lnTo>
                <a:lnTo>
                  <a:pt x="1749254" y="241871"/>
                </a:lnTo>
                <a:lnTo>
                  <a:pt x="1753821" y="241871"/>
                </a:lnTo>
                <a:lnTo>
                  <a:pt x="1758388" y="241871"/>
                </a:lnTo>
                <a:lnTo>
                  <a:pt x="1765239" y="244153"/>
                </a:lnTo>
                <a:lnTo>
                  <a:pt x="1778941" y="244153"/>
                </a:lnTo>
                <a:lnTo>
                  <a:pt x="1781224" y="244153"/>
                </a:lnTo>
                <a:lnTo>
                  <a:pt x="1783508" y="241871"/>
                </a:lnTo>
                <a:lnTo>
                  <a:pt x="1788075" y="239590"/>
                </a:lnTo>
                <a:lnTo>
                  <a:pt x="1792642" y="241871"/>
                </a:lnTo>
                <a:lnTo>
                  <a:pt x="1794926" y="244153"/>
                </a:lnTo>
                <a:lnTo>
                  <a:pt x="1794926" y="246435"/>
                </a:lnTo>
                <a:lnTo>
                  <a:pt x="1797209" y="253281"/>
                </a:lnTo>
                <a:lnTo>
                  <a:pt x="1797209" y="255563"/>
                </a:lnTo>
                <a:lnTo>
                  <a:pt x="1799493" y="257845"/>
                </a:lnTo>
                <a:lnTo>
                  <a:pt x="1801777" y="257845"/>
                </a:lnTo>
                <a:lnTo>
                  <a:pt x="1804060" y="257845"/>
                </a:lnTo>
                <a:lnTo>
                  <a:pt x="1806344" y="257845"/>
                </a:lnTo>
                <a:lnTo>
                  <a:pt x="1806344" y="260126"/>
                </a:lnTo>
                <a:lnTo>
                  <a:pt x="1810911" y="260126"/>
                </a:lnTo>
                <a:lnTo>
                  <a:pt x="1815478" y="262409"/>
                </a:lnTo>
                <a:lnTo>
                  <a:pt x="1820045" y="262409"/>
                </a:lnTo>
                <a:lnTo>
                  <a:pt x="1824612" y="262409"/>
                </a:lnTo>
                <a:lnTo>
                  <a:pt x="1826896" y="264690"/>
                </a:lnTo>
                <a:lnTo>
                  <a:pt x="1829180" y="262409"/>
                </a:lnTo>
                <a:lnTo>
                  <a:pt x="1831463" y="262409"/>
                </a:lnTo>
                <a:lnTo>
                  <a:pt x="1838314" y="264690"/>
                </a:lnTo>
                <a:lnTo>
                  <a:pt x="1840598" y="264690"/>
                </a:lnTo>
                <a:lnTo>
                  <a:pt x="1842881" y="264690"/>
                </a:lnTo>
                <a:lnTo>
                  <a:pt x="1845165" y="264690"/>
                </a:lnTo>
                <a:lnTo>
                  <a:pt x="1849732" y="262409"/>
                </a:lnTo>
                <a:lnTo>
                  <a:pt x="1854299" y="260126"/>
                </a:lnTo>
                <a:lnTo>
                  <a:pt x="1856583" y="260126"/>
                </a:lnTo>
                <a:lnTo>
                  <a:pt x="1858866" y="262409"/>
                </a:lnTo>
                <a:lnTo>
                  <a:pt x="1861150" y="262409"/>
                </a:lnTo>
                <a:lnTo>
                  <a:pt x="1863434" y="266972"/>
                </a:lnTo>
                <a:lnTo>
                  <a:pt x="1865717" y="269254"/>
                </a:lnTo>
                <a:lnTo>
                  <a:pt x="1868001" y="269254"/>
                </a:lnTo>
                <a:lnTo>
                  <a:pt x="1868001" y="266972"/>
                </a:lnTo>
                <a:lnTo>
                  <a:pt x="1865717" y="260126"/>
                </a:lnTo>
                <a:lnTo>
                  <a:pt x="1865717" y="257845"/>
                </a:lnTo>
                <a:lnTo>
                  <a:pt x="1865717" y="255563"/>
                </a:lnTo>
                <a:lnTo>
                  <a:pt x="1865717" y="250999"/>
                </a:lnTo>
                <a:lnTo>
                  <a:pt x="1865717" y="248717"/>
                </a:lnTo>
                <a:lnTo>
                  <a:pt x="1865717" y="246435"/>
                </a:lnTo>
                <a:lnTo>
                  <a:pt x="1865717" y="241871"/>
                </a:lnTo>
                <a:lnTo>
                  <a:pt x="1865717" y="239590"/>
                </a:lnTo>
                <a:lnTo>
                  <a:pt x="1870285" y="235026"/>
                </a:lnTo>
                <a:lnTo>
                  <a:pt x="1874852" y="232744"/>
                </a:lnTo>
                <a:lnTo>
                  <a:pt x="1877135" y="232744"/>
                </a:lnTo>
                <a:lnTo>
                  <a:pt x="1879419" y="230462"/>
                </a:lnTo>
                <a:lnTo>
                  <a:pt x="1881702" y="228180"/>
                </a:lnTo>
                <a:lnTo>
                  <a:pt x="1881702" y="225898"/>
                </a:lnTo>
                <a:lnTo>
                  <a:pt x="1883986" y="225898"/>
                </a:lnTo>
                <a:lnTo>
                  <a:pt x="1883986" y="223616"/>
                </a:lnTo>
                <a:lnTo>
                  <a:pt x="1883986" y="221334"/>
                </a:lnTo>
                <a:lnTo>
                  <a:pt x="1883986" y="219053"/>
                </a:lnTo>
                <a:lnTo>
                  <a:pt x="1886270" y="212207"/>
                </a:lnTo>
                <a:lnTo>
                  <a:pt x="1886270" y="207643"/>
                </a:lnTo>
                <a:lnTo>
                  <a:pt x="1886270" y="205361"/>
                </a:lnTo>
                <a:lnTo>
                  <a:pt x="1886270" y="203079"/>
                </a:lnTo>
                <a:lnTo>
                  <a:pt x="1888553" y="203079"/>
                </a:lnTo>
                <a:lnTo>
                  <a:pt x="1888553" y="200797"/>
                </a:lnTo>
                <a:lnTo>
                  <a:pt x="1890837" y="200797"/>
                </a:lnTo>
                <a:lnTo>
                  <a:pt x="1890837" y="198515"/>
                </a:lnTo>
                <a:lnTo>
                  <a:pt x="1890837" y="196233"/>
                </a:lnTo>
                <a:lnTo>
                  <a:pt x="1890837" y="193952"/>
                </a:lnTo>
                <a:lnTo>
                  <a:pt x="1883986" y="187106"/>
                </a:lnTo>
                <a:lnTo>
                  <a:pt x="1881702" y="187106"/>
                </a:lnTo>
                <a:lnTo>
                  <a:pt x="1881702" y="184824"/>
                </a:lnTo>
                <a:lnTo>
                  <a:pt x="1881702" y="182542"/>
                </a:lnTo>
                <a:lnTo>
                  <a:pt x="1881702" y="180260"/>
                </a:lnTo>
                <a:lnTo>
                  <a:pt x="1888553" y="177978"/>
                </a:lnTo>
                <a:lnTo>
                  <a:pt x="1890837" y="175697"/>
                </a:lnTo>
                <a:lnTo>
                  <a:pt x="1893120" y="173414"/>
                </a:lnTo>
                <a:lnTo>
                  <a:pt x="1897688" y="171133"/>
                </a:lnTo>
                <a:lnTo>
                  <a:pt x="1904538" y="168851"/>
                </a:lnTo>
                <a:lnTo>
                  <a:pt x="1906822" y="166569"/>
                </a:lnTo>
                <a:lnTo>
                  <a:pt x="1909106" y="166569"/>
                </a:lnTo>
                <a:lnTo>
                  <a:pt x="1911389" y="164287"/>
                </a:lnTo>
                <a:lnTo>
                  <a:pt x="1918240" y="157441"/>
                </a:lnTo>
                <a:lnTo>
                  <a:pt x="1920524" y="155159"/>
                </a:lnTo>
                <a:lnTo>
                  <a:pt x="1922807" y="152877"/>
                </a:lnTo>
                <a:lnTo>
                  <a:pt x="1925091" y="148314"/>
                </a:lnTo>
                <a:lnTo>
                  <a:pt x="1925091" y="143750"/>
                </a:lnTo>
                <a:lnTo>
                  <a:pt x="1925091" y="141468"/>
                </a:lnTo>
                <a:lnTo>
                  <a:pt x="1925091" y="139186"/>
                </a:lnTo>
                <a:lnTo>
                  <a:pt x="1922807" y="139186"/>
                </a:lnTo>
                <a:lnTo>
                  <a:pt x="1920524" y="134622"/>
                </a:lnTo>
                <a:lnTo>
                  <a:pt x="1920524" y="132340"/>
                </a:lnTo>
                <a:lnTo>
                  <a:pt x="1920524" y="127777"/>
                </a:lnTo>
                <a:lnTo>
                  <a:pt x="1915956" y="125495"/>
                </a:lnTo>
                <a:lnTo>
                  <a:pt x="1913673" y="123213"/>
                </a:lnTo>
                <a:lnTo>
                  <a:pt x="1906822" y="118658"/>
                </a:lnTo>
                <a:lnTo>
                  <a:pt x="1904538" y="116377"/>
                </a:lnTo>
                <a:lnTo>
                  <a:pt x="1904538" y="114095"/>
                </a:lnTo>
                <a:lnTo>
                  <a:pt x="1906822" y="114095"/>
                </a:lnTo>
                <a:lnTo>
                  <a:pt x="1909106" y="109531"/>
                </a:lnTo>
                <a:lnTo>
                  <a:pt x="1913673" y="102685"/>
                </a:lnTo>
                <a:lnTo>
                  <a:pt x="1915956" y="102685"/>
                </a:lnTo>
                <a:lnTo>
                  <a:pt x="1918240" y="102685"/>
                </a:lnTo>
                <a:lnTo>
                  <a:pt x="1920524" y="102685"/>
                </a:lnTo>
                <a:lnTo>
                  <a:pt x="1920524" y="100403"/>
                </a:lnTo>
                <a:lnTo>
                  <a:pt x="1922807" y="100403"/>
                </a:lnTo>
                <a:lnTo>
                  <a:pt x="1929658" y="100403"/>
                </a:lnTo>
                <a:lnTo>
                  <a:pt x="1936509" y="100403"/>
                </a:lnTo>
                <a:lnTo>
                  <a:pt x="1938792" y="100403"/>
                </a:lnTo>
                <a:lnTo>
                  <a:pt x="1941076" y="98121"/>
                </a:lnTo>
                <a:lnTo>
                  <a:pt x="1943360" y="93558"/>
                </a:lnTo>
                <a:lnTo>
                  <a:pt x="1943360" y="91276"/>
                </a:lnTo>
                <a:lnTo>
                  <a:pt x="1945643" y="91276"/>
                </a:lnTo>
                <a:lnTo>
                  <a:pt x="1947927" y="88994"/>
                </a:lnTo>
                <a:lnTo>
                  <a:pt x="1950210" y="86712"/>
                </a:lnTo>
                <a:lnTo>
                  <a:pt x="1952494" y="84430"/>
                </a:lnTo>
                <a:lnTo>
                  <a:pt x="1952494" y="82148"/>
                </a:lnTo>
                <a:lnTo>
                  <a:pt x="1957061" y="79866"/>
                </a:lnTo>
                <a:lnTo>
                  <a:pt x="1959345" y="68457"/>
                </a:lnTo>
                <a:lnTo>
                  <a:pt x="1959345" y="66175"/>
                </a:lnTo>
                <a:lnTo>
                  <a:pt x="1959345" y="63893"/>
                </a:lnTo>
                <a:lnTo>
                  <a:pt x="1961628" y="61611"/>
                </a:lnTo>
                <a:lnTo>
                  <a:pt x="1963912" y="59329"/>
                </a:lnTo>
                <a:lnTo>
                  <a:pt x="1966195" y="59329"/>
                </a:lnTo>
                <a:lnTo>
                  <a:pt x="1968479" y="57047"/>
                </a:lnTo>
                <a:lnTo>
                  <a:pt x="1970763" y="54765"/>
                </a:lnTo>
                <a:lnTo>
                  <a:pt x="1973046" y="54765"/>
                </a:lnTo>
                <a:lnTo>
                  <a:pt x="1975330" y="54765"/>
                </a:lnTo>
                <a:lnTo>
                  <a:pt x="1982181" y="57047"/>
                </a:lnTo>
                <a:lnTo>
                  <a:pt x="1991315" y="59329"/>
                </a:lnTo>
                <a:lnTo>
                  <a:pt x="1995882" y="59329"/>
                </a:lnTo>
                <a:lnTo>
                  <a:pt x="1998166" y="59329"/>
                </a:lnTo>
                <a:lnTo>
                  <a:pt x="2000449" y="59329"/>
                </a:lnTo>
                <a:lnTo>
                  <a:pt x="2002733" y="57047"/>
                </a:lnTo>
                <a:lnTo>
                  <a:pt x="2007300" y="57047"/>
                </a:lnTo>
                <a:lnTo>
                  <a:pt x="2009584" y="57047"/>
                </a:lnTo>
                <a:lnTo>
                  <a:pt x="2011868" y="57047"/>
                </a:lnTo>
                <a:lnTo>
                  <a:pt x="2014151" y="54765"/>
                </a:lnTo>
                <a:lnTo>
                  <a:pt x="2016435" y="54765"/>
                </a:lnTo>
                <a:lnTo>
                  <a:pt x="2016435" y="52484"/>
                </a:lnTo>
                <a:lnTo>
                  <a:pt x="2023285" y="47920"/>
                </a:lnTo>
                <a:lnTo>
                  <a:pt x="2023285" y="45638"/>
                </a:lnTo>
                <a:lnTo>
                  <a:pt x="2025569" y="45638"/>
                </a:lnTo>
                <a:lnTo>
                  <a:pt x="2030136" y="45638"/>
                </a:lnTo>
                <a:lnTo>
                  <a:pt x="2032420" y="45638"/>
                </a:lnTo>
                <a:lnTo>
                  <a:pt x="2034703" y="47920"/>
                </a:lnTo>
                <a:lnTo>
                  <a:pt x="2036987" y="47920"/>
                </a:lnTo>
                <a:lnTo>
                  <a:pt x="2041554" y="50202"/>
                </a:lnTo>
                <a:lnTo>
                  <a:pt x="2046121" y="52484"/>
                </a:lnTo>
                <a:lnTo>
                  <a:pt x="2048405" y="52484"/>
                </a:lnTo>
                <a:lnTo>
                  <a:pt x="2050689" y="52484"/>
                </a:lnTo>
                <a:lnTo>
                  <a:pt x="2055256" y="52484"/>
                </a:lnTo>
                <a:lnTo>
                  <a:pt x="2059823" y="52484"/>
                </a:lnTo>
                <a:lnTo>
                  <a:pt x="2064390" y="54765"/>
                </a:lnTo>
                <a:lnTo>
                  <a:pt x="2066674" y="54765"/>
                </a:lnTo>
                <a:lnTo>
                  <a:pt x="2068957" y="54765"/>
                </a:lnTo>
                <a:lnTo>
                  <a:pt x="2071241" y="54765"/>
                </a:lnTo>
                <a:lnTo>
                  <a:pt x="2073524" y="52484"/>
                </a:lnTo>
                <a:lnTo>
                  <a:pt x="2075808" y="52484"/>
                </a:lnTo>
                <a:lnTo>
                  <a:pt x="2080375" y="50202"/>
                </a:lnTo>
                <a:lnTo>
                  <a:pt x="2082659" y="47920"/>
                </a:lnTo>
                <a:lnTo>
                  <a:pt x="2084943" y="47920"/>
                </a:lnTo>
                <a:lnTo>
                  <a:pt x="2087226" y="47920"/>
                </a:lnTo>
                <a:lnTo>
                  <a:pt x="2089510" y="45638"/>
                </a:lnTo>
                <a:lnTo>
                  <a:pt x="2091793" y="45638"/>
                </a:lnTo>
                <a:lnTo>
                  <a:pt x="2091793" y="43356"/>
                </a:lnTo>
                <a:lnTo>
                  <a:pt x="2094077" y="43356"/>
                </a:lnTo>
                <a:lnTo>
                  <a:pt x="2098644" y="41074"/>
                </a:lnTo>
                <a:lnTo>
                  <a:pt x="2100928" y="43356"/>
                </a:lnTo>
                <a:lnTo>
                  <a:pt x="2105495" y="43356"/>
                </a:lnTo>
                <a:lnTo>
                  <a:pt x="2107778" y="43356"/>
                </a:lnTo>
                <a:lnTo>
                  <a:pt x="2112346" y="43356"/>
                </a:lnTo>
                <a:lnTo>
                  <a:pt x="2114629" y="41074"/>
                </a:lnTo>
                <a:lnTo>
                  <a:pt x="2116913" y="38792"/>
                </a:lnTo>
                <a:lnTo>
                  <a:pt x="2123764" y="38792"/>
                </a:lnTo>
                <a:lnTo>
                  <a:pt x="2123764" y="36510"/>
                </a:lnTo>
                <a:lnTo>
                  <a:pt x="2128331" y="36510"/>
                </a:lnTo>
                <a:lnTo>
                  <a:pt x="2130614" y="36510"/>
                </a:lnTo>
                <a:lnTo>
                  <a:pt x="2137465" y="34228"/>
                </a:lnTo>
                <a:lnTo>
                  <a:pt x="2137465" y="31946"/>
                </a:lnTo>
                <a:lnTo>
                  <a:pt x="2142032" y="29665"/>
                </a:lnTo>
                <a:lnTo>
                  <a:pt x="2144316" y="27383"/>
                </a:lnTo>
                <a:lnTo>
                  <a:pt x="2151167" y="25101"/>
                </a:lnTo>
                <a:lnTo>
                  <a:pt x="2153450" y="22819"/>
                </a:lnTo>
                <a:lnTo>
                  <a:pt x="2155734" y="22819"/>
                </a:lnTo>
                <a:lnTo>
                  <a:pt x="2158018" y="20537"/>
                </a:lnTo>
                <a:lnTo>
                  <a:pt x="2160301" y="20537"/>
                </a:lnTo>
                <a:lnTo>
                  <a:pt x="2162585" y="18255"/>
                </a:lnTo>
                <a:lnTo>
                  <a:pt x="2167152" y="13691"/>
                </a:lnTo>
                <a:lnTo>
                  <a:pt x="2169436" y="13691"/>
                </a:lnTo>
                <a:lnTo>
                  <a:pt x="2178570" y="9128"/>
                </a:lnTo>
                <a:lnTo>
                  <a:pt x="2183137" y="6846"/>
                </a:lnTo>
                <a:lnTo>
                  <a:pt x="2183137" y="4564"/>
                </a:lnTo>
                <a:lnTo>
                  <a:pt x="2185421" y="4564"/>
                </a:lnTo>
                <a:lnTo>
                  <a:pt x="2189988" y="2282"/>
                </a:lnTo>
                <a:lnTo>
                  <a:pt x="2192272" y="0"/>
                </a:lnTo>
                <a:lnTo>
                  <a:pt x="2194555" y="2282"/>
                </a:lnTo>
                <a:lnTo>
                  <a:pt x="2196839" y="2282"/>
                </a:lnTo>
                <a:lnTo>
                  <a:pt x="2199122" y="2282"/>
                </a:lnTo>
                <a:lnTo>
                  <a:pt x="2199122" y="4564"/>
                </a:lnTo>
                <a:lnTo>
                  <a:pt x="2201406" y="4564"/>
                </a:lnTo>
                <a:lnTo>
                  <a:pt x="2201406" y="6846"/>
                </a:lnTo>
                <a:lnTo>
                  <a:pt x="2203689" y="6846"/>
                </a:lnTo>
                <a:lnTo>
                  <a:pt x="2203689" y="9128"/>
                </a:lnTo>
                <a:lnTo>
                  <a:pt x="2205973" y="11409"/>
                </a:lnTo>
                <a:lnTo>
                  <a:pt x="2208257" y="13691"/>
                </a:lnTo>
                <a:lnTo>
                  <a:pt x="2208257" y="15973"/>
                </a:lnTo>
                <a:lnTo>
                  <a:pt x="2208257" y="18255"/>
                </a:lnTo>
                <a:lnTo>
                  <a:pt x="2210540" y="18255"/>
                </a:lnTo>
                <a:lnTo>
                  <a:pt x="2212824" y="20537"/>
                </a:lnTo>
                <a:lnTo>
                  <a:pt x="2215108" y="20537"/>
                </a:lnTo>
                <a:lnTo>
                  <a:pt x="2215108" y="22819"/>
                </a:lnTo>
                <a:lnTo>
                  <a:pt x="2217391" y="22819"/>
                </a:lnTo>
                <a:lnTo>
                  <a:pt x="2217391" y="25101"/>
                </a:lnTo>
                <a:lnTo>
                  <a:pt x="2219675" y="25101"/>
                </a:lnTo>
                <a:lnTo>
                  <a:pt x="2219675" y="27383"/>
                </a:lnTo>
                <a:lnTo>
                  <a:pt x="2221958" y="29665"/>
                </a:lnTo>
                <a:lnTo>
                  <a:pt x="2221958" y="31946"/>
                </a:lnTo>
                <a:lnTo>
                  <a:pt x="2224242" y="34228"/>
                </a:lnTo>
                <a:lnTo>
                  <a:pt x="2224242" y="36510"/>
                </a:lnTo>
                <a:lnTo>
                  <a:pt x="2224242" y="38792"/>
                </a:lnTo>
                <a:lnTo>
                  <a:pt x="2224242" y="38792"/>
                </a:lnTo>
                <a:close/>
              </a:path>
            </a:pathLst>
          </a:custGeom>
          <a:solidFill>
            <a:srgbClr val="CCCCCC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5" name="Freeform 7">
            <a:extLst>
              <a:ext uri="{FF2B5EF4-FFF2-40B4-BE49-F238E27FC236}">
                <a16:creationId xmlns:a16="http://schemas.microsoft.com/office/drawing/2014/main" id="{862B4062-C554-4231-B7CB-8FD0E7D024CF}"/>
              </a:ext>
            </a:extLst>
          </p:cNvPr>
          <p:cNvSpPr/>
          <p:nvPr/>
        </p:nvSpPr>
        <p:spPr>
          <a:xfrm>
            <a:off x="7846698" y="3035698"/>
            <a:ext cx="1439543" cy="1480935"/>
          </a:xfrm>
          <a:custGeom>
            <a:avLst/>
            <a:gdLst>
              <a:gd name="connsiteX0" fmla="*/ 762731 w 1493481"/>
              <a:gd name="connsiteY0" fmla="*/ 1245839 h 1734136"/>
              <a:gd name="connsiteX1" fmla="*/ 762731 w 1493481"/>
              <a:gd name="connsiteY1" fmla="*/ 1243567 h 1734136"/>
              <a:gd name="connsiteX2" fmla="*/ 762731 w 1493481"/>
              <a:gd name="connsiteY2" fmla="*/ 1245839 h 1734136"/>
              <a:gd name="connsiteX3" fmla="*/ 762731 w 1493481"/>
              <a:gd name="connsiteY3" fmla="*/ 1245839 h 1734136"/>
              <a:gd name="connsiteX4" fmla="*/ 1146375 w 1493481"/>
              <a:gd name="connsiteY4" fmla="*/ 819153 h 1734136"/>
              <a:gd name="connsiteX5" fmla="*/ 1148659 w 1493481"/>
              <a:gd name="connsiteY5" fmla="*/ 821435 h 1734136"/>
              <a:gd name="connsiteX6" fmla="*/ 1146375 w 1493481"/>
              <a:gd name="connsiteY6" fmla="*/ 821435 h 1734136"/>
              <a:gd name="connsiteX7" fmla="*/ 1146375 w 1493481"/>
              <a:gd name="connsiteY7" fmla="*/ 819153 h 1734136"/>
              <a:gd name="connsiteX8" fmla="*/ 1144091 w 1493481"/>
              <a:gd name="connsiteY8" fmla="*/ 819153 h 1734136"/>
              <a:gd name="connsiteX9" fmla="*/ 1141807 w 1493481"/>
              <a:gd name="connsiteY9" fmla="*/ 819153 h 1734136"/>
              <a:gd name="connsiteX10" fmla="*/ 1141807 w 1493481"/>
              <a:gd name="connsiteY10" fmla="*/ 816871 h 1734136"/>
              <a:gd name="connsiteX11" fmla="*/ 1144091 w 1493481"/>
              <a:gd name="connsiteY11" fmla="*/ 819153 h 1734136"/>
              <a:gd name="connsiteX12" fmla="*/ 1146375 w 1493481"/>
              <a:gd name="connsiteY12" fmla="*/ 819153 h 1734136"/>
              <a:gd name="connsiteX13" fmla="*/ 1146375 w 1493481"/>
              <a:gd name="connsiteY13" fmla="*/ 819153 h 1734136"/>
              <a:gd name="connsiteX14" fmla="*/ 449868 w 1493481"/>
              <a:gd name="connsiteY14" fmla="*/ 1731854 h 1734136"/>
              <a:gd name="connsiteX15" fmla="*/ 452152 w 1493481"/>
              <a:gd name="connsiteY15" fmla="*/ 1731854 h 1734136"/>
              <a:gd name="connsiteX16" fmla="*/ 449868 w 1493481"/>
              <a:gd name="connsiteY16" fmla="*/ 1731854 h 1734136"/>
              <a:gd name="connsiteX17" fmla="*/ 449868 w 1493481"/>
              <a:gd name="connsiteY17" fmla="*/ 1729572 h 1734136"/>
              <a:gd name="connsiteX18" fmla="*/ 449868 w 1493481"/>
              <a:gd name="connsiteY18" fmla="*/ 1727291 h 1734136"/>
              <a:gd name="connsiteX19" fmla="*/ 447585 w 1493481"/>
              <a:gd name="connsiteY19" fmla="*/ 1727291 h 1734136"/>
              <a:gd name="connsiteX20" fmla="*/ 445301 w 1493481"/>
              <a:gd name="connsiteY20" fmla="*/ 1727291 h 1734136"/>
              <a:gd name="connsiteX21" fmla="*/ 445301 w 1493481"/>
              <a:gd name="connsiteY21" fmla="*/ 1725009 h 1734136"/>
              <a:gd name="connsiteX22" fmla="*/ 443018 w 1493481"/>
              <a:gd name="connsiteY22" fmla="*/ 1725009 h 1734136"/>
              <a:gd name="connsiteX23" fmla="*/ 443018 w 1493481"/>
              <a:gd name="connsiteY23" fmla="*/ 1722727 h 1734136"/>
              <a:gd name="connsiteX24" fmla="*/ 440734 w 1493481"/>
              <a:gd name="connsiteY24" fmla="*/ 1722727 h 1734136"/>
              <a:gd name="connsiteX25" fmla="*/ 440734 w 1493481"/>
              <a:gd name="connsiteY25" fmla="*/ 1720445 h 1734136"/>
              <a:gd name="connsiteX26" fmla="*/ 440734 w 1493481"/>
              <a:gd name="connsiteY26" fmla="*/ 1718163 h 1734136"/>
              <a:gd name="connsiteX27" fmla="*/ 440734 w 1493481"/>
              <a:gd name="connsiteY27" fmla="*/ 1715881 h 1734136"/>
              <a:gd name="connsiteX28" fmla="*/ 443018 w 1493481"/>
              <a:gd name="connsiteY28" fmla="*/ 1715881 h 1734136"/>
              <a:gd name="connsiteX29" fmla="*/ 443018 w 1493481"/>
              <a:gd name="connsiteY29" fmla="*/ 1713599 h 1734136"/>
              <a:gd name="connsiteX30" fmla="*/ 443018 w 1493481"/>
              <a:gd name="connsiteY30" fmla="*/ 1711317 h 1734136"/>
              <a:gd name="connsiteX31" fmla="*/ 443018 w 1493481"/>
              <a:gd name="connsiteY31" fmla="*/ 1709036 h 1734136"/>
              <a:gd name="connsiteX32" fmla="*/ 440734 w 1493481"/>
              <a:gd name="connsiteY32" fmla="*/ 1709036 h 1734136"/>
              <a:gd name="connsiteX33" fmla="*/ 438451 w 1493481"/>
              <a:gd name="connsiteY33" fmla="*/ 1709036 h 1734136"/>
              <a:gd name="connsiteX34" fmla="*/ 438451 w 1493481"/>
              <a:gd name="connsiteY34" fmla="*/ 1706753 h 1734136"/>
              <a:gd name="connsiteX35" fmla="*/ 436167 w 1493481"/>
              <a:gd name="connsiteY35" fmla="*/ 1706753 h 1734136"/>
              <a:gd name="connsiteX36" fmla="*/ 436167 w 1493481"/>
              <a:gd name="connsiteY36" fmla="*/ 1704472 h 1734136"/>
              <a:gd name="connsiteX37" fmla="*/ 436167 w 1493481"/>
              <a:gd name="connsiteY37" fmla="*/ 1706753 h 1734136"/>
              <a:gd name="connsiteX38" fmla="*/ 433883 w 1493481"/>
              <a:gd name="connsiteY38" fmla="*/ 1706753 h 1734136"/>
              <a:gd name="connsiteX39" fmla="*/ 433883 w 1493481"/>
              <a:gd name="connsiteY39" fmla="*/ 1709036 h 1734136"/>
              <a:gd name="connsiteX40" fmla="*/ 431600 w 1493481"/>
              <a:gd name="connsiteY40" fmla="*/ 1709036 h 1734136"/>
              <a:gd name="connsiteX41" fmla="*/ 431600 w 1493481"/>
              <a:gd name="connsiteY41" fmla="*/ 1706753 h 1734136"/>
              <a:gd name="connsiteX42" fmla="*/ 431600 w 1493481"/>
              <a:gd name="connsiteY42" fmla="*/ 1704472 h 1734136"/>
              <a:gd name="connsiteX43" fmla="*/ 431600 w 1493481"/>
              <a:gd name="connsiteY43" fmla="*/ 1702199 h 1734136"/>
              <a:gd name="connsiteX44" fmla="*/ 433883 w 1493481"/>
              <a:gd name="connsiteY44" fmla="*/ 1702199 h 1734136"/>
              <a:gd name="connsiteX45" fmla="*/ 433883 w 1493481"/>
              <a:gd name="connsiteY45" fmla="*/ 1699917 h 1734136"/>
              <a:gd name="connsiteX46" fmla="*/ 436167 w 1493481"/>
              <a:gd name="connsiteY46" fmla="*/ 1699917 h 1734136"/>
              <a:gd name="connsiteX47" fmla="*/ 433883 w 1493481"/>
              <a:gd name="connsiteY47" fmla="*/ 1699917 h 1734136"/>
              <a:gd name="connsiteX48" fmla="*/ 433883 w 1493481"/>
              <a:gd name="connsiteY48" fmla="*/ 1697636 h 1734136"/>
              <a:gd name="connsiteX49" fmla="*/ 433883 w 1493481"/>
              <a:gd name="connsiteY49" fmla="*/ 1695353 h 1734136"/>
              <a:gd name="connsiteX50" fmla="*/ 433883 w 1493481"/>
              <a:gd name="connsiteY50" fmla="*/ 1693072 h 1734136"/>
              <a:gd name="connsiteX51" fmla="*/ 436167 w 1493481"/>
              <a:gd name="connsiteY51" fmla="*/ 1693072 h 1734136"/>
              <a:gd name="connsiteX52" fmla="*/ 438451 w 1493481"/>
              <a:gd name="connsiteY52" fmla="*/ 1693072 h 1734136"/>
              <a:gd name="connsiteX53" fmla="*/ 438451 w 1493481"/>
              <a:gd name="connsiteY53" fmla="*/ 1690790 h 1734136"/>
              <a:gd name="connsiteX54" fmla="*/ 438451 w 1493481"/>
              <a:gd name="connsiteY54" fmla="*/ 1688508 h 1734136"/>
              <a:gd name="connsiteX55" fmla="*/ 436167 w 1493481"/>
              <a:gd name="connsiteY55" fmla="*/ 1688508 h 1734136"/>
              <a:gd name="connsiteX56" fmla="*/ 436167 w 1493481"/>
              <a:gd name="connsiteY56" fmla="*/ 1686226 h 1734136"/>
              <a:gd name="connsiteX57" fmla="*/ 433883 w 1493481"/>
              <a:gd name="connsiteY57" fmla="*/ 1686226 h 1734136"/>
              <a:gd name="connsiteX58" fmla="*/ 433883 w 1493481"/>
              <a:gd name="connsiteY58" fmla="*/ 1683944 h 1734136"/>
              <a:gd name="connsiteX59" fmla="*/ 431600 w 1493481"/>
              <a:gd name="connsiteY59" fmla="*/ 1683944 h 1734136"/>
              <a:gd name="connsiteX60" fmla="*/ 431600 w 1493481"/>
              <a:gd name="connsiteY60" fmla="*/ 1681662 h 1734136"/>
              <a:gd name="connsiteX61" fmla="*/ 431600 w 1493481"/>
              <a:gd name="connsiteY61" fmla="*/ 1679380 h 1734136"/>
              <a:gd name="connsiteX62" fmla="*/ 433883 w 1493481"/>
              <a:gd name="connsiteY62" fmla="*/ 1679380 h 1734136"/>
              <a:gd name="connsiteX63" fmla="*/ 433883 w 1493481"/>
              <a:gd name="connsiteY63" fmla="*/ 1677098 h 1734136"/>
              <a:gd name="connsiteX64" fmla="*/ 433883 w 1493481"/>
              <a:gd name="connsiteY64" fmla="*/ 1674816 h 1734136"/>
              <a:gd name="connsiteX65" fmla="*/ 431600 w 1493481"/>
              <a:gd name="connsiteY65" fmla="*/ 1674816 h 1734136"/>
              <a:gd name="connsiteX66" fmla="*/ 433883 w 1493481"/>
              <a:gd name="connsiteY66" fmla="*/ 1674816 h 1734136"/>
              <a:gd name="connsiteX67" fmla="*/ 433883 w 1493481"/>
              <a:gd name="connsiteY67" fmla="*/ 1672535 h 1734136"/>
              <a:gd name="connsiteX68" fmla="*/ 436167 w 1493481"/>
              <a:gd name="connsiteY68" fmla="*/ 1672535 h 1734136"/>
              <a:gd name="connsiteX69" fmla="*/ 436167 w 1493481"/>
              <a:gd name="connsiteY69" fmla="*/ 1670253 h 1734136"/>
              <a:gd name="connsiteX70" fmla="*/ 433883 w 1493481"/>
              <a:gd name="connsiteY70" fmla="*/ 1670253 h 1734136"/>
              <a:gd name="connsiteX71" fmla="*/ 433883 w 1493481"/>
              <a:gd name="connsiteY71" fmla="*/ 1667971 h 1734136"/>
              <a:gd name="connsiteX72" fmla="*/ 436167 w 1493481"/>
              <a:gd name="connsiteY72" fmla="*/ 1667971 h 1734136"/>
              <a:gd name="connsiteX73" fmla="*/ 436167 w 1493481"/>
              <a:gd name="connsiteY73" fmla="*/ 1665689 h 1734136"/>
              <a:gd name="connsiteX74" fmla="*/ 433883 w 1493481"/>
              <a:gd name="connsiteY74" fmla="*/ 1665689 h 1734136"/>
              <a:gd name="connsiteX75" fmla="*/ 433883 w 1493481"/>
              <a:gd name="connsiteY75" fmla="*/ 1663407 h 1734136"/>
              <a:gd name="connsiteX76" fmla="*/ 431600 w 1493481"/>
              <a:gd name="connsiteY76" fmla="*/ 1663407 h 1734136"/>
              <a:gd name="connsiteX77" fmla="*/ 431600 w 1493481"/>
              <a:gd name="connsiteY77" fmla="*/ 1661125 h 1734136"/>
              <a:gd name="connsiteX78" fmla="*/ 429316 w 1493481"/>
              <a:gd name="connsiteY78" fmla="*/ 1661125 h 1734136"/>
              <a:gd name="connsiteX79" fmla="*/ 427033 w 1493481"/>
              <a:gd name="connsiteY79" fmla="*/ 1661125 h 1734136"/>
              <a:gd name="connsiteX80" fmla="*/ 429316 w 1493481"/>
              <a:gd name="connsiteY80" fmla="*/ 1661125 h 1734136"/>
              <a:gd name="connsiteX81" fmla="*/ 429316 w 1493481"/>
              <a:gd name="connsiteY81" fmla="*/ 1658843 h 1734136"/>
              <a:gd name="connsiteX82" fmla="*/ 427033 w 1493481"/>
              <a:gd name="connsiteY82" fmla="*/ 1658843 h 1734136"/>
              <a:gd name="connsiteX83" fmla="*/ 424749 w 1493481"/>
              <a:gd name="connsiteY83" fmla="*/ 1658843 h 1734136"/>
              <a:gd name="connsiteX84" fmla="*/ 424749 w 1493481"/>
              <a:gd name="connsiteY84" fmla="*/ 1656561 h 1734136"/>
              <a:gd name="connsiteX85" fmla="*/ 427033 w 1493481"/>
              <a:gd name="connsiteY85" fmla="*/ 1656561 h 1734136"/>
              <a:gd name="connsiteX86" fmla="*/ 427033 w 1493481"/>
              <a:gd name="connsiteY86" fmla="*/ 1654280 h 1734136"/>
              <a:gd name="connsiteX87" fmla="*/ 427033 w 1493481"/>
              <a:gd name="connsiteY87" fmla="*/ 1651997 h 1734136"/>
              <a:gd name="connsiteX88" fmla="*/ 424749 w 1493481"/>
              <a:gd name="connsiteY88" fmla="*/ 1651997 h 1734136"/>
              <a:gd name="connsiteX89" fmla="*/ 422465 w 1493481"/>
              <a:gd name="connsiteY89" fmla="*/ 1651997 h 1734136"/>
              <a:gd name="connsiteX90" fmla="*/ 420181 w 1493481"/>
              <a:gd name="connsiteY90" fmla="*/ 1651997 h 1734136"/>
              <a:gd name="connsiteX91" fmla="*/ 417898 w 1493481"/>
              <a:gd name="connsiteY91" fmla="*/ 1651997 h 1734136"/>
              <a:gd name="connsiteX92" fmla="*/ 417898 w 1493481"/>
              <a:gd name="connsiteY92" fmla="*/ 1649716 h 1734136"/>
              <a:gd name="connsiteX93" fmla="*/ 415614 w 1493481"/>
              <a:gd name="connsiteY93" fmla="*/ 1649716 h 1734136"/>
              <a:gd name="connsiteX94" fmla="*/ 415614 w 1493481"/>
              <a:gd name="connsiteY94" fmla="*/ 1651997 h 1734136"/>
              <a:gd name="connsiteX95" fmla="*/ 413331 w 1493481"/>
              <a:gd name="connsiteY95" fmla="*/ 1651997 h 1734136"/>
              <a:gd name="connsiteX96" fmla="*/ 413331 w 1493481"/>
              <a:gd name="connsiteY96" fmla="*/ 1649716 h 1734136"/>
              <a:gd name="connsiteX97" fmla="*/ 411047 w 1493481"/>
              <a:gd name="connsiteY97" fmla="*/ 1649716 h 1734136"/>
              <a:gd name="connsiteX98" fmla="*/ 411047 w 1493481"/>
              <a:gd name="connsiteY98" fmla="*/ 1647434 h 1734136"/>
              <a:gd name="connsiteX99" fmla="*/ 408763 w 1493481"/>
              <a:gd name="connsiteY99" fmla="*/ 1647434 h 1734136"/>
              <a:gd name="connsiteX100" fmla="*/ 408763 w 1493481"/>
              <a:gd name="connsiteY100" fmla="*/ 1645152 h 1734136"/>
              <a:gd name="connsiteX101" fmla="*/ 411047 w 1493481"/>
              <a:gd name="connsiteY101" fmla="*/ 1645152 h 1734136"/>
              <a:gd name="connsiteX102" fmla="*/ 413331 w 1493481"/>
              <a:gd name="connsiteY102" fmla="*/ 1645152 h 1734136"/>
              <a:gd name="connsiteX103" fmla="*/ 413331 w 1493481"/>
              <a:gd name="connsiteY103" fmla="*/ 1647434 h 1734136"/>
              <a:gd name="connsiteX104" fmla="*/ 415614 w 1493481"/>
              <a:gd name="connsiteY104" fmla="*/ 1647434 h 1734136"/>
              <a:gd name="connsiteX105" fmla="*/ 417898 w 1493481"/>
              <a:gd name="connsiteY105" fmla="*/ 1647434 h 1734136"/>
              <a:gd name="connsiteX106" fmla="*/ 417898 w 1493481"/>
              <a:gd name="connsiteY106" fmla="*/ 1645152 h 1734136"/>
              <a:gd name="connsiteX107" fmla="*/ 417898 w 1493481"/>
              <a:gd name="connsiteY107" fmla="*/ 1642870 h 1734136"/>
              <a:gd name="connsiteX108" fmla="*/ 415614 w 1493481"/>
              <a:gd name="connsiteY108" fmla="*/ 1642870 h 1734136"/>
              <a:gd name="connsiteX109" fmla="*/ 413331 w 1493481"/>
              <a:gd name="connsiteY109" fmla="*/ 1642870 h 1734136"/>
              <a:gd name="connsiteX110" fmla="*/ 411047 w 1493481"/>
              <a:gd name="connsiteY110" fmla="*/ 1642870 h 1734136"/>
              <a:gd name="connsiteX111" fmla="*/ 411047 w 1493481"/>
              <a:gd name="connsiteY111" fmla="*/ 1640588 h 1734136"/>
              <a:gd name="connsiteX112" fmla="*/ 411047 w 1493481"/>
              <a:gd name="connsiteY112" fmla="*/ 1638306 h 1734136"/>
              <a:gd name="connsiteX113" fmla="*/ 408763 w 1493481"/>
              <a:gd name="connsiteY113" fmla="*/ 1638306 h 1734136"/>
              <a:gd name="connsiteX114" fmla="*/ 408763 w 1493481"/>
              <a:gd name="connsiteY114" fmla="*/ 1636024 h 1734136"/>
              <a:gd name="connsiteX115" fmla="*/ 408763 w 1493481"/>
              <a:gd name="connsiteY115" fmla="*/ 1638306 h 1734136"/>
              <a:gd name="connsiteX116" fmla="*/ 408763 w 1493481"/>
              <a:gd name="connsiteY116" fmla="*/ 1636024 h 1734136"/>
              <a:gd name="connsiteX117" fmla="*/ 406480 w 1493481"/>
              <a:gd name="connsiteY117" fmla="*/ 1636024 h 1734136"/>
              <a:gd name="connsiteX118" fmla="*/ 404196 w 1493481"/>
              <a:gd name="connsiteY118" fmla="*/ 1636024 h 1734136"/>
              <a:gd name="connsiteX119" fmla="*/ 401913 w 1493481"/>
              <a:gd name="connsiteY119" fmla="*/ 1636024 h 1734136"/>
              <a:gd name="connsiteX120" fmla="*/ 399629 w 1493481"/>
              <a:gd name="connsiteY120" fmla="*/ 1636024 h 1734136"/>
              <a:gd name="connsiteX121" fmla="*/ 399629 w 1493481"/>
              <a:gd name="connsiteY121" fmla="*/ 1633742 h 1734136"/>
              <a:gd name="connsiteX122" fmla="*/ 397346 w 1493481"/>
              <a:gd name="connsiteY122" fmla="*/ 1633742 h 1734136"/>
              <a:gd name="connsiteX123" fmla="*/ 397346 w 1493481"/>
              <a:gd name="connsiteY123" fmla="*/ 1636024 h 1734136"/>
              <a:gd name="connsiteX124" fmla="*/ 395062 w 1493481"/>
              <a:gd name="connsiteY124" fmla="*/ 1636024 h 1734136"/>
              <a:gd name="connsiteX125" fmla="*/ 392778 w 1493481"/>
              <a:gd name="connsiteY125" fmla="*/ 1636024 h 1734136"/>
              <a:gd name="connsiteX126" fmla="*/ 392778 w 1493481"/>
              <a:gd name="connsiteY126" fmla="*/ 1638306 h 1734136"/>
              <a:gd name="connsiteX127" fmla="*/ 390495 w 1493481"/>
              <a:gd name="connsiteY127" fmla="*/ 1638306 h 1734136"/>
              <a:gd name="connsiteX128" fmla="*/ 392778 w 1493481"/>
              <a:gd name="connsiteY128" fmla="*/ 1638306 h 1734136"/>
              <a:gd name="connsiteX129" fmla="*/ 390495 w 1493481"/>
              <a:gd name="connsiteY129" fmla="*/ 1638306 h 1734136"/>
              <a:gd name="connsiteX130" fmla="*/ 392778 w 1493481"/>
              <a:gd name="connsiteY130" fmla="*/ 1638306 h 1734136"/>
              <a:gd name="connsiteX131" fmla="*/ 392778 w 1493481"/>
              <a:gd name="connsiteY131" fmla="*/ 1636024 h 1734136"/>
              <a:gd name="connsiteX132" fmla="*/ 392778 w 1493481"/>
              <a:gd name="connsiteY132" fmla="*/ 1633742 h 1734136"/>
              <a:gd name="connsiteX133" fmla="*/ 392778 w 1493481"/>
              <a:gd name="connsiteY133" fmla="*/ 1631460 h 1734136"/>
              <a:gd name="connsiteX134" fmla="*/ 390495 w 1493481"/>
              <a:gd name="connsiteY134" fmla="*/ 1631460 h 1734136"/>
              <a:gd name="connsiteX135" fmla="*/ 390495 w 1493481"/>
              <a:gd name="connsiteY135" fmla="*/ 1633742 h 1734136"/>
              <a:gd name="connsiteX136" fmla="*/ 388211 w 1493481"/>
              <a:gd name="connsiteY136" fmla="*/ 1633742 h 1734136"/>
              <a:gd name="connsiteX137" fmla="*/ 388211 w 1493481"/>
              <a:gd name="connsiteY137" fmla="*/ 1631460 h 1734136"/>
              <a:gd name="connsiteX138" fmla="*/ 388211 w 1493481"/>
              <a:gd name="connsiteY138" fmla="*/ 1629179 h 1734136"/>
              <a:gd name="connsiteX139" fmla="*/ 388211 w 1493481"/>
              <a:gd name="connsiteY139" fmla="*/ 1626897 h 1734136"/>
              <a:gd name="connsiteX140" fmla="*/ 385928 w 1493481"/>
              <a:gd name="connsiteY140" fmla="*/ 1626897 h 1734136"/>
              <a:gd name="connsiteX141" fmla="*/ 385928 w 1493481"/>
              <a:gd name="connsiteY141" fmla="*/ 1629179 h 1734136"/>
              <a:gd name="connsiteX142" fmla="*/ 385928 w 1493481"/>
              <a:gd name="connsiteY142" fmla="*/ 1631460 h 1734136"/>
              <a:gd name="connsiteX143" fmla="*/ 383644 w 1493481"/>
              <a:gd name="connsiteY143" fmla="*/ 1631460 h 1734136"/>
              <a:gd name="connsiteX144" fmla="*/ 383644 w 1493481"/>
              <a:gd name="connsiteY144" fmla="*/ 1629179 h 1734136"/>
              <a:gd name="connsiteX145" fmla="*/ 381361 w 1493481"/>
              <a:gd name="connsiteY145" fmla="*/ 1629179 h 1734136"/>
              <a:gd name="connsiteX146" fmla="*/ 381361 w 1493481"/>
              <a:gd name="connsiteY146" fmla="*/ 1631460 h 1734136"/>
              <a:gd name="connsiteX147" fmla="*/ 379077 w 1493481"/>
              <a:gd name="connsiteY147" fmla="*/ 1631460 h 1734136"/>
              <a:gd name="connsiteX148" fmla="*/ 379077 w 1493481"/>
              <a:gd name="connsiteY148" fmla="*/ 1629179 h 1734136"/>
              <a:gd name="connsiteX149" fmla="*/ 379077 w 1493481"/>
              <a:gd name="connsiteY149" fmla="*/ 1631460 h 1734136"/>
              <a:gd name="connsiteX150" fmla="*/ 376793 w 1493481"/>
              <a:gd name="connsiteY150" fmla="*/ 1631460 h 1734136"/>
              <a:gd name="connsiteX151" fmla="*/ 376793 w 1493481"/>
              <a:gd name="connsiteY151" fmla="*/ 1629179 h 1734136"/>
              <a:gd name="connsiteX152" fmla="*/ 374510 w 1493481"/>
              <a:gd name="connsiteY152" fmla="*/ 1629179 h 1734136"/>
              <a:gd name="connsiteX153" fmla="*/ 372226 w 1493481"/>
              <a:gd name="connsiteY153" fmla="*/ 1629179 h 1734136"/>
              <a:gd name="connsiteX154" fmla="*/ 372226 w 1493481"/>
              <a:gd name="connsiteY154" fmla="*/ 1626897 h 1734136"/>
              <a:gd name="connsiteX155" fmla="*/ 369943 w 1493481"/>
              <a:gd name="connsiteY155" fmla="*/ 1626897 h 1734136"/>
              <a:gd name="connsiteX156" fmla="*/ 369943 w 1493481"/>
              <a:gd name="connsiteY156" fmla="*/ 1624615 h 1734136"/>
              <a:gd name="connsiteX157" fmla="*/ 372226 w 1493481"/>
              <a:gd name="connsiteY157" fmla="*/ 1624615 h 1734136"/>
              <a:gd name="connsiteX158" fmla="*/ 374510 w 1493481"/>
              <a:gd name="connsiteY158" fmla="*/ 1624615 h 1734136"/>
              <a:gd name="connsiteX159" fmla="*/ 374510 w 1493481"/>
              <a:gd name="connsiteY159" fmla="*/ 1622333 h 1734136"/>
              <a:gd name="connsiteX160" fmla="*/ 372226 w 1493481"/>
              <a:gd name="connsiteY160" fmla="*/ 1622333 h 1734136"/>
              <a:gd name="connsiteX161" fmla="*/ 374510 w 1493481"/>
              <a:gd name="connsiteY161" fmla="*/ 1622333 h 1734136"/>
              <a:gd name="connsiteX162" fmla="*/ 374510 w 1493481"/>
              <a:gd name="connsiteY162" fmla="*/ 1620051 h 1734136"/>
              <a:gd name="connsiteX163" fmla="*/ 374510 w 1493481"/>
              <a:gd name="connsiteY163" fmla="*/ 1617769 h 1734136"/>
              <a:gd name="connsiteX164" fmla="*/ 376793 w 1493481"/>
              <a:gd name="connsiteY164" fmla="*/ 1617769 h 1734136"/>
              <a:gd name="connsiteX165" fmla="*/ 376793 w 1493481"/>
              <a:gd name="connsiteY165" fmla="*/ 1615487 h 1734136"/>
              <a:gd name="connsiteX166" fmla="*/ 374510 w 1493481"/>
              <a:gd name="connsiteY166" fmla="*/ 1615487 h 1734136"/>
              <a:gd name="connsiteX167" fmla="*/ 374510 w 1493481"/>
              <a:gd name="connsiteY167" fmla="*/ 1617769 h 1734136"/>
              <a:gd name="connsiteX168" fmla="*/ 372226 w 1493481"/>
              <a:gd name="connsiteY168" fmla="*/ 1617769 h 1734136"/>
              <a:gd name="connsiteX169" fmla="*/ 369943 w 1493481"/>
              <a:gd name="connsiteY169" fmla="*/ 1617769 h 1734136"/>
              <a:gd name="connsiteX170" fmla="*/ 367659 w 1493481"/>
              <a:gd name="connsiteY170" fmla="*/ 1617769 h 1734136"/>
              <a:gd name="connsiteX171" fmla="*/ 365375 w 1493481"/>
              <a:gd name="connsiteY171" fmla="*/ 1617769 h 1734136"/>
              <a:gd name="connsiteX172" fmla="*/ 365375 w 1493481"/>
              <a:gd name="connsiteY172" fmla="*/ 1620051 h 1734136"/>
              <a:gd name="connsiteX173" fmla="*/ 365375 w 1493481"/>
              <a:gd name="connsiteY173" fmla="*/ 1617769 h 1734136"/>
              <a:gd name="connsiteX174" fmla="*/ 365375 w 1493481"/>
              <a:gd name="connsiteY174" fmla="*/ 1620051 h 1734136"/>
              <a:gd name="connsiteX175" fmla="*/ 365375 w 1493481"/>
              <a:gd name="connsiteY175" fmla="*/ 1617769 h 1734136"/>
              <a:gd name="connsiteX176" fmla="*/ 363092 w 1493481"/>
              <a:gd name="connsiteY176" fmla="*/ 1617769 h 1734136"/>
              <a:gd name="connsiteX177" fmla="*/ 360808 w 1493481"/>
              <a:gd name="connsiteY177" fmla="*/ 1617769 h 1734136"/>
              <a:gd name="connsiteX178" fmla="*/ 360808 w 1493481"/>
              <a:gd name="connsiteY178" fmla="*/ 1615487 h 1734136"/>
              <a:gd name="connsiteX179" fmla="*/ 363092 w 1493481"/>
              <a:gd name="connsiteY179" fmla="*/ 1615487 h 1734136"/>
              <a:gd name="connsiteX180" fmla="*/ 363092 w 1493481"/>
              <a:gd name="connsiteY180" fmla="*/ 1613205 h 1734136"/>
              <a:gd name="connsiteX181" fmla="*/ 363092 w 1493481"/>
              <a:gd name="connsiteY181" fmla="*/ 1610924 h 1734136"/>
              <a:gd name="connsiteX182" fmla="*/ 365375 w 1493481"/>
              <a:gd name="connsiteY182" fmla="*/ 1610924 h 1734136"/>
              <a:gd name="connsiteX183" fmla="*/ 367659 w 1493481"/>
              <a:gd name="connsiteY183" fmla="*/ 1610924 h 1734136"/>
              <a:gd name="connsiteX184" fmla="*/ 369943 w 1493481"/>
              <a:gd name="connsiteY184" fmla="*/ 1610924 h 1734136"/>
              <a:gd name="connsiteX185" fmla="*/ 369943 w 1493481"/>
              <a:gd name="connsiteY185" fmla="*/ 1608641 h 1734136"/>
              <a:gd name="connsiteX186" fmla="*/ 367659 w 1493481"/>
              <a:gd name="connsiteY186" fmla="*/ 1608641 h 1734136"/>
              <a:gd name="connsiteX187" fmla="*/ 367659 w 1493481"/>
              <a:gd name="connsiteY187" fmla="*/ 1606360 h 1734136"/>
              <a:gd name="connsiteX188" fmla="*/ 367659 w 1493481"/>
              <a:gd name="connsiteY188" fmla="*/ 1604078 h 1734136"/>
              <a:gd name="connsiteX189" fmla="*/ 367659 w 1493481"/>
              <a:gd name="connsiteY189" fmla="*/ 1601796 h 1734136"/>
              <a:gd name="connsiteX190" fmla="*/ 365375 w 1493481"/>
              <a:gd name="connsiteY190" fmla="*/ 1601796 h 1734136"/>
              <a:gd name="connsiteX191" fmla="*/ 363092 w 1493481"/>
              <a:gd name="connsiteY191" fmla="*/ 1601796 h 1734136"/>
              <a:gd name="connsiteX192" fmla="*/ 360808 w 1493481"/>
              <a:gd name="connsiteY192" fmla="*/ 1601796 h 1734136"/>
              <a:gd name="connsiteX193" fmla="*/ 358525 w 1493481"/>
              <a:gd name="connsiteY193" fmla="*/ 1601796 h 1734136"/>
              <a:gd name="connsiteX194" fmla="*/ 358525 w 1493481"/>
              <a:gd name="connsiteY194" fmla="*/ 1604078 h 1734136"/>
              <a:gd name="connsiteX195" fmla="*/ 360808 w 1493481"/>
              <a:gd name="connsiteY195" fmla="*/ 1604078 h 1734136"/>
              <a:gd name="connsiteX196" fmla="*/ 360808 w 1493481"/>
              <a:gd name="connsiteY196" fmla="*/ 1606360 h 1734136"/>
              <a:gd name="connsiteX197" fmla="*/ 360808 w 1493481"/>
              <a:gd name="connsiteY197" fmla="*/ 1608641 h 1734136"/>
              <a:gd name="connsiteX198" fmla="*/ 360808 w 1493481"/>
              <a:gd name="connsiteY198" fmla="*/ 1610924 h 1734136"/>
              <a:gd name="connsiteX199" fmla="*/ 360808 w 1493481"/>
              <a:gd name="connsiteY199" fmla="*/ 1613205 h 1734136"/>
              <a:gd name="connsiteX200" fmla="*/ 358525 w 1493481"/>
              <a:gd name="connsiteY200" fmla="*/ 1613205 h 1734136"/>
              <a:gd name="connsiteX201" fmla="*/ 358525 w 1493481"/>
              <a:gd name="connsiteY201" fmla="*/ 1610924 h 1734136"/>
              <a:gd name="connsiteX202" fmla="*/ 356241 w 1493481"/>
              <a:gd name="connsiteY202" fmla="*/ 1610924 h 1734136"/>
              <a:gd name="connsiteX203" fmla="*/ 353957 w 1493481"/>
              <a:gd name="connsiteY203" fmla="*/ 1610924 h 1734136"/>
              <a:gd name="connsiteX204" fmla="*/ 353957 w 1493481"/>
              <a:gd name="connsiteY204" fmla="*/ 1613205 h 1734136"/>
              <a:gd name="connsiteX205" fmla="*/ 351674 w 1493481"/>
              <a:gd name="connsiteY205" fmla="*/ 1613205 h 1734136"/>
              <a:gd name="connsiteX206" fmla="*/ 351674 w 1493481"/>
              <a:gd name="connsiteY206" fmla="*/ 1610924 h 1734136"/>
              <a:gd name="connsiteX207" fmla="*/ 353957 w 1493481"/>
              <a:gd name="connsiteY207" fmla="*/ 1610924 h 1734136"/>
              <a:gd name="connsiteX208" fmla="*/ 353957 w 1493481"/>
              <a:gd name="connsiteY208" fmla="*/ 1608641 h 1734136"/>
              <a:gd name="connsiteX209" fmla="*/ 353957 w 1493481"/>
              <a:gd name="connsiteY209" fmla="*/ 1606360 h 1734136"/>
              <a:gd name="connsiteX210" fmla="*/ 353957 w 1493481"/>
              <a:gd name="connsiteY210" fmla="*/ 1604078 h 1734136"/>
              <a:gd name="connsiteX211" fmla="*/ 356241 w 1493481"/>
              <a:gd name="connsiteY211" fmla="*/ 1604078 h 1734136"/>
              <a:gd name="connsiteX212" fmla="*/ 356241 w 1493481"/>
              <a:gd name="connsiteY212" fmla="*/ 1601796 h 1734136"/>
              <a:gd name="connsiteX213" fmla="*/ 353957 w 1493481"/>
              <a:gd name="connsiteY213" fmla="*/ 1601796 h 1734136"/>
              <a:gd name="connsiteX214" fmla="*/ 353957 w 1493481"/>
              <a:gd name="connsiteY214" fmla="*/ 1604078 h 1734136"/>
              <a:gd name="connsiteX215" fmla="*/ 351674 w 1493481"/>
              <a:gd name="connsiteY215" fmla="*/ 1604078 h 1734136"/>
              <a:gd name="connsiteX216" fmla="*/ 349390 w 1493481"/>
              <a:gd name="connsiteY216" fmla="*/ 1604078 h 1734136"/>
              <a:gd name="connsiteX217" fmla="*/ 347106 w 1493481"/>
              <a:gd name="connsiteY217" fmla="*/ 1604078 h 1734136"/>
              <a:gd name="connsiteX218" fmla="*/ 347106 w 1493481"/>
              <a:gd name="connsiteY218" fmla="*/ 1606360 h 1734136"/>
              <a:gd name="connsiteX219" fmla="*/ 347106 w 1493481"/>
              <a:gd name="connsiteY219" fmla="*/ 1608641 h 1734136"/>
              <a:gd name="connsiteX220" fmla="*/ 344823 w 1493481"/>
              <a:gd name="connsiteY220" fmla="*/ 1608641 h 1734136"/>
              <a:gd name="connsiteX221" fmla="*/ 344823 w 1493481"/>
              <a:gd name="connsiteY221" fmla="*/ 1606360 h 1734136"/>
              <a:gd name="connsiteX222" fmla="*/ 344823 w 1493481"/>
              <a:gd name="connsiteY222" fmla="*/ 1604078 h 1734136"/>
              <a:gd name="connsiteX223" fmla="*/ 344823 w 1493481"/>
              <a:gd name="connsiteY223" fmla="*/ 1601796 h 1734136"/>
              <a:gd name="connsiteX224" fmla="*/ 347106 w 1493481"/>
              <a:gd name="connsiteY224" fmla="*/ 1601796 h 1734136"/>
              <a:gd name="connsiteX225" fmla="*/ 349390 w 1493481"/>
              <a:gd name="connsiteY225" fmla="*/ 1601796 h 1734136"/>
              <a:gd name="connsiteX226" fmla="*/ 349390 w 1493481"/>
              <a:gd name="connsiteY226" fmla="*/ 1599514 h 1734136"/>
              <a:gd name="connsiteX227" fmla="*/ 347106 w 1493481"/>
              <a:gd name="connsiteY227" fmla="*/ 1599514 h 1734136"/>
              <a:gd name="connsiteX228" fmla="*/ 347106 w 1493481"/>
              <a:gd name="connsiteY228" fmla="*/ 1597232 h 1734136"/>
              <a:gd name="connsiteX229" fmla="*/ 344823 w 1493481"/>
              <a:gd name="connsiteY229" fmla="*/ 1597232 h 1734136"/>
              <a:gd name="connsiteX230" fmla="*/ 344823 w 1493481"/>
              <a:gd name="connsiteY230" fmla="*/ 1599514 h 1734136"/>
              <a:gd name="connsiteX231" fmla="*/ 342539 w 1493481"/>
              <a:gd name="connsiteY231" fmla="*/ 1599514 h 1734136"/>
              <a:gd name="connsiteX232" fmla="*/ 342539 w 1493481"/>
              <a:gd name="connsiteY232" fmla="*/ 1597232 h 1734136"/>
              <a:gd name="connsiteX233" fmla="*/ 340256 w 1493481"/>
              <a:gd name="connsiteY233" fmla="*/ 1597232 h 1734136"/>
              <a:gd name="connsiteX234" fmla="*/ 340256 w 1493481"/>
              <a:gd name="connsiteY234" fmla="*/ 1594950 h 1734136"/>
              <a:gd name="connsiteX235" fmla="*/ 337972 w 1493481"/>
              <a:gd name="connsiteY235" fmla="*/ 1594950 h 1734136"/>
              <a:gd name="connsiteX236" fmla="*/ 337972 w 1493481"/>
              <a:gd name="connsiteY236" fmla="*/ 1597232 h 1734136"/>
              <a:gd name="connsiteX237" fmla="*/ 335689 w 1493481"/>
              <a:gd name="connsiteY237" fmla="*/ 1597232 h 1734136"/>
              <a:gd name="connsiteX238" fmla="*/ 333405 w 1493481"/>
              <a:gd name="connsiteY238" fmla="*/ 1597232 h 1734136"/>
              <a:gd name="connsiteX239" fmla="*/ 331121 w 1493481"/>
              <a:gd name="connsiteY239" fmla="*/ 1597232 h 1734136"/>
              <a:gd name="connsiteX240" fmla="*/ 331121 w 1493481"/>
              <a:gd name="connsiteY240" fmla="*/ 1594950 h 1734136"/>
              <a:gd name="connsiteX241" fmla="*/ 333405 w 1493481"/>
              <a:gd name="connsiteY241" fmla="*/ 1594950 h 1734136"/>
              <a:gd name="connsiteX242" fmla="*/ 333405 w 1493481"/>
              <a:gd name="connsiteY242" fmla="*/ 1592668 h 1734136"/>
              <a:gd name="connsiteX243" fmla="*/ 333405 w 1493481"/>
              <a:gd name="connsiteY243" fmla="*/ 1590386 h 1734136"/>
              <a:gd name="connsiteX244" fmla="*/ 333405 w 1493481"/>
              <a:gd name="connsiteY244" fmla="*/ 1588104 h 1734136"/>
              <a:gd name="connsiteX245" fmla="*/ 331121 w 1493481"/>
              <a:gd name="connsiteY245" fmla="*/ 1588104 h 1734136"/>
              <a:gd name="connsiteX246" fmla="*/ 331121 w 1493481"/>
              <a:gd name="connsiteY246" fmla="*/ 1590386 h 1734136"/>
              <a:gd name="connsiteX247" fmla="*/ 328838 w 1493481"/>
              <a:gd name="connsiteY247" fmla="*/ 1590386 h 1734136"/>
              <a:gd name="connsiteX248" fmla="*/ 326554 w 1493481"/>
              <a:gd name="connsiteY248" fmla="*/ 1590386 h 1734136"/>
              <a:gd name="connsiteX249" fmla="*/ 324271 w 1493481"/>
              <a:gd name="connsiteY249" fmla="*/ 1590386 h 1734136"/>
              <a:gd name="connsiteX250" fmla="*/ 326554 w 1493481"/>
              <a:gd name="connsiteY250" fmla="*/ 1590386 h 1734136"/>
              <a:gd name="connsiteX251" fmla="*/ 326554 w 1493481"/>
              <a:gd name="connsiteY251" fmla="*/ 1588104 h 1734136"/>
              <a:gd name="connsiteX252" fmla="*/ 326554 w 1493481"/>
              <a:gd name="connsiteY252" fmla="*/ 1585823 h 1734136"/>
              <a:gd name="connsiteX253" fmla="*/ 324271 w 1493481"/>
              <a:gd name="connsiteY253" fmla="*/ 1585823 h 1734136"/>
              <a:gd name="connsiteX254" fmla="*/ 324271 w 1493481"/>
              <a:gd name="connsiteY254" fmla="*/ 1588104 h 1734136"/>
              <a:gd name="connsiteX255" fmla="*/ 324271 w 1493481"/>
              <a:gd name="connsiteY255" fmla="*/ 1585823 h 1734136"/>
              <a:gd name="connsiteX256" fmla="*/ 324271 w 1493481"/>
              <a:gd name="connsiteY256" fmla="*/ 1583541 h 1734136"/>
              <a:gd name="connsiteX257" fmla="*/ 324271 w 1493481"/>
              <a:gd name="connsiteY257" fmla="*/ 1581259 h 1734136"/>
              <a:gd name="connsiteX258" fmla="*/ 321987 w 1493481"/>
              <a:gd name="connsiteY258" fmla="*/ 1581259 h 1734136"/>
              <a:gd name="connsiteX259" fmla="*/ 321987 w 1493481"/>
              <a:gd name="connsiteY259" fmla="*/ 1583541 h 1734136"/>
              <a:gd name="connsiteX260" fmla="*/ 319704 w 1493481"/>
              <a:gd name="connsiteY260" fmla="*/ 1583541 h 1734136"/>
              <a:gd name="connsiteX261" fmla="*/ 319704 w 1493481"/>
              <a:gd name="connsiteY261" fmla="*/ 1585823 h 1734136"/>
              <a:gd name="connsiteX262" fmla="*/ 317420 w 1493481"/>
              <a:gd name="connsiteY262" fmla="*/ 1585823 h 1734136"/>
              <a:gd name="connsiteX263" fmla="*/ 317420 w 1493481"/>
              <a:gd name="connsiteY263" fmla="*/ 1583541 h 1734136"/>
              <a:gd name="connsiteX264" fmla="*/ 317420 w 1493481"/>
              <a:gd name="connsiteY264" fmla="*/ 1581259 h 1734136"/>
              <a:gd name="connsiteX265" fmla="*/ 317420 w 1493481"/>
              <a:gd name="connsiteY265" fmla="*/ 1578977 h 1734136"/>
              <a:gd name="connsiteX266" fmla="*/ 317420 w 1493481"/>
              <a:gd name="connsiteY266" fmla="*/ 1576695 h 1734136"/>
              <a:gd name="connsiteX267" fmla="*/ 319704 w 1493481"/>
              <a:gd name="connsiteY267" fmla="*/ 1576695 h 1734136"/>
              <a:gd name="connsiteX268" fmla="*/ 319704 w 1493481"/>
              <a:gd name="connsiteY268" fmla="*/ 1574413 h 1734136"/>
              <a:gd name="connsiteX269" fmla="*/ 321987 w 1493481"/>
              <a:gd name="connsiteY269" fmla="*/ 1574413 h 1734136"/>
              <a:gd name="connsiteX270" fmla="*/ 319704 w 1493481"/>
              <a:gd name="connsiteY270" fmla="*/ 1572131 h 1734136"/>
              <a:gd name="connsiteX271" fmla="*/ 317420 w 1493481"/>
              <a:gd name="connsiteY271" fmla="*/ 1572131 h 1734136"/>
              <a:gd name="connsiteX272" fmla="*/ 317420 w 1493481"/>
              <a:gd name="connsiteY272" fmla="*/ 1574413 h 1734136"/>
              <a:gd name="connsiteX273" fmla="*/ 315136 w 1493481"/>
              <a:gd name="connsiteY273" fmla="*/ 1574413 h 1734136"/>
              <a:gd name="connsiteX274" fmla="*/ 315136 w 1493481"/>
              <a:gd name="connsiteY274" fmla="*/ 1576695 h 1734136"/>
              <a:gd name="connsiteX275" fmla="*/ 315136 w 1493481"/>
              <a:gd name="connsiteY275" fmla="*/ 1574413 h 1734136"/>
              <a:gd name="connsiteX276" fmla="*/ 312853 w 1493481"/>
              <a:gd name="connsiteY276" fmla="*/ 1574413 h 1734136"/>
              <a:gd name="connsiteX277" fmla="*/ 312853 w 1493481"/>
              <a:gd name="connsiteY277" fmla="*/ 1572131 h 1734136"/>
              <a:gd name="connsiteX278" fmla="*/ 310569 w 1493481"/>
              <a:gd name="connsiteY278" fmla="*/ 1572131 h 1734136"/>
              <a:gd name="connsiteX279" fmla="*/ 310569 w 1493481"/>
              <a:gd name="connsiteY279" fmla="*/ 1569849 h 1734136"/>
              <a:gd name="connsiteX280" fmla="*/ 308285 w 1493481"/>
              <a:gd name="connsiteY280" fmla="*/ 1569849 h 1734136"/>
              <a:gd name="connsiteX281" fmla="*/ 308285 w 1493481"/>
              <a:gd name="connsiteY281" fmla="*/ 1572131 h 1734136"/>
              <a:gd name="connsiteX282" fmla="*/ 308285 w 1493481"/>
              <a:gd name="connsiteY282" fmla="*/ 1574413 h 1734136"/>
              <a:gd name="connsiteX283" fmla="*/ 310569 w 1493481"/>
              <a:gd name="connsiteY283" fmla="*/ 1574413 h 1734136"/>
              <a:gd name="connsiteX284" fmla="*/ 310569 w 1493481"/>
              <a:gd name="connsiteY284" fmla="*/ 1576695 h 1734136"/>
              <a:gd name="connsiteX285" fmla="*/ 308285 w 1493481"/>
              <a:gd name="connsiteY285" fmla="*/ 1576695 h 1734136"/>
              <a:gd name="connsiteX286" fmla="*/ 308285 w 1493481"/>
              <a:gd name="connsiteY286" fmla="*/ 1574413 h 1734136"/>
              <a:gd name="connsiteX287" fmla="*/ 306002 w 1493481"/>
              <a:gd name="connsiteY287" fmla="*/ 1574413 h 1734136"/>
              <a:gd name="connsiteX288" fmla="*/ 306002 w 1493481"/>
              <a:gd name="connsiteY288" fmla="*/ 1576695 h 1734136"/>
              <a:gd name="connsiteX289" fmla="*/ 303718 w 1493481"/>
              <a:gd name="connsiteY289" fmla="*/ 1576695 h 1734136"/>
              <a:gd name="connsiteX290" fmla="*/ 303718 w 1493481"/>
              <a:gd name="connsiteY290" fmla="*/ 1578977 h 1734136"/>
              <a:gd name="connsiteX291" fmla="*/ 306002 w 1493481"/>
              <a:gd name="connsiteY291" fmla="*/ 1578977 h 1734136"/>
              <a:gd name="connsiteX292" fmla="*/ 303718 w 1493481"/>
              <a:gd name="connsiteY292" fmla="*/ 1578977 h 1734136"/>
              <a:gd name="connsiteX293" fmla="*/ 301435 w 1493481"/>
              <a:gd name="connsiteY293" fmla="*/ 1578977 h 1734136"/>
              <a:gd name="connsiteX294" fmla="*/ 301435 w 1493481"/>
              <a:gd name="connsiteY294" fmla="*/ 1581259 h 1734136"/>
              <a:gd name="connsiteX295" fmla="*/ 301435 w 1493481"/>
              <a:gd name="connsiteY295" fmla="*/ 1578977 h 1734136"/>
              <a:gd name="connsiteX296" fmla="*/ 299151 w 1493481"/>
              <a:gd name="connsiteY296" fmla="*/ 1578977 h 1734136"/>
              <a:gd name="connsiteX297" fmla="*/ 299151 w 1493481"/>
              <a:gd name="connsiteY297" fmla="*/ 1576695 h 1734136"/>
              <a:gd name="connsiteX298" fmla="*/ 299151 w 1493481"/>
              <a:gd name="connsiteY298" fmla="*/ 1574413 h 1734136"/>
              <a:gd name="connsiteX299" fmla="*/ 296867 w 1493481"/>
              <a:gd name="connsiteY299" fmla="*/ 1574413 h 1734136"/>
              <a:gd name="connsiteX300" fmla="*/ 296867 w 1493481"/>
              <a:gd name="connsiteY300" fmla="*/ 1576695 h 1734136"/>
              <a:gd name="connsiteX301" fmla="*/ 296867 w 1493481"/>
              <a:gd name="connsiteY301" fmla="*/ 1578977 h 1734136"/>
              <a:gd name="connsiteX302" fmla="*/ 296867 w 1493481"/>
              <a:gd name="connsiteY302" fmla="*/ 1581259 h 1734136"/>
              <a:gd name="connsiteX303" fmla="*/ 294584 w 1493481"/>
              <a:gd name="connsiteY303" fmla="*/ 1581259 h 1734136"/>
              <a:gd name="connsiteX304" fmla="*/ 294584 w 1493481"/>
              <a:gd name="connsiteY304" fmla="*/ 1578977 h 1734136"/>
              <a:gd name="connsiteX305" fmla="*/ 292300 w 1493481"/>
              <a:gd name="connsiteY305" fmla="*/ 1578977 h 1734136"/>
              <a:gd name="connsiteX306" fmla="*/ 290017 w 1493481"/>
              <a:gd name="connsiteY306" fmla="*/ 1578977 h 1734136"/>
              <a:gd name="connsiteX307" fmla="*/ 290017 w 1493481"/>
              <a:gd name="connsiteY307" fmla="*/ 1576695 h 1734136"/>
              <a:gd name="connsiteX308" fmla="*/ 292300 w 1493481"/>
              <a:gd name="connsiteY308" fmla="*/ 1576695 h 1734136"/>
              <a:gd name="connsiteX309" fmla="*/ 292300 w 1493481"/>
              <a:gd name="connsiteY309" fmla="*/ 1574413 h 1734136"/>
              <a:gd name="connsiteX310" fmla="*/ 290017 w 1493481"/>
              <a:gd name="connsiteY310" fmla="*/ 1574413 h 1734136"/>
              <a:gd name="connsiteX311" fmla="*/ 287733 w 1493481"/>
              <a:gd name="connsiteY311" fmla="*/ 1574413 h 1734136"/>
              <a:gd name="connsiteX312" fmla="*/ 285450 w 1493481"/>
              <a:gd name="connsiteY312" fmla="*/ 1574413 h 1734136"/>
              <a:gd name="connsiteX313" fmla="*/ 283166 w 1493481"/>
              <a:gd name="connsiteY313" fmla="*/ 1574413 h 1734136"/>
              <a:gd name="connsiteX314" fmla="*/ 283166 w 1493481"/>
              <a:gd name="connsiteY314" fmla="*/ 1572131 h 1734136"/>
              <a:gd name="connsiteX315" fmla="*/ 280882 w 1493481"/>
              <a:gd name="connsiteY315" fmla="*/ 1572131 h 1734136"/>
              <a:gd name="connsiteX316" fmla="*/ 280882 w 1493481"/>
              <a:gd name="connsiteY316" fmla="*/ 1574413 h 1734136"/>
              <a:gd name="connsiteX317" fmla="*/ 280882 w 1493481"/>
              <a:gd name="connsiteY317" fmla="*/ 1572131 h 1734136"/>
              <a:gd name="connsiteX318" fmla="*/ 278599 w 1493481"/>
              <a:gd name="connsiteY318" fmla="*/ 1572131 h 1734136"/>
              <a:gd name="connsiteX319" fmla="*/ 280882 w 1493481"/>
              <a:gd name="connsiteY319" fmla="*/ 1572131 h 1734136"/>
              <a:gd name="connsiteX320" fmla="*/ 278599 w 1493481"/>
              <a:gd name="connsiteY320" fmla="*/ 1572131 h 1734136"/>
              <a:gd name="connsiteX321" fmla="*/ 278599 w 1493481"/>
              <a:gd name="connsiteY321" fmla="*/ 1569849 h 1734136"/>
              <a:gd name="connsiteX322" fmla="*/ 278599 w 1493481"/>
              <a:gd name="connsiteY322" fmla="*/ 1567567 h 1734136"/>
              <a:gd name="connsiteX323" fmla="*/ 278599 w 1493481"/>
              <a:gd name="connsiteY323" fmla="*/ 1565285 h 1734136"/>
              <a:gd name="connsiteX324" fmla="*/ 276315 w 1493481"/>
              <a:gd name="connsiteY324" fmla="*/ 1565285 h 1734136"/>
              <a:gd name="connsiteX325" fmla="*/ 276315 w 1493481"/>
              <a:gd name="connsiteY325" fmla="*/ 1567567 h 1734136"/>
              <a:gd name="connsiteX326" fmla="*/ 276315 w 1493481"/>
              <a:gd name="connsiteY326" fmla="*/ 1565285 h 1734136"/>
              <a:gd name="connsiteX327" fmla="*/ 274031 w 1493481"/>
              <a:gd name="connsiteY327" fmla="*/ 1565285 h 1734136"/>
              <a:gd name="connsiteX328" fmla="*/ 274031 w 1493481"/>
              <a:gd name="connsiteY328" fmla="*/ 1563004 h 1734136"/>
              <a:gd name="connsiteX329" fmla="*/ 274031 w 1493481"/>
              <a:gd name="connsiteY329" fmla="*/ 1565285 h 1734136"/>
              <a:gd name="connsiteX330" fmla="*/ 274031 w 1493481"/>
              <a:gd name="connsiteY330" fmla="*/ 1563004 h 1734136"/>
              <a:gd name="connsiteX331" fmla="*/ 276315 w 1493481"/>
              <a:gd name="connsiteY331" fmla="*/ 1563004 h 1734136"/>
              <a:gd name="connsiteX332" fmla="*/ 274031 w 1493481"/>
              <a:gd name="connsiteY332" fmla="*/ 1563004 h 1734136"/>
              <a:gd name="connsiteX333" fmla="*/ 274031 w 1493481"/>
              <a:gd name="connsiteY333" fmla="*/ 1560722 h 1734136"/>
              <a:gd name="connsiteX334" fmla="*/ 271748 w 1493481"/>
              <a:gd name="connsiteY334" fmla="*/ 1560722 h 1734136"/>
              <a:gd name="connsiteX335" fmla="*/ 271748 w 1493481"/>
              <a:gd name="connsiteY335" fmla="*/ 1558440 h 1734136"/>
              <a:gd name="connsiteX336" fmla="*/ 269464 w 1493481"/>
              <a:gd name="connsiteY336" fmla="*/ 1558440 h 1734136"/>
              <a:gd name="connsiteX337" fmla="*/ 269464 w 1493481"/>
              <a:gd name="connsiteY337" fmla="*/ 1560722 h 1734136"/>
              <a:gd name="connsiteX338" fmla="*/ 267181 w 1493481"/>
              <a:gd name="connsiteY338" fmla="*/ 1560722 h 1734136"/>
              <a:gd name="connsiteX339" fmla="*/ 267181 w 1493481"/>
              <a:gd name="connsiteY339" fmla="*/ 1563004 h 1734136"/>
              <a:gd name="connsiteX340" fmla="*/ 267181 w 1493481"/>
              <a:gd name="connsiteY340" fmla="*/ 1560722 h 1734136"/>
              <a:gd name="connsiteX341" fmla="*/ 267181 w 1493481"/>
              <a:gd name="connsiteY341" fmla="*/ 1563004 h 1734136"/>
              <a:gd name="connsiteX342" fmla="*/ 264897 w 1493481"/>
              <a:gd name="connsiteY342" fmla="*/ 1563004 h 1734136"/>
              <a:gd name="connsiteX343" fmla="*/ 264897 w 1493481"/>
              <a:gd name="connsiteY343" fmla="*/ 1565285 h 1734136"/>
              <a:gd name="connsiteX344" fmla="*/ 262614 w 1493481"/>
              <a:gd name="connsiteY344" fmla="*/ 1565285 h 1734136"/>
              <a:gd name="connsiteX345" fmla="*/ 260330 w 1493481"/>
              <a:gd name="connsiteY345" fmla="*/ 1565285 h 1734136"/>
              <a:gd name="connsiteX346" fmla="*/ 258046 w 1493481"/>
              <a:gd name="connsiteY346" fmla="*/ 1565285 h 1734136"/>
              <a:gd name="connsiteX347" fmla="*/ 255763 w 1493481"/>
              <a:gd name="connsiteY347" fmla="*/ 1565285 h 1734136"/>
              <a:gd name="connsiteX348" fmla="*/ 253479 w 1493481"/>
              <a:gd name="connsiteY348" fmla="*/ 1565285 h 1734136"/>
              <a:gd name="connsiteX349" fmla="*/ 251196 w 1493481"/>
              <a:gd name="connsiteY349" fmla="*/ 1565285 h 1734136"/>
              <a:gd name="connsiteX350" fmla="*/ 248912 w 1493481"/>
              <a:gd name="connsiteY350" fmla="*/ 1565285 h 1734136"/>
              <a:gd name="connsiteX351" fmla="*/ 246628 w 1493481"/>
              <a:gd name="connsiteY351" fmla="*/ 1565285 h 1734136"/>
              <a:gd name="connsiteX352" fmla="*/ 244345 w 1493481"/>
              <a:gd name="connsiteY352" fmla="*/ 1565285 h 1734136"/>
              <a:gd name="connsiteX353" fmla="*/ 244345 w 1493481"/>
              <a:gd name="connsiteY353" fmla="*/ 1567567 h 1734136"/>
              <a:gd name="connsiteX354" fmla="*/ 244345 w 1493481"/>
              <a:gd name="connsiteY354" fmla="*/ 1565285 h 1734136"/>
              <a:gd name="connsiteX355" fmla="*/ 244345 w 1493481"/>
              <a:gd name="connsiteY355" fmla="*/ 1567567 h 1734136"/>
              <a:gd name="connsiteX356" fmla="*/ 244345 w 1493481"/>
              <a:gd name="connsiteY356" fmla="*/ 1565285 h 1734136"/>
              <a:gd name="connsiteX357" fmla="*/ 242061 w 1493481"/>
              <a:gd name="connsiteY357" fmla="*/ 1565285 h 1734136"/>
              <a:gd name="connsiteX358" fmla="*/ 242061 w 1493481"/>
              <a:gd name="connsiteY358" fmla="*/ 1563004 h 1734136"/>
              <a:gd name="connsiteX359" fmla="*/ 242061 w 1493481"/>
              <a:gd name="connsiteY359" fmla="*/ 1560722 h 1734136"/>
              <a:gd name="connsiteX360" fmla="*/ 242061 w 1493481"/>
              <a:gd name="connsiteY360" fmla="*/ 1558440 h 1734136"/>
              <a:gd name="connsiteX361" fmla="*/ 242061 w 1493481"/>
              <a:gd name="connsiteY361" fmla="*/ 1556158 h 1734136"/>
              <a:gd name="connsiteX362" fmla="*/ 242061 w 1493481"/>
              <a:gd name="connsiteY362" fmla="*/ 1553876 h 1734136"/>
              <a:gd name="connsiteX363" fmla="*/ 239777 w 1493481"/>
              <a:gd name="connsiteY363" fmla="*/ 1553876 h 1734136"/>
              <a:gd name="connsiteX364" fmla="*/ 239777 w 1493481"/>
              <a:gd name="connsiteY364" fmla="*/ 1551594 h 1734136"/>
              <a:gd name="connsiteX365" fmla="*/ 237494 w 1493481"/>
              <a:gd name="connsiteY365" fmla="*/ 1551594 h 1734136"/>
              <a:gd name="connsiteX366" fmla="*/ 235210 w 1493481"/>
              <a:gd name="connsiteY366" fmla="*/ 1551594 h 1734136"/>
              <a:gd name="connsiteX367" fmla="*/ 235210 w 1493481"/>
              <a:gd name="connsiteY367" fmla="*/ 1553876 h 1734136"/>
              <a:gd name="connsiteX368" fmla="*/ 235210 w 1493481"/>
              <a:gd name="connsiteY368" fmla="*/ 1551594 h 1734136"/>
              <a:gd name="connsiteX369" fmla="*/ 226076 w 1493481"/>
              <a:gd name="connsiteY369" fmla="*/ 1549322 h 1734136"/>
              <a:gd name="connsiteX370" fmla="*/ 219225 w 1493481"/>
              <a:gd name="connsiteY370" fmla="*/ 1547040 h 1734136"/>
              <a:gd name="connsiteX371" fmla="*/ 216942 w 1493481"/>
              <a:gd name="connsiteY371" fmla="*/ 1547040 h 1734136"/>
              <a:gd name="connsiteX372" fmla="*/ 214658 w 1493481"/>
              <a:gd name="connsiteY372" fmla="*/ 1535630 h 1734136"/>
              <a:gd name="connsiteX373" fmla="*/ 210091 w 1493481"/>
              <a:gd name="connsiteY373" fmla="*/ 1537912 h 1734136"/>
              <a:gd name="connsiteX374" fmla="*/ 207807 w 1493481"/>
              <a:gd name="connsiteY374" fmla="*/ 1537912 h 1734136"/>
              <a:gd name="connsiteX375" fmla="*/ 205524 w 1493481"/>
              <a:gd name="connsiteY375" fmla="*/ 1537912 h 1734136"/>
              <a:gd name="connsiteX376" fmla="*/ 203240 w 1493481"/>
              <a:gd name="connsiteY376" fmla="*/ 1537912 h 1734136"/>
              <a:gd name="connsiteX377" fmla="*/ 200956 w 1493481"/>
              <a:gd name="connsiteY377" fmla="*/ 1537912 h 1734136"/>
              <a:gd name="connsiteX378" fmla="*/ 198673 w 1493481"/>
              <a:gd name="connsiteY378" fmla="*/ 1537912 h 1734136"/>
              <a:gd name="connsiteX379" fmla="*/ 196389 w 1493481"/>
              <a:gd name="connsiteY379" fmla="*/ 1540194 h 1734136"/>
              <a:gd name="connsiteX380" fmla="*/ 189538 w 1493481"/>
              <a:gd name="connsiteY380" fmla="*/ 1544758 h 1734136"/>
              <a:gd name="connsiteX381" fmla="*/ 187255 w 1493481"/>
              <a:gd name="connsiteY381" fmla="*/ 1544758 h 1734136"/>
              <a:gd name="connsiteX382" fmla="*/ 184971 w 1493481"/>
              <a:gd name="connsiteY382" fmla="*/ 1544758 h 1734136"/>
              <a:gd name="connsiteX383" fmla="*/ 182688 w 1493481"/>
              <a:gd name="connsiteY383" fmla="*/ 1544758 h 1734136"/>
              <a:gd name="connsiteX384" fmla="*/ 180404 w 1493481"/>
              <a:gd name="connsiteY384" fmla="*/ 1544758 h 1734136"/>
              <a:gd name="connsiteX385" fmla="*/ 178121 w 1493481"/>
              <a:gd name="connsiteY385" fmla="*/ 1544758 h 1734136"/>
              <a:gd name="connsiteX386" fmla="*/ 175837 w 1493481"/>
              <a:gd name="connsiteY386" fmla="*/ 1544758 h 1734136"/>
              <a:gd name="connsiteX387" fmla="*/ 173553 w 1493481"/>
              <a:gd name="connsiteY387" fmla="*/ 1544758 h 1734136"/>
              <a:gd name="connsiteX388" fmla="*/ 168986 w 1493481"/>
              <a:gd name="connsiteY388" fmla="*/ 1549322 h 1734136"/>
              <a:gd name="connsiteX389" fmla="*/ 166702 w 1493481"/>
              <a:gd name="connsiteY389" fmla="*/ 1549322 h 1734136"/>
              <a:gd name="connsiteX390" fmla="*/ 164419 w 1493481"/>
              <a:gd name="connsiteY390" fmla="*/ 1547040 h 1734136"/>
              <a:gd name="connsiteX391" fmla="*/ 162135 w 1493481"/>
              <a:gd name="connsiteY391" fmla="*/ 1549322 h 1734136"/>
              <a:gd name="connsiteX392" fmla="*/ 159852 w 1493481"/>
              <a:gd name="connsiteY392" fmla="*/ 1551594 h 1734136"/>
              <a:gd name="connsiteX393" fmla="*/ 155284 w 1493481"/>
              <a:gd name="connsiteY393" fmla="*/ 1556158 h 1734136"/>
              <a:gd name="connsiteX394" fmla="*/ 153001 w 1493481"/>
              <a:gd name="connsiteY394" fmla="*/ 1556158 h 1734136"/>
              <a:gd name="connsiteX395" fmla="*/ 153001 w 1493481"/>
              <a:gd name="connsiteY395" fmla="*/ 1553876 h 1734136"/>
              <a:gd name="connsiteX396" fmla="*/ 150717 w 1493481"/>
              <a:gd name="connsiteY396" fmla="*/ 1551594 h 1734136"/>
              <a:gd name="connsiteX397" fmla="*/ 148434 w 1493481"/>
              <a:gd name="connsiteY397" fmla="*/ 1549322 h 1734136"/>
              <a:gd name="connsiteX398" fmla="*/ 148434 w 1493481"/>
              <a:gd name="connsiteY398" fmla="*/ 1547040 h 1734136"/>
              <a:gd name="connsiteX399" fmla="*/ 146150 w 1493481"/>
              <a:gd name="connsiteY399" fmla="*/ 1547040 h 1734136"/>
              <a:gd name="connsiteX400" fmla="*/ 146150 w 1493481"/>
              <a:gd name="connsiteY400" fmla="*/ 1544758 h 1734136"/>
              <a:gd name="connsiteX401" fmla="*/ 146150 w 1493481"/>
              <a:gd name="connsiteY401" fmla="*/ 1547040 h 1734136"/>
              <a:gd name="connsiteX402" fmla="*/ 143867 w 1493481"/>
              <a:gd name="connsiteY402" fmla="*/ 1544758 h 1734136"/>
              <a:gd name="connsiteX403" fmla="*/ 141583 w 1493481"/>
              <a:gd name="connsiteY403" fmla="*/ 1544758 h 1734136"/>
              <a:gd name="connsiteX404" fmla="*/ 139299 w 1493481"/>
              <a:gd name="connsiteY404" fmla="*/ 1544758 h 1734136"/>
              <a:gd name="connsiteX405" fmla="*/ 139299 w 1493481"/>
              <a:gd name="connsiteY405" fmla="*/ 1542476 h 1734136"/>
              <a:gd name="connsiteX406" fmla="*/ 137016 w 1493481"/>
              <a:gd name="connsiteY406" fmla="*/ 1542476 h 1734136"/>
              <a:gd name="connsiteX407" fmla="*/ 134732 w 1493481"/>
              <a:gd name="connsiteY407" fmla="*/ 1542476 h 1734136"/>
              <a:gd name="connsiteX408" fmla="*/ 132448 w 1493481"/>
              <a:gd name="connsiteY408" fmla="*/ 1542476 h 1734136"/>
              <a:gd name="connsiteX409" fmla="*/ 130165 w 1493481"/>
              <a:gd name="connsiteY409" fmla="*/ 1542476 h 1734136"/>
              <a:gd name="connsiteX410" fmla="*/ 130165 w 1493481"/>
              <a:gd name="connsiteY410" fmla="*/ 1540194 h 1734136"/>
              <a:gd name="connsiteX411" fmla="*/ 127881 w 1493481"/>
              <a:gd name="connsiteY411" fmla="*/ 1540194 h 1734136"/>
              <a:gd name="connsiteX412" fmla="*/ 127881 w 1493481"/>
              <a:gd name="connsiteY412" fmla="*/ 1537912 h 1734136"/>
              <a:gd name="connsiteX413" fmla="*/ 125598 w 1493481"/>
              <a:gd name="connsiteY413" fmla="*/ 1537912 h 1734136"/>
              <a:gd name="connsiteX414" fmla="*/ 125598 w 1493481"/>
              <a:gd name="connsiteY414" fmla="*/ 1535630 h 1734136"/>
              <a:gd name="connsiteX415" fmla="*/ 123314 w 1493481"/>
              <a:gd name="connsiteY415" fmla="*/ 1535630 h 1734136"/>
              <a:gd name="connsiteX416" fmla="*/ 121031 w 1493481"/>
              <a:gd name="connsiteY416" fmla="*/ 1535630 h 1734136"/>
              <a:gd name="connsiteX417" fmla="*/ 118747 w 1493481"/>
              <a:gd name="connsiteY417" fmla="*/ 1535630 h 1734136"/>
              <a:gd name="connsiteX418" fmla="*/ 116463 w 1493481"/>
              <a:gd name="connsiteY418" fmla="*/ 1535630 h 1734136"/>
              <a:gd name="connsiteX419" fmla="*/ 114180 w 1493481"/>
              <a:gd name="connsiteY419" fmla="*/ 1535630 h 1734136"/>
              <a:gd name="connsiteX420" fmla="*/ 111896 w 1493481"/>
              <a:gd name="connsiteY420" fmla="*/ 1535630 h 1734136"/>
              <a:gd name="connsiteX421" fmla="*/ 109613 w 1493481"/>
              <a:gd name="connsiteY421" fmla="*/ 1535630 h 1734136"/>
              <a:gd name="connsiteX422" fmla="*/ 109613 w 1493481"/>
              <a:gd name="connsiteY422" fmla="*/ 1533348 h 1734136"/>
              <a:gd name="connsiteX423" fmla="*/ 109613 w 1493481"/>
              <a:gd name="connsiteY423" fmla="*/ 1535630 h 1734136"/>
              <a:gd name="connsiteX424" fmla="*/ 107329 w 1493481"/>
              <a:gd name="connsiteY424" fmla="*/ 1535630 h 1734136"/>
              <a:gd name="connsiteX425" fmla="*/ 105045 w 1493481"/>
              <a:gd name="connsiteY425" fmla="*/ 1535630 h 1734136"/>
              <a:gd name="connsiteX426" fmla="*/ 102762 w 1493481"/>
              <a:gd name="connsiteY426" fmla="*/ 1535630 h 1734136"/>
              <a:gd name="connsiteX427" fmla="*/ 100478 w 1493481"/>
              <a:gd name="connsiteY427" fmla="*/ 1535630 h 1734136"/>
              <a:gd name="connsiteX428" fmla="*/ 100478 w 1493481"/>
              <a:gd name="connsiteY428" fmla="*/ 1537912 h 1734136"/>
              <a:gd name="connsiteX429" fmla="*/ 102762 w 1493481"/>
              <a:gd name="connsiteY429" fmla="*/ 1537912 h 1734136"/>
              <a:gd name="connsiteX430" fmla="*/ 102762 w 1493481"/>
              <a:gd name="connsiteY430" fmla="*/ 1540194 h 1734136"/>
              <a:gd name="connsiteX431" fmla="*/ 100478 w 1493481"/>
              <a:gd name="connsiteY431" fmla="*/ 1540194 h 1734136"/>
              <a:gd name="connsiteX432" fmla="*/ 100478 w 1493481"/>
              <a:gd name="connsiteY432" fmla="*/ 1542476 h 1734136"/>
              <a:gd name="connsiteX433" fmla="*/ 98194 w 1493481"/>
              <a:gd name="connsiteY433" fmla="*/ 1542476 h 1734136"/>
              <a:gd name="connsiteX434" fmla="*/ 95911 w 1493481"/>
              <a:gd name="connsiteY434" fmla="*/ 1542476 h 1734136"/>
              <a:gd name="connsiteX435" fmla="*/ 95911 w 1493481"/>
              <a:gd name="connsiteY435" fmla="*/ 1540194 h 1734136"/>
              <a:gd name="connsiteX436" fmla="*/ 95911 w 1493481"/>
              <a:gd name="connsiteY436" fmla="*/ 1537912 h 1734136"/>
              <a:gd name="connsiteX437" fmla="*/ 95911 w 1493481"/>
              <a:gd name="connsiteY437" fmla="*/ 1535630 h 1734136"/>
              <a:gd name="connsiteX438" fmla="*/ 98194 w 1493481"/>
              <a:gd name="connsiteY438" fmla="*/ 1535630 h 1734136"/>
              <a:gd name="connsiteX439" fmla="*/ 98194 w 1493481"/>
              <a:gd name="connsiteY439" fmla="*/ 1533348 h 1734136"/>
              <a:gd name="connsiteX440" fmla="*/ 95911 w 1493481"/>
              <a:gd name="connsiteY440" fmla="*/ 1533348 h 1734136"/>
              <a:gd name="connsiteX441" fmla="*/ 95911 w 1493481"/>
              <a:gd name="connsiteY441" fmla="*/ 1535630 h 1734136"/>
              <a:gd name="connsiteX442" fmla="*/ 93627 w 1493481"/>
              <a:gd name="connsiteY442" fmla="*/ 1535630 h 1734136"/>
              <a:gd name="connsiteX443" fmla="*/ 91344 w 1493481"/>
              <a:gd name="connsiteY443" fmla="*/ 1535630 h 1734136"/>
              <a:gd name="connsiteX444" fmla="*/ 91344 w 1493481"/>
              <a:gd name="connsiteY444" fmla="*/ 1533348 h 1734136"/>
              <a:gd name="connsiteX445" fmla="*/ 91344 w 1493481"/>
              <a:gd name="connsiteY445" fmla="*/ 1531067 h 1734136"/>
              <a:gd name="connsiteX446" fmla="*/ 89060 w 1493481"/>
              <a:gd name="connsiteY446" fmla="*/ 1531067 h 1734136"/>
              <a:gd name="connsiteX447" fmla="*/ 86777 w 1493481"/>
              <a:gd name="connsiteY447" fmla="*/ 1531067 h 1734136"/>
              <a:gd name="connsiteX448" fmla="*/ 84493 w 1493481"/>
              <a:gd name="connsiteY448" fmla="*/ 1528785 h 1734136"/>
              <a:gd name="connsiteX449" fmla="*/ 82209 w 1493481"/>
              <a:gd name="connsiteY449" fmla="*/ 1528785 h 1734136"/>
              <a:gd name="connsiteX450" fmla="*/ 79926 w 1493481"/>
              <a:gd name="connsiteY450" fmla="*/ 1528785 h 1734136"/>
              <a:gd name="connsiteX451" fmla="*/ 79926 w 1493481"/>
              <a:gd name="connsiteY451" fmla="*/ 1526503 h 1734136"/>
              <a:gd name="connsiteX452" fmla="*/ 84493 w 1493481"/>
              <a:gd name="connsiteY452" fmla="*/ 1524221 h 1734136"/>
              <a:gd name="connsiteX453" fmla="*/ 82209 w 1493481"/>
              <a:gd name="connsiteY453" fmla="*/ 1524221 h 1734136"/>
              <a:gd name="connsiteX454" fmla="*/ 79926 w 1493481"/>
              <a:gd name="connsiteY454" fmla="*/ 1521939 h 1734136"/>
              <a:gd name="connsiteX455" fmla="*/ 77642 w 1493481"/>
              <a:gd name="connsiteY455" fmla="*/ 1521939 h 1734136"/>
              <a:gd name="connsiteX456" fmla="*/ 75359 w 1493481"/>
              <a:gd name="connsiteY456" fmla="*/ 1521939 h 1734136"/>
              <a:gd name="connsiteX457" fmla="*/ 75359 w 1493481"/>
              <a:gd name="connsiteY457" fmla="*/ 1519657 h 1734136"/>
              <a:gd name="connsiteX458" fmla="*/ 73075 w 1493481"/>
              <a:gd name="connsiteY458" fmla="*/ 1517375 h 1734136"/>
              <a:gd name="connsiteX459" fmla="*/ 75359 w 1493481"/>
              <a:gd name="connsiteY459" fmla="*/ 1517375 h 1734136"/>
              <a:gd name="connsiteX460" fmla="*/ 75359 w 1493481"/>
              <a:gd name="connsiteY460" fmla="*/ 1515093 h 1734136"/>
              <a:gd name="connsiteX461" fmla="*/ 77642 w 1493481"/>
              <a:gd name="connsiteY461" fmla="*/ 1515093 h 1734136"/>
              <a:gd name="connsiteX462" fmla="*/ 79926 w 1493481"/>
              <a:gd name="connsiteY462" fmla="*/ 1512812 h 1734136"/>
              <a:gd name="connsiteX463" fmla="*/ 82209 w 1493481"/>
              <a:gd name="connsiteY463" fmla="*/ 1512812 h 1734136"/>
              <a:gd name="connsiteX464" fmla="*/ 84493 w 1493481"/>
              <a:gd name="connsiteY464" fmla="*/ 1510529 h 1734136"/>
              <a:gd name="connsiteX465" fmla="*/ 86777 w 1493481"/>
              <a:gd name="connsiteY465" fmla="*/ 1510529 h 1734136"/>
              <a:gd name="connsiteX466" fmla="*/ 89060 w 1493481"/>
              <a:gd name="connsiteY466" fmla="*/ 1510529 h 1734136"/>
              <a:gd name="connsiteX467" fmla="*/ 89060 w 1493481"/>
              <a:gd name="connsiteY467" fmla="*/ 1508248 h 1734136"/>
              <a:gd name="connsiteX468" fmla="*/ 91344 w 1493481"/>
              <a:gd name="connsiteY468" fmla="*/ 1508248 h 1734136"/>
              <a:gd name="connsiteX469" fmla="*/ 93627 w 1493481"/>
              <a:gd name="connsiteY469" fmla="*/ 1508248 h 1734136"/>
              <a:gd name="connsiteX470" fmla="*/ 93627 w 1493481"/>
              <a:gd name="connsiteY470" fmla="*/ 1505966 h 1734136"/>
              <a:gd name="connsiteX471" fmla="*/ 93627 w 1493481"/>
              <a:gd name="connsiteY471" fmla="*/ 1503684 h 1734136"/>
              <a:gd name="connsiteX472" fmla="*/ 91344 w 1493481"/>
              <a:gd name="connsiteY472" fmla="*/ 1503684 h 1734136"/>
              <a:gd name="connsiteX473" fmla="*/ 91344 w 1493481"/>
              <a:gd name="connsiteY473" fmla="*/ 1501402 h 1734136"/>
              <a:gd name="connsiteX474" fmla="*/ 91344 w 1493481"/>
              <a:gd name="connsiteY474" fmla="*/ 1503684 h 1734136"/>
              <a:gd name="connsiteX475" fmla="*/ 89060 w 1493481"/>
              <a:gd name="connsiteY475" fmla="*/ 1503684 h 1734136"/>
              <a:gd name="connsiteX476" fmla="*/ 89060 w 1493481"/>
              <a:gd name="connsiteY476" fmla="*/ 1501402 h 1734136"/>
              <a:gd name="connsiteX477" fmla="*/ 89060 w 1493481"/>
              <a:gd name="connsiteY477" fmla="*/ 1503684 h 1734136"/>
              <a:gd name="connsiteX478" fmla="*/ 89060 w 1493481"/>
              <a:gd name="connsiteY478" fmla="*/ 1505966 h 1734136"/>
              <a:gd name="connsiteX479" fmla="*/ 89060 w 1493481"/>
              <a:gd name="connsiteY479" fmla="*/ 1503684 h 1734136"/>
              <a:gd name="connsiteX480" fmla="*/ 89060 w 1493481"/>
              <a:gd name="connsiteY480" fmla="*/ 1505966 h 1734136"/>
              <a:gd name="connsiteX481" fmla="*/ 89060 w 1493481"/>
              <a:gd name="connsiteY481" fmla="*/ 1508248 h 1734136"/>
              <a:gd name="connsiteX482" fmla="*/ 86777 w 1493481"/>
              <a:gd name="connsiteY482" fmla="*/ 1508248 h 1734136"/>
              <a:gd name="connsiteX483" fmla="*/ 86777 w 1493481"/>
              <a:gd name="connsiteY483" fmla="*/ 1505966 h 1734136"/>
              <a:gd name="connsiteX484" fmla="*/ 86777 w 1493481"/>
              <a:gd name="connsiteY484" fmla="*/ 1503684 h 1734136"/>
              <a:gd name="connsiteX485" fmla="*/ 84493 w 1493481"/>
              <a:gd name="connsiteY485" fmla="*/ 1503684 h 1734136"/>
              <a:gd name="connsiteX486" fmla="*/ 84493 w 1493481"/>
              <a:gd name="connsiteY486" fmla="*/ 1501402 h 1734136"/>
              <a:gd name="connsiteX487" fmla="*/ 84493 w 1493481"/>
              <a:gd name="connsiteY487" fmla="*/ 1499120 h 1734136"/>
              <a:gd name="connsiteX488" fmla="*/ 84493 w 1493481"/>
              <a:gd name="connsiteY488" fmla="*/ 1496838 h 1734136"/>
              <a:gd name="connsiteX489" fmla="*/ 84493 w 1493481"/>
              <a:gd name="connsiteY489" fmla="*/ 1499120 h 1734136"/>
              <a:gd name="connsiteX490" fmla="*/ 82209 w 1493481"/>
              <a:gd name="connsiteY490" fmla="*/ 1499120 h 1734136"/>
              <a:gd name="connsiteX491" fmla="*/ 82209 w 1493481"/>
              <a:gd name="connsiteY491" fmla="*/ 1496838 h 1734136"/>
              <a:gd name="connsiteX492" fmla="*/ 84493 w 1493481"/>
              <a:gd name="connsiteY492" fmla="*/ 1496838 h 1734136"/>
              <a:gd name="connsiteX493" fmla="*/ 84493 w 1493481"/>
              <a:gd name="connsiteY493" fmla="*/ 1494556 h 1734136"/>
              <a:gd name="connsiteX494" fmla="*/ 84493 w 1493481"/>
              <a:gd name="connsiteY494" fmla="*/ 1492274 h 1734136"/>
              <a:gd name="connsiteX495" fmla="*/ 84493 w 1493481"/>
              <a:gd name="connsiteY495" fmla="*/ 1489992 h 1734136"/>
              <a:gd name="connsiteX496" fmla="*/ 86777 w 1493481"/>
              <a:gd name="connsiteY496" fmla="*/ 1489992 h 1734136"/>
              <a:gd name="connsiteX497" fmla="*/ 89060 w 1493481"/>
              <a:gd name="connsiteY497" fmla="*/ 1489992 h 1734136"/>
              <a:gd name="connsiteX498" fmla="*/ 91344 w 1493481"/>
              <a:gd name="connsiteY498" fmla="*/ 1489992 h 1734136"/>
              <a:gd name="connsiteX499" fmla="*/ 93627 w 1493481"/>
              <a:gd name="connsiteY499" fmla="*/ 1492274 h 1734136"/>
              <a:gd name="connsiteX500" fmla="*/ 95911 w 1493481"/>
              <a:gd name="connsiteY500" fmla="*/ 1492274 h 1734136"/>
              <a:gd name="connsiteX501" fmla="*/ 95911 w 1493481"/>
              <a:gd name="connsiteY501" fmla="*/ 1489992 h 1734136"/>
              <a:gd name="connsiteX502" fmla="*/ 98194 w 1493481"/>
              <a:gd name="connsiteY502" fmla="*/ 1487711 h 1734136"/>
              <a:gd name="connsiteX503" fmla="*/ 98194 w 1493481"/>
              <a:gd name="connsiteY503" fmla="*/ 1485429 h 1734136"/>
              <a:gd name="connsiteX504" fmla="*/ 98194 w 1493481"/>
              <a:gd name="connsiteY504" fmla="*/ 1483147 h 1734136"/>
              <a:gd name="connsiteX505" fmla="*/ 98194 w 1493481"/>
              <a:gd name="connsiteY505" fmla="*/ 1480865 h 1734136"/>
              <a:gd name="connsiteX506" fmla="*/ 100478 w 1493481"/>
              <a:gd name="connsiteY506" fmla="*/ 1478583 h 1734136"/>
              <a:gd name="connsiteX507" fmla="*/ 100478 w 1493481"/>
              <a:gd name="connsiteY507" fmla="*/ 1476301 h 1734136"/>
              <a:gd name="connsiteX508" fmla="*/ 100478 w 1493481"/>
              <a:gd name="connsiteY508" fmla="*/ 1474019 h 1734136"/>
              <a:gd name="connsiteX509" fmla="*/ 102762 w 1493481"/>
              <a:gd name="connsiteY509" fmla="*/ 1474019 h 1734136"/>
              <a:gd name="connsiteX510" fmla="*/ 102762 w 1493481"/>
              <a:gd name="connsiteY510" fmla="*/ 1471737 h 1734136"/>
              <a:gd name="connsiteX511" fmla="*/ 102762 w 1493481"/>
              <a:gd name="connsiteY511" fmla="*/ 1469455 h 1734136"/>
              <a:gd name="connsiteX512" fmla="*/ 102762 w 1493481"/>
              <a:gd name="connsiteY512" fmla="*/ 1467173 h 1734136"/>
              <a:gd name="connsiteX513" fmla="*/ 102762 w 1493481"/>
              <a:gd name="connsiteY513" fmla="*/ 1464892 h 1734136"/>
              <a:gd name="connsiteX514" fmla="*/ 102762 w 1493481"/>
              <a:gd name="connsiteY514" fmla="*/ 1462610 h 1734136"/>
              <a:gd name="connsiteX515" fmla="*/ 102762 w 1493481"/>
              <a:gd name="connsiteY515" fmla="*/ 1460328 h 1734136"/>
              <a:gd name="connsiteX516" fmla="*/ 102762 w 1493481"/>
              <a:gd name="connsiteY516" fmla="*/ 1458046 h 1734136"/>
              <a:gd name="connsiteX517" fmla="*/ 105045 w 1493481"/>
              <a:gd name="connsiteY517" fmla="*/ 1458046 h 1734136"/>
              <a:gd name="connsiteX518" fmla="*/ 105045 w 1493481"/>
              <a:gd name="connsiteY518" fmla="*/ 1455764 h 1734136"/>
              <a:gd name="connsiteX519" fmla="*/ 107329 w 1493481"/>
              <a:gd name="connsiteY519" fmla="*/ 1455764 h 1734136"/>
              <a:gd name="connsiteX520" fmla="*/ 109613 w 1493481"/>
              <a:gd name="connsiteY520" fmla="*/ 1455764 h 1734136"/>
              <a:gd name="connsiteX521" fmla="*/ 109613 w 1493481"/>
              <a:gd name="connsiteY521" fmla="*/ 1453482 h 1734136"/>
              <a:gd name="connsiteX522" fmla="*/ 111896 w 1493481"/>
              <a:gd name="connsiteY522" fmla="*/ 1453482 h 1734136"/>
              <a:gd name="connsiteX523" fmla="*/ 111896 w 1493481"/>
              <a:gd name="connsiteY523" fmla="*/ 1455764 h 1734136"/>
              <a:gd name="connsiteX524" fmla="*/ 114180 w 1493481"/>
              <a:gd name="connsiteY524" fmla="*/ 1455764 h 1734136"/>
              <a:gd name="connsiteX525" fmla="*/ 114180 w 1493481"/>
              <a:gd name="connsiteY525" fmla="*/ 1453482 h 1734136"/>
              <a:gd name="connsiteX526" fmla="*/ 114180 w 1493481"/>
              <a:gd name="connsiteY526" fmla="*/ 1451200 h 1734136"/>
              <a:gd name="connsiteX527" fmla="*/ 114180 w 1493481"/>
              <a:gd name="connsiteY527" fmla="*/ 1448918 h 1734136"/>
              <a:gd name="connsiteX528" fmla="*/ 116463 w 1493481"/>
              <a:gd name="connsiteY528" fmla="*/ 1448918 h 1734136"/>
              <a:gd name="connsiteX529" fmla="*/ 116463 w 1493481"/>
              <a:gd name="connsiteY529" fmla="*/ 1446636 h 1734136"/>
              <a:gd name="connsiteX530" fmla="*/ 118747 w 1493481"/>
              <a:gd name="connsiteY530" fmla="*/ 1446636 h 1734136"/>
              <a:gd name="connsiteX531" fmla="*/ 121031 w 1493481"/>
              <a:gd name="connsiteY531" fmla="*/ 1446636 h 1734136"/>
              <a:gd name="connsiteX532" fmla="*/ 123314 w 1493481"/>
              <a:gd name="connsiteY532" fmla="*/ 1446636 h 1734136"/>
              <a:gd name="connsiteX533" fmla="*/ 123314 w 1493481"/>
              <a:gd name="connsiteY533" fmla="*/ 1444355 h 1734136"/>
              <a:gd name="connsiteX534" fmla="*/ 125598 w 1493481"/>
              <a:gd name="connsiteY534" fmla="*/ 1444355 h 1734136"/>
              <a:gd name="connsiteX535" fmla="*/ 127881 w 1493481"/>
              <a:gd name="connsiteY535" fmla="*/ 1444355 h 1734136"/>
              <a:gd name="connsiteX536" fmla="*/ 130165 w 1493481"/>
              <a:gd name="connsiteY536" fmla="*/ 1444355 h 1734136"/>
              <a:gd name="connsiteX537" fmla="*/ 132448 w 1493481"/>
              <a:gd name="connsiteY537" fmla="*/ 1444355 h 1734136"/>
              <a:gd name="connsiteX538" fmla="*/ 134732 w 1493481"/>
              <a:gd name="connsiteY538" fmla="*/ 1444355 h 1734136"/>
              <a:gd name="connsiteX539" fmla="*/ 134732 w 1493481"/>
              <a:gd name="connsiteY539" fmla="*/ 1442073 h 1734136"/>
              <a:gd name="connsiteX540" fmla="*/ 132448 w 1493481"/>
              <a:gd name="connsiteY540" fmla="*/ 1439791 h 1734136"/>
              <a:gd name="connsiteX541" fmla="*/ 132448 w 1493481"/>
              <a:gd name="connsiteY541" fmla="*/ 1437509 h 1734136"/>
              <a:gd name="connsiteX542" fmla="*/ 132448 w 1493481"/>
              <a:gd name="connsiteY542" fmla="*/ 1435227 h 1734136"/>
              <a:gd name="connsiteX543" fmla="*/ 134732 w 1493481"/>
              <a:gd name="connsiteY543" fmla="*/ 1435227 h 1734136"/>
              <a:gd name="connsiteX544" fmla="*/ 137016 w 1493481"/>
              <a:gd name="connsiteY544" fmla="*/ 1435227 h 1734136"/>
              <a:gd name="connsiteX545" fmla="*/ 137016 w 1493481"/>
              <a:gd name="connsiteY545" fmla="*/ 1437509 h 1734136"/>
              <a:gd name="connsiteX546" fmla="*/ 139299 w 1493481"/>
              <a:gd name="connsiteY546" fmla="*/ 1437509 h 1734136"/>
              <a:gd name="connsiteX547" fmla="*/ 141583 w 1493481"/>
              <a:gd name="connsiteY547" fmla="*/ 1437509 h 1734136"/>
              <a:gd name="connsiteX548" fmla="*/ 141583 w 1493481"/>
              <a:gd name="connsiteY548" fmla="*/ 1435227 h 1734136"/>
              <a:gd name="connsiteX549" fmla="*/ 141583 w 1493481"/>
              <a:gd name="connsiteY549" fmla="*/ 1432945 h 1734136"/>
              <a:gd name="connsiteX550" fmla="*/ 141583 w 1493481"/>
              <a:gd name="connsiteY550" fmla="*/ 1430663 h 1734136"/>
              <a:gd name="connsiteX551" fmla="*/ 141583 w 1493481"/>
              <a:gd name="connsiteY551" fmla="*/ 1428381 h 1734136"/>
              <a:gd name="connsiteX552" fmla="*/ 141583 w 1493481"/>
              <a:gd name="connsiteY552" fmla="*/ 1426099 h 1734136"/>
              <a:gd name="connsiteX553" fmla="*/ 139299 w 1493481"/>
              <a:gd name="connsiteY553" fmla="*/ 1426099 h 1734136"/>
              <a:gd name="connsiteX554" fmla="*/ 139299 w 1493481"/>
              <a:gd name="connsiteY554" fmla="*/ 1423817 h 1734136"/>
              <a:gd name="connsiteX555" fmla="*/ 137016 w 1493481"/>
              <a:gd name="connsiteY555" fmla="*/ 1423817 h 1734136"/>
              <a:gd name="connsiteX556" fmla="*/ 137016 w 1493481"/>
              <a:gd name="connsiteY556" fmla="*/ 1421536 h 1734136"/>
              <a:gd name="connsiteX557" fmla="*/ 139299 w 1493481"/>
              <a:gd name="connsiteY557" fmla="*/ 1421536 h 1734136"/>
              <a:gd name="connsiteX558" fmla="*/ 139299 w 1493481"/>
              <a:gd name="connsiteY558" fmla="*/ 1419254 h 1734136"/>
              <a:gd name="connsiteX559" fmla="*/ 141583 w 1493481"/>
              <a:gd name="connsiteY559" fmla="*/ 1416972 h 1734136"/>
              <a:gd name="connsiteX560" fmla="*/ 141583 w 1493481"/>
              <a:gd name="connsiteY560" fmla="*/ 1414690 h 1734136"/>
              <a:gd name="connsiteX561" fmla="*/ 141583 w 1493481"/>
              <a:gd name="connsiteY561" fmla="*/ 1412408 h 1734136"/>
              <a:gd name="connsiteX562" fmla="*/ 141583 w 1493481"/>
              <a:gd name="connsiteY562" fmla="*/ 1410126 h 1734136"/>
              <a:gd name="connsiteX563" fmla="*/ 139299 w 1493481"/>
              <a:gd name="connsiteY563" fmla="*/ 1410126 h 1734136"/>
              <a:gd name="connsiteX564" fmla="*/ 139299 w 1493481"/>
              <a:gd name="connsiteY564" fmla="*/ 1407844 h 1734136"/>
              <a:gd name="connsiteX565" fmla="*/ 137016 w 1493481"/>
              <a:gd name="connsiteY565" fmla="*/ 1407844 h 1734136"/>
              <a:gd name="connsiteX566" fmla="*/ 137016 w 1493481"/>
              <a:gd name="connsiteY566" fmla="*/ 1405562 h 1734136"/>
              <a:gd name="connsiteX567" fmla="*/ 134732 w 1493481"/>
              <a:gd name="connsiteY567" fmla="*/ 1405562 h 1734136"/>
              <a:gd name="connsiteX568" fmla="*/ 134732 w 1493481"/>
              <a:gd name="connsiteY568" fmla="*/ 1403280 h 1734136"/>
              <a:gd name="connsiteX569" fmla="*/ 132448 w 1493481"/>
              <a:gd name="connsiteY569" fmla="*/ 1400999 h 1734136"/>
              <a:gd name="connsiteX570" fmla="*/ 132448 w 1493481"/>
              <a:gd name="connsiteY570" fmla="*/ 1398726 h 1734136"/>
              <a:gd name="connsiteX571" fmla="*/ 130165 w 1493481"/>
              <a:gd name="connsiteY571" fmla="*/ 1398726 h 1734136"/>
              <a:gd name="connsiteX572" fmla="*/ 130165 w 1493481"/>
              <a:gd name="connsiteY572" fmla="*/ 1396444 h 1734136"/>
              <a:gd name="connsiteX573" fmla="*/ 127881 w 1493481"/>
              <a:gd name="connsiteY573" fmla="*/ 1396444 h 1734136"/>
              <a:gd name="connsiteX574" fmla="*/ 127881 w 1493481"/>
              <a:gd name="connsiteY574" fmla="*/ 1394162 h 1734136"/>
              <a:gd name="connsiteX575" fmla="*/ 125598 w 1493481"/>
              <a:gd name="connsiteY575" fmla="*/ 1394162 h 1734136"/>
              <a:gd name="connsiteX576" fmla="*/ 123314 w 1493481"/>
              <a:gd name="connsiteY576" fmla="*/ 1391880 h 1734136"/>
              <a:gd name="connsiteX577" fmla="*/ 121031 w 1493481"/>
              <a:gd name="connsiteY577" fmla="*/ 1391880 h 1734136"/>
              <a:gd name="connsiteX578" fmla="*/ 118747 w 1493481"/>
              <a:gd name="connsiteY578" fmla="*/ 1389599 h 1734136"/>
              <a:gd name="connsiteX579" fmla="*/ 116463 w 1493481"/>
              <a:gd name="connsiteY579" fmla="*/ 1389599 h 1734136"/>
              <a:gd name="connsiteX580" fmla="*/ 116463 w 1493481"/>
              <a:gd name="connsiteY580" fmla="*/ 1391880 h 1734136"/>
              <a:gd name="connsiteX581" fmla="*/ 118747 w 1493481"/>
              <a:gd name="connsiteY581" fmla="*/ 1391880 h 1734136"/>
              <a:gd name="connsiteX582" fmla="*/ 118747 w 1493481"/>
              <a:gd name="connsiteY582" fmla="*/ 1394162 h 1734136"/>
              <a:gd name="connsiteX583" fmla="*/ 118747 w 1493481"/>
              <a:gd name="connsiteY583" fmla="*/ 1396444 h 1734136"/>
              <a:gd name="connsiteX584" fmla="*/ 121031 w 1493481"/>
              <a:gd name="connsiteY584" fmla="*/ 1396444 h 1734136"/>
              <a:gd name="connsiteX585" fmla="*/ 121031 w 1493481"/>
              <a:gd name="connsiteY585" fmla="*/ 1398726 h 1734136"/>
              <a:gd name="connsiteX586" fmla="*/ 121031 w 1493481"/>
              <a:gd name="connsiteY586" fmla="*/ 1400999 h 1734136"/>
              <a:gd name="connsiteX587" fmla="*/ 123314 w 1493481"/>
              <a:gd name="connsiteY587" fmla="*/ 1400999 h 1734136"/>
              <a:gd name="connsiteX588" fmla="*/ 123314 w 1493481"/>
              <a:gd name="connsiteY588" fmla="*/ 1403280 h 1734136"/>
              <a:gd name="connsiteX589" fmla="*/ 123314 w 1493481"/>
              <a:gd name="connsiteY589" fmla="*/ 1405562 h 1734136"/>
              <a:gd name="connsiteX590" fmla="*/ 125598 w 1493481"/>
              <a:gd name="connsiteY590" fmla="*/ 1405562 h 1734136"/>
              <a:gd name="connsiteX591" fmla="*/ 123314 w 1493481"/>
              <a:gd name="connsiteY591" fmla="*/ 1405562 h 1734136"/>
              <a:gd name="connsiteX592" fmla="*/ 121031 w 1493481"/>
              <a:gd name="connsiteY592" fmla="*/ 1405562 h 1734136"/>
              <a:gd name="connsiteX593" fmla="*/ 118747 w 1493481"/>
              <a:gd name="connsiteY593" fmla="*/ 1405562 h 1734136"/>
              <a:gd name="connsiteX594" fmla="*/ 116463 w 1493481"/>
              <a:gd name="connsiteY594" fmla="*/ 1405562 h 1734136"/>
              <a:gd name="connsiteX595" fmla="*/ 116463 w 1493481"/>
              <a:gd name="connsiteY595" fmla="*/ 1403280 h 1734136"/>
              <a:gd name="connsiteX596" fmla="*/ 114180 w 1493481"/>
              <a:gd name="connsiteY596" fmla="*/ 1403280 h 1734136"/>
              <a:gd name="connsiteX597" fmla="*/ 114180 w 1493481"/>
              <a:gd name="connsiteY597" fmla="*/ 1400999 h 1734136"/>
              <a:gd name="connsiteX598" fmla="*/ 111896 w 1493481"/>
              <a:gd name="connsiteY598" fmla="*/ 1400999 h 1734136"/>
              <a:gd name="connsiteX599" fmla="*/ 109613 w 1493481"/>
              <a:gd name="connsiteY599" fmla="*/ 1400999 h 1734136"/>
              <a:gd name="connsiteX600" fmla="*/ 107329 w 1493481"/>
              <a:gd name="connsiteY600" fmla="*/ 1400999 h 1734136"/>
              <a:gd name="connsiteX601" fmla="*/ 105045 w 1493481"/>
              <a:gd name="connsiteY601" fmla="*/ 1400999 h 1734136"/>
              <a:gd name="connsiteX602" fmla="*/ 105045 w 1493481"/>
              <a:gd name="connsiteY602" fmla="*/ 1398726 h 1734136"/>
              <a:gd name="connsiteX603" fmla="*/ 102762 w 1493481"/>
              <a:gd name="connsiteY603" fmla="*/ 1398726 h 1734136"/>
              <a:gd name="connsiteX604" fmla="*/ 100478 w 1493481"/>
              <a:gd name="connsiteY604" fmla="*/ 1398726 h 1734136"/>
              <a:gd name="connsiteX605" fmla="*/ 98194 w 1493481"/>
              <a:gd name="connsiteY605" fmla="*/ 1398726 h 1734136"/>
              <a:gd name="connsiteX606" fmla="*/ 98194 w 1493481"/>
              <a:gd name="connsiteY606" fmla="*/ 1396444 h 1734136"/>
              <a:gd name="connsiteX607" fmla="*/ 95911 w 1493481"/>
              <a:gd name="connsiteY607" fmla="*/ 1396444 h 1734136"/>
              <a:gd name="connsiteX608" fmla="*/ 95911 w 1493481"/>
              <a:gd name="connsiteY608" fmla="*/ 1394162 h 1734136"/>
              <a:gd name="connsiteX609" fmla="*/ 95911 w 1493481"/>
              <a:gd name="connsiteY609" fmla="*/ 1396444 h 1734136"/>
              <a:gd name="connsiteX610" fmla="*/ 93627 w 1493481"/>
              <a:gd name="connsiteY610" fmla="*/ 1396444 h 1734136"/>
              <a:gd name="connsiteX611" fmla="*/ 93627 w 1493481"/>
              <a:gd name="connsiteY611" fmla="*/ 1394162 h 1734136"/>
              <a:gd name="connsiteX612" fmla="*/ 91344 w 1493481"/>
              <a:gd name="connsiteY612" fmla="*/ 1394162 h 1734136"/>
              <a:gd name="connsiteX613" fmla="*/ 89060 w 1493481"/>
              <a:gd name="connsiteY613" fmla="*/ 1394162 h 1734136"/>
              <a:gd name="connsiteX614" fmla="*/ 91344 w 1493481"/>
              <a:gd name="connsiteY614" fmla="*/ 1394162 h 1734136"/>
              <a:gd name="connsiteX615" fmla="*/ 91344 w 1493481"/>
              <a:gd name="connsiteY615" fmla="*/ 1391880 h 1734136"/>
              <a:gd name="connsiteX616" fmla="*/ 91344 w 1493481"/>
              <a:gd name="connsiteY616" fmla="*/ 1394162 h 1734136"/>
              <a:gd name="connsiteX617" fmla="*/ 91344 w 1493481"/>
              <a:gd name="connsiteY617" fmla="*/ 1391880 h 1734136"/>
              <a:gd name="connsiteX618" fmla="*/ 93627 w 1493481"/>
              <a:gd name="connsiteY618" fmla="*/ 1391880 h 1734136"/>
              <a:gd name="connsiteX619" fmla="*/ 91344 w 1493481"/>
              <a:gd name="connsiteY619" fmla="*/ 1391880 h 1734136"/>
              <a:gd name="connsiteX620" fmla="*/ 91344 w 1493481"/>
              <a:gd name="connsiteY620" fmla="*/ 1389599 h 1734136"/>
              <a:gd name="connsiteX621" fmla="*/ 89060 w 1493481"/>
              <a:gd name="connsiteY621" fmla="*/ 1389599 h 1734136"/>
              <a:gd name="connsiteX622" fmla="*/ 91344 w 1493481"/>
              <a:gd name="connsiteY622" fmla="*/ 1389599 h 1734136"/>
              <a:gd name="connsiteX623" fmla="*/ 93627 w 1493481"/>
              <a:gd name="connsiteY623" fmla="*/ 1387317 h 1734136"/>
              <a:gd name="connsiteX624" fmla="*/ 91344 w 1493481"/>
              <a:gd name="connsiteY624" fmla="*/ 1387317 h 1734136"/>
              <a:gd name="connsiteX625" fmla="*/ 89060 w 1493481"/>
              <a:gd name="connsiteY625" fmla="*/ 1387317 h 1734136"/>
              <a:gd name="connsiteX626" fmla="*/ 91344 w 1493481"/>
              <a:gd name="connsiteY626" fmla="*/ 1389599 h 1734136"/>
              <a:gd name="connsiteX627" fmla="*/ 89060 w 1493481"/>
              <a:gd name="connsiteY627" fmla="*/ 1389599 h 1734136"/>
              <a:gd name="connsiteX628" fmla="*/ 89060 w 1493481"/>
              <a:gd name="connsiteY628" fmla="*/ 1387317 h 1734136"/>
              <a:gd name="connsiteX629" fmla="*/ 89060 w 1493481"/>
              <a:gd name="connsiteY629" fmla="*/ 1385035 h 1734136"/>
              <a:gd name="connsiteX630" fmla="*/ 86777 w 1493481"/>
              <a:gd name="connsiteY630" fmla="*/ 1385035 h 1734136"/>
              <a:gd name="connsiteX631" fmla="*/ 86777 w 1493481"/>
              <a:gd name="connsiteY631" fmla="*/ 1387317 h 1734136"/>
              <a:gd name="connsiteX632" fmla="*/ 84493 w 1493481"/>
              <a:gd name="connsiteY632" fmla="*/ 1387317 h 1734136"/>
              <a:gd name="connsiteX633" fmla="*/ 82209 w 1493481"/>
              <a:gd name="connsiteY633" fmla="*/ 1387317 h 1734136"/>
              <a:gd name="connsiteX634" fmla="*/ 82209 w 1493481"/>
              <a:gd name="connsiteY634" fmla="*/ 1385035 h 1734136"/>
              <a:gd name="connsiteX635" fmla="*/ 82209 w 1493481"/>
              <a:gd name="connsiteY635" fmla="*/ 1382753 h 1734136"/>
              <a:gd name="connsiteX636" fmla="*/ 79926 w 1493481"/>
              <a:gd name="connsiteY636" fmla="*/ 1382753 h 1734136"/>
              <a:gd name="connsiteX637" fmla="*/ 79926 w 1493481"/>
              <a:gd name="connsiteY637" fmla="*/ 1380471 h 1734136"/>
              <a:gd name="connsiteX638" fmla="*/ 79926 w 1493481"/>
              <a:gd name="connsiteY638" fmla="*/ 1378189 h 1734136"/>
              <a:gd name="connsiteX639" fmla="*/ 79926 w 1493481"/>
              <a:gd name="connsiteY639" fmla="*/ 1375907 h 1734136"/>
              <a:gd name="connsiteX640" fmla="*/ 82209 w 1493481"/>
              <a:gd name="connsiteY640" fmla="*/ 1375907 h 1734136"/>
              <a:gd name="connsiteX641" fmla="*/ 82209 w 1493481"/>
              <a:gd name="connsiteY641" fmla="*/ 1373625 h 1734136"/>
              <a:gd name="connsiteX642" fmla="*/ 79926 w 1493481"/>
              <a:gd name="connsiteY642" fmla="*/ 1373625 h 1734136"/>
              <a:gd name="connsiteX643" fmla="*/ 79926 w 1493481"/>
              <a:gd name="connsiteY643" fmla="*/ 1371343 h 1734136"/>
              <a:gd name="connsiteX644" fmla="*/ 77642 w 1493481"/>
              <a:gd name="connsiteY644" fmla="*/ 1371343 h 1734136"/>
              <a:gd name="connsiteX645" fmla="*/ 77642 w 1493481"/>
              <a:gd name="connsiteY645" fmla="*/ 1369061 h 1734136"/>
              <a:gd name="connsiteX646" fmla="*/ 79926 w 1493481"/>
              <a:gd name="connsiteY646" fmla="*/ 1369061 h 1734136"/>
              <a:gd name="connsiteX647" fmla="*/ 82209 w 1493481"/>
              <a:gd name="connsiteY647" fmla="*/ 1369061 h 1734136"/>
              <a:gd name="connsiteX648" fmla="*/ 82209 w 1493481"/>
              <a:gd name="connsiteY648" fmla="*/ 1366780 h 1734136"/>
              <a:gd name="connsiteX649" fmla="*/ 79926 w 1493481"/>
              <a:gd name="connsiteY649" fmla="*/ 1366780 h 1734136"/>
              <a:gd name="connsiteX650" fmla="*/ 77642 w 1493481"/>
              <a:gd name="connsiteY650" fmla="*/ 1366780 h 1734136"/>
              <a:gd name="connsiteX651" fmla="*/ 77642 w 1493481"/>
              <a:gd name="connsiteY651" fmla="*/ 1364498 h 1734136"/>
              <a:gd name="connsiteX652" fmla="*/ 75359 w 1493481"/>
              <a:gd name="connsiteY652" fmla="*/ 1364498 h 1734136"/>
              <a:gd name="connsiteX653" fmla="*/ 75359 w 1493481"/>
              <a:gd name="connsiteY653" fmla="*/ 1366780 h 1734136"/>
              <a:gd name="connsiteX654" fmla="*/ 75359 w 1493481"/>
              <a:gd name="connsiteY654" fmla="*/ 1364498 h 1734136"/>
              <a:gd name="connsiteX655" fmla="*/ 75359 w 1493481"/>
              <a:gd name="connsiteY655" fmla="*/ 1362216 h 1734136"/>
              <a:gd name="connsiteX656" fmla="*/ 75359 w 1493481"/>
              <a:gd name="connsiteY656" fmla="*/ 1359934 h 1734136"/>
              <a:gd name="connsiteX657" fmla="*/ 77642 w 1493481"/>
              <a:gd name="connsiteY657" fmla="*/ 1359934 h 1734136"/>
              <a:gd name="connsiteX658" fmla="*/ 77642 w 1493481"/>
              <a:gd name="connsiteY658" fmla="*/ 1357652 h 1734136"/>
              <a:gd name="connsiteX659" fmla="*/ 75359 w 1493481"/>
              <a:gd name="connsiteY659" fmla="*/ 1357652 h 1734136"/>
              <a:gd name="connsiteX660" fmla="*/ 75359 w 1493481"/>
              <a:gd name="connsiteY660" fmla="*/ 1355370 h 1734136"/>
              <a:gd name="connsiteX661" fmla="*/ 73075 w 1493481"/>
              <a:gd name="connsiteY661" fmla="*/ 1355370 h 1734136"/>
              <a:gd name="connsiteX662" fmla="*/ 73075 w 1493481"/>
              <a:gd name="connsiteY662" fmla="*/ 1353088 h 1734136"/>
              <a:gd name="connsiteX663" fmla="*/ 70792 w 1493481"/>
              <a:gd name="connsiteY663" fmla="*/ 1353088 h 1734136"/>
              <a:gd name="connsiteX664" fmla="*/ 70792 w 1493481"/>
              <a:gd name="connsiteY664" fmla="*/ 1350806 h 1734136"/>
              <a:gd name="connsiteX665" fmla="*/ 73075 w 1493481"/>
              <a:gd name="connsiteY665" fmla="*/ 1350806 h 1734136"/>
              <a:gd name="connsiteX666" fmla="*/ 73075 w 1493481"/>
              <a:gd name="connsiteY666" fmla="*/ 1353088 h 1734136"/>
              <a:gd name="connsiteX667" fmla="*/ 73075 w 1493481"/>
              <a:gd name="connsiteY667" fmla="*/ 1350806 h 1734136"/>
              <a:gd name="connsiteX668" fmla="*/ 73075 w 1493481"/>
              <a:gd name="connsiteY668" fmla="*/ 1348524 h 1734136"/>
              <a:gd name="connsiteX669" fmla="*/ 75359 w 1493481"/>
              <a:gd name="connsiteY669" fmla="*/ 1348524 h 1734136"/>
              <a:gd name="connsiteX670" fmla="*/ 75359 w 1493481"/>
              <a:gd name="connsiteY670" fmla="*/ 1346243 h 1734136"/>
              <a:gd name="connsiteX671" fmla="*/ 77642 w 1493481"/>
              <a:gd name="connsiteY671" fmla="*/ 1346243 h 1734136"/>
              <a:gd name="connsiteX672" fmla="*/ 77642 w 1493481"/>
              <a:gd name="connsiteY672" fmla="*/ 1343961 h 1734136"/>
              <a:gd name="connsiteX673" fmla="*/ 75359 w 1493481"/>
              <a:gd name="connsiteY673" fmla="*/ 1343961 h 1734136"/>
              <a:gd name="connsiteX674" fmla="*/ 75359 w 1493481"/>
              <a:gd name="connsiteY674" fmla="*/ 1341679 h 1734136"/>
              <a:gd name="connsiteX675" fmla="*/ 77642 w 1493481"/>
              <a:gd name="connsiteY675" fmla="*/ 1341679 h 1734136"/>
              <a:gd name="connsiteX676" fmla="*/ 77642 w 1493481"/>
              <a:gd name="connsiteY676" fmla="*/ 1339397 h 1734136"/>
              <a:gd name="connsiteX677" fmla="*/ 77642 w 1493481"/>
              <a:gd name="connsiteY677" fmla="*/ 1337115 h 1734136"/>
              <a:gd name="connsiteX678" fmla="*/ 77642 w 1493481"/>
              <a:gd name="connsiteY678" fmla="*/ 1339397 h 1734136"/>
              <a:gd name="connsiteX679" fmla="*/ 77642 w 1493481"/>
              <a:gd name="connsiteY679" fmla="*/ 1337115 h 1734136"/>
              <a:gd name="connsiteX680" fmla="*/ 77642 w 1493481"/>
              <a:gd name="connsiteY680" fmla="*/ 1334833 h 1734136"/>
              <a:gd name="connsiteX681" fmla="*/ 77642 w 1493481"/>
              <a:gd name="connsiteY681" fmla="*/ 1332551 h 1734136"/>
              <a:gd name="connsiteX682" fmla="*/ 77642 w 1493481"/>
              <a:gd name="connsiteY682" fmla="*/ 1330269 h 1734136"/>
              <a:gd name="connsiteX683" fmla="*/ 77642 w 1493481"/>
              <a:gd name="connsiteY683" fmla="*/ 1327987 h 1734136"/>
              <a:gd name="connsiteX684" fmla="*/ 77642 w 1493481"/>
              <a:gd name="connsiteY684" fmla="*/ 1325705 h 1734136"/>
              <a:gd name="connsiteX685" fmla="*/ 75359 w 1493481"/>
              <a:gd name="connsiteY685" fmla="*/ 1325705 h 1734136"/>
              <a:gd name="connsiteX686" fmla="*/ 77642 w 1493481"/>
              <a:gd name="connsiteY686" fmla="*/ 1325705 h 1734136"/>
              <a:gd name="connsiteX687" fmla="*/ 77642 w 1493481"/>
              <a:gd name="connsiteY687" fmla="*/ 1323424 h 1734136"/>
              <a:gd name="connsiteX688" fmla="*/ 75359 w 1493481"/>
              <a:gd name="connsiteY688" fmla="*/ 1323424 h 1734136"/>
              <a:gd name="connsiteX689" fmla="*/ 75359 w 1493481"/>
              <a:gd name="connsiteY689" fmla="*/ 1321142 h 1734136"/>
              <a:gd name="connsiteX690" fmla="*/ 77642 w 1493481"/>
              <a:gd name="connsiteY690" fmla="*/ 1321142 h 1734136"/>
              <a:gd name="connsiteX691" fmla="*/ 77642 w 1493481"/>
              <a:gd name="connsiteY691" fmla="*/ 1323424 h 1734136"/>
              <a:gd name="connsiteX692" fmla="*/ 77642 w 1493481"/>
              <a:gd name="connsiteY692" fmla="*/ 1321142 h 1734136"/>
              <a:gd name="connsiteX693" fmla="*/ 79926 w 1493481"/>
              <a:gd name="connsiteY693" fmla="*/ 1321142 h 1734136"/>
              <a:gd name="connsiteX694" fmla="*/ 77642 w 1493481"/>
              <a:gd name="connsiteY694" fmla="*/ 1321142 h 1734136"/>
              <a:gd name="connsiteX695" fmla="*/ 77642 w 1493481"/>
              <a:gd name="connsiteY695" fmla="*/ 1318860 h 1734136"/>
              <a:gd name="connsiteX696" fmla="*/ 75359 w 1493481"/>
              <a:gd name="connsiteY696" fmla="*/ 1318860 h 1734136"/>
              <a:gd name="connsiteX697" fmla="*/ 75359 w 1493481"/>
              <a:gd name="connsiteY697" fmla="*/ 1316578 h 1734136"/>
              <a:gd name="connsiteX698" fmla="*/ 75359 w 1493481"/>
              <a:gd name="connsiteY698" fmla="*/ 1314296 h 1734136"/>
              <a:gd name="connsiteX699" fmla="*/ 73075 w 1493481"/>
              <a:gd name="connsiteY699" fmla="*/ 1312014 h 1734136"/>
              <a:gd name="connsiteX700" fmla="*/ 73075 w 1493481"/>
              <a:gd name="connsiteY700" fmla="*/ 1309732 h 1734136"/>
              <a:gd name="connsiteX701" fmla="*/ 70792 w 1493481"/>
              <a:gd name="connsiteY701" fmla="*/ 1307450 h 1734136"/>
              <a:gd name="connsiteX702" fmla="*/ 70792 w 1493481"/>
              <a:gd name="connsiteY702" fmla="*/ 1305168 h 1734136"/>
              <a:gd name="connsiteX703" fmla="*/ 68508 w 1493481"/>
              <a:gd name="connsiteY703" fmla="*/ 1305168 h 1734136"/>
              <a:gd name="connsiteX704" fmla="*/ 68508 w 1493481"/>
              <a:gd name="connsiteY704" fmla="*/ 1302887 h 1734136"/>
              <a:gd name="connsiteX705" fmla="*/ 66224 w 1493481"/>
              <a:gd name="connsiteY705" fmla="*/ 1302887 h 1734136"/>
              <a:gd name="connsiteX706" fmla="*/ 66224 w 1493481"/>
              <a:gd name="connsiteY706" fmla="*/ 1300605 h 1734136"/>
              <a:gd name="connsiteX707" fmla="*/ 63941 w 1493481"/>
              <a:gd name="connsiteY707" fmla="*/ 1300605 h 1734136"/>
              <a:gd name="connsiteX708" fmla="*/ 61657 w 1493481"/>
              <a:gd name="connsiteY708" fmla="*/ 1298323 h 1734136"/>
              <a:gd name="connsiteX709" fmla="*/ 59373 w 1493481"/>
              <a:gd name="connsiteY709" fmla="*/ 1298323 h 1734136"/>
              <a:gd name="connsiteX710" fmla="*/ 59373 w 1493481"/>
              <a:gd name="connsiteY710" fmla="*/ 1296041 h 1734136"/>
              <a:gd name="connsiteX711" fmla="*/ 59373 w 1493481"/>
              <a:gd name="connsiteY711" fmla="*/ 1293759 h 1734136"/>
              <a:gd name="connsiteX712" fmla="*/ 57090 w 1493481"/>
              <a:gd name="connsiteY712" fmla="*/ 1291477 h 1734136"/>
              <a:gd name="connsiteX713" fmla="*/ 54806 w 1493481"/>
              <a:gd name="connsiteY713" fmla="*/ 1289195 h 1734136"/>
              <a:gd name="connsiteX714" fmla="*/ 54806 w 1493481"/>
              <a:gd name="connsiteY714" fmla="*/ 1286913 h 1734136"/>
              <a:gd name="connsiteX715" fmla="*/ 52523 w 1493481"/>
              <a:gd name="connsiteY715" fmla="*/ 1286913 h 1734136"/>
              <a:gd name="connsiteX716" fmla="*/ 52523 w 1493481"/>
              <a:gd name="connsiteY716" fmla="*/ 1284631 h 1734136"/>
              <a:gd name="connsiteX717" fmla="*/ 50239 w 1493481"/>
              <a:gd name="connsiteY717" fmla="*/ 1284631 h 1734136"/>
              <a:gd name="connsiteX718" fmla="*/ 50239 w 1493481"/>
              <a:gd name="connsiteY718" fmla="*/ 1282349 h 1734136"/>
              <a:gd name="connsiteX719" fmla="*/ 47955 w 1493481"/>
              <a:gd name="connsiteY719" fmla="*/ 1282349 h 1734136"/>
              <a:gd name="connsiteX720" fmla="*/ 45672 w 1493481"/>
              <a:gd name="connsiteY720" fmla="*/ 1282349 h 1734136"/>
              <a:gd name="connsiteX721" fmla="*/ 43388 w 1493481"/>
              <a:gd name="connsiteY721" fmla="*/ 1280068 h 1734136"/>
              <a:gd name="connsiteX722" fmla="*/ 45672 w 1493481"/>
              <a:gd name="connsiteY722" fmla="*/ 1280068 h 1734136"/>
              <a:gd name="connsiteX723" fmla="*/ 47955 w 1493481"/>
              <a:gd name="connsiteY723" fmla="*/ 1277786 h 1734136"/>
              <a:gd name="connsiteX724" fmla="*/ 50239 w 1493481"/>
              <a:gd name="connsiteY724" fmla="*/ 1275504 h 1734136"/>
              <a:gd name="connsiteX725" fmla="*/ 54806 w 1493481"/>
              <a:gd name="connsiteY725" fmla="*/ 1275504 h 1734136"/>
              <a:gd name="connsiteX726" fmla="*/ 57090 w 1493481"/>
              <a:gd name="connsiteY726" fmla="*/ 1273222 h 1734136"/>
              <a:gd name="connsiteX727" fmla="*/ 59373 w 1493481"/>
              <a:gd name="connsiteY727" fmla="*/ 1270940 h 1734136"/>
              <a:gd name="connsiteX728" fmla="*/ 68508 w 1493481"/>
              <a:gd name="connsiteY728" fmla="*/ 1261812 h 1734136"/>
              <a:gd name="connsiteX729" fmla="*/ 70792 w 1493481"/>
              <a:gd name="connsiteY729" fmla="*/ 1261812 h 1734136"/>
              <a:gd name="connsiteX730" fmla="*/ 73075 w 1493481"/>
              <a:gd name="connsiteY730" fmla="*/ 1261812 h 1734136"/>
              <a:gd name="connsiteX731" fmla="*/ 73075 w 1493481"/>
              <a:gd name="connsiteY731" fmla="*/ 1264094 h 1734136"/>
              <a:gd name="connsiteX732" fmla="*/ 75359 w 1493481"/>
              <a:gd name="connsiteY732" fmla="*/ 1264094 h 1734136"/>
              <a:gd name="connsiteX733" fmla="*/ 77642 w 1493481"/>
              <a:gd name="connsiteY733" fmla="*/ 1264094 h 1734136"/>
              <a:gd name="connsiteX734" fmla="*/ 79926 w 1493481"/>
              <a:gd name="connsiteY734" fmla="*/ 1257248 h 1734136"/>
              <a:gd name="connsiteX735" fmla="*/ 82209 w 1493481"/>
              <a:gd name="connsiteY735" fmla="*/ 1252685 h 1734136"/>
              <a:gd name="connsiteX736" fmla="*/ 89060 w 1493481"/>
              <a:gd name="connsiteY736" fmla="*/ 1252685 h 1734136"/>
              <a:gd name="connsiteX737" fmla="*/ 91344 w 1493481"/>
              <a:gd name="connsiteY737" fmla="*/ 1252685 h 1734136"/>
              <a:gd name="connsiteX738" fmla="*/ 93627 w 1493481"/>
              <a:gd name="connsiteY738" fmla="*/ 1252685 h 1734136"/>
              <a:gd name="connsiteX739" fmla="*/ 95911 w 1493481"/>
              <a:gd name="connsiteY739" fmla="*/ 1250403 h 1734136"/>
              <a:gd name="connsiteX740" fmla="*/ 98194 w 1493481"/>
              <a:gd name="connsiteY740" fmla="*/ 1250403 h 1734136"/>
              <a:gd name="connsiteX741" fmla="*/ 100478 w 1493481"/>
              <a:gd name="connsiteY741" fmla="*/ 1245839 h 1734136"/>
              <a:gd name="connsiteX742" fmla="*/ 98194 w 1493481"/>
              <a:gd name="connsiteY742" fmla="*/ 1243567 h 1734136"/>
              <a:gd name="connsiteX743" fmla="*/ 98194 w 1493481"/>
              <a:gd name="connsiteY743" fmla="*/ 1241275 h 1734136"/>
              <a:gd name="connsiteX744" fmla="*/ 95911 w 1493481"/>
              <a:gd name="connsiteY744" fmla="*/ 1234439 h 1734136"/>
              <a:gd name="connsiteX745" fmla="*/ 93627 w 1493481"/>
              <a:gd name="connsiteY745" fmla="*/ 1225312 h 1734136"/>
              <a:gd name="connsiteX746" fmla="*/ 93627 w 1493481"/>
              <a:gd name="connsiteY746" fmla="*/ 1223030 h 1734136"/>
              <a:gd name="connsiteX747" fmla="*/ 91344 w 1493481"/>
              <a:gd name="connsiteY747" fmla="*/ 1223030 h 1734136"/>
              <a:gd name="connsiteX748" fmla="*/ 89060 w 1493481"/>
              <a:gd name="connsiteY748" fmla="*/ 1220748 h 1734136"/>
              <a:gd name="connsiteX749" fmla="*/ 86777 w 1493481"/>
              <a:gd name="connsiteY749" fmla="*/ 1220748 h 1734136"/>
              <a:gd name="connsiteX750" fmla="*/ 84493 w 1493481"/>
              <a:gd name="connsiteY750" fmla="*/ 1218466 h 1734136"/>
              <a:gd name="connsiteX751" fmla="*/ 84493 w 1493481"/>
              <a:gd name="connsiteY751" fmla="*/ 1213902 h 1734136"/>
              <a:gd name="connsiteX752" fmla="*/ 84493 w 1493481"/>
              <a:gd name="connsiteY752" fmla="*/ 1209338 h 1734136"/>
              <a:gd name="connsiteX753" fmla="*/ 86777 w 1493481"/>
              <a:gd name="connsiteY753" fmla="*/ 1204775 h 1734136"/>
              <a:gd name="connsiteX754" fmla="*/ 89060 w 1493481"/>
              <a:gd name="connsiteY754" fmla="*/ 1200211 h 1734136"/>
              <a:gd name="connsiteX755" fmla="*/ 91344 w 1493481"/>
              <a:gd name="connsiteY755" fmla="*/ 1193365 h 1734136"/>
              <a:gd name="connsiteX756" fmla="*/ 91344 w 1493481"/>
              <a:gd name="connsiteY756" fmla="*/ 1186519 h 1734136"/>
              <a:gd name="connsiteX757" fmla="*/ 91344 w 1493481"/>
              <a:gd name="connsiteY757" fmla="*/ 1181956 h 1734136"/>
              <a:gd name="connsiteX758" fmla="*/ 93627 w 1493481"/>
              <a:gd name="connsiteY758" fmla="*/ 1179674 h 1734136"/>
              <a:gd name="connsiteX759" fmla="*/ 93627 w 1493481"/>
              <a:gd name="connsiteY759" fmla="*/ 1177392 h 1734136"/>
              <a:gd name="connsiteX760" fmla="*/ 93627 w 1493481"/>
              <a:gd name="connsiteY760" fmla="*/ 1175110 h 1734136"/>
              <a:gd name="connsiteX761" fmla="*/ 93627 w 1493481"/>
              <a:gd name="connsiteY761" fmla="*/ 1172828 h 1734136"/>
              <a:gd name="connsiteX762" fmla="*/ 91344 w 1493481"/>
              <a:gd name="connsiteY762" fmla="*/ 1170546 h 1734136"/>
              <a:gd name="connsiteX763" fmla="*/ 91344 w 1493481"/>
              <a:gd name="connsiteY763" fmla="*/ 1168264 h 1734136"/>
              <a:gd name="connsiteX764" fmla="*/ 91344 w 1493481"/>
              <a:gd name="connsiteY764" fmla="*/ 1163700 h 1734136"/>
              <a:gd name="connsiteX765" fmla="*/ 93627 w 1493481"/>
              <a:gd name="connsiteY765" fmla="*/ 1163700 h 1734136"/>
              <a:gd name="connsiteX766" fmla="*/ 95911 w 1493481"/>
              <a:gd name="connsiteY766" fmla="*/ 1161419 h 1734136"/>
              <a:gd name="connsiteX767" fmla="*/ 100478 w 1493481"/>
              <a:gd name="connsiteY767" fmla="*/ 1156855 h 1734136"/>
              <a:gd name="connsiteX768" fmla="*/ 102762 w 1493481"/>
              <a:gd name="connsiteY768" fmla="*/ 1156855 h 1734136"/>
              <a:gd name="connsiteX769" fmla="*/ 102762 w 1493481"/>
              <a:gd name="connsiteY769" fmla="*/ 1154573 h 1734136"/>
              <a:gd name="connsiteX770" fmla="*/ 102762 w 1493481"/>
              <a:gd name="connsiteY770" fmla="*/ 1147727 h 1734136"/>
              <a:gd name="connsiteX771" fmla="*/ 102762 w 1493481"/>
              <a:gd name="connsiteY771" fmla="*/ 1145445 h 1734136"/>
              <a:gd name="connsiteX772" fmla="*/ 105045 w 1493481"/>
              <a:gd name="connsiteY772" fmla="*/ 1143163 h 1734136"/>
              <a:gd name="connsiteX773" fmla="*/ 107329 w 1493481"/>
              <a:gd name="connsiteY773" fmla="*/ 1140881 h 1734136"/>
              <a:gd name="connsiteX774" fmla="*/ 109613 w 1493481"/>
              <a:gd name="connsiteY774" fmla="*/ 1140881 h 1734136"/>
              <a:gd name="connsiteX775" fmla="*/ 114180 w 1493481"/>
              <a:gd name="connsiteY775" fmla="*/ 1140881 h 1734136"/>
              <a:gd name="connsiteX776" fmla="*/ 118747 w 1493481"/>
              <a:gd name="connsiteY776" fmla="*/ 1136318 h 1734136"/>
              <a:gd name="connsiteX777" fmla="*/ 121031 w 1493481"/>
              <a:gd name="connsiteY777" fmla="*/ 1136318 h 1734136"/>
              <a:gd name="connsiteX778" fmla="*/ 121031 w 1493481"/>
              <a:gd name="connsiteY778" fmla="*/ 1134036 h 1734136"/>
              <a:gd name="connsiteX779" fmla="*/ 123314 w 1493481"/>
              <a:gd name="connsiteY779" fmla="*/ 1134036 h 1734136"/>
              <a:gd name="connsiteX780" fmla="*/ 125598 w 1493481"/>
              <a:gd name="connsiteY780" fmla="*/ 1134036 h 1734136"/>
              <a:gd name="connsiteX781" fmla="*/ 125598 w 1493481"/>
              <a:gd name="connsiteY781" fmla="*/ 1131754 h 1734136"/>
              <a:gd name="connsiteX782" fmla="*/ 134732 w 1493481"/>
              <a:gd name="connsiteY782" fmla="*/ 1129472 h 1734136"/>
              <a:gd name="connsiteX783" fmla="*/ 139299 w 1493481"/>
              <a:gd name="connsiteY783" fmla="*/ 1129472 h 1734136"/>
              <a:gd name="connsiteX784" fmla="*/ 141583 w 1493481"/>
              <a:gd name="connsiteY784" fmla="*/ 1129472 h 1734136"/>
              <a:gd name="connsiteX785" fmla="*/ 143867 w 1493481"/>
              <a:gd name="connsiteY785" fmla="*/ 1129472 h 1734136"/>
              <a:gd name="connsiteX786" fmla="*/ 146150 w 1493481"/>
              <a:gd name="connsiteY786" fmla="*/ 1129472 h 1734136"/>
              <a:gd name="connsiteX787" fmla="*/ 146150 w 1493481"/>
              <a:gd name="connsiteY787" fmla="*/ 1127190 h 1734136"/>
              <a:gd name="connsiteX788" fmla="*/ 146150 w 1493481"/>
              <a:gd name="connsiteY788" fmla="*/ 1124908 h 1734136"/>
              <a:gd name="connsiteX789" fmla="*/ 148434 w 1493481"/>
              <a:gd name="connsiteY789" fmla="*/ 1118063 h 1734136"/>
              <a:gd name="connsiteX790" fmla="*/ 146150 w 1493481"/>
              <a:gd name="connsiteY790" fmla="*/ 1115780 h 1734136"/>
              <a:gd name="connsiteX791" fmla="*/ 146150 w 1493481"/>
              <a:gd name="connsiteY791" fmla="*/ 1113499 h 1734136"/>
              <a:gd name="connsiteX792" fmla="*/ 146150 w 1493481"/>
              <a:gd name="connsiteY792" fmla="*/ 1111217 h 1734136"/>
              <a:gd name="connsiteX793" fmla="*/ 148434 w 1493481"/>
              <a:gd name="connsiteY793" fmla="*/ 1111217 h 1734136"/>
              <a:gd name="connsiteX794" fmla="*/ 155284 w 1493481"/>
              <a:gd name="connsiteY794" fmla="*/ 1111217 h 1734136"/>
              <a:gd name="connsiteX795" fmla="*/ 157568 w 1493481"/>
              <a:gd name="connsiteY795" fmla="*/ 1108935 h 1734136"/>
              <a:gd name="connsiteX796" fmla="*/ 157568 w 1493481"/>
              <a:gd name="connsiteY796" fmla="*/ 1106653 h 1734136"/>
              <a:gd name="connsiteX797" fmla="*/ 155284 w 1493481"/>
              <a:gd name="connsiteY797" fmla="*/ 1104371 h 1734136"/>
              <a:gd name="connsiteX798" fmla="*/ 153001 w 1493481"/>
              <a:gd name="connsiteY798" fmla="*/ 1104371 h 1734136"/>
              <a:gd name="connsiteX799" fmla="*/ 150717 w 1493481"/>
              <a:gd name="connsiteY799" fmla="*/ 1104371 h 1734136"/>
              <a:gd name="connsiteX800" fmla="*/ 148434 w 1493481"/>
              <a:gd name="connsiteY800" fmla="*/ 1102089 h 1734136"/>
              <a:gd name="connsiteX801" fmla="*/ 148434 w 1493481"/>
              <a:gd name="connsiteY801" fmla="*/ 1099807 h 1734136"/>
              <a:gd name="connsiteX802" fmla="*/ 148434 w 1493481"/>
              <a:gd name="connsiteY802" fmla="*/ 1097525 h 1734136"/>
              <a:gd name="connsiteX803" fmla="*/ 148434 w 1493481"/>
              <a:gd name="connsiteY803" fmla="*/ 1095244 h 1734136"/>
              <a:gd name="connsiteX804" fmla="*/ 150717 w 1493481"/>
              <a:gd name="connsiteY804" fmla="*/ 1090680 h 1734136"/>
              <a:gd name="connsiteX805" fmla="*/ 150717 w 1493481"/>
              <a:gd name="connsiteY805" fmla="*/ 1086125 h 1734136"/>
              <a:gd name="connsiteX806" fmla="*/ 150717 w 1493481"/>
              <a:gd name="connsiteY806" fmla="*/ 1081561 h 1734136"/>
              <a:gd name="connsiteX807" fmla="*/ 150717 w 1493481"/>
              <a:gd name="connsiteY807" fmla="*/ 1074716 h 1734136"/>
              <a:gd name="connsiteX808" fmla="*/ 148434 w 1493481"/>
              <a:gd name="connsiteY808" fmla="*/ 1072434 h 1734136"/>
              <a:gd name="connsiteX809" fmla="*/ 150717 w 1493481"/>
              <a:gd name="connsiteY809" fmla="*/ 1072434 h 1734136"/>
              <a:gd name="connsiteX810" fmla="*/ 150717 w 1493481"/>
              <a:gd name="connsiteY810" fmla="*/ 1070152 h 1734136"/>
              <a:gd name="connsiteX811" fmla="*/ 153001 w 1493481"/>
              <a:gd name="connsiteY811" fmla="*/ 1067870 h 1734136"/>
              <a:gd name="connsiteX812" fmla="*/ 155284 w 1493481"/>
              <a:gd name="connsiteY812" fmla="*/ 1070152 h 1734136"/>
              <a:gd name="connsiteX813" fmla="*/ 159852 w 1493481"/>
              <a:gd name="connsiteY813" fmla="*/ 1067870 h 1734136"/>
              <a:gd name="connsiteX814" fmla="*/ 162135 w 1493481"/>
              <a:gd name="connsiteY814" fmla="*/ 1063306 h 1734136"/>
              <a:gd name="connsiteX815" fmla="*/ 162135 w 1493481"/>
              <a:gd name="connsiteY815" fmla="*/ 1061024 h 1734136"/>
              <a:gd name="connsiteX816" fmla="*/ 164419 w 1493481"/>
              <a:gd name="connsiteY816" fmla="*/ 1061024 h 1734136"/>
              <a:gd name="connsiteX817" fmla="*/ 164419 w 1493481"/>
              <a:gd name="connsiteY817" fmla="*/ 1058743 h 1734136"/>
              <a:gd name="connsiteX818" fmla="*/ 168986 w 1493481"/>
              <a:gd name="connsiteY818" fmla="*/ 1056461 h 1734136"/>
              <a:gd name="connsiteX819" fmla="*/ 178121 w 1493481"/>
              <a:gd name="connsiteY819" fmla="*/ 1054179 h 1734136"/>
              <a:gd name="connsiteX820" fmla="*/ 184971 w 1493481"/>
              <a:gd name="connsiteY820" fmla="*/ 1051897 h 1734136"/>
              <a:gd name="connsiteX821" fmla="*/ 187255 w 1493481"/>
              <a:gd name="connsiteY821" fmla="*/ 1051897 h 1734136"/>
              <a:gd name="connsiteX822" fmla="*/ 191822 w 1493481"/>
              <a:gd name="connsiteY822" fmla="*/ 1049615 h 1734136"/>
              <a:gd name="connsiteX823" fmla="*/ 194106 w 1493481"/>
              <a:gd name="connsiteY823" fmla="*/ 1049615 h 1734136"/>
              <a:gd name="connsiteX824" fmla="*/ 194106 w 1493481"/>
              <a:gd name="connsiteY824" fmla="*/ 1047333 h 1734136"/>
              <a:gd name="connsiteX825" fmla="*/ 196389 w 1493481"/>
              <a:gd name="connsiteY825" fmla="*/ 1040488 h 1734136"/>
              <a:gd name="connsiteX826" fmla="*/ 200956 w 1493481"/>
              <a:gd name="connsiteY826" fmla="*/ 1035924 h 1734136"/>
              <a:gd name="connsiteX827" fmla="*/ 203240 w 1493481"/>
              <a:gd name="connsiteY827" fmla="*/ 1029078 h 1734136"/>
              <a:gd name="connsiteX828" fmla="*/ 203240 w 1493481"/>
              <a:gd name="connsiteY828" fmla="*/ 1026796 h 1734136"/>
              <a:gd name="connsiteX829" fmla="*/ 203240 w 1493481"/>
              <a:gd name="connsiteY829" fmla="*/ 1022232 h 1734136"/>
              <a:gd name="connsiteX830" fmla="*/ 203240 w 1493481"/>
              <a:gd name="connsiteY830" fmla="*/ 1019950 h 1734136"/>
              <a:gd name="connsiteX831" fmla="*/ 207807 w 1493481"/>
              <a:gd name="connsiteY831" fmla="*/ 1015387 h 1734136"/>
              <a:gd name="connsiteX832" fmla="*/ 207807 w 1493481"/>
              <a:gd name="connsiteY832" fmla="*/ 1013105 h 1734136"/>
              <a:gd name="connsiteX833" fmla="*/ 207807 w 1493481"/>
              <a:gd name="connsiteY833" fmla="*/ 1008541 h 1734136"/>
              <a:gd name="connsiteX834" fmla="*/ 203240 w 1493481"/>
              <a:gd name="connsiteY834" fmla="*/ 1006259 h 1734136"/>
              <a:gd name="connsiteX835" fmla="*/ 203240 w 1493481"/>
              <a:gd name="connsiteY835" fmla="*/ 1003977 h 1734136"/>
              <a:gd name="connsiteX836" fmla="*/ 200956 w 1493481"/>
              <a:gd name="connsiteY836" fmla="*/ 1003977 h 1734136"/>
              <a:gd name="connsiteX837" fmla="*/ 198673 w 1493481"/>
              <a:gd name="connsiteY837" fmla="*/ 999413 h 1734136"/>
              <a:gd name="connsiteX838" fmla="*/ 200956 w 1493481"/>
              <a:gd name="connsiteY838" fmla="*/ 994849 h 1734136"/>
              <a:gd name="connsiteX839" fmla="*/ 200956 w 1493481"/>
              <a:gd name="connsiteY839" fmla="*/ 992568 h 1734136"/>
              <a:gd name="connsiteX840" fmla="*/ 200956 w 1493481"/>
              <a:gd name="connsiteY840" fmla="*/ 990286 h 1734136"/>
              <a:gd name="connsiteX841" fmla="*/ 200956 w 1493481"/>
              <a:gd name="connsiteY841" fmla="*/ 985722 h 1734136"/>
              <a:gd name="connsiteX842" fmla="*/ 198673 w 1493481"/>
              <a:gd name="connsiteY842" fmla="*/ 983440 h 1734136"/>
              <a:gd name="connsiteX843" fmla="*/ 194106 w 1493481"/>
              <a:gd name="connsiteY843" fmla="*/ 978876 h 1734136"/>
              <a:gd name="connsiteX844" fmla="*/ 191822 w 1493481"/>
              <a:gd name="connsiteY844" fmla="*/ 976594 h 1734136"/>
              <a:gd name="connsiteX845" fmla="*/ 189538 w 1493481"/>
              <a:gd name="connsiteY845" fmla="*/ 972031 h 1734136"/>
              <a:gd name="connsiteX846" fmla="*/ 187255 w 1493481"/>
              <a:gd name="connsiteY846" fmla="*/ 965185 h 1734136"/>
              <a:gd name="connsiteX847" fmla="*/ 184971 w 1493481"/>
              <a:gd name="connsiteY847" fmla="*/ 956057 h 1734136"/>
              <a:gd name="connsiteX848" fmla="*/ 184971 w 1493481"/>
              <a:gd name="connsiteY848" fmla="*/ 953775 h 1734136"/>
              <a:gd name="connsiteX849" fmla="*/ 182688 w 1493481"/>
              <a:gd name="connsiteY849" fmla="*/ 951493 h 1734136"/>
              <a:gd name="connsiteX850" fmla="*/ 180404 w 1493481"/>
              <a:gd name="connsiteY850" fmla="*/ 946930 h 1734136"/>
              <a:gd name="connsiteX851" fmla="*/ 180404 w 1493481"/>
              <a:gd name="connsiteY851" fmla="*/ 944648 h 1734136"/>
              <a:gd name="connsiteX852" fmla="*/ 178121 w 1493481"/>
              <a:gd name="connsiteY852" fmla="*/ 942366 h 1734136"/>
              <a:gd name="connsiteX853" fmla="*/ 175837 w 1493481"/>
              <a:gd name="connsiteY853" fmla="*/ 942366 h 1734136"/>
              <a:gd name="connsiteX854" fmla="*/ 175837 w 1493481"/>
              <a:gd name="connsiteY854" fmla="*/ 940084 h 1734136"/>
              <a:gd name="connsiteX855" fmla="*/ 173553 w 1493481"/>
              <a:gd name="connsiteY855" fmla="*/ 937802 h 1734136"/>
              <a:gd name="connsiteX856" fmla="*/ 171270 w 1493481"/>
              <a:gd name="connsiteY856" fmla="*/ 935520 h 1734136"/>
              <a:gd name="connsiteX857" fmla="*/ 168986 w 1493481"/>
              <a:gd name="connsiteY857" fmla="*/ 935520 h 1734136"/>
              <a:gd name="connsiteX858" fmla="*/ 166702 w 1493481"/>
              <a:gd name="connsiteY858" fmla="*/ 933238 h 1734136"/>
              <a:gd name="connsiteX859" fmla="*/ 166702 w 1493481"/>
              <a:gd name="connsiteY859" fmla="*/ 930966 h 1734136"/>
              <a:gd name="connsiteX860" fmla="*/ 166702 w 1493481"/>
              <a:gd name="connsiteY860" fmla="*/ 928675 h 1734136"/>
              <a:gd name="connsiteX861" fmla="*/ 168986 w 1493481"/>
              <a:gd name="connsiteY861" fmla="*/ 921838 h 1734136"/>
              <a:gd name="connsiteX862" fmla="*/ 168986 w 1493481"/>
              <a:gd name="connsiteY862" fmla="*/ 919556 h 1734136"/>
              <a:gd name="connsiteX863" fmla="*/ 168986 w 1493481"/>
              <a:gd name="connsiteY863" fmla="*/ 914993 h 1734136"/>
              <a:gd name="connsiteX864" fmla="*/ 166702 w 1493481"/>
              <a:gd name="connsiteY864" fmla="*/ 910429 h 1734136"/>
              <a:gd name="connsiteX865" fmla="*/ 164419 w 1493481"/>
              <a:gd name="connsiteY865" fmla="*/ 908147 h 1734136"/>
              <a:gd name="connsiteX866" fmla="*/ 159852 w 1493481"/>
              <a:gd name="connsiteY866" fmla="*/ 905865 h 1734136"/>
              <a:gd name="connsiteX867" fmla="*/ 155284 w 1493481"/>
              <a:gd name="connsiteY867" fmla="*/ 903583 h 1734136"/>
              <a:gd name="connsiteX868" fmla="*/ 153001 w 1493481"/>
              <a:gd name="connsiteY868" fmla="*/ 903583 h 1734136"/>
              <a:gd name="connsiteX869" fmla="*/ 148434 w 1493481"/>
              <a:gd name="connsiteY869" fmla="*/ 901301 h 1734136"/>
              <a:gd name="connsiteX870" fmla="*/ 143867 w 1493481"/>
              <a:gd name="connsiteY870" fmla="*/ 903583 h 1734136"/>
              <a:gd name="connsiteX871" fmla="*/ 141583 w 1493481"/>
              <a:gd name="connsiteY871" fmla="*/ 905865 h 1734136"/>
              <a:gd name="connsiteX872" fmla="*/ 139299 w 1493481"/>
              <a:gd name="connsiteY872" fmla="*/ 908147 h 1734136"/>
              <a:gd name="connsiteX873" fmla="*/ 137016 w 1493481"/>
              <a:gd name="connsiteY873" fmla="*/ 905865 h 1734136"/>
              <a:gd name="connsiteX874" fmla="*/ 134732 w 1493481"/>
              <a:gd name="connsiteY874" fmla="*/ 905865 h 1734136"/>
              <a:gd name="connsiteX875" fmla="*/ 130165 w 1493481"/>
              <a:gd name="connsiteY875" fmla="*/ 896737 h 1734136"/>
              <a:gd name="connsiteX876" fmla="*/ 125598 w 1493481"/>
              <a:gd name="connsiteY876" fmla="*/ 894456 h 1734136"/>
              <a:gd name="connsiteX877" fmla="*/ 123314 w 1493481"/>
              <a:gd name="connsiteY877" fmla="*/ 889892 h 1734136"/>
              <a:gd name="connsiteX878" fmla="*/ 123314 w 1493481"/>
              <a:gd name="connsiteY878" fmla="*/ 885328 h 1734136"/>
              <a:gd name="connsiteX879" fmla="*/ 123314 w 1493481"/>
              <a:gd name="connsiteY879" fmla="*/ 883046 h 1734136"/>
              <a:gd name="connsiteX880" fmla="*/ 121031 w 1493481"/>
              <a:gd name="connsiteY880" fmla="*/ 880764 h 1734136"/>
              <a:gd name="connsiteX881" fmla="*/ 116463 w 1493481"/>
              <a:gd name="connsiteY881" fmla="*/ 878482 h 1734136"/>
              <a:gd name="connsiteX882" fmla="*/ 107329 w 1493481"/>
              <a:gd name="connsiteY882" fmla="*/ 876200 h 1734136"/>
              <a:gd name="connsiteX883" fmla="*/ 102762 w 1493481"/>
              <a:gd name="connsiteY883" fmla="*/ 873919 h 1734136"/>
              <a:gd name="connsiteX884" fmla="*/ 98194 w 1493481"/>
              <a:gd name="connsiteY884" fmla="*/ 867073 h 1734136"/>
              <a:gd name="connsiteX885" fmla="*/ 93627 w 1493481"/>
              <a:gd name="connsiteY885" fmla="*/ 864791 h 1734136"/>
              <a:gd name="connsiteX886" fmla="*/ 89060 w 1493481"/>
              <a:gd name="connsiteY886" fmla="*/ 862509 h 1734136"/>
              <a:gd name="connsiteX887" fmla="*/ 82209 w 1493481"/>
              <a:gd name="connsiteY887" fmla="*/ 862509 h 1734136"/>
              <a:gd name="connsiteX888" fmla="*/ 77642 w 1493481"/>
              <a:gd name="connsiteY888" fmla="*/ 860227 h 1734136"/>
              <a:gd name="connsiteX889" fmla="*/ 75359 w 1493481"/>
              <a:gd name="connsiteY889" fmla="*/ 857945 h 1734136"/>
              <a:gd name="connsiteX890" fmla="*/ 73075 w 1493481"/>
              <a:gd name="connsiteY890" fmla="*/ 857945 h 1734136"/>
              <a:gd name="connsiteX891" fmla="*/ 70792 w 1493481"/>
              <a:gd name="connsiteY891" fmla="*/ 853381 h 1734136"/>
              <a:gd name="connsiteX892" fmla="*/ 70792 w 1493481"/>
              <a:gd name="connsiteY892" fmla="*/ 851100 h 1734136"/>
              <a:gd name="connsiteX893" fmla="*/ 70792 w 1493481"/>
              <a:gd name="connsiteY893" fmla="*/ 846536 h 1734136"/>
              <a:gd name="connsiteX894" fmla="*/ 70792 w 1493481"/>
              <a:gd name="connsiteY894" fmla="*/ 844254 h 1734136"/>
              <a:gd name="connsiteX895" fmla="*/ 70792 w 1493481"/>
              <a:gd name="connsiteY895" fmla="*/ 841972 h 1734136"/>
              <a:gd name="connsiteX896" fmla="*/ 57090 w 1493481"/>
              <a:gd name="connsiteY896" fmla="*/ 832844 h 1734136"/>
              <a:gd name="connsiteX897" fmla="*/ 54806 w 1493481"/>
              <a:gd name="connsiteY897" fmla="*/ 830563 h 1734136"/>
              <a:gd name="connsiteX898" fmla="*/ 50239 w 1493481"/>
              <a:gd name="connsiteY898" fmla="*/ 830563 h 1734136"/>
              <a:gd name="connsiteX899" fmla="*/ 45672 w 1493481"/>
              <a:gd name="connsiteY899" fmla="*/ 832844 h 1734136"/>
              <a:gd name="connsiteX900" fmla="*/ 43388 w 1493481"/>
              <a:gd name="connsiteY900" fmla="*/ 832844 h 1734136"/>
              <a:gd name="connsiteX901" fmla="*/ 41105 w 1493481"/>
              <a:gd name="connsiteY901" fmla="*/ 830563 h 1734136"/>
              <a:gd name="connsiteX902" fmla="*/ 41105 w 1493481"/>
              <a:gd name="connsiteY902" fmla="*/ 828281 h 1734136"/>
              <a:gd name="connsiteX903" fmla="*/ 36538 w 1493481"/>
              <a:gd name="connsiteY903" fmla="*/ 823717 h 1734136"/>
              <a:gd name="connsiteX904" fmla="*/ 34254 w 1493481"/>
              <a:gd name="connsiteY904" fmla="*/ 821435 h 1734136"/>
              <a:gd name="connsiteX905" fmla="*/ 31970 w 1493481"/>
              <a:gd name="connsiteY905" fmla="*/ 816871 h 1734136"/>
              <a:gd name="connsiteX906" fmla="*/ 29687 w 1493481"/>
              <a:gd name="connsiteY906" fmla="*/ 816871 h 1734136"/>
              <a:gd name="connsiteX907" fmla="*/ 29687 w 1493481"/>
              <a:gd name="connsiteY907" fmla="*/ 814589 h 1734136"/>
              <a:gd name="connsiteX908" fmla="*/ 29687 w 1493481"/>
              <a:gd name="connsiteY908" fmla="*/ 807744 h 1734136"/>
              <a:gd name="connsiteX909" fmla="*/ 27403 w 1493481"/>
              <a:gd name="connsiteY909" fmla="*/ 803180 h 1734136"/>
              <a:gd name="connsiteX910" fmla="*/ 25119 w 1493481"/>
              <a:gd name="connsiteY910" fmla="*/ 803180 h 1734136"/>
              <a:gd name="connsiteX911" fmla="*/ 22836 w 1493481"/>
              <a:gd name="connsiteY911" fmla="*/ 800898 h 1734136"/>
              <a:gd name="connsiteX912" fmla="*/ 22836 w 1493481"/>
              <a:gd name="connsiteY912" fmla="*/ 798616 h 1734136"/>
              <a:gd name="connsiteX913" fmla="*/ 20552 w 1493481"/>
              <a:gd name="connsiteY913" fmla="*/ 794052 h 1734136"/>
              <a:gd name="connsiteX914" fmla="*/ 18269 w 1493481"/>
              <a:gd name="connsiteY914" fmla="*/ 789488 h 1734136"/>
              <a:gd name="connsiteX915" fmla="*/ 15985 w 1493481"/>
              <a:gd name="connsiteY915" fmla="*/ 787207 h 1734136"/>
              <a:gd name="connsiteX916" fmla="*/ 13702 w 1493481"/>
              <a:gd name="connsiteY916" fmla="*/ 784925 h 1734136"/>
              <a:gd name="connsiteX917" fmla="*/ 9134 w 1493481"/>
              <a:gd name="connsiteY917" fmla="*/ 780361 h 1734136"/>
              <a:gd name="connsiteX918" fmla="*/ 6851 w 1493481"/>
              <a:gd name="connsiteY918" fmla="*/ 778088 h 1734136"/>
              <a:gd name="connsiteX919" fmla="*/ 4567 w 1493481"/>
              <a:gd name="connsiteY919" fmla="*/ 775807 h 1734136"/>
              <a:gd name="connsiteX920" fmla="*/ 0 w 1493481"/>
              <a:gd name="connsiteY920" fmla="*/ 771243 h 1734136"/>
              <a:gd name="connsiteX921" fmla="*/ 0 w 1493481"/>
              <a:gd name="connsiteY921" fmla="*/ 768961 h 1734136"/>
              <a:gd name="connsiteX922" fmla="*/ 2284 w 1493481"/>
              <a:gd name="connsiteY922" fmla="*/ 768961 h 1734136"/>
              <a:gd name="connsiteX923" fmla="*/ 2284 w 1493481"/>
              <a:gd name="connsiteY923" fmla="*/ 766679 h 1734136"/>
              <a:gd name="connsiteX924" fmla="*/ 2284 w 1493481"/>
              <a:gd name="connsiteY924" fmla="*/ 764397 h 1734136"/>
              <a:gd name="connsiteX925" fmla="*/ 4567 w 1493481"/>
              <a:gd name="connsiteY925" fmla="*/ 764397 h 1734136"/>
              <a:gd name="connsiteX926" fmla="*/ 6851 w 1493481"/>
              <a:gd name="connsiteY926" fmla="*/ 764397 h 1734136"/>
              <a:gd name="connsiteX927" fmla="*/ 6851 w 1493481"/>
              <a:gd name="connsiteY927" fmla="*/ 762115 h 1734136"/>
              <a:gd name="connsiteX928" fmla="*/ 6851 w 1493481"/>
              <a:gd name="connsiteY928" fmla="*/ 759833 h 1734136"/>
              <a:gd name="connsiteX929" fmla="*/ 6851 w 1493481"/>
              <a:gd name="connsiteY929" fmla="*/ 755269 h 1734136"/>
              <a:gd name="connsiteX930" fmla="*/ 6851 w 1493481"/>
              <a:gd name="connsiteY930" fmla="*/ 752988 h 1734136"/>
              <a:gd name="connsiteX931" fmla="*/ 9134 w 1493481"/>
              <a:gd name="connsiteY931" fmla="*/ 748424 h 1734136"/>
              <a:gd name="connsiteX932" fmla="*/ 9134 w 1493481"/>
              <a:gd name="connsiteY932" fmla="*/ 746142 h 1734136"/>
              <a:gd name="connsiteX933" fmla="*/ 9134 w 1493481"/>
              <a:gd name="connsiteY933" fmla="*/ 743860 h 1734136"/>
              <a:gd name="connsiteX934" fmla="*/ 6851 w 1493481"/>
              <a:gd name="connsiteY934" fmla="*/ 741578 h 1734136"/>
              <a:gd name="connsiteX935" fmla="*/ 9134 w 1493481"/>
              <a:gd name="connsiteY935" fmla="*/ 741578 h 1734136"/>
              <a:gd name="connsiteX936" fmla="*/ 9134 w 1493481"/>
              <a:gd name="connsiteY936" fmla="*/ 739296 h 1734136"/>
              <a:gd name="connsiteX937" fmla="*/ 11418 w 1493481"/>
              <a:gd name="connsiteY937" fmla="*/ 739296 h 1734136"/>
              <a:gd name="connsiteX938" fmla="*/ 11418 w 1493481"/>
              <a:gd name="connsiteY938" fmla="*/ 737014 h 1734136"/>
              <a:gd name="connsiteX939" fmla="*/ 13702 w 1493481"/>
              <a:gd name="connsiteY939" fmla="*/ 737014 h 1734136"/>
              <a:gd name="connsiteX940" fmla="*/ 13702 w 1493481"/>
              <a:gd name="connsiteY940" fmla="*/ 734732 h 1734136"/>
              <a:gd name="connsiteX941" fmla="*/ 13702 w 1493481"/>
              <a:gd name="connsiteY941" fmla="*/ 732451 h 1734136"/>
              <a:gd name="connsiteX942" fmla="*/ 15985 w 1493481"/>
              <a:gd name="connsiteY942" fmla="*/ 730169 h 1734136"/>
              <a:gd name="connsiteX943" fmla="*/ 18269 w 1493481"/>
              <a:gd name="connsiteY943" fmla="*/ 730169 h 1734136"/>
              <a:gd name="connsiteX944" fmla="*/ 20552 w 1493481"/>
              <a:gd name="connsiteY944" fmla="*/ 727887 h 1734136"/>
              <a:gd name="connsiteX945" fmla="*/ 22836 w 1493481"/>
              <a:gd name="connsiteY945" fmla="*/ 727887 h 1734136"/>
              <a:gd name="connsiteX946" fmla="*/ 22836 w 1493481"/>
              <a:gd name="connsiteY946" fmla="*/ 725605 h 1734136"/>
              <a:gd name="connsiteX947" fmla="*/ 25119 w 1493481"/>
              <a:gd name="connsiteY947" fmla="*/ 725605 h 1734136"/>
              <a:gd name="connsiteX948" fmla="*/ 25119 w 1493481"/>
              <a:gd name="connsiteY948" fmla="*/ 723323 h 1734136"/>
              <a:gd name="connsiteX949" fmla="*/ 25119 w 1493481"/>
              <a:gd name="connsiteY949" fmla="*/ 721041 h 1734136"/>
              <a:gd name="connsiteX950" fmla="*/ 25119 w 1493481"/>
              <a:gd name="connsiteY950" fmla="*/ 718759 h 1734136"/>
              <a:gd name="connsiteX951" fmla="*/ 25119 w 1493481"/>
              <a:gd name="connsiteY951" fmla="*/ 716477 h 1734136"/>
              <a:gd name="connsiteX952" fmla="*/ 25119 w 1493481"/>
              <a:gd name="connsiteY952" fmla="*/ 714195 h 1734136"/>
              <a:gd name="connsiteX953" fmla="*/ 27403 w 1493481"/>
              <a:gd name="connsiteY953" fmla="*/ 711913 h 1734136"/>
              <a:gd name="connsiteX954" fmla="*/ 27403 w 1493481"/>
              <a:gd name="connsiteY954" fmla="*/ 709632 h 1734136"/>
              <a:gd name="connsiteX955" fmla="*/ 29687 w 1493481"/>
              <a:gd name="connsiteY955" fmla="*/ 707350 h 1734136"/>
              <a:gd name="connsiteX956" fmla="*/ 34254 w 1493481"/>
              <a:gd name="connsiteY956" fmla="*/ 705068 h 1734136"/>
              <a:gd name="connsiteX957" fmla="*/ 31970 w 1493481"/>
              <a:gd name="connsiteY957" fmla="*/ 702786 h 1734136"/>
              <a:gd name="connsiteX958" fmla="*/ 36538 w 1493481"/>
              <a:gd name="connsiteY958" fmla="*/ 693658 h 1734136"/>
              <a:gd name="connsiteX959" fmla="*/ 38821 w 1493481"/>
              <a:gd name="connsiteY959" fmla="*/ 693658 h 1734136"/>
              <a:gd name="connsiteX960" fmla="*/ 45672 w 1493481"/>
              <a:gd name="connsiteY960" fmla="*/ 691376 h 1734136"/>
              <a:gd name="connsiteX961" fmla="*/ 50239 w 1493481"/>
              <a:gd name="connsiteY961" fmla="*/ 691376 h 1734136"/>
              <a:gd name="connsiteX962" fmla="*/ 52523 w 1493481"/>
              <a:gd name="connsiteY962" fmla="*/ 689095 h 1734136"/>
              <a:gd name="connsiteX963" fmla="*/ 57090 w 1493481"/>
              <a:gd name="connsiteY963" fmla="*/ 689095 h 1734136"/>
              <a:gd name="connsiteX964" fmla="*/ 59373 w 1493481"/>
              <a:gd name="connsiteY964" fmla="*/ 686813 h 1734136"/>
              <a:gd name="connsiteX965" fmla="*/ 61657 w 1493481"/>
              <a:gd name="connsiteY965" fmla="*/ 686813 h 1734136"/>
              <a:gd name="connsiteX966" fmla="*/ 63941 w 1493481"/>
              <a:gd name="connsiteY966" fmla="*/ 686813 h 1734136"/>
              <a:gd name="connsiteX967" fmla="*/ 70792 w 1493481"/>
              <a:gd name="connsiteY967" fmla="*/ 684531 h 1734136"/>
              <a:gd name="connsiteX968" fmla="*/ 73075 w 1493481"/>
              <a:gd name="connsiteY968" fmla="*/ 684531 h 1734136"/>
              <a:gd name="connsiteX969" fmla="*/ 75359 w 1493481"/>
              <a:gd name="connsiteY969" fmla="*/ 684531 h 1734136"/>
              <a:gd name="connsiteX970" fmla="*/ 79926 w 1493481"/>
              <a:gd name="connsiteY970" fmla="*/ 682249 h 1734136"/>
              <a:gd name="connsiteX971" fmla="*/ 82209 w 1493481"/>
              <a:gd name="connsiteY971" fmla="*/ 682249 h 1734136"/>
              <a:gd name="connsiteX972" fmla="*/ 82209 w 1493481"/>
              <a:gd name="connsiteY972" fmla="*/ 684531 h 1734136"/>
              <a:gd name="connsiteX973" fmla="*/ 84493 w 1493481"/>
              <a:gd name="connsiteY973" fmla="*/ 684531 h 1734136"/>
              <a:gd name="connsiteX974" fmla="*/ 86777 w 1493481"/>
              <a:gd name="connsiteY974" fmla="*/ 684531 h 1734136"/>
              <a:gd name="connsiteX975" fmla="*/ 86777 w 1493481"/>
              <a:gd name="connsiteY975" fmla="*/ 686813 h 1734136"/>
              <a:gd name="connsiteX976" fmla="*/ 89060 w 1493481"/>
              <a:gd name="connsiteY976" fmla="*/ 686813 h 1734136"/>
              <a:gd name="connsiteX977" fmla="*/ 95911 w 1493481"/>
              <a:gd name="connsiteY977" fmla="*/ 691376 h 1734136"/>
              <a:gd name="connsiteX978" fmla="*/ 100478 w 1493481"/>
              <a:gd name="connsiteY978" fmla="*/ 686813 h 1734136"/>
              <a:gd name="connsiteX979" fmla="*/ 102762 w 1493481"/>
              <a:gd name="connsiteY979" fmla="*/ 684531 h 1734136"/>
              <a:gd name="connsiteX980" fmla="*/ 105045 w 1493481"/>
              <a:gd name="connsiteY980" fmla="*/ 682249 h 1734136"/>
              <a:gd name="connsiteX981" fmla="*/ 107329 w 1493481"/>
              <a:gd name="connsiteY981" fmla="*/ 677685 h 1734136"/>
              <a:gd name="connsiteX982" fmla="*/ 109613 w 1493481"/>
              <a:gd name="connsiteY982" fmla="*/ 677685 h 1734136"/>
              <a:gd name="connsiteX983" fmla="*/ 111896 w 1493481"/>
              <a:gd name="connsiteY983" fmla="*/ 682249 h 1734136"/>
              <a:gd name="connsiteX984" fmla="*/ 114180 w 1493481"/>
              <a:gd name="connsiteY984" fmla="*/ 682249 h 1734136"/>
              <a:gd name="connsiteX985" fmla="*/ 116463 w 1493481"/>
              <a:gd name="connsiteY985" fmla="*/ 682249 h 1734136"/>
              <a:gd name="connsiteX986" fmla="*/ 118747 w 1493481"/>
              <a:gd name="connsiteY986" fmla="*/ 682249 h 1734136"/>
              <a:gd name="connsiteX987" fmla="*/ 118747 w 1493481"/>
              <a:gd name="connsiteY987" fmla="*/ 679967 h 1734136"/>
              <a:gd name="connsiteX988" fmla="*/ 121031 w 1493481"/>
              <a:gd name="connsiteY988" fmla="*/ 677685 h 1734136"/>
              <a:gd name="connsiteX989" fmla="*/ 123314 w 1493481"/>
              <a:gd name="connsiteY989" fmla="*/ 675403 h 1734136"/>
              <a:gd name="connsiteX990" fmla="*/ 125598 w 1493481"/>
              <a:gd name="connsiteY990" fmla="*/ 673121 h 1734136"/>
              <a:gd name="connsiteX991" fmla="*/ 125598 w 1493481"/>
              <a:gd name="connsiteY991" fmla="*/ 670839 h 1734136"/>
              <a:gd name="connsiteX992" fmla="*/ 123314 w 1493481"/>
              <a:gd name="connsiteY992" fmla="*/ 670839 h 1734136"/>
              <a:gd name="connsiteX993" fmla="*/ 123314 w 1493481"/>
              <a:gd name="connsiteY993" fmla="*/ 668557 h 1734136"/>
              <a:gd name="connsiteX994" fmla="*/ 121031 w 1493481"/>
              <a:gd name="connsiteY994" fmla="*/ 668557 h 1734136"/>
              <a:gd name="connsiteX995" fmla="*/ 121031 w 1493481"/>
              <a:gd name="connsiteY995" fmla="*/ 666276 h 1734136"/>
              <a:gd name="connsiteX996" fmla="*/ 118747 w 1493481"/>
              <a:gd name="connsiteY996" fmla="*/ 666276 h 1734136"/>
              <a:gd name="connsiteX997" fmla="*/ 118747 w 1493481"/>
              <a:gd name="connsiteY997" fmla="*/ 663994 h 1734136"/>
              <a:gd name="connsiteX998" fmla="*/ 116463 w 1493481"/>
              <a:gd name="connsiteY998" fmla="*/ 661712 h 1734136"/>
              <a:gd name="connsiteX999" fmla="*/ 118747 w 1493481"/>
              <a:gd name="connsiteY999" fmla="*/ 657148 h 1734136"/>
              <a:gd name="connsiteX1000" fmla="*/ 121031 w 1493481"/>
              <a:gd name="connsiteY1000" fmla="*/ 657148 h 1734136"/>
              <a:gd name="connsiteX1001" fmla="*/ 121031 w 1493481"/>
              <a:gd name="connsiteY1001" fmla="*/ 654866 h 1734136"/>
              <a:gd name="connsiteX1002" fmla="*/ 125598 w 1493481"/>
              <a:gd name="connsiteY1002" fmla="*/ 650302 h 1734136"/>
              <a:gd name="connsiteX1003" fmla="*/ 127881 w 1493481"/>
              <a:gd name="connsiteY1003" fmla="*/ 648020 h 1734136"/>
              <a:gd name="connsiteX1004" fmla="*/ 130165 w 1493481"/>
              <a:gd name="connsiteY1004" fmla="*/ 645739 h 1734136"/>
              <a:gd name="connsiteX1005" fmla="*/ 132448 w 1493481"/>
              <a:gd name="connsiteY1005" fmla="*/ 643456 h 1734136"/>
              <a:gd name="connsiteX1006" fmla="*/ 134732 w 1493481"/>
              <a:gd name="connsiteY1006" fmla="*/ 641175 h 1734136"/>
              <a:gd name="connsiteX1007" fmla="*/ 134732 w 1493481"/>
              <a:gd name="connsiteY1007" fmla="*/ 638893 h 1734136"/>
              <a:gd name="connsiteX1008" fmla="*/ 137016 w 1493481"/>
              <a:gd name="connsiteY1008" fmla="*/ 634329 h 1734136"/>
              <a:gd name="connsiteX1009" fmla="*/ 139299 w 1493481"/>
              <a:gd name="connsiteY1009" fmla="*/ 634329 h 1734136"/>
              <a:gd name="connsiteX1010" fmla="*/ 139299 w 1493481"/>
              <a:gd name="connsiteY1010" fmla="*/ 636611 h 1734136"/>
              <a:gd name="connsiteX1011" fmla="*/ 141583 w 1493481"/>
              <a:gd name="connsiteY1011" fmla="*/ 636611 h 1734136"/>
              <a:gd name="connsiteX1012" fmla="*/ 143867 w 1493481"/>
              <a:gd name="connsiteY1012" fmla="*/ 636611 h 1734136"/>
              <a:gd name="connsiteX1013" fmla="*/ 146150 w 1493481"/>
              <a:gd name="connsiteY1013" fmla="*/ 636611 h 1734136"/>
              <a:gd name="connsiteX1014" fmla="*/ 148434 w 1493481"/>
              <a:gd name="connsiteY1014" fmla="*/ 638893 h 1734136"/>
              <a:gd name="connsiteX1015" fmla="*/ 150717 w 1493481"/>
              <a:gd name="connsiteY1015" fmla="*/ 638893 h 1734136"/>
              <a:gd name="connsiteX1016" fmla="*/ 153001 w 1493481"/>
              <a:gd name="connsiteY1016" fmla="*/ 638893 h 1734136"/>
              <a:gd name="connsiteX1017" fmla="*/ 155284 w 1493481"/>
              <a:gd name="connsiteY1017" fmla="*/ 638893 h 1734136"/>
              <a:gd name="connsiteX1018" fmla="*/ 157568 w 1493481"/>
              <a:gd name="connsiteY1018" fmla="*/ 636611 h 1734136"/>
              <a:gd name="connsiteX1019" fmla="*/ 159852 w 1493481"/>
              <a:gd name="connsiteY1019" fmla="*/ 636611 h 1734136"/>
              <a:gd name="connsiteX1020" fmla="*/ 162135 w 1493481"/>
              <a:gd name="connsiteY1020" fmla="*/ 636611 h 1734136"/>
              <a:gd name="connsiteX1021" fmla="*/ 162135 w 1493481"/>
              <a:gd name="connsiteY1021" fmla="*/ 634329 h 1734136"/>
              <a:gd name="connsiteX1022" fmla="*/ 164419 w 1493481"/>
              <a:gd name="connsiteY1022" fmla="*/ 634329 h 1734136"/>
              <a:gd name="connsiteX1023" fmla="*/ 164419 w 1493481"/>
              <a:gd name="connsiteY1023" fmla="*/ 632047 h 1734136"/>
              <a:gd name="connsiteX1024" fmla="*/ 164419 w 1493481"/>
              <a:gd name="connsiteY1024" fmla="*/ 627483 h 1734136"/>
              <a:gd name="connsiteX1025" fmla="*/ 166702 w 1493481"/>
              <a:gd name="connsiteY1025" fmla="*/ 625201 h 1734136"/>
              <a:gd name="connsiteX1026" fmla="*/ 171270 w 1493481"/>
              <a:gd name="connsiteY1026" fmla="*/ 622929 h 1734136"/>
              <a:gd name="connsiteX1027" fmla="*/ 175837 w 1493481"/>
              <a:gd name="connsiteY1027" fmla="*/ 620647 h 1734136"/>
              <a:gd name="connsiteX1028" fmla="*/ 178121 w 1493481"/>
              <a:gd name="connsiteY1028" fmla="*/ 620647 h 1734136"/>
              <a:gd name="connsiteX1029" fmla="*/ 178121 w 1493481"/>
              <a:gd name="connsiteY1029" fmla="*/ 618365 h 1734136"/>
              <a:gd name="connsiteX1030" fmla="*/ 180404 w 1493481"/>
              <a:gd name="connsiteY1030" fmla="*/ 618365 h 1734136"/>
              <a:gd name="connsiteX1031" fmla="*/ 180404 w 1493481"/>
              <a:gd name="connsiteY1031" fmla="*/ 616083 h 1734136"/>
              <a:gd name="connsiteX1032" fmla="*/ 182688 w 1493481"/>
              <a:gd name="connsiteY1032" fmla="*/ 613801 h 1734136"/>
              <a:gd name="connsiteX1033" fmla="*/ 184971 w 1493481"/>
              <a:gd name="connsiteY1033" fmla="*/ 613801 h 1734136"/>
              <a:gd name="connsiteX1034" fmla="*/ 187255 w 1493481"/>
              <a:gd name="connsiteY1034" fmla="*/ 613801 h 1734136"/>
              <a:gd name="connsiteX1035" fmla="*/ 189538 w 1493481"/>
              <a:gd name="connsiteY1035" fmla="*/ 613801 h 1734136"/>
              <a:gd name="connsiteX1036" fmla="*/ 191822 w 1493481"/>
              <a:gd name="connsiteY1036" fmla="*/ 613801 h 1734136"/>
              <a:gd name="connsiteX1037" fmla="*/ 194106 w 1493481"/>
              <a:gd name="connsiteY1037" fmla="*/ 613801 h 1734136"/>
              <a:gd name="connsiteX1038" fmla="*/ 196389 w 1493481"/>
              <a:gd name="connsiteY1038" fmla="*/ 613801 h 1734136"/>
              <a:gd name="connsiteX1039" fmla="*/ 198673 w 1493481"/>
              <a:gd name="connsiteY1039" fmla="*/ 613801 h 1734136"/>
              <a:gd name="connsiteX1040" fmla="*/ 198673 w 1493481"/>
              <a:gd name="connsiteY1040" fmla="*/ 616083 h 1734136"/>
              <a:gd name="connsiteX1041" fmla="*/ 198673 w 1493481"/>
              <a:gd name="connsiteY1041" fmla="*/ 613801 h 1734136"/>
              <a:gd name="connsiteX1042" fmla="*/ 198673 w 1493481"/>
              <a:gd name="connsiteY1042" fmla="*/ 611520 h 1734136"/>
              <a:gd name="connsiteX1043" fmla="*/ 200956 w 1493481"/>
              <a:gd name="connsiteY1043" fmla="*/ 609238 h 1734136"/>
              <a:gd name="connsiteX1044" fmla="*/ 200956 w 1493481"/>
              <a:gd name="connsiteY1044" fmla="*/ 606956 h 1734136"/>
              <a:gd name="connsiteX1045" fmla="*/ 200956 w 1493481"/>
              <a:gd name="connsiteY1045" fmla="*/ 604674 h 1734136"/>
              <a:gd name="connsiteX1046" fmla="*/ 203240 w 1493481"/>
              <a:gd name="connsiteY1046" fmla="*/ 602392 h 1734136"/>
              <a:gd name="connsiteX1047" fmla="*/ 203240 w 1493481"/>
              <a:gd name="connsiteY1047" fmla="*/ 600110 h 1734136"/>
              <a:gd name="connsiteX1048" fmla="*/ 205524 w 1493481"/>
              <a:gd name="connsiteY1048" fmla="*/ 600110 h 1734136"/>
              <a:gd name="connsiteX1049" fmla="*/ 205524 w 1493481"/>
              <a:gd name="connsiteY1049" fmla="*/ 597828 h 1734136"/>
              <a:gd name="connsiteX1050" fmla="*/ 207807 w 1493481"/>
              <a:gd name="connsiteY1050" fmla="*/ 597828 h 1734136"/>
              <a:gd name="connsiteX1051" fmla="*/ 207807 w 1493481"/>
              <a:gd name="connsiteY1051" fmla="*/ 595546 h 1734136"/>
              <a:gd name="connsiteX1052" fmla="*/ 207807 w 1493481"/>
              <a:gd name="connsiteY1052" fmla="*/ 593264 h 1734136"/>
              <a:gd name="connsiteX1053" fmla="*/ 207807 w 1493481"/>
              <a:gd name="connsiteY1053" fmla="*/ 590983 h 1734136"/>
              <a:gd name="connsiteX1054" fmla="*/ 210091 w 1493481"/>
              <a:gd name="connsiteY1054" fmla="*/ 590983 h 1734136"/>
              <a:gd name="connsiteX1055" fmla="*/ 212374 w 1493481"/>
              <a:gd name="connsiteY1055" fmla="*/ 590983 h 1734136"/>
              <a:gd name="connsiteX1056" fmla="*/ 212374 w 1493481"/>
              <a:gd name="connsiteY1056" fmla="*/ 588701 h 1734136"/>
              <a:gd name="connsiteX1057" fmla="*/ 214658 w 1493481"/>
              <a:gd name="connsiteY1057" fmla="*/ 588701 h 1734136"/>
              <a:gd name="connsiteX1058" fmla="*/ 216942 w 1493481"/>
              <a:gd name="connsiteY1058" fmla="*/ 586419 h 1734136"/>
              <a:gd name="connsiteX1059" fmla="*/ 219225 w 1493481"/>
              <a:gd name="connsiteY1059" fmla="*/ 584137 h 1734136"/>
              <a:gd name="connsiteX1060" fmla="*/ 221509 w 1493481"/>
              <a:gd name="connsiteY1060" fmla="*/ 581855 h 1734136"/>
              <a:gd name="connsiteX1061" fmla="*/ 221509 w 1493481"/>
              <a:gd name="connsiteY1061" fmla="*/ 579573 h 1734136"/>
              <a:gd name="connsiteX1062" fmla="*/ 223792 w 1493481"/>
              <a:gd name="connsiteY1062" fmla="*/ 579573 h 1734136"/>
              <a:gd name="connsiteX1063" fmla="*/ 223792 w 1493481"/>
              <a:gd name="connsiteY1063" fmla="*/ 577291 h 1734136"/>
              <a:gd name="connsiteX1064" fmla="*/ 223792 w 1493481"/>
              <a:gd name="connsiteY1064" fmla="*/ 575009 h 1734136"/>
              <a:gd name="connsiteX1065" fmla="*/ 223792 w 1493481"/>
              <a:gd name="connsiteY1065" fmla="*/ 572727 h 1734136"/>
              <a:gd name="connsiteX1066" fmla="*/ 226076 w 1493481"/>
              <a:gd name="connsiteY1066" fmla="*/ 572727 h 1734136"/>
              <a:gd name="connsiteX1067" fmla="*/ 228360 w 1493481"/>
              <a:gd name="connsiteY1067" fmla="*/ 572727 h 1734136"/>
              <a:gd name="connsiteX1068" fmla="*/ 230643 w 1493481"/>
              <a:gd name="connsiteY1068" fmla="*/ 570445 h 1734136"/>
              <a:gd name="connsiteX1069" fmla="*/ 232927 w 1493481"/>
              <a:gd name="connsiteY1069" fmla="*/ 570445 h 1734136"/>
              <a:gd name="connsiteX1070" fmla="*/ 235210 w 1493481"/>
              <a:gd name="connsiteY1070" fmla="*/ 570445 h 1734136"/>
              <a:gd name="connsiteX1071" fmla="*/ 237494 w 1493481"/>
              <a:gd name="connsiteY1071" fmla="*/ 568164 h 1734136"/>
              <a:gd name="connsiteX1072" fmla="*/ 239777 w 1493481"/>
              <a:gd name="connsiteY1072" fmla="*/ 568164 h 1734136"/>
              <a:gd name="connsiteX1073" fmla="*/ 242061 w 1493481"/>
              <a:gd name="connsiteY1073" fmla="*/ 565882 h 1734136"/>
              <a:gd name="connsiteX1074" fmla="*/ 244345 w 1493481"/>
              <a:gd name="connsiteY1074" fmla="*/ 565882 h 1734136"/>
              <a:gd name="connsiteX1075" fmla="*/ 248912 w 1493481"/>
              <a:gd name="connsiteY1075" fmla="*/ 563600 h 1734136"/>
              <a:gd name="connsiteX1076" fmla="*/ 248912 w 1493481"/>
              <a:gd name="connsiteY1076" fmla="*/ 565882 h 1734136"/>
              <a:gd name="connsiteX1077" fmla="*/ 251196 w 1493481"/>
              <a:gd name="connsiteY1077" fmla="*/ 565882 h 1734136"/>
              <a:gd name="connsiteX1078" fmla="*/ 251196 w 1493481"/>
              <a:gd name="connsiteY1078" fmla="*/ 568164 h 1734136"/>
              <a:gd name="connsiteX1079" fmla="*/ 264897 w 1493481"/>
              <a:gd name="connsiteY1079" fmla="*/ 563600 h 1734136"/>
              <a:gd name="connsiteX1080" fmla="*/ 267181 w 1493481"/>
              <a:gd name="connsiteY1080" fmla="*/ 563600 h 1734136"/>
              <a:gd name="connsiteX1081" fmla="*/ 269464 w 1493481"/>
              <a:gd name="connsiteY1081" fmla="*/ 563600 h 1734136"/>
              <a:gd name="connsiteX1082" fmla="*/ 269464 w 1493481"/>
              <a:gd name="connsiteY1082" fmla="*/ 561318 h 1734136"/>
              <a:gd name="connsiteX1083" fmla="*/ 271748 w 1493481"/>
              <a:gd name="connsiteY1083" fmla="*/ 561318 h 1734136"/>
              <a:gd name="connsiteX1084" fmla="*/ 274031 w 1493481"/>
              <a:gd name="connsiteY1084" fmla="*/ 561318 h 1734136"/>
              <a:gd name="connsiteX1085" fmla="*/ 274031 w 1493481"/>
              <a:gd name="connsiteY1085" fmla="*/ 559036 h 1734136"/>
              <a:gd name="connsiteX1086" fmla="*/ 274031 w 1493481"/>
              <a:gd name="connsiteY1086" fmla="*/ 556754 h 1734136"/>
              <a:gd name="connsiteX1087" fmla="*/ 276315 w 1493481"/>
              <a:gd name="connsiteY1087" fmla="*/ 556754 h 1734136"/>
              <a:gd name="connsiteX1088" fmla="*/ 276315 w 1493481"/>
              <a:gd name="connsiteY1088" fmla="*/ 554472 h 1734136"/>
              <a:gd name="connsiteX1089" fmla="*/ 274031 w 1493481"/>
              <a:gd name="connsiteY1089" fmla="*/ 554472 h 1734136"/>
              <a:gd name="connsiteX1090" fmla="*/ 274031 w 1493481"/>
              <a:gd name="connsiteY1090" fmla="*/ 552190 h 1734136"/>
              <a:gd name="connsiteX1091" fmla="*/ 271748 w 1493481"/>
              <a:gd name="connsiteY1091" fmla="*/ 552190 h 1734136"/>
              <a:gd name="connsiteX1092" fmla="*/ 271748 w 1493481"/>
              <a:gd name="connsiteY1092" fmla="*/ 549908 h 1734136"/>
              <a:gd name="connsiteX1093" fmla="*/ 271748 w 1493481"/>
              <a:gd name="connsiteY1093" fmla="*/ 547627 h 1734136"/>
              <a:gd name="connsiteX1094" fmla="*/ 274031 w 1493481"/>
              <a:gd name="connsiteY1094" fmla="*/ 545344 h 1734136"/>
              <a:gd name="connsiteX1095" fmla="*/ 274031 w 1493481"/>
              <a:gd name="connsiteY1095" fmla="*/ 543063 h 1734136"/>
              <a:gd name="connsiteX1096" fmla="*/ 276315 w 1493481"/>
              <a:gd name="connsiteY1096" fmla="*/ 540781 h 1734136"/>
              <a:gd name="connsiteX1097" fmla="*/ 276315 w 1493481"/>
              <a:gd name="connsiteY1097" fmla="*/ 538499 h 1734136"/>
              <a:gd name="connsiteX1098" fmla="*/ 278599 w 1493481"/>
              <a:gd name="connsiteY1098" fmla="*/ 538499 h 1734136"/>
              <a:gd name="connsiteX1099" fmla="*/ 280882 w 1493481"/>
              <a:gd name="connsiteY1099" fmla="*/ 538499 h 1734136"/>
              <a:gd name="connsiteX1100" fmla="*/ 283166 w 1493481"/>
              <a:gd name="connsiteY1100" fmla="*/ 536217 h 1734136"/>
              <a:gd name="connsiteX1101" fmla="*/ 285450 w 1493481"/>
              <a:gd name="connsiteY1101" fmla="*/ 536217 h 1734136"/>
              <a:gd name="connsiteX1102" fmla="*/ 287733 w 1493481"/>
              <a:gd name="connsiteY1102" fmla="*/ 536217 h 1734136"/>
              <a:gd name="connsiteX1103" fmla="*/ 290017 w 1493481"/>
              <a:gd name="connsiteY1103" fmla="*/ 536217 h 1734136"/>
              <a:gd name="connsiteX1104" fmla="*/ 290017 w 1493481"/>
              <a:gd name="connsiteY1104" fmla="*/ 533935 h 1734136"/>
              <a:gd name="connsiteX1105" fmla="*/ 290017 w 1493481"/>
              <a:gd name="connsiteY1105" fmla="*/ 531653 h 1734136"/>
              <a:gd name="connsiteX1106" fmla="*/ 290017 w 1493481"/>
              <a:gd name="connsiteY1106" fmla="*/ 529371 h 1734136"/>
              <a:gd name="connsiteX1107" fmla="*/ 290017 w 1493481"/>
              <a:gd name="connsiteY1107" fmla="*/ 527089 h 1734136"/>
              <a:gd name="connsiteX1108" fmla="*/ 290017 w 1493481"/>
              <a:gd name="connsiteY1108" fmla="*/ 524808 h 1734136"/>
              <a:gd name="connsiteX1109" fmla="*/ 290017 w 1493481"/>
              <a:gd name="connsiteY1109" fmla="*/ 522526 h 1734136"/>
              <a:gd name="connsiteX1110" fmla="*/ 290017 w 1493481"/>
              <a:gd name="connsiteY1110" fmla="*/ 520244 h 1734136"/>
              <a:gd name="connsiteX1111" fmla="*/ 287733 w 1493481"/>
              <a:gd name="connsiteY1111" fmla="*/ 520244 h 1734136"/>
              <a:gd name="connsiteX1112" fmla="*/ 290017 w 1493481"/>
              <a:gd name="connsiteY1112" fmla="*/ 513398 h 1734136"/>
              <a:gd name="connsiteX1113" fmla="*/ 290017 w 1493481"/>
              <a:gd name="connsiteY1113" fmla="*/ 511116 h 1734136"/>
              <a:gd name="connsiteX1114" fmla="*/ 287733 w 1493481"/>
              <a:gd name="connsiteY1114" fmla="*/ 501988 h 1734136"/>
              <a:gd name="connsiteX1115" fmla="*/ 287733 w 1493481"/>
              <a:gd name="connsiteY1115" fmla="*/ 499707 h 1734136"/>
              <a:gd name="connsiteX1116" fmla="*/ 280882 w 1493481"/>
              <a:gd name="connsiteY1116" fmla="*/ 490579 h 1734136"/>
              <a:gd name="connsiteX1117" fmla="*/ 274031 w 1493481"/>
              <a:gd name="connsiteY1117" fmla="*/ 481451 h 1734136"/>
              <a:gd name="connsiteX1118" fmla="*/ 276315 w 1493481"/>
              <a:gd name="connsiteY1118" fmla="*/ 479170 h 1734136"/>
              <a:gd name="connsiteX1119" fmla="*/ 283166 w 1493481"/>
              <a:gd name="connsiteY1119" fmla="*/ 470042 h 1734136"/>
              <a:gd name="connsiteX1120" fmla="*/ 283166 w 1493481"/>
              <a:gd name="connsiteY1120" fmla="*/ 467760 h 1734136"/>
              <a:gd name="connsiteX1121" fmla="*/ 283166 w 1493481"/>
              <a:gd name="connsiteY1121" fmla="*/ 463196 h 1734136"/>
              <a:gd name="connsiteX1122" fmla="*/ 283166 w 1493481"/>
              <a:gd name="connsiteY1122" fmla="*/ 460914 h 1734136"/>
              <a:gd name="connsiteX1123" fmla="*/ 285450 w 1493481"/>
              <a:gd name="connsiteY1123" fmla="*/ 456360 h 1734136"/>
              <a:gd name="connsiteX1124" fmla="*/ 287733 w 1493481"/>
              <a:gd name="connsiteY1124" fmla="*/ 449514 h 1734136"/>
              <a:gd name="connsiteX1125" fmla="*/ 287733 w 1493481"/>
              <a:gd name="connsiteY1125" fmla="*/ 447233 h 1734136"/>
              <a:gd name="connsiteX1126" fmla="*/ 290017 w 1493481"/>
              <a:gd name="connsiteY1126" fmla="*/ 447233 h 1734136"/>
              <a:gd name="connsiteX1127" fmla="*/ 292300 w 1493481"/>
              <a:gd name="connsiteY1127" fmla="*/ 447233 h 1734136"/>
              <a:gd name="connsiteX1128" fmla="*/ 292300 w 1493481"/>
              <a:gd name="connsiteY1128" fmla="*/ 444951 h 1734136"/>
              <a:gd name="connsiteX1129" fmla="*/ 294584 w 1493481"/>
              <a:gd name="connsiteY1129" fmla="*/ 444951 h 1734136"/>
              <a:gd name="connsiteX1130" fmla="*/ 296867 w 1493481"/>
              <a:gd name="connsiteY1130" fmla="*/ 444951 h 1734136"/>
              <a:gd name="connsiteX1131" fmla="*/ 299151 w 1493481"/>
              <a:gd name="connsiteY1131" fmla="*/ 444951 h 1734136"/>
              <a:gd name="connsiteX1132" fmla="*/ 296867 w 1493481"/>
              <a:gd name="connsiteY1132" fmla="*/ 444951 h 1734136"/>
              <a:gd name="connsiteX1133" fmla="*/ 296867 w 1493481"/>
              <a:gd name="connsiteY1133" fmla="*/ 442669 h 1734136"/>
              <a:gd name="connsiteX1134" fmla="*/ 296867 w 1493481"/>
              <a:gd name="connsiteY1134" fmla="*/ 440387 h 1734136"/>
              <a:gd name="connsiteX1135" fmla="*/ 294584 w 1493481"/>
              <a:gd name="connsiteY1135" fmla="*/ 440387 h 1734136"/>
              <a:gd name="connsiteX1136" fmla="*/ 294584 w 1493481"/>
              <a:gd name="connsiteY1136" fmla="*/ 438105 h 1734136"/>
              <a:gd name="connsiteX1137" fmla="*/ 292300 w 1493481"/>
              <a:gd name="connsiteY1137" fmla="*/ 438105 h 1734136"/>
              <a:gd name="connsiteX1138" fmla="*/ 290017 w 1493481"/>
              <a:gd name="connsiteY1138" fmla="*/ 438105 h 1734136"/>
              <a:gd name="connsiteX1139" fmla="*/ 290017 w 1493481"/>
              <a:gd name="connsiteY1139" fmla="*/ 435823 h 1734136"/>
              <a:gd name="connsiteX1140" fmla="*/ 292300 w 1493481"/>
              <a:gd name="connsiteY1140" fmla="*/ 435823 h 1734136"/>
              <a:gd name="connsiteX1141" fmla="*/ 292300 w 1493481"/>
              <a:gd name="connsiteY1141" fmla="*/ 433541 h 1734136"/>
              <a:gd name="connsiteX1142" fmla="*/ 290017 w 1493481"/>
              <a:gd name="connsiteY1142" fmla="*/ 431259 h 1734136"/>
              <a:gd name="connsiteX1143" fmla="*/ 290017 w 1493481"/>
              <a:gd name="connsiteY1143" fmla="*/ 428977 h 1734136"/>
              <a:gd name="connsiteX1144" fmla="*/ 292300 w 1493481"/>
              <a:gd name="connsiteY1144" fmla="*/ 428977 h 1734136"/>
              <a:gd name="connsiteX1145" fmla="*/ 292300 w 1493481"/>
              <a:gd name="connsiteY1145" fmla="*/ 431259 h 1734136"/>
              <a:gd name="connsiteX1146" fmla="*/ 294584 w 1493481"/>
              <a:gd name="connsiteY1146" fmla="*/ 428977 h 1734136"/>
              <a:gd name="connsiteX1147" fmla="*/ 296867 w 1493481"/>
              <a:gd name="connsiteY1147" fmla="*/ 428977 h 1734136"/>
              <a:gd name="connsiteX1148" fmla="*/ 299151 w 1493481"/>
              <a:gd name="connsiteY1148" fmla="*/ 424414 h 1734136"/>
              <a:gd name="connsiteX1149" fmla="*/ 301435 w 1493481"/>
              <a:gd name="connsiteY1149" fmla="*/ 422132 h 1734136"/>
              <a:gd name="connsiteX1150" fmla="*/ 303718 w 1493481"/>
              <a:gd name="connsiteY1150" fmla="*/ 419850 h 1734136"/>
              <a:gd name="connsiteX1151" fmla="*/ 301435 w 1493481"/>
              <a:gd name="connsiteY1151" fmla="*/ 417568 h 1734136"/>
              <a:gd name="connsiteX1152" fmla="*/ 299151 w 1493481"/>
              <a:gd name="connsiteY1152" fmla="*/ 417568 h 1734136"/>
              <a:gd name="connsiteX1153" fmla="*/ 301435 w 1493481"/>
              <a:gd name="connsiteY1153" fmla="*/ 415286 h 1734136"/>
              <a:gd name="connsiteX1154" fmla="*/ 301435 w 1493481"/>
              <a:gd name="connsiteY1154" fmla="*/ 413004 h 1734136"/>
              <a:gd name="connsiteX1155" fmla="*/ 301435 w 1493481"/>
              <a:gd name="connsiteY1155" fmla="*/ 410722 h 1734136"/>
              <a:gd name="connsiteX1156" fmla="*/ 301435 w 1493481"/>
              <a:gd name="connsiteY1156" fmla="*/ 408440 h 1734136"/>
              <a:gd name="connsiteX1157" fmla="*/ 303718 w 1493481"/>
              <a:gd name="connsiteY1157" fmla="*/ 406158 h 1734136"/>
              <a:gd name="connsiteX1158" fmla="*/ 301435 w 1493481"/>
              <a:gd name="connsiteY1158" fmla="*/ 406158 h 1734136"/>
              <a:gd name="connsiteX1159" fmla="*/ 301435 w 1493481"/>
              <a:gd name="connsiteY1159" fmla="*/ 403877 h 1734136"/>
              <a:gd name="connsiteX1160" fmla="*/ 303718 w 1493481"/>
              <a:gd name="connsiteY1160" fmla="*/ 403877 h 1734136"/>
              <a:gd name="connsiteX1161" fmla="*/ 306002 w 1493481"/>
              <a:gd name="connsiteY1161" fmla="*/ 403877 h 1734136"/>
              <a:gd name="connsiteX1162" fmla="*/ 306002 w 1493481"/>
              <a:gd name="connsiteY1162" fmla="*/ 406158 h 1734136"/>
              <a:gd name="connsiteX1163" fmla="*/ 308285 w 1493481"/>
              <a:gd name="connsiteY1163" fmla="*/ 403877 h 1734136"/>
              <a:gd name="connsiteX1164" fmla="*/ 306002 w 1493481"/>
              <a:gd name="connsiteY1164" fmla="*/ 403877 h 1734136"/>
              <a:gd name="connsiteX1165" fmla="*/ 306002 w 1493481"/>
              <a:gd name="connsiteY1165" fmla="*/ 401595 h 1734136"/>
              <a:gd name="connsiteX1166" fmla="*/ 306002 w 1493481"/>
              <a:gd name="connsiteY1166" fmla="*/ 399313 h 1734136"/>
              <a:gd name="connsiteX1167" fmla="*/ 303718 w 1493481"/>
              <a:gd name="connsiteY1167" fmla="*/ 397031 h 1734136"/>
              <a:gd name="connsiteX1168" fmla="*/ 303718 w 1493481"/>
              <a:gd name="connsiteY1168" fmla="*/ 394749 h 1734136"/>
              <a:gd name="connsiteX1169" fmla="*/ 306002 w 1493481"/>
              <a:gd name="connsiteY1169" fmla="*/ 394749 h 1734136"/>
              <a:gd name="connsiteX1170" fmla="*/ 306002 w 1493481"/>
              <a:gd name="connsiteY1170" fmla="*/ 392467 h 1734136"/>
              <a:gd name="connsiteX1171" fmla="*/ 306002 w 1493481"/>
              <a:gd name="connsiteY1171" fmla="*/ 390185 h 1734136"/>
              <a:gd name="connsiteX1172" fmla="*/ 308285 w 1493481"/>
              <a:gd name="connsiteY1172" fmla="*/ 390185 h 1734136"/>
              <a:gd name="connsiteX1173" fmla="*/ 308285 w 1493481"/>
              <a:gd name="connsiteY1173" fmla="*/ 387903 h 1734136"/>
              <a:gd name="connsiteX1174" fmla="*/ 310569 w 1493481"/>
              <a:gd name="connsiteY1174" fmla="*/ 387903 h 1734136"/>
              <a:gd name="connsiteX1175" fmla="*/ 312853 w 1493481"/>
              <a:gd name="connsiteY1175" fmla="*/ 387903 h 1734136"/>
              <a:gd name="connsiteX1176" fmla="*/ 315136 w 1493481"/>
              <a:gd name="connsiteY1176" fmla="*/ 385621 h 1734136"/>
              <a:gd name="connsiteX1177" fmla="*/ 317420 w 1493481"/>
              <a:gd name="connsiteY1177" fmla="*/ 385621 h 1734136"/>
              <a:gd name="connsiteX1178" fmla="*/ 319704 w 1493481"/>
              <a:gd name="connsiteY1178" fmla="*/ 383339 h 1734136"/>
              <a:gd name="connsiteX1179" fmla="*/ 317420 w 1493481"/>
              <a:gd name="connsiteY1179" fmla="*/ 383339 h 1734136"/>
              <a:gd name="connsiteX1180" fmla="*/ 317420 w 1493481"/>
              <a:gd name="connsiteY1180" fmla="*/ 381057 h 1734136"/>
              <a:gd name="connsiteX1181" fmla="*/ 315136 w 1493481"/>
              <a:gd name="connsiteY1181" fmla="*/ 378776 h 1734136"/>
              <a:gd name="connsiteX1182" fmla="*/ 312853 w 1493481"/>
              <a:gd name="connsiteY1182" fmla="*/ 378776 h 1734136"/>
              <a:gd name="connsiteX1183" fmla="*/ 310569 w 1493481"/>
              <a:gd name="connsiteY1183" fmla="*/ 378776 h 1734136"/>
              <a:gd name="connsiteX1184" fmla="*/ 312853 w 1493481"/>
              <a:gd name="connsiteY1184" fmla="*/ 376494 h 1734136"/>
              <a:gd name="connsiteX1185" fmla="*/ 312853 w 1493481"/>
              <a:gd name="connsiteY1185" fmla="*/ 374212 h 1734136"/>
              <a:gd name="connsiteX1186" fmla="*/ 312853 w 1493481"/>
              <a:gd name="connsiteY1186" fmla="*/ 371930 h 1734136"/>
              <a:gd name="connsiteX1187" fmla="*/ 310569 w 1493481"/>
              <a:gd name="connsiteY1187" fmla="*/ 371930 h 1734136"/>
              <a:gd name="connsiteX1188" fmla="*/ 310569 w 1493481"/>
              <a:gd name="connsiteY1188" fmla="*/ 369648 h 1734136"/>
              <a:gd name="connsiteX1189" fmla="*/ 310569 w 1493481"/>
              <a:gd name="connsiteY1189" fmla="*/ 367366 h 1734136"/>
              <a:gd name="connsiteX1190" fmla="*/ 308285 w 1493481"/>
              <a:gd name="connsiteY1190" fmla="*/ 367366 h 1734136"/>
              <a:gd name="connsiteX1191" fmla="*/ 308285 w 1493481"/>
              <a:gd name="connsiteY1191" fmla="*/ 365084 h 1734136"/>
              <a:gd name="connsiteX1192" fmla="*/ 310569 w 1493481"/>
              <a:gd name="connsiteY1192" fmla="*/ 362802 h 1734136"/>
              <a:gd name="connsiteX1193" fmla="*/ 310569 w 1493481"/>
              <a:gd name="connsiteY1193" fmla="*/ 360521 h 1734136"/>
              <a:gd name="connsiteX1194" fmla="*/ 310569 w 1493481"/>
              <a:gd name="connsiteY1194" fmla="*/ 358239 h 1734136"/>
              <a:gd name="connsiteX1195" fmla="*/ 310569 w 1493481"/>
              <a:gd name="connsiteY1195" fmla="*/ 355957 h 1734136"/>
              <a:gd name="connsiteX1196" fmla="*/ 312853 w 1493481"/>
              <a:gd name="connsiteY1196" fmla="*/ 351393 h 1734136"/>
              <a:gd name="connsiteX1197" fmla="*/ 310569 w 1493481"/>
              <a:gd name="connsiteY1197" fmla="*/ 351393 h 1734136"/>
              <a:gd name="connsiteX1198" fmla="*/ 310569 w 1493481"/>
              <a:gd name="connsiteY1198" fmla="*/ 349111 h 1734136"/>
              <a:gd name="connsiteX1199" fmla="*/ 312853 w 1493481"/>
              <a:gd name="connsiteY1199" fmla="*/ 349111 h 1734136"/>
              <a:gd name="connsiteX1200" fmla="*/ 310569 w 1493481"/>
              <a:gd name="connsiteY1200" fmla="*/ 346829 h 1734136"/>
              <a:gd name="connsiteX1201" fmla="*/ 310569 w 1493481"/>
              <a:gd name="connsiteY1201" fmla="*/ 344547 h 1734136"/>
              <a:gd name="connsiteX1202" fmla="*/ 310569 w 1493481"/>
              <a:gd name="connsiteY1202" fmla="*/ 342265 h 1734136"/>
              <a:gd name="connsiteX1203" fmla="*/ 310569 w 1493481"/>
              <a:gd name="connsiteY1203" fmla="*/ 339983 h 1734136"/>
              <a:gd name="connsiteX1204" fmla="*/ 308285 w 1493481"/>
              <a:gd name="connsiteY1204" fmla="*/ 339983 h 1734136"/>
              <a:gd name="connsiteX1205" fmla="*/ 308285 w 1493481"/>
              <a:gd name="connsiteY1205" fmla="*/ 337701 h 1734136"/>
              <a:gd name="connsiteX1206" fmla="*/ 306002 w 1493481"/>
              <a:gd name="connsiteY1206" fmla="*/ 337701 h 1734136"/>
              <a:gd name="connsiteX1207" fmla="*/ 306002 w 1493481"/>
              <a:gd name="connsiteY1207" fmla="*/ 335420 h 1734136"/>
              <a:gd name="connsiteX1208" fmla="*/ 303718 w 1493481"/>
              <a:gd name="connsiteY1208" fmla="*/ 335420 h 1734136"/>
              <a:gd name="connsiteX1209" fmla="*/ 303718 w 1493481"/>
              <a:gd name="connsiteY1209" fmla="*/ 333138 h 1734136"/>
              <a:gd name="connsiteX1210" fmla="*/ 303718 w 1493481"/>
              <a:gd name="connsiteY1210" fmla="*/ 330856 h 1734136"/>
              <a:gd name="connsiteX1211" fmla="*/ 301435 w 1493481"/>
              <a:gd name="connsiteY1211" fmla="*/ 330856 h 1734136"/>
              <a:gd name="connsiteX1212" fmla="*/ 299151 w 1493481"/>
              <a:gd name="connsiteY1212" fmla="*/ 330856 h 1734136"/>
              <a:gd name="connsiteX1213" fmla="*/ 299151 w 1493481"/>
              <a:gd name="connsiteY1213" fmla="*/ 328574 h 1734136"/>
              <a:gd name="connsiteX1214" fmla="*/ 296867 w 1493481"/>
              <a:gd name="connsiteY1214" fmla="*/ 326292 h 1734136"/>
              <a:gd name="connsiteX1215" fmla="*/ 299151 w 1493481"/>
              <a:gd name="connsiteY1215" fmla="*/ 324010 h 1734136"/>
              <a:gd name="connsiteX1216" fmla="*/ 299151 w 1493481"/>
              <a:gd name="connsiteY1216" fmla="*/ 321728 h 1734136"/>
              <a:gd name="connsiteX1217" fmla="*/ 299151 w 1493481"/>
              <a:gd name="connsiteY1217" fmla="*/ 319446 h 1734136"/>
              <a:gd name="connsiteX1218" fmla="*/ 299151 w 1493481"/>
              <a:gd name="connsiteY1218" fmla="*/ 317164 h 1734136"/>
              <a:gd name="connsiteX1219" fmla="*/ 299151 w 1493481"/>
              <a:gd name="connsiteY1219" fmla="*/ 314883 h 1734136"/>
              <a:gd name="connsiteX1220" fmla="*/ 301435 w 1493481"/>
              <a:gd name="connsiteY1220" fmla="*/ 314883 h 1734136"/>
              <a:gd name="connsiteX1221" fmla="*/ 303718 w 1493481"/>
              <a:gd name="connsiteY1221" fmla="*/ 314883 h 1734136"/>
              <a:gd name="connsiteX1222" fmla="*/ 306002 w 1493481"/>
              <a:gd name="connsiteY1222" fmla="*/ 314883 h 1734136"/>
              <a:gd name="connsiteX1223" fmla="*/ 308285 w 1493481"/>
              <a:gd name="connsiteY1223" fmla="*/ 314883 h 1734136"/>
              <a:gd name="connsiteX1224" fmla="*/ 312853 w 1493481"/>
              <a:gd name="connsiteY1224" fmla="*/ 312601 h 1734136"/>
              <a:gd name="connsiteX1225" fmla="*/ 310569 w 1493481"/>
              <a:gd name="connsiteY1225" fmla="*/ 312601 h 1734136"/>
              <a:gd name="connsiteX1226" fmla="*/ 312853 w 1493481"/>
              <a:gd name="connsiteY1226" fmla="*/ 312601 h 1734136"/>
              <a:gd name="connsiteX1227" fmla="*/ 312853 w 1493481"/>
              <a:gd name="connsiteY1227" fmla="*/ 310319 h 1734136"/>
              <a:gd name="connsiteX1228" fmla="*/ 312853 w 1493481"/>
              <a:gd name="connsiteY1228" fmla="*/ 312601 h 1734136"/>
              <a:gd name="connsiteX1229" fmla="*/ 315136 w 1493481"/>
              <a:gd name="connsiteY1229" fmla="*/ 312601 h 1734136"/>
              <a:gd name="connsiteX1230" fmla="*/ 315136 w 1493481"/>
              <a:gd name="connsiteY1230" fmla="*/ 310319 h 1734136"/>
              <a:gd name="connsiteX1231" fmla="*/ 317420 w 1493481"/>
              <a:gd name="connsiteY1231" fmla="*/ 310319 h 1734136"/>
              <a:gd name="connsiteX1232" fmla="*/ 315136 w 1493481"/>
              <a:gd name="connsiteY1232" fmla="*/ 310319 h 1734136"/>
              <a:gd name="connsiteX1233" fmla="*/ 317420 w 1493481"/>
              <a:gd name="connsiteY1233" fmla="*/ 310319 h 1734136"/>
              <a:gd name="connsiteX1234" fmla="*/ 317420 w 1493481"/>
              <a:gd name="connsiteY1234" fmla="*/ 308046 h 1734136"/>
              <a:gd name="connsiteX1235" fmla="*/ 317420 w 1493481"/>
              <a:gd name="connsiteY1235" fmla="*/ 305755 h 1734136"/>
              <a:gd name="connsiteX1236" fmla="*/ 319704 w 1493481"/>
              <a:gd name="connsiteY1236" fmla="*/ 305755 h 1734136"/>
              <a:gd name="connsiteX1237" fmla="*/ 319704 w 1493481"/>
              <a:gd name="connsiteY1237" fmla="*/ 303473 h 1734136"/>
              <a:gd name="connsiteX1238" fmla="*/ 321987 w 1493481"/>
              <a:gd name="connsiteY1238" fmla="*/ 301201 h 1734136"/>
              <a:gd name="connsiteX1239" fmla="*/ 324271 w 1493481"/>
              <a:gd name="connsiteY1239" fmla="*/ 301201 h 1734136"/>
              <a:gd name="connsiteX1240" fmla="*/ 326554 w 1493481"/>
              <a:gd name="connsiteY1240" fmla="*/ 305755 h 1734136"/>
              <a:gd name="connsiteX1241" fmla="*/ 326554 w 1493481"/>
              <a:gd name="connsiteY1241" fmla="*/ 303473 h 1734136"/>
              <a:gd name="connsiteX1242" fmla="*/ 328838 w 1493481"/>
              <a:gd name="connsiteY1242" fmla="*/ 303473 h 1734136"/>
              <a:gd name="connsiteX1243" fmla="*/ 328838 w 1493481"/>
              <a:gd name="connsiteY1243" fmla="*/ 301201 h 1734136"/>
              <a:gd name="connsiteX1244" fmla="*/ 331121 w 1493481"/>
              <a:gd name="connsiteY1244" fmla="*/ 298919 h 1734136"/>
              <a:gd name="connsiteX1245" fmla="*/ 333405 w 1493481"/>
              <a:gd name="connsiteY1245" fmla="*/ 298919 h 1734136"/>
              <a:gd name="connsiteX1246" fmla="*/ 335689 w 1493481"/>
              <a:gd name="connsiteY1246" fmla="*/ 296637 h 1734136"/>
              <a:gd name="connsiteX1247" fmla="*/ 337972 w 1493481"/>
              <a:gd name="connsiteY1247" fmla="*/ 298919 h 1734136"/>
              <a:gd name="connsiteX1248" fmla="*/ 340256 w 1493481"/>
              <a:gd name="connsiteY1248" fmla="*/ 298919 h 1734136"/>
              <a:gd name="connsiteX1249" fmla="*/ 337972 w 1493481"/>
              <a:gd name="connsiteY1249" fmla="*/ 294355 h 1734136"/>
              <a:gd name="connsiteX1250" fmla="*/ 337972 w 1493481"/>
              <a:gd name="connsiteY1250" fmla="*/ 292073 h 1734136"/>
              <a:gd name="connsiteX1251" fmla="*/ 337972 w 1493481"/>
              <a:gd name="connsiteY1251" fmla="*/ 289791 h 1734136"/>
              <a:gd name="connsiteX1252" fmla="*/ 340256 w 1493481"/>
              <a:gd name="connsiteY1252" fmla="*/ 289791 h 1734136"/>
              <a:gd name="connsiteX1253" fmla="*/ 340256 w 1493481"/>
              <a:gd name="connsiteY1253" fmla="*/ 287509 h 1734136"/>
              <a:gd name="connsiteX1254" fmla="*/ 340256 w 1493481"/>
              <a:gd name="connsiteY1254" fmla="*/ 285227 h 1734136"/>
              <a:gd name="connsiteX1255" fmla="*/ 337972 w 1493481"/>
              <a:gd name="connsiteY1255" fmla="*/ 282945 h 1734136"/>
              <a:gd name="connsiteX1256" fmla="*/ 337972 w 1493481"/>
              <a:gd name="connsiteY1256" fmla="*/ 280664 h 1734136"/>
              <a:gd name="connsiteX1257" fmla="*/ 335689 w 1493481"/>
              <a:gd name="connsiteY1257" fmla="*/ 280664 h 1734136"/>
              <a:gd name="connsiteX1258" fmla="*/ 335689 w 1493481"/>
              <a:gd name="connsiteY1258" fmla="*/ 278382 h 1734136"/>
              <a:gd name="connsiteX1259" fmla="*/ 335689 w 1493481"/>
              <a:gd name="connsiteY1259" fmla="*/ 276100 h 1734136"/>
              <a:gd name="connsiteX1260" fmla="*/ 333405 w 1493481"/>
              <a:gd name="connsiteY1260" fmla="*/ 276100 h 1734136"/>
              <a:gd name="connsiteX1261" fmla="*/ 333405 w 1493481"/>
              <a:gd name="connsiteY1261" fmla="*/ 273818 h 1734136"/>
              <a:gd name="connsiteX1262" fmla="*/ 333405 w 1493481"/>
              <a:gd name="connsiteY1262" fmla="*/ 271536 h 1734136"/>
              <a:gd name="connsiteX1263" fmla="*/ 331121 w 1493481"/>
              <a:gd name="connsiteY1263" fmla="*/ 269254 h 1734136"/>
              <a:gd name="connsiteX1264" fmla="*/ 328838 w 1493481"/>
              <a:gd name="connsiteY1264" fmla="*/ 269254 h 1734136"/>
              <a:gd name="connsiteX1265" fmla="*/ 326554 w 1493481"/>
              <a:gd name="connsiteY1265" fmla="*/ 269254 h 1734136"/>
              <a:gd name="connsiteX1266" fmla="*/ 326554 w 1493481"/>
              <a:gd name="connsiteY1266" fmla="*/ 266972 h 1734136"/>
              <a:gd name="connsiteX1267" fmla="*/ 324271 w 1493481"/>
              <a:gd name="connsiteY1267" fmla="*/ 266972 h 1734136"/>
              <a:gd name="connsiteX1268" fmla="*/ 321987 w 1493481"/>
              <a:gd name="connsiteY1268" fmla="*/ 266972 h 1734136"/>
              <a:gd name="connsiteX1269" fmla="*/ 319704 w 1493481"/>
              <a:gd name="connsiteY1269" fmla="*/ 266972 h 1734136"/>
              <a:gd name="connsiteX1270" fmla="*/ 315136 w 1493481"/>
              <a:gd name="connsiteY1270" fmla="*/ 266972 h 1734136"/>
              <a:gd name="connsiteX1271" fmla="*/ 315136 w 1493481"/>
              <a:gd name="connsiteY1271" fmla="*/ 264690 h 1734136"/>
              <a:gd name="connsiteX1272" fmla="*/ 312853 w 1493481"/>
              <a:gd name="connsiteY1272" fmla="*/ 264690 h 1734136"/>
              <a:gd name="connsiteX1273" fmla="*/ 312853 w 1493481"/>
              <a:gd name="connsiteY1273" fmla="*/ 262409 h 1734136"/>
              <a:gd name="connsiteX1274" fmla="*/ 312853 w 1493481"/>
              <a:gd name="connsiteY1274" fmla="*/ 260127 h 1734136"/>
              <a:gd name="connsiteX1275" fmla="*/ 312853 w 1493481"/>
              <a:gd name="connsiteY1275" fmla="*/ 257845 h 1734136"/>
              <a:gd name="connsiteX1276" fmla="*/ 317420 w 1493481"/>
              <a:gd name="connsiteY1276" fmla="*/ 253281 h 1734136"/>
              <a:gd name="connsiteX1277" fmla="*/ 319704 w 1493481"/>
              <a:gd name="connsiteY1277" fmla="*/ 253281 h 1734136"/>
              <a:gd name="connsiteX1278" fmla="*/ 321987 w 1493481"/>
              <a:gd name="connsiteY1278" fmla="*/ 253281 h 1734136"/>
              <a:gd name="connsiteX1279" fmla="*/ 317420 w 1493481"/>
              <a:gd name="connsiteY1279" fmla="*/ 250999 h 1734136"/>
              <a:gd name="connsiteX1280" fmla="*/ 317420 w 1493481"/>
              <a:gd name="connsiteY1280" fmla="*/ 248717 h 1734136"/>
              <a:gd name="connsiteX1281" fmla="*/ 315136 w 1493481"/>
              <a:gd name="connsiteY1281" fmla="*/ 248717 h 1734136"/>
              <a:gd name="connsiteX1282" fmla="*/ 312853 w 1493481"/>
              <a:gd name="connsiteY1282" fmla="*/ 248717 h 1734136"/>
              <a:gd name="connsiteX1283" fmla="*/ 312853 w 1493481"/>
              <a:gd name="connsiteY1283" fmla="*/ 246435 h 1734136"/>
              <a:gd name="connsiteX1284" fmla="*/ 310569 w 1493481"/>
              <a:gd name="connsiteY1284" fmla="*/ 246435 h 1734136"/>
              <a:gd name="connsiteX1285" fmla="*/ 312853 w 1493481"/>
              <a:gd name="connsiteY1285" fmla="*/ 244153 h 1734136"/>
              <a:gd name="connsiteX1286" fmla="*/ 312853 w 1493481"/>
              <a:gd name="connsiteY1286" fmla="*/ 241871 h 1734136"/>
              <a:gd name="connsiteX1287" fmla="*/ 315136 w 1493481"/>
              <a:gd name="connsiteY1287" fmla="*/ 241871 h 1734136"/>
              <a:gd name="connsiteX1288" fmla="*/ 317420 w 1493481"/>
              <a:gd name="connsiteY1288" fmla="*/ 244153 h 1734136"/>
              <a:gd name="connsiteX1289" fmla="*/ 317420 w 1493481"/>
              <a:gd name="connsiteY1289" fmla="*/ 241871 h 1734136"/>
              <a:gd name="connsiteX1290" fmla="*/ 319704 w 1493481"/>
              <a:gd name="connsiteY1290" fmla="*/ 241871 h 1734136"/>
              <a:gd name="connsiteX1291" fmla="*/ 324271 w 1493481"/>
              <a:gd name="connsiteY1291" fmla="*/ 237308 h 1734136"/>
              <a:gd name="connsiteX1292" fmla="*/ 331121 w 1493481"/>
              <a:gd name="connsiteY1292" fmla="*/ 235026 h 1734136"/>
              <a:gd name="connsiteX1293" fmla="*/ 333405 w 1493481"/>
              <a:gd name="connsiteY1293" fmla="*/ 235026 h 1734136"/>
              <a:gd name="connsiteX1294" fmla="*/ 333405 w 1493481"/>
              <a:gd name="connsiteY1294" fmla="*/ 237308 h 1734136"/>
              <a:gd name="connsiteX1295" fmla="*/ 335689 w 1493481"/>
              <a:gd name="connsiteY1295" fmla="*/ 237308 h 1734136"/>
              <a:gd name="connsiteX1296" fmla="*/ 335689 w 1493481"/>
              <a:gd name="connsiteY1296" fmla="*/ 239589 h 1734136"/>
              <a:gd name="connsiteX1297" fmla="*/ 337972 w 1493481"/>
              <a:gd name="connsiteY1297" fmla="*/ 239589 h 1734136"/>
              <a:gd name="connsiteX1298" fmla="*/ 340256 w 1493481"/>
              <a:gd name="connsiteY1298" fmla="*/ 239589 h 1734136"/>
              <a:gd name="connsiteX1299" fmla="*/ 342539 w 1493481"/>
              <a:gd name="connsiteY1299" fmla="*/ 239589 h 1734136"/>
              <a:gd name="connsiteX1300" fmla="*/ 342539 w 1493481"/>
              <a:gd name="connsiteY1300" fmla="*/ 241871 h 1734136"/>
              <a:gd name="connsiteX1301" fmla="*/ 344823 w 1493481"/>
              <a:gd name="connsiteY1301" fmla="*/ 241871 h 1734136"/>
              <a:gd name="connsiteX1302" fmla="*/ 344823 w 1493481"/>
              <a:gd name="connsiteY1302" fmla="*/ 239589 h 1734136"/>
              <a:gd name="connsiteX1303" fmla="*/ 347106 w 1493481"/>
              <a:gd name="connsiteY1303" fmla="*/ 239589 h 1734136"/>
              <a:gd name="connsiteX1304" fmla="*/ 347106 w 1493481"/>
              <a:gd name="connsiteY1304" fmla="*/ 237308 h 1734136"/>
              <a:gd name="connsiteX1305" fmla="*/ 349390 w 1493481"/>
              <a:gd name="connsiteY1305" fmla="*/ 237308 h 1734136"/>
              <a:gd name="connsiteX1306" fmla="*/ 351674 w 1493481"/>
              <a:gd name="connsiteY1306" fmla="*/ 237308 h 1734136"/>
              <a:gd name="connsiteX1307" fmla="*/ 351674 w 1493481"/>
              <a:gd name="connsiteY1307" fmla="*/ 235026 h 1734136"/>
              <a:gd name="connsiteX1308" fmla="*/ 351674 w 1493481"/>
              <a:gd name="connsiteY1308" fmla="*/ 232744 h 1734136"/>
              <a:gd name="connsiteX1309" fmla="*/ 351674 w 1493481"/>
              <a:gd name="connsiteY1309" fmla="*/ 230462 h 1734136"/>
              <a:gd name="connsiteX1310" fmla="*/ 353957 w 1493481"/>
              <a:gd name="connsiteY1310" fmla="*/ 230462 h 1734136"/>
              <a:gd name="connsiteX1311" fmla="*/ 353957 w 1493481"/>
              <a:gd name="connsiteY1311" fmla="*/ 228180 h 1734136"/>
              <a:gd name="connsiteX1312" fmla="*/ 356241 w 1493481"/>
              <a:gd name="connsiteY1312" fmla="*/ 228180 h 1734136"/>
              <a:gd name="connsiteX1313" fmla="*/ 356241 w 1493481"/>
              <a:gd name="connsiteY1313" fmla="*/ 225898 h 1734136"/>
              <a:gd name="connsiteX1314" fmla="*/ 356241 w 1493481"/>
              <a:gd name="connsiteY1314" fmla="*/ 223616 h 1734136"/>
              <a:gd name="connsiteX1315" fmla="*/ 356241 w 1493481"/>
              <a:gd name="connsiteY1315" fmla="*/ 221334 h 1734136"/>
              <a:gd name="connsiteX1316" fmla="*/ 356241 w 1493481"/>
              <a:gd name="connsiteY1316" fmla="*/ 219052 h 1734136"/>
              <a:gd name="connsiteX1317" fmla="*/ 358525 w 1493481"/>
              <a:gd name="connsiteY1317" fmla="*/ 219052 h 1734136"/>
              <a:gd name="connsiteX1318" fmla="*/ 360808 w 1493481"/>
              <a:gd name="connsiteY1318" fmla="*/ 219052 h 1734136"/>
              <a:gd name="connsiteX1319" fmla="*/ 360808 w 1493481"/>
              <a:gd name="connsiteY1319" fmla="*/ 216771 h 1734136"/>
              <a:gd name="connsiteX1320" fmla="*/ 360808 w 1493481"/>
              <a:gd name="connsiteY1320" fmla="*/ 214489 h 1734136"/>
              <a:gd name="connsiteX1321" fmla="*/ 360808 w 1493481"/>
              <a:gd name="connsiteY1321" fmla="*/ 212207 h 1734136"/>
              <a:gd name="connsiteX1322" fmla="*/ 360808 w 1493481"/>
              <a:gd name="connsiteY1322" fmla="*/ 209925 h 1734136"/>
              <a:gd name="connsiteX1323" fmla="*/ 363092 w 1493481"/>
              <a:gd name="connsiteY1323" fmla="*/ 209925 h 1734136"/>
              <a:gd name="connsiteX1324" fmla="*/ 365375 w 1493481"/>
              <a:gd name="connsiteY1324" fmla="*/ 209925 h 1734136"/>
              <a:gd name="connsiteX1325" fmla="*/ 367659 w 1493481"/>
              <a:gd name="connsiteY1325" fmla="*/ 209925 h 1734136"/>
              <a:gd name="connsiteX1326" fmla="*/ 369943 w 1493481"/>
              <a:gd name="connsiteY1326" fmla="*/ 209925 h 1734136"/>
              <a:gd name="connsiteX1327" fmla="*/ 372226 w 1493481"/>
              <a:gd name="connsiteY1327" fmla="*/ 209925 h 1734136"/>
              <a:gd name="connsiteX1328" fmla="*/ 372226 w 1493481"/>
              <a:gd name="connsiteY1328" fmla="*/ 212207 h 1734136"/>
              <a:gd name="connsiteX1329" fmla="*/ 372226 w 1493481"/>
              <a:gd name="connsiteY1329" fmla="*/ 209925 h 1734136"/>
              <a:gd name="connsiteX1330" fmla="*/ 374510 w 1493481"/>
              <a:gd name="connsiteY1330" fmla="*/ 209925 h 1734136"/>
              <a:gd name="connsiteX1331" fmla="*/ 376793 w 1493481"/>
              <a:gd name="connsiteY1331" fmla="*/ 209925 h 1734136"/>
              <a:gd name="connsiteX1332" fmla="*/ 376793 w 1493481"/>
              <a:gd name="connsiteY1332" fmla="*/ 207643 h 1734136"/>
              <a:gd name="connsiteX1333" fmla="*/ 379077 w 1493481"/>
              <a:gd name="connsiteY1333" fmla="*/ 207643 h 1734136"/>
              <a:gd name="connsiteX1334" fmla="*/ 379077 w 1493481"/>
              <a:gd name="connsiteY1334" fmla="*/ 209925 h 1734136"/>
              <a:gd name="connsiteX1335" fmla="*/ 379077 w 1493481"/>
              <a:gd name="connsiteY1335" fmla="*/ 212207 h 1734136"/>
              <a:gd name="connsiteX1336" fmla="*/ 381361 w 1493481"/>
              <a:gd name="connsiteY1336" fmla="*/ 212207 h 1734136"/>
              <a:gd name="connsiteX1337" fmla="*/ 383644 w 1493481"/>
              <a:gd name="connsiteY1337" fmla="*/ 212207 h 1734136"/>
              <a:gd name="connsiteX1338" fmla="*/ 385928 w 1493481"/>
              <a:gd name="connsiteY1338" fmla="*/ 212207 h 1734136"/>
              <a:gd name="connsiteX1339" fmla="*/ 385928 w 1493481"/>
              <a:gd name="connsiteY1339" fmla="*/ 209925 h 1734136"/>
              <a:gd name="connsiteX1340" fmla="*/ 388211 w 1493481"/>
              <a:gd name="connsiteY1340" fmla="*/ 207643 h 1734136"/>
              <a:gd name="connsiteX1341" fmla="*/ 388211 w 1493481"/>
              <a:gd name="connsiteY1341" fmla="*/ 205361 h 1734136"/>
              <a:gd name="connsiteX1342" fmla="*/ 390495 w 1493481"/>
              <a:gd name="connsiteY1342" fmla="*/ 200797 h 1734136"/>
              <a:gd name="connsiteX1343" fmla="*/ 390495 w 1493481"/>
              <a:gd name="connsiteY1343" fmla="*/ 198515 h 1734136"/>
              <a:gd name="connsiteX1344" fmla="*/ 392778 w 1493481"/>
              <a:gd name="connsiteY1344" fmla="*/ 200797 h 1734136"/>
              <a:gd name="connsiteX1345" fmla="*/ 395062 w 1493481"/>
              <a:gd name="connsiteY1345" fmla="*/ 200797 h 1734136"/>
              <a:gd name="connsiteX1346" fmla="*/ 397346 w 1493481"/>
              <a:gd name="connsiteY1346" fmla="*/ 200797 h 1734136"/>
              <a:gd name="connsiteX1347" fmla="*/ 399629 w 1493481"/>
              <a:gd name="connsiteY1347" fmla="*/ 203079 h 1734136"/>
              <a:gd name="connsiteX1348" fmla="*/ 401913 w 1493481"/>
              <a:gd name="connsiteY1348" fmla="*/ 203079 h 1734136"/>
              <a:gd name="connsiteX1349" fmla="*/ 404196 w 1493481"/>
              <a:gd name="connsiteY1349" fmla="*/ 203079 h 1734136"/>
              <a:gd name="connsiteX1350" fmla="*/ 406480 w 1493481"/>
              <a:gd name="connsiteY1350" fmla="*/ 205361 h 1734136"/>
              <a:gd name="connsiteX1351" fmla="*/ 411047 w 1493481"/>
              <a:gd name="connsiteY1351" fmla="*/ 207643 h 1734136"/>
              <a:gd name="connsiteX1352" fmla="*/ 413331 w 1493481"/>
              <a:gd name="connsiteY1352" fmla="*/ 207643 h 1734136"/>
              <a:gd name="connsiteX1353" fmla="*/ 415614 w 1493481"/>
              <a:gd name="connsiteY1353" fmla="*/ 209925 h 1734136"/>
              <a:gd name="connsiteX1354" fmla="*/ 417898 w 1493481"/>
              <a:gd name="connsiteY1354" fmla="*/ 212207 h 1734136"/>
              <a:gd name="connsiteX1355" fmla="*/ 417898 w 1493481"/>
              <a:gd name="connsiteY1355" fmla="*/ 214489 h 1734136"/>
              <a:gd name="connsiteX1356" fmla="*/ 420181 w 1493481"/>
              <a:gd name="connsiteY1356" fmla="*/ 214489 h 1734136"/>
              <a:gd name="connsiteX1357" fmla="*/ 422465 w 1493481"/>
              <a:gd name="connsiteY1357" fmla="*/ 214489 h 1734136"/>
              <a:gd name="connsiteX1358" fmla="*/ 422465 w 1493481"/>
              <a:gd name="connsiteY1358" fmla="*/ 216771 h 1734136"/>
              <a:gd name="connsiteX1359" fmla="*/ 424749 w 1493481"/>
              <a:gd name="connsiteY1359" fmla="*/ 216771 h 1734136"/>
              <a:gd name="connsiteX1360" fmla="*/ 427033 w 1493481"/>
              <a:gd name="connsiteY1360" fmla="*/ 219052 h 1734136"/>
              <a:gd name="connsiteX1361" fmla="*/ 427033 w 1493481"/>
              <a:gd name="connsiteY1361" fmla="*/ 216771 h 1734136"/>
              <a:gd name="connsiteX1362" fmla="*/ 429316 w 1493481"/>
              <a:gd name="connsiteY1362" fmla="*/ 216771 h 1734136"/>
              <a:gd name="connsiteX1363" fmla="*/ 431600 w 1493481"/>
              <a:gd name="connsiteY1363" fmla="*/ 216771 h 1734136"/>
              <a:gd name="connsiteX1364" fmla="*/ 431600 w 1493481"/>
              <a:gd name="connsiteY1364" fmla="*/ 214489 h 1734136"/>
              <a:gd name="connsiteX1365" fmla="*/ 433883 w 1493481"/>
              <a:gd name="connsiteY1365" fmla="*/ 214489 h 1734136"/>
              <a:gd name="connsiteX1366" fmla="*/ 436167 w 1493481"/>
              <a:gd name="connsiteY1366" fmla="*/ 214489 h 1734136"/>
              <a:gd name="connsiteX1367" fmla="*/ 438451 w 1493481"/>
              <a:gd name="connsiteY1367" fmla="*/ 214489 h 1734136"/>
              <a:gd name="connsiteX1368" fmla="*/ 438451 w 1493481"/>
              <a:gd name="connsiteY1368" fmla="*/ 212207 h 1734136"/>
              <a:gd name="connsiteX1369" fmla="*/ 440734 w 1493481"/>
              <a:gd name="connsiteY1369" fmla="*/ 212207 h 1734136"/>
              <a:gd name="connsiteX1370" fmla="*/ 440734 w 1493481"/>
              <a:gd name="connsiteY1370" fmla="*/ 209925 h 1734136"/>
              <a:gd name="connsiteX1371" fmla="*/ 443018 w 1493481"/>
              <a:gd name="connsiteY1371" fmla="*/ 209925 h 1734136"/>
              <a:gd name="connsiteX1372" fmla="*/ 443018 w 1493481"/>
              <a:gd name="connsiteY1372" fmla="*/ 207643 h 1734136"/>
              <a:gd name="connsiteX1373" fmla="*/ 445301 w 1493481"/>
              <a:gd name="connsiteY1373" fmla="*/ 207643 h 1734136"/>
              <a:gd name="connsiteX1374" fmla="*/ 445301 w 1493481"/>
              <a:gd name="connsiteY1374" fmla="*/ 205361 h 1734136"/>
              <a:gd name="connsiteX1375" fmla="*/ 447585 w 1493481"/>
              <a:gd name="connsiteY1375" fmla="*/ 205361 h 1734136"/>
              <a:gd name="connsiteX1376" fmla="*/ 449868 w 1493481"/>
              <a:gd name="connsiteY1376" fmla="*/ 207643 h 1734136"/>
              <a:gd name="connsiteX1377" fmla="*/ 452152 w 1493481"/>
              <a:gd name="connsiteY1377" fmla="*/ 207643 h 1734136"/>
              <a:gd name="connsiteX1378" fmla="*/ 454436 w 1493481"/>
              <a:gd name="connsiteY1378" fmla="*/ 207643 h 1734136"/>
              <a:gd name="connsiteX1379" fmla="*/ 456719 w 1493481"/>
              <a:gd name="connsiteY1379" fmla="*/ 209925 h 1734136"/>
              <a:gd name="connsiteX1380" fmla="*/ 459003 w 1493481"/>
              <a:gd name="connsiteY1380" fmla="*/ 212207 h 1734136"/>
              <a:gd name="connsiteX1381" fmla="*/ 461286 w 1493481"/>
              <a:gd name="connsiteY1381" fmla="*/ 212207 h 1734136"/>
              <a:gd name="connsiteX1382" fmla="*/ 461286 w 1493481"/>
              <a:gd name="connsiteY1382" fmla="*/ 214489 h 1734136"/>
              <a:gd name="connsiteX1383" fmla="*/ 463570 w 1493481"/>
              <a:gd name="connsiteY1383" fmla="*/ 214489 h 1734136"/>
              <a:gd name="connsiteX1384" fmla="*/ 463570 w 1493481"/>
              <a:gd name="connsiteY1384" fmla="*/ 216771 h 1734136"/>
              <a:gd name="connsiteX1385" fmla="*/ 465853 w 1493481"/>
              <a:gd name="connsiteY1385" fmla="*/ 219052 h 1734136"/>
              <a:gd name="connsiteX1386" fmla="*/ 468137 w 1493481"/>
              <a:gd name="connsiteY1386" fmla="*/ 219052 h 1734136"/>
              <a:gd name="connsiteX1387" fmla="*/ 468137 w 1493481"/>
              <a:gd name="connsiteY1387" fmla="*/ 221334 h 1734136"/>
              <a:gd name="connsiteX1388" fmla="*/ 472704 w 1493481"/>
              <a:gd name="connsiteY1388" fmla="*/ 225898 h 1734136"/>
              <a:gd name="connsiteX1389" fmla="*/ 474988 w 1493481"/>
              <a:gd name="connsiteY1389" fmla="*/ 225898 h 1734136"/>
              <a:gd name="connsiteX1390" fmla="*/ 474988 w 1493481"/>
              <a:gd name="connsiteY1390" fmla="*/ 223616 h 1734136"/>
              <a:gd name="connsiteX1391" fmla="*/ 477271 w 1493481"/>
              <a:gd name="connsiteY1391" fmla="*/ 223616 h 1734136"/>
              <a:gd name="connsiteX1392" fmla="*/ 477271 w 1493481"/>
              <a:gd name="connsiteY1392" fmla="*/ 221334 h 1734136"/>
              <a:gd name="connsiteX1393" fmla="*/ 477271 w 1493481"/>
              <a:gd name="connsiteY1393" fmla="*/ 219052 h 1734136"/>
              <a:gd name="connsiteX1394" fmla="*/ 477271 w 1493481"/>
              <a:gd name="connsiteY1394" fmla="*/ 216771 h 1734136"/>
              <a:gd name="connsiteX1395" fmla="*/ 479555 w 1493481"/>
              <a:gd name="connsiteY1395" fmla="*/ 216771 h 1734136"/>
              <a:gd name="connsiteX1396" fmla="*/ 479555 w 1493481"/>
              <a:gd name="connsiteY1396" fmla="*/ 214489 h 1734136"/>
              <a:gd name="connsiteX1397" fmla="*/ 481839 w 1493481"/>
              <a:gd name="connsiteY1397" fmla="*/ 214489 h 1734136"/>
              <a:gd name="connsiteX1398" fmla="*/ 484122 w 1493481"/>
              <a:gd name="connsiteY1398" fmla="*/ 214489 h 1734136"/>
              <a:gd name="connsiteX1399" fmla="*/ 484122 w 1493481"/>
              <a:gd name="connsiteY1399" fmla="*/ 212207 h 1734136"/>
              <a:gd name="connsiteX1400" fmla="*/ 486406 w 1493481"/>
              <a:gd name="connsiteY1400" fmla="*/ 212207 h 1734136"/>
              <a:gd name="connsiteX1401" fmla="*/ 486406 w 1493481"/>
              <a:gd name="connsiteY1401" fmla="*/ 209925 h 1734136"/>
              <a:gd name="connsiteX1402" fmla="*/ 488689 w 1493481"/>
              <a:gd name="connsiteY1402" fmla="*/ 209925 h 1734136"/>
              <a:gd name="connsiteX1403" fmla="*/ 490973 w 1493481"/>
              <a:gd name="connsiteY1403" fmla="*/ 209925 h 1734136"/>
              <a:gd name="connsiteX1404" fmla="*/ 490973 w 1493481"/>
              <a:gd name="connsiteY1404" fmla="*/ 207643 h 1734136"/>
              <a:gd name="connsiteX1405" fmla="*/ 490973 w 1493481"/>
              <a:gd name="connsiteY1405" fmla="*/ 205361 h 1734136"/>
              <a:gd name="connsiteX1406" fmla="*/ 493256 w 1493481"/>
              <a:gd name="connsiteY1406" fmla="*/ 205361 h 1734136"/>
              <a:gd name="connsiteX1407" fmla="*/ 493256 w 1493481"/>
              <a:gd name="connsiteY1407" fmla="*/ 203079 h 1734136"/>
              <a:gd name="connsiteX1408" fmla="*/ 495541 w 1493481"/>
              <a:gd name="connsiteY1408" fmla="*/ 203079 h 1734136"/>
              <a:gd name="connsiteX1409" fmla="*/ 497824 w 1493481"/>
              <a:gd name="connsiteY1409" fmla="*/ 203079 h 1734136"/>
              <a:gd name="connsiteX1410" fmla="*/ 497824 w 1493481"/>
              <a:gd name="connsiteY1410" fmla="*/ 205361 h 1734136"/>
              <a:gd name="connsiteX1411" fmla="*/ 500108 w 1493481"/>
              <a:gd name="connsiteY1411" fmla="*/ 205361 h 1734136"/>
              <a:gd name="connsiteX1412" fmla="*/ 502391 w 1493481"/>
              <a:gd name="connsiteY1412" fmla="*/ 205361 h 1734136"/>
              <a:gd name="connsiteX1413" fmla="*/ 504675 w 1493481"/>
              <a:gd name="connsiteY1413" fmla="*/ 205361 h 1734136"/>
              <a:gd name="connsiteX1414" fmla="*/ 504675 w 1493481"/>
              <a:gd name="connsiteY1414" fmla="*/ 207643 h 1734136"/>
              <a:gd name="connsiteX1415" fmla="*/ 504675 w 1493481"/>
              <a:gd name="connsiteY1415" fmla="*/ 209925 h 1734136"/>
              <a:gd name="connsiteX1416" fmla="*/ 506958 w 1493481"/>
              <a:gd name="connsiteY1416" fmla="*/ 209925 h 1734136"/>
              <a:gd name="connsiteX1417" fmla="*/ 506958 w 1493481"/>
              <a:gd name="connsiteY1417" fmla="*/ 212207 h 1734136"/>
              <a:gd name="connsiteX1418" fmla="*/ 509242 w 1493481"/>
              <a:gd name="connsiteY1418" fmla="*/ 212207 h 1734136"/>
              <a:gd name="connsiteX1419" fmla="*/ 511526 w 1493481"/>
              <a:gd name="connsiteY1419" fmla="*/ 212207 h 1734136"/>
              <a:gd name="connsiteX1420" fmla="*/ 511526 w 1493481"/>
              <a:gd name="connsiteY1420" fmla="*/ 209925 h 1734136"/>
              <a:gd name="connsiteX1421" fmla="*/ 513809 w 1493481"/>
              <a:gd name="connsiteY1421" fmla="*/ 209925 h 1734136"/>
              <a:gd name="connsiteX1422" fmla="*/ 516093 w 1493481"/>
              <a:gd name="connsiteY1422" fmla="*/ 209925 h 1734136"/>
              <a:gd name="connsiteX1423" fmla="*/ 518376 w 1493481"/>
              <a:gd name="connsiteY1423" fmla="*/ 209925 h 1734136"/>
              <a:gd name="connsiteX1424" fmla="*/ 520660 w 1493481"/>
              <a:gd name="connsiteY1424" fmla="*/ 209925 h 1734136"/>
              <a:gd name="connsiteX1425" fmla="*/ 522943 w 1493481"/>
              <a:gd name="connsiteY1425" fmla="*/ 209925 h 1734136"/>
              <a:gd name="connsiteX1426" fmla="*/ 522943 w 1493481"/>
              <a:gd name="connsiteY1426" fmla="*/ 207643 h 1734136"/>
              <a:gd name="connsiteX1427" fmla="*/ 525227 w 1493481"/>
              <a:gd name="connsiteY1427" fmla="*/ 205361 h 1734136"/>
              <a:gd name="connsiteX1428" fmla="*/ 525227 w 1493481"/>
              <a:gd name="connsiteY1428" fmla="*/ 203079 h 1734136"/>
              <a:gd name="connsiteX1429" fmla="*/ 525227 w 1493481"/>
              <a:gd name="connsiteY1429" fmla="*/ 200797 h 1734136"/>
              <a:gd name="connsiteX1430" fmla="*/ 525227 w 1493481"/>
              <a:gd name="connsiteY1430" fmla="*/ 198515 h 1734136"/>
              <a:gd name="connsiteX1431" fmla="*/ 525227 w 1493481"/>
              <a:gd name="connsiteY1431" fmla="*/ 196233 h 1734136"/>
              <a:gd name="connsiteX1432" fmla="*/ 522943 w 1493481"/>
              <a:gd name="connsiteY1432" fmla="*/ 196233 h 1734136"/>
              <a:gd name="connsiteX1433" fmla="*/ 522943 w 1493481"/>
              <a:gd name="connsiteY1433" fmla="*/ 193952 h 1734136"/>
              <a:gd name="connsiteX1434" fmla="*/ 525227 w 1493481"/>
              <a:gd name="connsiteY1434" fmla="*/ 191670 h 1734136"/>
              <a:gd name="connsiteX1435" fmla="*/ 525227 w 1493481"/>
              <a:gd name="connsiteY1435" fmla="*/ 189388 h 1734136"/>
              <a:gd name="connsiteX1436" fmla="*/ 525227 w 1493481"/>
              <a:gd name="connsiteY1436" fmla="*/ 187106 h 1734136"/>
              <a:gd name="connsiteX1437" fmla="*/ 527511 w 1493481"/>
              <a:gd name="connsiteY1437" fmla="*/ 187106 h 1734136"/>
              <a:gd name="connsiteX1438" fmla="*/ 529794 w 1493481"/>
              <a:gd name="connsiteY1438" fmla="*/ 187106 h 1734136"/>
              <a:gd name="connsiteX1439" fmla="*/ 532078 w 1493481"/>
              <a:gd name="connsiteY1439" fmla="*/ 187106 h 1734136"/>
              <a:gd name="connsiteX1440" fmla="*/ 534361 w 1493481"/>
              <a:gd name="connsiteY1440" fmla="*/ 187106 h 1734136"/>
              <a:gd name="connsiteX1441" fmla="*/ 534361 w 1493481"/>
              <a:gd name="connsiteY1441" fmla="*/ 184824 h 1734136"/>
              <a:gd name="connsiteX1442" fmla="*/ 536645 w 1493481"/>
              <a:gd name="connsiteY1442" fmla="*/ 184824 h 1734136"/>
              <a:gd name="connsiteX1443" fmla="*/ 536645 w 1493481"/>
              <a:gd name="connsiteY1443" fmla="*/ 182542 h 1734136"/>
              <a:gd name="connsiteX1444" fmla="*/ 538929 w 1493481"/>
              <a:gd name="connsiteY1444" fmla="*/ 182542 h 1734136"/>
              <a:gd name="connsiteX1445" fmla="*/ 541212 w 1493481"/>
              <a:gd name="connsiteY1445" fmla="*/ 180260 h 1734136"/>
              <a:gd name="connsiteX1446" fmla="*/ 543496 w 1493481"/>
              <a:gd name="connsiteY1446" fmla="*/ 180260 h 1734136"/>
              <a:gd name="connsiteX1447" fmla="*/ 543496 w 1493481"/>
              <a:gd name="connsiteY1447" fmla="*/ 182542 h 1734136"/>
              <a:gd name="connsiteX1448" fmla="*/ 545779 w 1493481"/>
              <a:gd name="connsiteY1448" fmla="*/ 182542 h 1734136"/>
              <a:gd name="connsiteX1449" fmla="*/ 548063 w 1493481"/>
              <a:gd name="connsiteY1449" fmla="*/ 182542 h 1734136"/>
              <a:gd name="connsiteX1450" fmla="*/ 550346 w 1493481"/>
              <a:gd name="connsiteY1450" fmla="*/ 182542 h 1734136"/>
              <a:gd name="connsiteX1451" fmla="*/ 552630 w 1493481"/>
              <a:gd name="connsiteY1451" fmla="*/ 184824 h 1734136"/>
              <a:gd name="connsiteX1452" fmla="*/ 557197 w 1493481"/>
              <a:gd name="connsiteY1452" fmla="*/ 187106 h 1734136"/>
              <a:gd name="connsiteX1453" fmla="*/ 557197 w 1493481"/>
              <a:gd name="connsiteY1453" fmla="*/ 184824 h 1734136"/>
              <a:gd name="connsiteX1454" fmla="*/ 557197 w 1493481"/>
              <a:gd name="connsiteY1454" fmla="*/ 182542 h 1734136"/>
              <a:gd name="connsiteX1455" fmla="*/ 557197 w 1493481"/>
              <a:gd name="connsiteY1455" fmla="*/ 180260 h 1734136"/>
              <a:gd name="connsiteX1456" fmla="*/ 557197 w 1493481"/>
              <a:gd name="connsiteY1456" fmla="*/ 177978 h 1734136"/>
              <a:gd name="connsiteX1457" fmla="*/ 557197 w 1493481"/>
              <a:gd name="connsiteY1457" fmla="*/ 175696 h 1734136"/>
              <a:gd name="connsiteX1458" fmla="*/ 557197 w 1493481"/>
              <a:gd name="connsiteY1458" fmla="*/ 173415 h 1734136"/>
              <a:gd name="connsiteX1459" fmla="*/ 557197 w 1493481"/>
              <a:gd name="connsiteY1459" fmla="*/ 171133 h 1734136"/>
              <a:gd name="connsiteX1460" fmla="*/ 557197 w 1493481"/>
              <a:gd name="connsiteY1460" fmla="*/ 168851 h 1734136"/>
              <a:gd name="connsiteX1461" fmla="*/ 559481 w 1493481"/>
              <a:gd name="connsiteY1461" fmla="*/ 168851 h 1734136"/>
              <a:gd name="connsiteX1462" fmla="*/ 561764 w 1493481"/>
              <a:gd name="connsiteY1462" fmla="*/ 168851 h 1734136"/>
              <a:gd name="connsiteX1463" fmla="*/ 564048 w 1493481"/>
              <a:gd name="connsiteY1463" fmla="*/ 168851 h 1734136"/>
              <a:gd name="connsiteX1464" fmla="*/ 566332 w 1493481"/>
              <a:gd name="connsiteY1464" fmla="*/ 171133 h 1734136"/>
              <a:gd name="connsiteX1465" fmla="*/ 568616 w 1493481"/>
              <a:gd name="connsiteY1465" fmla="*/ 171133 h 1734136"/>
              <a:gd name="connsiteX1466" fmla="*/ 570899 w 1493481"/>
              <a:gd name="connsiteY1466" fmla="*/ 171133 h 1734136"/>
              <a:gd name="connsiteX1467" fmla="*/ 573183 w 1493481"/>
              <a:gd name="connsiteY1467" fmla="*/ 171133 h 1734136"/>
              <a:gd name="connsiteX1468" fmla="*/ 575466 w 1493481"/>
              <a:gd name="connsiteY1468" fmla="*/ 171133 h 1734136"/>
              <a:gd name="connsiteX1469" fmla="*/ 575466 w 1493481"/>
              <a:gd name="connsiteY1469" fmla="*/ 168851 h 1734136"/>
              <a:gd name="connsiteX1470" fmla="*/ 577750 w 1493481"/>
              <a:gd name="connsiteY1470" fmla="*/ 168851 h 1734136"/>
              <a:gd name="connsiteX1471" fmla="*/ 577750 w 1493481"/>
              <a:gd name="connsiteY1471" fmla="*/ 171133 h 1734136"/>
              <a:gd name="connsiteX1472" fmla="*/ 577750 w 1493481"/>
              <a:gd name="connsiteY1472" fmla="*/ 173415 h 1734136"/>
              <a:gd name="connsiteX1473" fmla="*/ 577750 w 1493481"/>
              <a:gd name="connsiteY1473" fmla="*/ 175696 h 1734136"/>
              <a:gd name="connsiteX1474" fmla="*/ 577750 w 1493481"/>
              <a:gd name="connsiteY1474" fmla="*/ 177978 h 1734136"/>
              <a:gd name="connsiteX1475" fmla="*/ 577750 w 1493481"/>
              <a:gd name="connsiteY1475" fmla="*/ 180260 h 1734136"/>
              <a:gd name="connsiteX1476" fmla="*/ 577750 w 1493481"/>
              <a:gd name="connsiteY1476" fmla="*/ 182542 h 1734136"/>
              <a:gd name="connsiteX1477" fmla="*/ 577750 w 1493481"/>
              <a:gd name="connsiteY1477" fmla="*/ 184824 h 1734136"/>
              <a:gd name="connsiteX1478" fmla="*/ 577750 w 1493481"/>
              <a:gd name="connsiteY1478" fmla="*/ 187106 h 1734136"/>
              <a:gd name="connsiteX1479" fmla="*/ 577750 w 1493481"/>
              <a:gd name="connsiteY1479" fmla="*/ 189388 h 1734136"/>
              <a:gd name="connsiteX1480" fmla="*/ 580033 w 1493481"/>
              <a:gd name="connsiteY1480" fmla="*/ 189388 h 1734136"/>
              <a:gd name="connsiteX1481" fmla="*/ 580033 w 1493481"/>
              <a:gd name="connsiteY1481" fmla="*/ 191670 h 1734136"/>
              <a:gd name="connsiteX1482" fmla="*/ 582317 w 1493481"/>
              <a:gd name="connsiteY1482" fmla="*/ 191670 h 1734136"/>
              <a:gd name="connsiteX1483" fmla="*/ 582317 w 1493481"/>
              <a:gd name="connsiteY1483" fmla="*/ 193952 h 1734136"/>
              <a:gd name="connsiteX1484" fmla="*/ 584601 w 1493481"/>
              <a:gd name="connsiteY1484" fmla="*/ 193952 h 1734136"/>
              <a:gd name="connsiteX1485" fmla="*/ 586884 w 1493481"/>
              <a:gd name="connsiteY1485" fmla="*/ 193952 h 1734136"/>
              <a:gd name="connsiteX1486" fmla="*/ 586884 w 1493481"/>
              <a:gd name="connsiteY1486" fmla="*/ 191670 h 1734136"/>
              <a:gd name="connsiteX1487" fmla="*/ 589168 w 1493481"/>
              <a:gd name="connsiteY1487" fmla="*/ 191670 h 1734136"/>
              <a:gd name="connsiteX1488" fmla="*/ 589168 w 1493481"/>
              <a:gd name="connsiteY1488" fmla="*/ 193952 h 1734136"/>
              <a:gd name="connsiteX1489" fmla="*/ 591451 w 1493481"/>
              <a:gd name="connsiteY1489" fmla="*/ 193952 h 1734136"/>
              <a:gd name="connsiteX1490" fmla="*/ 591451 w 1493481"/>
              <a:gd name="connsiteY1490" fmla="*/ 191670 h 1734136"/>
              <a:gd name="connsiteX1491" fmla="*/ 591451 w 1493481"/>
              <a:gd name="connsiteY1491" fmla="*/ 193952 h 1734136"/>
              <a:gd name="connsiteX1492" fmla="*/ 593735 w 1493481"/>
              <a:gd name="connsiteY1492" fmla="*/ 193952 h 1734136"/>
              <a:gd name="connsiteX1493" fmla="*/ 593735 w 1493481"/>
              <a:gd name="connsiteY1493" fmla="*/ 191670 h 1734136"/>
              <a:gd name="connsiteX1494" fmla="*/ 596019 w 1493481"/>
              <a:gd name="connsiteY1494" fmla="*/ 191670 h 1734136"/>
              <a:gd name="connsiteX1495" fmla="*/ 596019 w 1493481"/>
              <a:gd name="connsiteY1495" fmla="*/ 189388 h 1734136"/>
              <a:gd name="connsiteX1496" fmla="*/ 598302 w 1493481"/>
              <a:gd name="connsiteY1496" fmla="*/ 189388 h 1734136"/>
              <a:gd name="connsiteX1497" fmla="*/ 600586 w 1493481"/>
              <a:gd name="connsiteY1497" fmla="*/ 189388 h 1734136"/>
              <a:gd name="connsiteX1498" fmla="*/ 602869 w 1493481"/>
              <a:gd name="connsiteY1498" fmla="*/ 189388 h 1734136"/>
              <a:gd name="connsiteX1499" fmla="*/ 602869 w 1493481"/>
              <a:gd name="connsiteY1499" fmla="*/ 187106 h 1734136"/>
              <a:gd name="connsiteX1500" fmla="*/ 605153 w 1493481"/>
              <a:gd name="connsiteY1500" fmla="*/ 187106 h 1734136"/>
              <a:gd name="connsiteX1501" fmla="*/ 607436 w 1493481"/>
              <a:gd name="connsiteY1501" fmla="*/ 189388 h 1734136"/>
              <a:gd name="connsiteX1502" fmla="*/ 609720 w 1493481"/>
              <a:gd name="connsiteY1502" fmla="*/ 189388 h 1734136"/>
              <a:gd name="connsiteX1503" fmla="*/ 612004 w 1493481"/>
              <a:gd name="connsiteY1503" fmla="*/ 189388 h 1734136"/>
              <a:gd name="connsiteX1504" fmla="*/ 614287 w 1493481"/>
              <a:gd name="connsiteY1504" fmla="*/ 189388 h 1734136"/>
              <a:gd name="connsiteX1505" fmla="*/ 616571 w 1493481"/>
              <a:gd name="connsiteY1505" fmla="*/ 189388 h 1734136"/>
              <a:gd name="connsiteX1506" fmla="*/ 616571 w 1493481"/>
              <a:gd name="connsiteY1506" fmla="*/ 191670 h 1734136"/>
              <a:gd name="connsiteX1507" fmla="*/ 618854 w 1493481"/>
              <a:gd name="connsiteY1507" fmla="*/ 191670 h 1734136"/>
              <a:gd name="connsiteX1508" fmla="*/ 621138 w 1493481"/>
              <a:gd name="connsiteY1508" fmla="*/ 191670 h 1734136"/>
              <a:gd name="connsiteX1509" fmla="*/ 621138 w 1493481"/>
              <a:gd name="connsiteY1509" fmla="*/ 193952 h 1734136"/>
              <a:gd name="connsiteX1510" fmla="*/ 623422 w 1493481"/>
              <a:gd name="connsiteY1510" fmla="*/ 193952 h 1734136"/>
              <a:gd name="connsiteX1511" fmla="*/ 625705 w 1493481"/>
              <a:gd name="connsiteY1511" fmla="*/ 193952 h 1734136"/>
              <a:gd name="connsiteX1512" fmla="*/ 627989 w 1493481"/>
              <a:gd name="connsiteY1512" fmla="*/ 193952 h 1734136"/>
              <a:gd name="connsiteX1513" fmla="*/ 630272 w 1493481"/>
              <a:gd name="connsiteY1513" fmla="*/ 193952 h 1734136"/>
              <a:gd name="connsiteX1514" fmla="*/ 632556 w 1493481"/>
              <a:gd name="connsiteY1514" fmla="*/ 193952 h 1734136"/>
              <a:gd name="connsiteX1515" fmla="*/ 634840 w 1493481"/>
              <a:gd name="connsiteY1515" fmla="*/ 193952 h 1734136"/>
              <a:gd name="connsiteX1516" fmla="*/ 637123 w 1493481"/>
              <a:gd name="connsiteY1516" fmla="*/ 193952 h 1734136"/>
              <a:gd name="connsiteX1517" fmla="*/ 639407 w 1493481"/>
              <a:gd name="connsiteY1517" fmla="*/ 191670 h 1734136"/>
              <a:gd name="connsiteX1518" fmla="*/ 641691 w 1493481"/>
              <a:gd name="connsiteY1518" fmla="*/ 191670 h 1734136"/>
              <a:gd name="connsiteX1519" fmla="*/ 643974 w 1493481"/>
              <a:gd name="connsiteY1519" fmla="*/ 189388 h 1734136"/>
              <a:gd name="connsiteX1520" fmla="*/ 646258 w 1493481"/>
              <a:gd name="connsiteY1520" fmla="*/ 189388 h 1734136"/>
              <a:gd name="connsiteX1521" fmla="*/ 648541 w 1493481"/>
              <a:gd name="connsiteY1521" fmla="*/ 187106 h 1734136"/>
              <a:gd name="connsiteX1522" fmla="*/ 650825 w 1493481"/>
              <a:gd name="connsiteY1522" fmla="*/ 187106 h 1734136"/>
              <a:gd name="connsiteX1523" fmla="*/ 657676 w 1493481"/>
              <a:gd name="connsiteY1523" fmla="*/ 182542 h 1734136"/>
              <a:gd name="connsiteX1524" fmla="*/ 662243 w 1493481"/>
              <a:gd name="connsiteY1524" fmla="*/ 180260 h 1734136"/>
              <a:gd name="connsiteX1525" fmla="*/ 664536 w 1493481"/>
              <a:gd name="connsiteY1525" fmla="*/ 180260 h 1734136"/>
              <a:gd name="connsiteX1526" fmla="*/ 666810 w 1493481"/>
              <a:gd name="connsiteY1526" fmla="*/ 180260 h 1734136"/>
              <a:gd name="connsiteX1527" fmla="*/ 669094 w 1493481"/>
              <a:gd name="connsiteY1527" fmla="*/ 180260 h 1734136"/>
              <a:gd name="connsiteX1528" fmla="*/ 673661 w 1493481"/>
              <a:gd name="connsiteY1528" fmla="*/ 177978 h 1734136"/>
              <a:gd name="connsiteX1529" fmla="*/ 675954 w 1493481"/>
              <a:gd name="connsiteY1529" fmla="*/ 177978 h 1734136"/>
              <a:gd name="connsiteX1530" fmla="*/ 678238 w 1493481"/>
              <a:gd name="connsiteY1530" fmla="*/ 177978 h 1734136"/>
              <a:gd name="connsiteX1531" fmla="*/ 680512 w 1493481"/>
              <a:gd name="connsiteY1531" fmla="*/ 177978 h 1734136"/>
              <a:gd name="connsiteX1532" fmla="*/ 682795 w 1493481"/>
              <a:gd name="connsiteY1532" fmla="*/ 177978 h 1734136"/>
              <a:gd name="connsiteX1533" fmla="*/ 682795 w 1493481"/>
              <a:gd name="connsiteY1533" fmla="*/ 180260 h 1734136"/>
              <a:gd name="connsiteX1534" fmla="*/ 685079 w 1493481"/>
              <a:gd name="connsiteY1534" fmla="*/ 180260 h 1734136"/>
              <a:gd name="connsiteX1535" fmla="*/ 685079 w 1493481"/>
              <a:gd name="connsiteY1535" fmla="*/ 177978 h 1734136"/>
              <a:gd name="connsiteX1536" fmla="*/ 685079 w 1493481"/>
              <a:gd name="connsiteY1536" fmla="*/ 180260 h 1734136"/>
              <a:gd name="connsiteX1537" fmla="*/ 687362 w 1493481"/>
              <a:gd name="connsiteY1537" fmla="*/ 180260 h 1734136"/>
              <a:gd name="connsiteX1538" fmla="*/ 687362 w 1493481"/>
              <a:gd name="connsiteY1538" fmla="*/ 182542 h 1734136"/>
              <a:gd name="connsiteX1539" fmla="*/ 687362 w 1493481"/>
              <a:gd name="connsiteY1539" fmla="*/ 180260 h 1734136"/>
              <a:gd name="connsiteX1540" fmla="*/ 687362 w 1493481"/>
              <a:gd name="connsiteY1540" fmla="*/ 182542 h 1734136"/>
              <a:gd name="connsiteX1541" fmla="*/ 689646 w 1493481"/>
              <a:gd name="connsiteY1541" fmla="*/ 182542 h 1734136"/>
              <a:gd name="connsiteX1542" fmla="*/ 687362 w 1493481"/>
              <a:gd name="connsiteY1542" fmla="*/ 182542 h 1734136"/>
              <a:gd name="connsiteX1543" fmla="*/ 689646 w 1493481"/>
              <a:gd name="connsiteY1543" fmla="*/ 184824 h 1734136"/>
              <a:gd name="connsiteX1544" fmla="*/ 691939 w 1493481"/>
              <a:gd name="connsiteY1544" fmla="*/ 184824 h 1734136"/>
              <a:gd name="connsiteX1545" fmla="*/ 691939 w 1493481"/>
              <a:gd name="connsiteY1545" fmla="*/ 182542 h 1734136"/>
              <a:gd name="connsiteX1546" fmla="*/ 694213 w 1493481"/>
              <a:gd name="connsiteY1546" fmla="*/ 182542 h 1734136"/>
              <a:gd name="connsiteX1547" fmla="*/ 694213 w 1493481"/>
              <a:gd name="connsiteY1547" fmla="*/ 184824 h 1734136"/>
              <a:gd name="connsiteX1548" fmla="*/ 694213 w 1493481"/>
              <a:gd name="connsiteY1548" fmla="*/ 187106 h 1734136"/>
              <a:gd name="connsiteX1549" fmla="*/ 696497 w 1493481"/>
              <a:gd name="connsiteY1549" fmla="*/ 187106 h 1734136"/>
              <a:gd name="connsiteX1550" fmla="*/ 696497 w 1493481"/>
              <a:gd name="connsiteY1550" fmla="*/ 184824 h 1734136"/>
              <a:gd name="connsiteX1551" fmla="*/ 698780 w 1493481"/>
              <a:gd name="connsiteY1551" fmla="*/ 184824 h 1734136"/>
              <a:gd name="connsiteX1552" fmla="*/ 698780 w 1493481"/>
              <a:gd name="connsiteY1552" fmla="*/ 187106 h 1734136"/>
              <a:gd name="connsiteX1553" fmla="*/ 701064 w 1493481"/>
              <a:gd name="connsiteY1553" fmla="*/ 187106 h 1734136"/>
              <a:gd name="connsiteX1554" fmla="*/ 701064 w 1493481"/>
              <a:gd name="connsiteY1554" fmla="*/ 189388 h 1734136"/>
              <a:gd name="connsiteX1555" fmla="*/ 701064 w 1493481"/>
              <a:gd name="connsiteY1555" fmla="*/ 191670 h 1734136"/>
              <a:gd name="connsiteX1556" fmla="*/ 703357 w 1493481"/>
              <a:gd name="connsiteY1556" fmla="*/ 191670 h 1734136"/>
              <a:gd name="connsiteX1557" fmla="*/ 703357 w 1493481"/>
              <a:gd name="connsiteY1557" fmla="*/ 193952 h 1734136"/>
              <a:gd name="connsiteX1558" fmla="*/ 703357 w 1493481"/>
              <a:gd name="connsiteY1558" fmla="*/ 196233 h 1734136"/>
              <a:gd name="connsiteX1559" fmla="*/ 705641 w 1493481"/>
              <a:gd name="connsiteY1559" fmla="*/ 196233 h 1734136"/>
              <a:gd name="connsiteX1560" fmla="*/ 707915 w 1493481"/>
              <a:gd name="connsiteY1560" fmla="*/ 196233 h 1734136"/>
              <a:gd name="connsiteX1561" fmla="*/ 710208 w 1493481"/>
              <a:gd name="connsiteY1561" fmla="*/ 196233 h 1734136"/>
              <a:gd name="connsiteX1562" fmla="*/ 710208 w 1493481"/>
              <a:gd name="connsiteY1562" fmla="*/ 193952 h 1734136"/>
              <a:gd name="connsiteX1563" fmla="*/ 707915 w 1493481"/>
              <a:gd name="connsiteY1563" fmla="*/ 193952 h 1734136"/>
              <a:gd name="connsiteX1564" fmla="*/ 707915 w 1493481"/>
              <a:gd name="connsiteY1564" fmla="*/ 191670 h 1734136"/>
              <a:gd name="connsiteX1565" fmla="*/ 710208 w 1493481"/>
              <a:gd name="connsiteY1565" fmla="*/ 191670 h 1734136"/>
              <a:gd name="connsiteX1566" fmla="*/ 712491 w 1493481"/>
              <a:gd name="connsiteY1566" fmla="*/ 191670 h 1734136"/>
              <a:gd name="connsiteX1567" fmla="*/ 712491 w 1493481"/>
              <a:gd name="connsiteY1567" fmla="*/ 193952 h 1734136"/>
              <a:gd name="connsiteX1568" fmla="*/ 714766 w 1493481"/>
              <a:gd name="connsiteY1568" fmla="*/ 193952 h 1734136"/>
              <a:gd name="connsiteX1569" fmla="*/ 714766 w 1493481"/>
              <a:gd name="connsiteY1569" fmla="*/ 196233 h 1734136"/>
              <a:gd name="connsiteX1570" fmla="*/ 717049 w 1493481"/>
              <a:gd name="connsiteY1570" fmla="*/ 196233 h 1734136"/>
              <a:gd name="connsiteX1571" fmla="*/ 717049 w 1493481"/>
              <a:gd name="connsiteY1571" fmla="*/ 198515 h 1734136"/>
              <a:gd name="connsiteX1572" fmla="*/ 719333 w 1493481"/>
              <a:gd name="connsiteY1572" fmla="*/ 198515 h 1734136"/>
              <a:gd name="connsiteX1573" fmla="*/ 717049 w 1493481"/>
              <a:gd name="connsiteY1573" fmla="*/ 198515 h 1734136"/>
              <a:gd name="connsiteX1574" fmla="*/ 717049 w 1493481"/>
              <a:gd name="connsiteY1574" fmla="*/ 200797 h 1734136"/>
              <a:gd name="connsiteX1575" fmla="*/ 717049 w 1493481"/>
              <a:gd name="connsiteY1575" fmla="*/ 198515 h 1734136"/>
              <a:gd name="connsiteX1576" fmla="*/ 719333 w 1493481"/>
              <a:gd name="connsiteY1576" fmla="*/ 198515 h 1734136"/>
              <a:gd name="connsiteX1577" fmla="*/ 719333 w 1493481"/>
              <a:gd name="connsiteY1577" fmla="*/ 200797 h 1734136"/>
              <a:gd name="connsiteX1578" fmla="*/ 717049 w 1493481"/>
              <a:gd name="connsiteY1578" fmla="*/ 200797 h 1734136"/>
              <a:gd name="connsiteX1579" fmla="*/ 719333 w 1493481"/>
              <a:gd name="connsiteY1579" fmla="*/ 203079 h 1734136"/>
              <a:gd name="connsiteX1580" fmla="*/ 721626 w 1493481"/>
              <a:gd name="connsiteY1580" fmla="*/ 203079 h 1734136"/>
              <a:gd name="connsiteX1581" fmla="*/ 721626 w 1493481"/>
              <a:gd name="connsiteY1581" fmla="*/ 200797 h 1734136"/>
              <a:gd name="connsiteX1582" fmla="*/ 723909 w 1493481"/>
              <a:gd name="connsiteY1582" fmla="*/ 200797 h 1734136"/>
              <a:gd name="connsiteX1583" fmla="*/ 723909 w 1493481"/>
              <a:gd name="connsiteY1583" fmla="*/ 203079 h 1734136"/>
              <a:gd name="connsiteX1584" fmla="*/ 726193 w 1493481"/>
              <a:gd name="connsiteY1584" fmla="*/ 203079 h 1734136"/>
              <a:gd name="connsiteX1585" fmla="*/ 726193 w 1493481"/>
              <a:gd name="connsiteY1585" fmla="*/ 205361 h 1734136"/>
              <a:gd name="connsiteX1586" fmla="*/ 723909 w 1493481"/>
              <a:gd name="connsiteY1586" fmla="*/ 205361 h 1734136"/>
              <a:gd name="connsiteX1587" fmla="*/ 723909 w 1493481"/>
              <a:gd name="connsiteY1587" fmla="*/ 207643 h 1734136"/>
              <a:gd name="connsiteX1588" fmla="*/ 726193 w 1493481"/>
              <a:gd name="connsiteY1588" fmla="*/ 207643 h 1734136"/>
              <a:gd name="connsiteX1589" fmla="*/ 728467 w 1493481"/>
              <a:gd name="connsiteY1589" fmla="*/ 207643 h 1734136"/>
              <a:gd name="connsiteX1590" fmla="*/ 730751 w 1493481"/>
              <a:gd name="connsiteY1590" fmla="*/ 207643 h 1734136"/>
              <a:gd name="connsiteX1591" fmla="*/ 730751 w 1493481"/>
              <a:gd name="connsiteY1591" fmla="*/ 205361 h 1734136"/>
              <a:gd name="connsiteX1592" fmla="*/ 733044 w 1493481"/>
              <a:gd name="connsiteY1592" fmla="*/ 205361 h 1734136"/>
              <a:gd name="connsiteX1593" fmla="*/ 735328 w 1493481"/>
              <a:gd name="connsiteY1593" fmla="*/ 205361 h 1734136"/>
              <a:gd name="connsiteX1594" fmla="*/ 735328 w 1493481"/>
              <a:gd name="connsiteY1594" fmla="*/ 203079 h 1734136"/>
              <a:gd name="connsiteX1595" fmla="*/ 735328 w 1493481"/>
              <a:gd name="connsiteY1595" fmla="*/ 200797 h 1734136"/>
              <a:gd name="connsiteX1596" fmla="*/ 737611 w 1493481"/>
              <a:gd name="connsiteY1596" fmla="*/ 200797 h 1734136"/>
              <a:gd name="connsiteX1597" fmla="*/ 737611 w 1493481"/>
              <a:gd name="connsiteY1597" fmla="*/ 203079 h 1734136"/>
              <a:gd name="connsiteX1598" fmla="*/ 737611 w 1493481"/>
              <a:gd name="connsiteY1598" fmla="*/ 200797 h 1734136"/>
              <a:gd name="connsiteX1599" fmla="*/ 739895 w 1493481"/>
              <a:gd name="connsiteY1599" fmla="*/ 200797 h 1734136"/>
              <a:gd name="connsiteX1600" fmla="*/ 739895 w 1493481"/>
              <a:gd name="connsiteY1600" fmla="*/ 198515 h 1734136"/>
              <a:gd name="connsiteX1601" fmla="*/ 739895 w 1493481"/>
              <a:gd name="connsiteY1601" fmla="*/ 196233 h 1734136"/>
              <a:gd name="connsiteX1602" fmla="*/ 737611 w 1493481"/>
              <a:gd name="connsiteY1602" fmla="*/ 196233 h 1734136"/>
              <a:gd name="connsiteX1603" fmla="*/ 739895 w 1493481"/>
              <a:gd name="connsiteY1603" fmla="*/ 196233 h 1734136"/>
              <a:gd name="connsiteX1604" fmla="*/ 739895 w 1493481"/>
              <a:gd name="connsiteY1604" fmla="*/ 193952 h 1734136"/>
              <a:gd name="connsiteX1605" fmla="*/ 739895 w 1493481"/>
              <a:gd name="connsiteY1605" fmla="*/ 191670 h 1734136"/>
              <a:gd name="connsiteX1606" fmla="*/ 742169 w 1493481"/>
              <a:gd name="connsiteY1606" fmla="*/ 191670 h 1734136"/>
              <a:gd name="connsiteX1607" fmla="*/ 744452 w 1493481"/>
              <a:gd name="connsiteY1607" fmla="*/ 191670 h 1734136"/>
              <a:gd name="connsiteX1608" fmla="*/ 746746 w 1493481"/>
              <a:gd name="connsiteY1608" fmla="*/ 191670 h 1734136"/>
              <a:gd name="connsiteX1609" fmla="*/ 746746 w 1493481"/>
              <a:gd name="connsiteY1609" fmla="*/ 189388 h 1734136"/>
              <a:gd name="connsiteX1610" fmla="*/ 746746 w 1493481"/>
              <a:gd name="connsiteY1610" fmla="*/ 191670 h 1734136"/>
              <a:gd name="connsiteX1611" fmla="*/ 749029 w 1493481"/>
              <a:gd name="connsiteY1611" fmla="*/ 191670 h 1734136"/>
              <a:gd name="connsiteX1612" fmla="*/ 751313 w 1493481"/>
              <a:gd name="connsiteY1612" fmla="*/ 191670 h 1734136"/>
              <a:gd name="connsiteX1613" fmla="*/ 751313 w 1493481"/>
              <a:gd name="connsiteY1613" fmla="*/ 189388 h 1734136"/>
              <a:gd name="connsiteX1614" fmla="*/ 753596 w 1493481"/>
              <a:gd name="connsiteY1614" fmla="*/ 189388 h 1734136"/>
              <a:gd name="connsiteX1615" fmla="*/ 755870 w 1493481"/>
              <a:gd name="connsiteY1615" fmla="*/ 189388 h 1734136"/>
              <a:gd name="connsiteX1616" fmla="*/ 755870 w 1493481"/>
              <a:gd name="connsiteY1616" fmla="*/ 191670 h 1734136"/>
              <a:gd name="connsiteX1617" fmla="*/ 755870 w 1493481"/>
              <a:gd name="connsiteY1617" fmla="*/ 189388 h 1734136"/>
              <a:gd name="connsiteX1618" fmla="*/ 758163 w 1493481"/>
              <a:gd name="connsiteY1618" fmla="*/ 189388 h 1734136"/>
              <a:gd name="connsiteX1619" fmla="*/ 760447 w 1493481"/>
              <a:gd name="connsiteY1619" fmla="*/ 189388 h 1734136"/>
              <a:gd name="connsiteX1620" fmla="*/ 760447 w 1493481"/>
              <a:gd name="connsiteY1620" fmla="*/ 191670 h 1734136"/>
              <a:gd name="connsiteX1621" fmla="*/ 760447 w 1493481"/>
              <a:gd name="connsiteY1621" fmla="*/ 193952 h 1734136"/>
              <a:gd name="connsiteX1622" fmla="*/ 760447 w 1493481"/>
              <a:gd name="connsiteY1622" fmla="*/ 196233 h 1734136"/>
              <a:gd name="connsiteX1623" fmla="*/ 760447 w 1493481"/>
              <a:gd name="connsiteY1623" fmla="*/ 198515 h 1734136"/>
              <a:gd name="connsiteX1624" fmla="*/ 760447 w 1493481"/>
              <a:gd name="connsiteY1624" fmla="*/ 200797 h 1734136"/>
              <a:gd name="connsiteX1625" fmla="*/ 762731 w 1493481"/>
              <a:gd name="connsiteY1625" fmla="*/ 200797 h 1734136"/>
              <a:gd name="connsiteX1626" fmla="*/ 762731 w 1493481"/>
              <a:gd name="connsiteY1626" fmla="*/ 203079 h 1734136"/>
              <a:gd name="connsiteX1627" fmla="*/ 762731 w 1493481"/>
              <a:gd name="connsiteY1627" fmla="*/ 205361 h 1734136"/>
              <a:gd name="connsiteX1628" fmla="*/ 765014 w 1493481"/>
              <a:gd name="connsiteY1628" fmla="*/ 205361 h 1734136"/>
              <a:gd name="connsiteX1629" fmla="*/ 767298 w 1493481"/>
              <a:gd name="connsiteY1629" fmla="*/ 207643 h 1734136"/>
              <a:gd name="connsiteX1630" fmla="*/ 765014 w 1493481"/>
              <a:gd name="connsiteY1630" fmla="*/ 207643 h 1734136"/>
              <a:gd name="connsiteX1631" fmla="*/ 765014 w 1493481"/>
              <a:gd name="connsiteY1631" fmla="*/ 209925 h 1734136"/>
              <a:gd name="connsiteX1632" fmla="*/ 765014 w 1493481"/>
              <a:gd name="connsiteY1632" fmla="*/ 212207 h 1734136"/>
              <a:gd name="connsiteX1633" fmla="*/ 767298 w 1493481"/>
              <a:gd name="connsiteY1633" fmla="*/ 212207 h 1734136"/>
              <a:gd name="connsiteX1634" fmla="*/ 767298 w 1493481"/>
              <a:gd name="connsiteY1634" fmla="*/ 214489 h 1734136"/>
              <a:gd name="connsiteX1635" fmla="*/ 769581 w 1493481"/>
              <a:gd name="connsiteY1635" fmla="*/ 214489 h 1734136"/>
              <a:gd name="connsiteX1636" fmla="*/ 769581 w 1493481"/>
              <a:gd name="connsiteY1636" fmla="*/ 212207 h 1734136"/>
              <a:gd name="connsiteX1637" fmla="*/ 771865 w 1493481"/>
              <a:gd name="connsiteY1637" fmla="*/ 212207 h 1734136"/>
              <a:gd name="connsiteX1638" fmla="*/ 774148 w 1493481"/>
              <a:gd name="connsiteY1638" fmla="*/ 212207 h 1734136"/>
              <a:gd name="connsiteX1639" fmla="*/ 774148 w 1493481"/>
              <a:gd name="connsiteY1639" fmla="*/ 214489 h 1734136"/>
              <a:gd name="connsiteX1640" fmla="*/ 776432 w 1493481"/>
              <a:gd name="connsiteY1640" fmla="*/ 214489 h 1734136"/>
              <a:gd name="connsiteX1641" fmla="*/ 778716 w 1493481"/>
              <a:gd name="connsiteY1641" fmla="*/ 214489 h 1734136"/>
              <a:gd name="connsiteX1642" fmla="*/ 778716 w 1493481"/>
              <a:gd name="connsiteY1642" fmla="*/ 212207 h 1734136"/>
              <a:gd name="connsiteX1643" fmla="*/ 780999 w 1493481"/>
              <a:gd name="connsiteY1643" fmla="*/ 212207 h 1734136"/>
              <a:gd name="connsiteX1644" fmla="*/ 783283 w 1493481"/>
              <a:gd name="connsiteY1644" fmla="*/ 212207 h 1734136"/>
              <a:gd name="connsiteX1645" fmla="*/ 785566 w 1493481"/>
              <a:gd name="connsiteY1645" fmla="*/ 212207 h 1734136"/>
              <a:gd name="connsiteX1646" fmla="*/ 787850 w 1493481"/>
              <a:gd name="connsiteY1646" fmla="*/ 212207 h 1734136"/>
              <a:gd name="connsiteX1647" fmla="*/ 790134 w 1493481"/>
              <a:gd name="connsiteY1647" fmla="*/ 212207 h 1734136"/>
              <a:gd name="connsiteX1648" fmla="*/ 790134 w 1493481"/>
              <a:gd name="connsiteY1648" fmla="*/ 209925 h 1734136"/>
              <a:gd name="connsiteX1649" fmla="*/ 790134 w 1493481"/>
              <a:gd name="connsiteY1649" fmla="*/ 207643 h 1734136"/>
              <a:gd name="connsiteX1650" fmla="*/ 792417 w 1493481"/>
              <a:gd name="connsiteY1650" fmla="*/ 207643 h 1734136"/>
              <a:gd name="connsiteX1651" fmla="*/ 792417 w 1493481"/>
              <a:gd name="connsiteY1651" fmla="*/ 209925 h 1734136"/>
              <a:gd name="connsiteX1652" fmla="*/ 794701 w 1493481"/>
              <a:gd name="connsiteY1652" fmla="*/ 212207 h 1734136"/>
              <a:gd name="connsiteX1653" fmla="*/ 794701 w 1493481"/>
              <a:gd name="connsiteY1653" fmla="*/ 214489 h 1734136"/>
              <a:gd name="connsiteX1654" fmla="*/ 796984 w 1493481"/>
              <a:gd name="connsiteY1654" fmla="*/ 214489 h 1734136"/>
              <a:gd name="connsiteX1655" fmla="*/ 796984 w 1493481"/>
              <a:gd name="connsiteY1655" fmla="*/ 212207 h 1734136"/>
              <a:gd name="connsiteX1656" fmla="*/ 796984 w 1493481"/>
              <a:gd name="connsiteY1656" fmla="*/ 209925 h 1734136"/>
              <a:gd name="connsiteX1657" fmla="*/ 799268 w 1493481"/>
              <a:gd name="connsiteY1657" fmla="*/ 209925 h 1734136"/>
              <a:gd name="connsiteX1658" fmla="*/ 799268 w 1493481"/>
              <a:gd name="connsiteY1658" fmla="*/ 207643 h 1734136"/>
              <a:gd name="connsiteX1659" fmla="*/ 801552 w 1493481"/>
              <a:gd name="connsiteY1659" fmla="*/ 207643 h 1734136"/>
              <a:gd name="connsiteX1660" fmla="*/ 801552 w 1493481"/>
              <a:gd name="connsiteY1660" fmla="*/ 209925 h 1734136"/>
              <a:gd name="connsiteX1661" fmla="*/ 803836 w 1493481"/>
              <a:gd name="connsiteY1661" fmla="*/ 209925 h 1734136"/>
              <a:gd name="connsiteX1662" fmla="*/ 806119 w 1493481"/>
              <a:gd name="connsiteY1662" fmla="*/ 209925 h 1734136"/>
              <a:gd name="connsiteX1663" fmla="*/ 806119 w 1493481"/>
              <a:gd name="connsiteY1663" fmla="*/ 207643 h 1734136"/>
              <a:gd name="connsiteX1664" fmla="*/ 808403 w 1493481"/>
              <a:gd name="connsiteY1664" fmla="*/ 207643 h 1734136"/>
              <a:gd name="connsiteX1665" fmla="*/ 808403 w 1493481"/>
              <a:gd name="connsiteY1665" fmla="*/ 205361 h 1734136"/>
              <a:gd name="connsiteX1666" fmla="*/ 810686 w 1493481"/>
              <a:gd name="connsiteY1666" fmla="*/ 205361 h 1734136"/>
              <a:gd name="connsiteX1667" fmla="*/ 812960 w 1493481"/>
              <a:gd name="connsiteY1667" fmla="*/ 205361 h 1734136"/>
              <a:gd name="connsiteX1668" fmla="*/ 815244 w 1493481"/>
              <a:gd name="connsiteY1668" fmla="*/ 205361 h 1734136"/>
              <a:gd name="connsiteX1669" fmla="*/ 815244 w 1493481"/>
              <a:gd name="connsiteY1669" fmla="*/ 207643 h 1734136"/>
              <a:gd name="connsiteX1670" fmla="*/ 817537 w 1493481"/>
              <a:gd name="connsiteY1670" fmla="*/ 207643 h 1734136"/>
              <a:gd name="connsiteX1671" fmla="*/ 817537 w 1493481"/>
              <a:gd name="connsiteY1671" fmla="*/ 205361 h 1734136"/>
              <a:gd name="connsiteX1672" fmla="*/ 819821 w 1493481"/>
              <a:gd name="connsiteY1672" fmla="*/ 205361 h 1734136"/>
              <a:gd name="connsiteX1673" fmla="*/ 819821 w 1493481"/>
              <a:gd name="connsiteY1673" fmla="*/ 203079 h 1734136"/>
              <a:gd name="connsiteX1674" fmla="*/ 822104 w 1493481"/>
              <a:gd name="connsiteY1674" fmla="*/ 203079 h 1734136"/>
              <a:gd name="connsiteX1675" fmla="*/ 824388 w 1493481"/>
              <a:gd name="connsiteY1675" fmla="*/ 203079 h 1734136"/>
              <a:gd name="connsiteX1676" fmla="*/ 824388 w 1493481"/>
              <a:gd name="connsiteY1676" fmla="*/ 200797 h 1734136"/>
              <a:gd name="connsiteX1677" fmla="*/ 824388 w 1493481"/>
              <a:gd name="connsiteY1677" fmla="*/ 203079 h 1734136"/>
              <a:gd name="connsiteX1678" fmla="*/ 826671 w 1493481"/>
              <a:gd name="connsiteY1678" fmla="*/ 203079 h 1734136"/>
              <a:gd name="connsiteX1679" fmla="*/ 826671 w 1493481"/>
              <a:gd name="connsiteY1679" fmla="*/ 205361 h 1734136"/>
              <a:gd name="connsiteX1680" fmla="*/ 828955 w 1493481"/>
              <a:gd name="connsiteY1680" fmla="*/ 205361 h 1734136"/>
              <a:gd name="connsiteX1681" fmla="*/ 828955 w 1493481"/>
              <a:gd name="connsiteY1681" fmla="*/ 207643 h 1734136"/>
              <a:gd name="connsiteX1682" fmla="*/ 831238 w 1493481"/>
              <a:gd name="connsiteY1682" fmla="*/ 207643 h 1734136"/>
              <a:gd name="connsiteX1683" fmla="*/ 831238 w 1493481"/>
              <a:gd name="connsiteY1683" fmla="*/ 209925 h 1734136"/>
              <a:gd name="connsiteX1684" fmla="*/ 833522 w 1493481"/>
              <a:gd name="connsiteY1684" fmla="*/ 209925 h 1734136"/>
              <a:gd name="connsiteX1685" fmla="*/ 835806 w 1493481"/>
              <a:gd name="connsiteY1685" fmla="*/ 212207 h 1734136"/>
              <a:gd name="connsiteX1686" fmla="*/ 838089 w 1493481"/>
              <a:gd name="connsiteY1686" fmla="*/ 214489 h 1734136"/>
              <a:gd name="connsiteX1687" fmla="*/ 840373 w 1493481"/>
              <a:gd name="connsiteY1687" fmla="*/ 216771 h 1734136"/>
              <a:gd name="connsiteX1688" fmla="*/ 844940 w 1493481"/>
              <a:gd name="connsiteY1688" fmla="*/ 216771 h 1734136"/>
              <a:gd name="connsiteX1689" fmla="*/ 849507 w 1493481"/>
              <a:gd name="connsiteY1689" fmla="*/ 219052 h 1734136"/>
              <a:gd name="connsiteX1690" fmla="*/ 849507 w 1493481"/>
              <a:gd name="connsiteY1690" fmla="*/ 216771 h 1734136"/>
              <a:gd name="connsiteX1691" fmla="*/ 851791 w 1493481"/>
              <a:gd name="connsiteY1691" fmla="*/ 216771 h 1734136"/>
              <a:gd name="connsiteX1692" fmla="*/ 851791 w 1493481"/>
              <a:gd name="connsiteY1692" fmla="*/ 214489 h 1734136"/>
              <a:gd name="connsiteX1693" fmla="*/ 854074 w 1493481"/>
              <a:gd name="connsiteY1693" fmla="*/ 212207 h 1734136"/>
              <a:gd name="connsiteX1694" fmla="*/ 854074 w 1493481"/>
              <a:gd name="connsiteY1694" fmla="*/ 209925 h 1734136"/>
              <a:gd name="connsiteX1695" fmla="*/ 856358 w 1493481"/>
              <a:gd name="connsiteY1695" fmla="*/ 207643 h 1734136"/>
              <a:gd name="connsiteX1696" fmla="*/ 858641 w 1493481"/>
              <a:gd name="connsiteY1696" fmla="*/ 205361 h 1734136"/>
              <a:gd name="connsiteX1697" fmla="*/ 860925 w 1493481"/>
              <a:gd name="connsiteY1697" fmla="*/ 203079 h 1734136"/>
              <a:gd name="connsiteX1698" fmla="*/ 860925 w 1493481"/>
              <a:gd name="connsiteY1698" fmla="*/ 200797 h 1734136"/>
              <a:gd name="connsiteX1699" fmla="*/ 863209 w 1493481"/>
              <a:gd name="connsiteY1699" fmla="*/ 200797 h 1734136"/>
              <a:gd name="connsiteX1700" fmla="*/ 863209 w 1493481"/>
              <a:gd name="connsiteY1700" fmla="*/ 198515 h 1734136"/>
              <a:gd name="connsiteX1701" fmla="*/ 872343 w 1493481"/>
              <a:gd name="connsiteY1701" fmla="*/ 189388 h 1734136"/>
              <a:gd name="connsiteX1702" fmla="*/ 874627 w 1493481"/>
              <a:gd name="connsiteY1702" fmla="*/ 187106 h 1734136"/>
              <a:gd name="connsiteX1703" fmla="*/ 876911 w 1493481"/>
              <a:gd name="connsiteY1703" fmla="*/ 182542 h 1734136"/>
              <a:gd name="connsiteX1704" fmla="*/ 879194 w 1493481"/>
              <a:gd name="connsiteY1704" fmla="*/ 182542 h 1734136"/>
              <a:gd name="connsiteX1705" fmla="*/ 879194 w 1493481"/>
              <a:gd name="connsiteY1705" fmla="*/ 180260 h 1734136"/>
              <a:gd name="connsiteX1706" fmla="*/ 881478 w 1493481"/>
              <a:gd name="connsiteY1706" fmla="*/ 180260 h 1734136"/>
              <a:gd name="connsiteX1707" fmla="*/ 881478 w 1493481"/>
              <a:gd name="connsiteY1707" fmla="*/ 177978 h 1734136"/>
              <a:gd name="connsiteX1708" fmla="*/ 883761 w 1493481"/>
              <a:gd name="connsiteY1708" fmla="*/ 175696 h 1734136"/>
              <a:gd name="connsiteX1709" fmla="*/ 886045 w 1493481"/>
              <a:gd name="connsiteY1709" fmla="*/ 173415 h 1734136"/>
              <a:gd name="connsiteX1710" fmla="*/ 888328 w 1493481"/>
              <a:gd name="connsiteY1710" fmla="*/ 171133 h 1734136"/>
              <a:gd name="connsiteX1711" fmla="*/ 890612 w 1493481"/>
              <a:gd name="connsiteY1711" fmla="*/ 168851 h 1734136"/>
              <a:gd name="connsiteX1712" fmla="*/ 892896 w 1493481"/>
              <a:gd name="connsiteY1712" fmla="*/ 166569 h 1734136"/>
              <a:gd name="connsiteX1713" fmla="*/ 897463 w 1493481"/>
              <a:gd name="connsiteY1713" fmla="*/ 168851 h 1734136"/>
              <a:gd name="connsiteX1714" fmla="*/ 897463 w 1493481"/>
              <a:gd name="connsiteY1714" fmla="*/ 171133 h 1734136"/>
              <a:gd name="connsiteX1715" fmla="*/ 899746 w 1493481"/>
              <a:gd name="connsiteY1715" fmla="*/ 171133 h 1734136"/>
              <a:gd name="connsiteX1716" fmla="*/ 902030 w 1493481"/>
              <a:gd name="connsiteY1716" fmla="*/ 171133 h 1734136"/>
              <a:gd name="connsiteX1717" fmla="*/ 906597 w 1493481"/>
              <a:gd name="connsiteY1717" fmla="*/ 173415 h 1734136"/>
              <a:gd name="connsiteX1718" fmla="*/ 911164 w 1493481"/>
              <a:gd name="connsiteY1718" fmla="*/ 175696 h 1734136"/>
              <a:gd name="connsiteX1719" fmla="*/ 915731 w 1493481"/>
              <a:gd name="connsiteY1719" fmla="*/ 177978 h 1734136"/>
              <a:gd name="connsiteX1720" fmla="*/ 918015 w 1493481"/>
              <a:gd name="connsiteY1720" fmla="*/ 177978 h 1734136"/>
              <a:gd name="connsiteX1721" fmla="*/ 924866 w 1493481"/>
              <a:gd name="connsiteY1721" fmla="*/ 180260 h 1734136"/>
              <a:gd name="connsiteX1722" fmla="*/ 927149 w 1493481"/>
              <a:gd name="connsiteY1722" fmla="*/ 182542 h 1734136"/>
              <a:gd name="connsiteX1723" fmla="*/ 931717 w 1493481"/>
              <a:gd name="connsiteY1723" fmla="*/ 182542 h 1734136"/>
              <a:gd name="connsiteX1724" fmla="*/ 934001 w 1493481"/>
              <a:gd name="connsiteY1724" fmla="*/ 184824 h 1734136"/>
              <a:gd name="connsiteX1725" fmla="*/ 936284 w 1493481"/>
              <a:gd name="connsiteY1725" fmla="*/ 184824 h 1734136"/>
              <a:gd name="connsiteX1726" fmla="*/ 940851 w 1493481"/>
              <a:gd name="connsiteY1726" fmla="*/ 187106 h 1734136"/>
              <a:gd name="connsiteX1727" fmla="*/ 952269 w 1493481"/>
              <a:gd name="connsiteY1727" fmla="*/ 191670 h 1734136"/>
              <a:gd name="connsiteX1728" fmla="*/ 959120 w 1493481"/>
              <a:gd name="connsiteY1728" fmla="*/ 193952 h 1734136"/>
              <a:gd name="connsiteX1729" fmla="*/ 961404 w 1493481"/>
              <a:gd name="connsiteY1729" fmla="*/ 196233 h 1734136"/>
              <a:gd name="connsiteX1730" fmla="*/ 963687 w 1493481"/>
              <a:gd name="connsiteY1730" fmla="*/ 196233 h 1734136"/>
              <a:gd name="connsiteX1731" fmla="*/ 965971 w 1493481"/>
              <a:gd name="connsiteY1731" fmla="*/ 198515 h 1734136"/>
              <a:gd name="connsiteX1732" fmla="*/ 968254 w 1493481"/>
              <a:gd name="connsiteY1732" fmla="*/ 198515 h 1734136"/>
              <a:gd name="connsiteX1733" fmla="*/ 970538 w 1493481"/>
              <a:gd name="connsiteY1733" fmla="*/ 198515 h 1734136"/>
              <a:gd name="connsiteX1734" fmla="*/ 972821 w 1493481"/>
              <a:gd name="connsiteY1734" fmla="*/ 200797 h 1734136"/>
              <a:gd name="connsiteX1735" fmla="*/ 981956 w 1493481"/>
              <a:gd name="connsiteY1735" fmla="*/ 200797 h 1734136"/>
              <a:gd name="connsiteX1736" fmla="*/ 986523 w 1493481"/>
              <a:gd name="connsiteY1736" fmla="*/ 200797 h 1734136"/>
              <a:gd name="connsiteX1737" fmla="*/ 993374 w 1493481"/>
              <a:gd name="connsiteY1737" fmla="*/ 200797 h 1734136"/>
              <a:gd name="connsiteX1738" fmla="*/ 995657 w 1493481"/>
              <a:gd name="connsiteY1738" fmla="*/ 200797 h 1734136"/>
              <a:gd name="connsiteX1739" fmla="*/ 1004792 w 1493481"/>
              <a:gd name="connsiteY1739" fmla="*/ 203079 h 1734136"/>
              <a:gd name="connsiteX1740" fmla="*/ 1009359 w 1493481"/>
              <a:gd name="connsiteY1740" fmla="*/ 203079 h 1734136"/>
              <a:gd name="connsiteX1741" fmla="*/ 1011643 w 1493481"/>
              <a:gd name="connsiteY1741" fmla="*/ 203079 h 1734136"/>
              <a:gd name="connsiteX1742" fmla="*/ 1013926 w 1493481"/>
              <a:gd name="connsiteY1742" fmla="*/ 203079 h 1734136"/>
              <a:gd name="connsiteX1743" fmla="*/ 1016210 w 1493481"/>
              <a:gd name="connsiteY1743" fmla="*/ 203079 h 1734136"/>
              <a:gd name="connsiteX1744" fmla="*/ 1018494 w 1493481"/>
              <a:gd name="connsiteY1744" fmla="*/ 203079 h 1734136"/>
              <a:gd name="connsiteX1745" fmla="*/ 1025344 w 1493481"/>
              <a:gd name="connsiteY1745" fmla="*/ 203079 h 1734136"/>
              <a:gd name="connsiteX1746" fmla="*/ 1029911 w 1493481"/>
              <a:gd name="connsiteY1746" fmla="*/ 203079 h 1734136"/>
              <a:gd name="connsiteX1747" fmla="*/ 1032195 w 1493481"/>
              <a:gd name="connsiteY1747" fmla="*/ 203079 h 1734136"/>
              <a:gd name="connsiteX1748" fmla="*/ 1034479 w 1493481"/>
              <a:gd name="connsiteY1748" fmla="*/ 203079 h 1734136"/>
              <a:gd name="connsiteX1749" fmla="*/ 1039046 w 1493481"/>
              <a:gd name="connsiteY1749" fmla="*/ 203079 h 1734136"/>
              <a:gd name="connsiteX1750" fmla="*/ 1041329 w 1493481"/>
              <a:gd name="connsiteY1750" fmla="*/ 203079 h 1734136"/>
              <a:gd name="connsiteX1751" fmla="*/ 1043613 w 1493481"/>
              <a:gd name="connsiteY1751" fmla="*/ 203079 h 1734136"/>
              <a:gd name="connsiteX1752" fmla="*/ 1048180 w 1493481"/>
              <a:gd name="connsiteY1752" fmla="*/ 203079 h 1734136"/>
              <a:gd name="connsiteX1753" fmla="*/ 1052747 w 1493481"/>
              <a:gd name="connsiteY1753" fmla="*/ 205361 h 1734136"/>
              <a:gd name="connsiteX1754" fmla="*/ 1075584 w 1493481"/>
              <a:gd name="connsiteY1754" fmla="*/ 205361 h 1734136"/>
              <a:gd name="connsiteX1755" fmla="*/ 1077867 w 1493481"/>
              <a:gd name="connsiteY1755" fmla="*/ 205361 h 1734136"/>
              <a:gd name="connsiteX1756" fmla="*/ 1087001 w 1493481"/>
              <a:gd name="connsiteY1756" fmla="*/ 205361 h 1734136"/>
              <a:gd name="connsiteX1757" fmla="*/ 1091569 w 1493481"/>
              <a:gd name="connsiteY1757" fmla="*/ 205361 h 1734136"/>
              <a:gd name="connsiteX1758" fmla="*/ 1093852 w 1493481"/>
              <a:gd name="connsiteY1758" fmla="*/ 205361 h 1734136"/>
              <a:gd name="connsiteX1759" fmla="*/ 1096136 w 1493481"/>
              <a:gd name="connsiteY1759" fmla="*/ 205361 h 1734136"/>
              <a:gd name="connsiteX1760" fmla="*/ 1118972 w 1493481"/>
              <a:gd name="connsiteY1760" fmla="*/ 207643 h 1734136"/>
              <a:gd name="connsiteX1761" fmla="*/ 1134957 w 1493481"/>
              <a:gd name="connsiteY1761" fmla="*/ 207643 h 1734136"/>
              <a:gd name="connsiteX1762" fmla="*/ 1146375 w 1493481"/>
              <a:gd name="connsiteY1762" fmla="*/ 207643 h 1734136"/>
              <a:gd name="connsiteX1763" fmla="*/ 1146375 w 1493481"/>
              <a:gd name="connsiteY1763" fmla="*/ 203079 h 1734136"/>
              <a:gd name="connsiteX1764" fmla="*/ 1148659 w 1493481"/>
              <a:gd name="connsiteY1764" fmla="*/ 198515 h 1734136"/>
              <a:gd name="connsiteX1765" fmla="*/ 1148659 w 1493481"/>
              <a:gd name="connsiteY1765" fmla="*/ 196233 h 1734136"/>
              <a:gd name="connsiteX1766" fmla="*/ 1148659 w 1493481"/>
              <a:gd name="connsiteY1766" fmla="*/ 189388 h 1734136"/>
              <a:gd name="connsiteX1767" fmla="*/ 1148659 w 1493481"/>
              <a:gd name="connsiteY1767" fmla="*/ 184824 h 1734136"/>
              <a:gd name="connsiteX1768" fmla="*/ 1148659 w 1493481"/>
              <a:gd name="connsiteY1768" fmla="*/ 182542 h 1734136"/>
              <a:gd name="connsiteX1769" fmla="*/ 1148659 w 1493481"/>
              <a:gd name="connsiteY1769" fmla="*/ 177978 h 1734136"/>
              <a:gd name="connsiteX1770" fmla="*/ 1150942 w 1493481"/>
              <a:gd name="connsiteY1770" fmla="*/ 168851 h 1734136"/>
              <a:gd name="connsiteX1771" fmla="*/ 1150942 w 1493481"/>
              <a:gd name="connsiteY1771" fmla="*/ 152877 h 1734136"/>
              <a:gd name="connsiteX1772" fmla="*/ 1150942 w 1493481"/>
              <a:gd name="connsiteY1772" fmla="*/ 146041 h 1734136"/>
              <a:gd name="connsiteX1773" fmla="*/ 1153226 w 1493481"/>
              <a:gd name="connsiteY1773" fmla="*/ 132350 h 1734136"/>
              <a:gd name="connsiteX1774" fmla="*/ 1153226 w 1493481"/>
              <a:gd name="connsiteY1774" fmla="*/ 127786 h 1734136"/>
              <a:gd name="connsiteX1775" fmla="*/ 1153226 w 1493481"/>
              <a:gd name="connsiteY1775" fmla="*/ 125504 h 1734136"/>
              <a:gd name="connsiteX1776" fmla="*/ 1153226 w 1493481"/>
              <a:gd name="connsiteY1776" fmla="*/ 120940 h 1734136"/>
              <a:gd name="connsiteX1777" fmla="*/ 1155509 w 1493481"/>
              <a:gd name="connsiteY1777" fmla="*/ 107249 h 1734136"/>
              <a:gd name="connsiteX1778" fmla="*/ 1155509 w 1493481"/>
              <a:gd name="connsiteY1778" fmla="*/ 104967 h 1734136"/>
              <a:gd name="connsiteX1779" fmla="*/ 1153226 w 1493481"/>
              <a:gd name="connsiteY1779" fmla="*/ 102685 h 1734136"/>
              <a:gd name="connsiteX1780" fmla="*/ 1155509 w 1493481"/>
              <a:gd name="connsiteY1780" fmla="*/ 93558 h 1734136"/>
              <a:gd name="connsiteX1781" fmla="*/ 1155509 w 1493481"/>
              <a:gd name="connsiteY1781" fmla="*/ 91276 h 1734136"/>
              <a:gd name="connsiteX1782" fmla="*/ 1155509 w 1493481"/>
              <a:gd name="connsiteY1782" fmla="*/ 86712 h 1734136"/>
              <a:gd name="connsiteX1783" fmla="*/ 1157793 w 1493481"/>
              <a:gd name="connsiteY1783" fmla="*/ 73021 h 1734136"/>
              <a:gd name="connsiteX1784" fmla="*/ 1157793 w 1493481"/>
              <a:gd name="connsiteY1784" fmla="*/ 70739 h 1734136"/>
              <a:gd name="connsiteX1785" fmla="*/ 1157793 w 1493481"/>
              <a:gd name="connsiteY1785" fmla="*/ 68457 h 1734136"/>
              <a:gd name="connsiteX1786" fmla="*/ 1160077 w 1493481"/>
              <a:gd name="connsiteY1786" fmla="*/ 66175 h 1734136"/>
              <a:gd name="connsiteX1787" fmla="*/ 1160077 w 1493481"/>
              <a:gd name="connsiteY1787" fmla="*/ 63893 h 1734136"/>
              <a:gd name="connsiteX1788" fmla="*/ 1160077 w 1493481"/>
              <a:gd name="connsiteY1788" fmla="*/ 57047 h 1734136"/>
              <a:gd name="connsiteX1789" fmla="*/ 1162360 w 1493481"/>
              <a:gd name="connsiteY1789" fmla="*/ 50202 h 1734136"/>
              <a:gd name="connsiteX1790" fmla="*/ 1162360 w 1493481"/>
              <a:gd name="connsiteY1790" fmla="*/ 47920 h 1734136"/>
              <a:gd name="connsiteX1791" fmla="*/ 1162360 w 1493481"/>
              <a:gd name="connsiteY1791" fmla="*/ 45638 h 1734136"/>
              <a:gd name="connsiteX1792" fmla="*/ 1162360 w 1493481"/>
              <a:gd name="connsiteY1792" fmla="*/ 43356 h 1734136"/>
              <a:gd name="connsiteX1793" fmla="*/ 1164644 w 1493481"/>
              <a:gd name="connsiteY1793" fmla="*/ 36510 h 1734136"/>
              <a:gd name="connsiteX1794" fmla="*/ 1164644 w 1493481"/>
              <a:gd name="connsiteY1794" fmla="*/ 34228 h 1734136"/>
              <a:gd name="connsiteX1795" fmla="*/ 1166927 w 1493481"/>
              <a:gd name="connsiteY1795" fmla="*/ 22819 h 1734136"/>
              <a:gd name="connsiteX1796" fmla="*/ 1166927 w 1493481"/>
              <a:gd name="connsiteY1796" fmla="*/ 18255 h 1734136"/>
              <a:gd name="connsiteX1797" fmla="*/ 1166927 w 1493481"/>
              <a:gd name="connsiteY1797" fmla="*/ 13691 h 1734136"/>
              <a:gd name="connsiteX1798" fmla="*/ 1169211 w 1493481"/>
              <a:gd name="connsiteY1798" fmla="*/ 9128 h 1734136"/>
              <a:gd name="connsiteX1799" fmla="*/ 1169211 w 1493481"/>
              <a:gd name="connsiteY1799" fmla="*/ 6846 h 1734136"/>
              <a:gd name="connsiteX1800" fmla="*/ 1169211 w 1493481"/>
              <a:gd name="connsiteY1800" fmla="*/ 2282 h 1734136"/>
              <a:gd name="connsiteX1801" fmla="*/ 1169211 w 1493481"/>
              <a:gd name="connsiteY1801" fmla="*/ 0 h 1734136"/>
              <a:gd name="connsiteX1802" fmla="*/ 1171494 w 1493481"/>
              <a:gd name="connsiteY1802" fmla="*/ 0 h 1734136"/>
              <a:gd name="connsiteX1803" fmla="*/ 1178345 w 1493481"/>
              <a:gd name="connsiteY1803" fmla="*/ 0 h 1734136"/>
              <a:gd name="connsiteX1804" fmla="*/ 1182912 w 1493481"/>
              <a:gd name="connsiteY1804" fmla="*/ 2282 h 1734136"/>
              <a:gd name="connsiteX1805" fmla="*/ 1185196 w 1493481"/>
              <a:gd name="connsiteY1805" fmla="*/ 2282 h 1734136"/>
              <a:gd name="connsiteX1806" fmla="*/ 1187479 w 1493481"/>
              <a:gd name="connsiteY1806" fmla="*/ 2282 h 1734136"/>
              <a:gd name="connsiteX1807" fmla="*/ 1189763 w 1493481"/>
              <a:gd name="connsiteY1807" fmla="*/ 2282 h 1734136"/>
              <a:gd name="connsiteX1808" fmla="*/ 1192047 w 1493481"/>
              <a:gd name="connsiteY1808" fmla="*/ 2282 h 1734136"/>
              <a:gd name="connsiteX1809" fmla="*/ 1194330 w 1493481"/>
              <a:gd name="connsiteY1809" fmla="*/ 2282 h 1734136"/>
              <a:gd name="connsiteX1810" fmla="*/ 1201181 w 1493481"/>
              <a:gd name="connsiteY1810" fmla="*/ 0 h 1734136"/>
              <a:gd name="connsiteX1811" fmla="*/ 1203465 w 1493481"/>
              <a:gd name="connsiteY1811" fmla="*/ 2282 h 1734136"/>
              <a:gd name="connsiteX1812" fmla="*/ 1205748 w 1493481"/>
              <a:gd name="connsiteY1812" fmla="*/ 2282 h 1734136"/>
              <a:gd name="connsiteX1813" fmla="*/ 1205748 w 1493481"/>
              <a:gd name="connsiteY1813" fmla="*/ 6846 h 1734136"/>
              <a:gd name="connsiteX1814" fmla="*/ 1208032 w 1493481"/>
              <a:gd name="connsiteY1814" fmla="*/ 9128 h 1734136"/>
              <a:gd name="connsiteX1815" fmla="*/ 1210315 w 1493481"/>
              <a:gd name="connsiteY1815" fmla="*/ 11409 h 1734136"/>
              <a:gd name="connsiteX1816" fmla="*/ 1212599 w 1493481"/>
              <a:gd name="connsiteY1816" fmla="*/ 11409 h 1734136"/>
              <a:gd name="connsiteX1817" fmla="*/ 1214882 w 1493481"/>
              <a:gd name="connsiteY1817" fmla="*/ 13691 h 1734136"/>
              <a:gd name="connsiteX1818" fmla="*/ 1217167 w 1493481"/>
              <a:gd name="connsiteY1818" fmla="*/ 13691 h 1734136"/>
              <a:gd name="connsiteX1819" fmla="*/ 1219450 w 1493481"/>
              <a:gd name="connsiteY1819" fmla="*/ 15973 h 1734136"/>
              <a:gd name="connsiteX1820" fmla="*/ 1221734 w 1493481"/>
              <a:gd name="connsiteY1820" fmla="*/ 18255 h 1734136"/>
              <a:gd name="connsiteX1821" fmla="*/ 1226301 w 1493481"/>
              <a:gd name="connsiteY1821" fmla="*/ 20537 h 1734136"/>
              <a:gd name="connsiteX1822" fmla="*/ 1230868 w 1493481"/>
              <a:gd name="connsiteY1822" fmla="*/ 22819 h 1734136"/>
              <a:gd name="connsiteX1823" fmla="*/ 1233152 w 1493481"/>
              <a:gd name="connsiteY1823" fmla="*/ 22819 h 1734136"/>
              <a:gd name="connsiteX1824" fmla="*/ 1235435 w 1493481"/>
              <a:gd name="connsiteY1824" fmla="*/ 22819 h 1734136"/>
              <a:gd name="connsiteX1825" fmla="*/ 1237719 w 1493481"/>
              <a:gd name="connsiteY1825" fmla="*/ 20537 h 1734136"/>
              <a:gd name="connsiteX1826" fmla="*/ 1240002 w 1493481"/>
              <a:gd name="connsiteY1826" fmla="*/ 18255 h 1734136"/>
              <a:gd name="connsiteX1827" fmla="*/ 1240002 w 1493481"/>
              <a:gd name="connsiteY1827" fmla="*/ 15973 h 1734136"/>
              <a:gd name="connsiteX1828" fmla="*/ 1242286 w 1493481"/>
              <a:gd name="connsiteY1828" fmla="*/ 15973 h 1734136"/>
              <a:gd name="connsiteX1829" fmla="*/ 1244569 w 1493481"/>
              <a:gd name="connsiteY1829" fmla="*/ 13691 h 1734136"/>
              <a:gd name="connsiteX1830" fmla="*/ 1246853 w 1493481"/>
              <a:gd name="connsiteY1830" fmla="*/ 13691 h 1734136"/>
              <a:gd name="connsiteX1831" fmla="*/ 1249137 w 1493481"/>
              <a:gd name="connsiteY1831" fmla="*/ 13691 h 1734136"/>
              <a:gd name="connsiteX1832" fmla="*/ 1251420 w 1493481"/>
              <a:gd name="connsiteY1832" fmla="*/ 13691 h 1734136"/>
              <a:gd name="connsiteX1833" fmla="*/ 1253704 w 1493481"/>
              <a:gd name="connsiteY1833" fmla="*/ 15973 h 1734136"/>
              <a:gd name="connsiteX1834" fmla="*/ 1255987 w 1493481"/>
              <a:gd name="connsiteY1834" fmla="*/ 15973 h 1734136"/>
              <a:gd name="connsiteX1835" fmla="*/ 1260555 w 1493481"/>
              <a:gd name="connsiteY1835" fmla="*/ 18255 h 1734136"/>
              <a:gd name="connsiteX1836" fmla="*/ 1262838 w 1493481"/>
              <a:gd name="connsiteY1836" fmla="*/ 18255 h 1734136"/>
              <a:gd name="connsiteX1837" fmla="*/ 1267405 w 1493481"/>
              <a:gd name="connsiteY1837" fmla="*/ 20537 h 1734136"/>
              <a:gd name="connsiteX1838" fmla="*/ 1269689 w 1493481"/>
              <a:gd name="connsiteY1838" fmla="*/ 20537 h 1734136"/>
              <a:gd name="connsiteX1839" fmla="*/ 1278823 w 1493481"/>
              <a:gd name="connsiteY1839" fmla="*/ 22819 h 1734136"/>
              <a:gd name="connsiteX1840" fmla="*/ 1283390 w 1493481"/>
              <a:gd name="connsiteY1840" fmla="*/ 22819 h 1734136"/>
              <a:gd name="connsiteX1841" fmla="*/ 1285674 w 1493481"/>
              <a:gd name="connsiteY1841" fmla="*/ 22819 h 1734136"/>
              <a:gd name="connsiteX1842" fmla="*/ 1287957 w 1493481"/>
              <a:gd name="connsiteY1842" fmla="*/ 22819 h 1734136"/>
              <a:gd name="connsiteX1843" fmla="*/ 1290242 w 1493481"/>
              <a:gd name="connsiteY1843" fmla="*/ 25101 h 1734136"/>
              <a:gd name="connsiteX1844" fmla="*/ 1292525 w 1493481"/>
              <a:gd name="connsiteY1844" fmla="*/ 25101 h 1734136"/>
              <a:gd name="connsiteX1845" fmla="*/ 1294809 w 1493481"/>
              <a:gd name="connsiteY1845" fmla="*/ 27383 h 1734136"/>
              <a:gd name="connsiteX1846" fmla="*/ 1306227 w 1493481"/>
              <a:gd name="connsiteY1846" fmla="*/ 27383 h 1734136"/>
              <a:gd name="connsiteX1847" fmla="*/ 1317645 w 1493481"/>
              <a:gd name="connsiteY1847" fmla="*/ 27383 h 1734136"/>
              <a:gd name="connsiteX1848" fmla="*/ 1342764 w 1493481"/>
              <a:gd name="connsiteY1848" fmla="*/ 29665 h 1734136"/>
              <a:gd name="connsiteX1849" fmla="*/ 1347331 w 1493481"/>
              <a:gd name="connsiteY1849" fmla="*/ 29665 h 1734136"/>
              <a:gd name="connsiteX1850" fmla="*/ 1390720 w 1493481"/>
              <a:gd name="connsiteY1850" fmla="*/ 31947 h 1734136"/>
              <a:gd name="connsiteX1851" fmla="*/ 1399854 w 1493481"/>
              <a:gd name="connsiteY1851" fmla="*/ 31947 h 1734136"/>
              <a:gd name="connsiteX1852" fmla="*/ 1402137 w 1493481"/>
              <a:gd name="connsiteY1852" fmla="*/ 31947 h 1734136"/>
              <a:gd name="connsiteX1853" fmla="*/ 1406705 w 1493481"/>
              <a:gd name="connsiteY1853" fmla="*/ 31947 h 1734136"/>
              <a:gd name="connsiteX1854" fmla="*/ 1413555 w 1493481"/>
              <a:gd name="connsiteY1854" fmla="*/ 34228 h 1734136"/>
              <a:gd name="connsiteX1855" fmla="*/ 1415839 w 1493481"/>
              <a:gd name="connsiteY1855" fmla="*/ 34228 h 1734136"/>
              <a:gd name="connsiteX1856" fmla="*/ 1431825 w 1493481"/>
              <a:gd name="connsiteY1856" fmla="*/ 34228 h 1734136"/>
              <a:gd name="connsiteX1857" fmla="*/ 1436392 w 1493481"/>
              <a:gd name="connsiteY1857" fmla="*/ 34228 h 1734136"/>
              <a:gd name="connsiteX1858" fmla="*/ 1450093 w 1493481"/>
              <a:gd name="connsiteY1858" fmla="*/ 36510 h 1734136"/>
              <a:gd name="connsiteX1859" fmla="*/ 1461511 w 1493481"/>
              <a:gd name="connsiteY1859" fmla="*/ 36510 h 1734136"/>
              <a:gd name="connsiteX1860" fmla="*/ 1466078 w 1493481"/>
              <a:gd name="connsiteY1860" fmla="*/ 36510 h 1734136"/>
              <a:gd name="connsiteX1861" fmla="*/ 1477496 w 1493481"/>
              <a:gd name="connsiteY1861" fmla="*/ 36510 h 1734136"/>
              <a:gd name="connsiteX1862" fmla="*/ 1482063 w 1493481"/>
              <a:gd name="connsiteY1862" fmla="*/ 36510 h 1734136"/>
              <a:gd name="connsiteX1863" fmla="*/ 1484347 w 1493481"/>
              <a:gd name="connsiteY1863" fmla="*/ 36510 h 1734136"/>
              <a:gd name="connsiteX1864" fmla="*/ 1486630 w 1493481"/>
              <a:gd name="connsiteY1864" fmla="*/ 36510 h 1734136"/>
              <a:gd name="connsiteX1865" fmla="*/ 1493481 w 1493481"/>
              <a:gd name="connsiteY1865" fmla="*/ 34228 h 1734136"/>
              <a:gd name="connsiteX1866" fmla="*/ 1493481 w 1493481"/>
              <a:gd name="connsiteY1866" fmla="*/ 36510 h 1734136"/>
              <a:gd name="connsiteX1867" fmla="*/ 1491198 w 1493481"/>
              <a:gd name="connsiteY1867" fmla="*/ 36510 h 1734136"/>
              <a:gd name="connsiteX1868" fmla="*/ 1491198 w 1493481"/>
              <a:gd name="connsiteY1868" fmla="*/ 38792 h 1734136"/>
              <a:gd name="connsiteX1869" fmla="*/ 1491198 w 1493481"/>
              <a:gd name="connsiteY1869" fmla="*/ 41074 h 1734136"/>
              <a:gd name="connsiteX1870" fmla="*/ 1488914 w 1493481"/>
              <a:gd name="connsiteY1870" fmla="*/ 43356 h 1734136"/>
              <a:gd name="connsiteX1871" fmla="*/ 1488914 w 1493481"/>
              <a:gd name="connsiteY1871" fmla="*/ 45638 h 1734136"/>
              <a:gd name="connsiteX1872" fmla="*/ 1488914 w 1493481"/>
              <a:gd name="connsiteY1872" fmla="*/ 47920 h 1734136"/>
              <a:gd name="connsiteX1873" fmla="*/ 1488914 w 1493481"/>
              <a:gd name="connsiteY1873" fmla="*/ 50202 h 1734136"/>
              <a:gd name="connsiteX1874" fmla="*/ 1488914 w 1493481"/>
              <a:gd name="connsiteY1874" fmla="*/ 52484 h 1734136"/>
              <a:gd name="connsiteX1875" fmla="*/ 1488914 w 1493481"/>
              <a:gd name="connsiteY1875" fmla="*/ 54765 h 1734136"/>
              <a:gd name="connsiteX1876" fmla="*/ 1486630 w 1493481"/>
              <a:gd name="connsiteY1876" fmla="*/ 57047 h 1734136"/>
              <a:gd name="connsiteX1877" fmla="*/ 1486630 w 1493481"/>
              <a:gd name="connsiteY1877" fmla="*/ 59329 h 1734136"/>
              <a:gd name="connsiteX1878" fmla="*/ 1486630 w 1493481"/>
              <a:gd name="connsiteY1878" fmla="*/ 61611 h 1734136"/>
              <a:gd name="connsiteX1879" fmla="*/ 1486630 w 1493481"/>
              <a:gd name="connsiteY1879" fmla="*/ 63893 h 1734136"/>
              <a:gd name="connsiteX1880" fmla="*/ 1486630 w 1493481"/>
              <a:gd name="connsiteY1880" fmla="*/ 66175 h 1734136"/>
              <a:gd name="connsiteX1881" fmla="*/ 1486630 w 1493481"/>
              <a:gd name="connsiteY1881" fmla="*/ 68457 h 1734136"/>
              <a:gd name="connsiteX1882" fmla="*/ 1484347 w 1493481"/>
              <a:gd name="connsiteY1882" fmla="*/ 68457 h 1734136"/>
              <a:gd name="connsiteX1883" fmla="*/ 1484347 w 1493481"/>
              <a:gd name="connsiteY1883" fmla="*/ 70739 h 1734136"/>
              <a:gd name="connsiteX1884" fmla="*/ 1484347 w 1493481"/>
              <a:gd name="connsiteY1884" fmla="*/ 73021 h 1734136"/>
              <a:gd name="connsiteX1885" fmla="*/ 1484347 w 1493481"/>
              <a:gd name="connsiteY1885" fmla="*/ 75303 h 1734136"/>
              <a:gd name="connsiteX1886" fmla="*/ 1484347 w 1493481"/>
              <a:gd name="connsiteY1886" fmla="*/ 77584 h 1734136"/>
              <a:gd name="connsiteX1887" fmla="*/ 1486630 w 1493481"/>
              <a:gd name="connsiteY1887" fmla="*/ 77584 h 1734136"/>
              <a:gd name="connsiteX1888" fmla="*/ 1484347 w 1493481"/>
              <a:gd name="connsiteY1888" fmla="*/ 77584 h 1734136"/>
              <a:gd name="connsiteX1889" fmla="*/ 1484347 w 1493481"/>
              <a:gd name="connsiteY1889" fmla="*/ 79866 h 1734136"/>
              <a:gd name="connsiteX1890" fmla="*/ 1484347 w 1493481"/>
              <a:gd name="connsiteY1890" fmla="*/ 82148 h 1734136"/>
              <a:gd name="connsiteX1891" fmla="*/ 1484347 w 1493481"/>
              <a:gd name="connsiteY1891" fmla="*/ 84430 h 1734136"/>
              <a:gd name="connsiteX1892" fmla="*/ 1484347 w 1493481"/>
              <a:gd name="connsiteY1892" fmla="*/ 86712 h 1734136"/>
              <a:gd name="connsiteX1893" fmla="*/ 1482063 w 1493481"/>
              <a:gd name="connsiteY1893" fmla="*/ 86712 h 1734136"/>
              <a:gd name="connsiteX1894" fmla="*/ 1482063 w 1493481"/>
              <a:gd name="connsiteY1894" fmla="*/ 88994 h 1734136"/>
              <a:gd name="connsiteX1895" fmla="*/ 1482063 w 1493481"/>
              <a:gd name="connsiteY1895" fmla="*/ 91276 h 1734136"/>
              <a:gd name="connsiteX1896" fmla="*/ 1479780 w 1493481"/>
              <a:gd name="connsiteY1896" fmla="*/ 91276 h 1734136"/>
              <a:gd name="connsiteX1897" fmla="*/ 1479780 w 1493481"/>
              <a:gd name="connsiteY1897" fmla="*/ 93558 h 1734136"/>
              <a:gd name="connsiteX1898" fmla="*/ 1479780 w 1493481"/>
              <a:gd name="connsiteY1898" fmla="*/ 95840 h 1734136"/>
              <a:gd name="connsiteX1899" fmla="*/ 1482063 w 1493481"/>
              <a:gd name="connsiteY1899" fmla="*/ 95840 h 1734136"/>
              <a:gd name="connsiteX1900" fmla="*/ 1482063 w 1493481"/>
              <a:gd name="connsiteY1900" fmla="*/ 98121 h 1734136"/>
              <a:gd name="connsiteX1901" fmla="*/ 1479780 w 1493481"/>
              <a:gd name="connsiteY1901" fmla="*/ 98121 h 1734136"/>
              <a:gd name="connsiteX1902" fmla="*/ 1479780 w 1493481"/>
              <a:gd name="connsiteY1902" fmla="*/ 100403 h 1734136"/>
              <a:gd name="connsiteX1903" fmla="*/ 1479780 w 1493481"/>
              <a:gd name="connsiteY1903" fmla="*/ 102685 h 1734136"/>
              <a:gd name="connsiteX1904" fmla="*/ 1479780 w 1493481"/>
              <a:gd name="connsiteY1904" fmla="*/ 104967 h 1734136"/>
              <a:gd name="connsiteX1905" fmla="*/ 1477496 w 1493481"/>
              <a:gd name="connsiteY1905" fmla="*/ 104967 h 1734136"/>
              <a:gd name="connsiteX1906" fmla="*/ 1477496 w 1493481"/>
              <a:gd name="connsiteY1906" fmla="*/ 107249 h 1734136"/>
              <a:gd name="connsiteX1907" fmla="*/ 1477496 w 1493481"/>
              <a:gd name="connsiteY1907" fmla="*/ 109531 h 1734136"/>
              <a:gd name="connsiteX1908" fmla="*/ 1477496 w 1493481"/>
              <a:gd name="connsiteY1908" fmla="*/ 111813 h 1734136"/>
              <a:gd name="connsiteX1909" fmla="*/ 1475213 w 1493481"/>
              <a:gd name="connsiteY1909" fmla="*/ 111813 h 1734136"/>
              <a:gd name="connsiteX1910" fmla="*/ 1475213 w 1493481"/>
              <a:gd name="connsiteY1910" fmla="*/ 114095 h 1734136"/>
              <a:gd name="connsiteX1911" fmla="*/ 1475213 w 1493481"/>
              <a:gd name="connsiteY1911" fmla="*/ 116377 h 1734136"/>
              <a:gd name="connsiteX1912" fmla="*/ 1472929 w 1493481"/>
              <a:gd name="connsiteY1912" fmla="*/ 116377 h 1734136"/>
              <a:gd name="connsiteX1913" fmla="*/ 1472929 w 1493481"/>
              <a:gd name="connsiteY1913" fmla="*/ 118659 h 1734136"/>
              <a:gd name="connsiteX1914" fmla="*/ 1472929 w 1493481"/>
              <a:gd name="connsiteY1914" fmla="*/ 120940 h 1734136"/>
              <a:gd name="connsiteX1915" fmla="*/ 1472929 w 1493481"/>
              <a:gd name="connsiteY1915" fmla="*/ 123222 h 1734136"/>
              <a:gd name="connsiteX1916" fmla="*/ 1472929 w 1493481"/>
              <a:gd name="connsiteY1916" fmla="*/ 125504 h 1734136"/>
              <a:gd name="connsiteX1917" fmla="*/ 1472929 w 1493481"/>
              <a:gd name="connsiteY1917" fmla="*/ 127786 h 1734136"/>
              <a:gd name="connsiteX1918" fmla="*/ 1470645 w 1493481"/>
              <a:gd name="connsiteY1918" fmla="*/ 127786 h 1734136"/>
              <a:gd name="connsiteX1919" fmla="*/ 1470645 w 1493481"/>
              <a:gd name="connsiteY1919" fmla="*/ 130068 h 1734136"/>
              <a:gd name="connsiteX1920" fmla="*/ 1470645 w 1493481"/>
              <a:gd name="connsiteY1920" fmla="*/ 132350 h 1734136"/>
              <a:gd name="connsiteX1921" fmla="*/ 1470645 w 1493481"/>
              <a:gd name="connsiteY1921" fmla="*/ 134632 h 1734136"/>
              <a:gd name="connsiteX1922" fmla="*/ 1470645 w 1493481"/>
              <a:gd name="connsiteY1922" fmla="*/ 136914 h 1734136"/>
              <a:gd name="connsiteX1923" fmla="*/ 1468362 w 1493481"/>
              <a:gd name="connsiteY1923" fmla="*/ 136914 h 1734136"/>
              <a:gd name="connsiteX1924" fmla="*/ 1468362 w 1493481"/>
              <a:gd name="connsiteY1924" fmla="*/ 139196 h 1734136"/>
              <a:gd name="connsiteX1925" fmla="*/ 1466078 w 1493481"/>
              <a:gd name="connsiteY1925" fmla="*/ 141477 h 1734136"/>
              <a:gd name="connsiteX1926" fmla="*/ 1466078 w 1493481"/>
              <a:gd name="connsiteY1926" fmla="*/ 143750 h 1734136"/>
              <a:gd name="connsiteX1927" fmla="*/ 1466078 w 1493481"/>
              <a:gd name="connsiteY1927" fmla="*/ 146041 h 1734136"/>
              <a:gd name="connsiteX1928" fmla="*/ 1463795 w 1493481"/>
              <a:gd name="connsiteY1928" fmla="*/ 146041 h 1734136"/>
              <a:gd name="connsiteX1929" fmla="*/ 1466078 w 1493481"/>
              <a:gd name="connsiteY1929" fmla="*/ 146041 h 1734136"/>
              <a:gd name="connsiteX1930" fmla="*/ 1466078 w 1493481"/>
              <a:gd name="connsiteY1930" fmla="*/ 148314 h 1734136"/>
              <a:gd name="connsiteX1931" fmla="*/ 1463795 w 1493481"/>
              <a:gd name="connsiteY1931" fmla="*/ 148314 h 1734136"/>
              <a:gd name="connsiteX1932" fmla="*/ 1463795 w 1493481"/>
              <a:gd name="connsiteY1932" fmla="*/ 150596 h 1734136"/>
              <a:gd name="connsiteX1933" fmla="*/ 1461511 w 1493481"/>
              <a:gd name="connsiteY1933" fmla="*/ 150596 h 1734136"/>
              <a:gd name="connsiteX1934" fmla="*/ 1461511 w 1493481"/>
              <a:gd name="connsiteY1934" fmla="*/ 152877 h 1734136"/>
              <a:gd name="connsiteX1935" fmla="*/ 1461511 w 1493481"/>
              <a:gd name="connsiteY1935" fmla="*/ 155159 h 1734136"/>
              <a:gd name="connsiteX1936" fmla="*/ 1459227 w 1493481"/>
              <a:gd name="connsiteY1936" fmla="*/ 155159 h 1734136"/>
              <a:gd name="connsiteX1937" fmla="*/ 1459227 w 1493481"/>
              <a:gd name="connsiteY1937" fmla="*/ 157441 h 1734136"/>
              <a:gd name="connsiteX1938" fmla="*/ 1456944 w 1493481"/>
              <a:gd name="connsiteY1938" fmla="*/ 157441 h 1734136"/>
              <a:gd name="connsiteX1939" fmla="*/ 1456944 w 1493481"/>
              <a:gd name="connsiteY1939" fmla="*/ 159723 h 1734136"/>
              <a:gd name="connsiteX1940" fmla="*/ 1456944 w 1493481"/>
              <a:gd name="connsiteY1940" fmla="*/ 162005 h 1734136"/>
              <a:gd name="connsiteX1941" fmla="*/ 1454660 w 1493481"/>
              <a:gd name="connsiteY1941" fmla="*/ 164287 h 1734136"/>
              <a:gd name="connsiteX1942" fmla="*/ 1456944 w 1493481"/>
              <a:gd name="connsiteY1942" fmla="*/ 164287 h 1734136"/>
              <a:gd name="connsiteX1943" fmla="*/ 1454660 w 1493481"/>
              <a:gd name="connsiteY1943" fmla="*/ 164287 h 1734136"/>
              <a:gd name="connsiteX1944" fmla="*/ 1454660 w 1493481"/>
              <a:gd name="connsiteY1944" fmla="*/ 166569 h 1734136"/>
              <a:gd name="connsiteX1945" fmla="*/ 1456944 w 1493481"/>
              <a:gd name="connsiteY1945" fmla="*/ 166569 h 1734136"/>
              <a:gd name="connsiteX1946" fmla="*/ 1456944 w 1493481"/>
              <a:gd name="connsiteY1946" fmla="*/ 168851 h 1734136"/>
              <a:gd name="connsiteX1947" fmla="*/ 1454660 w 1493481"/>
              <a:gd name="connsiteY1947" fmla="*/ 168851 h 1734136"/>
              <a:gd name="connsiteX1948" fmla="*/ 1454660 w 1493481"/>
              <a:gd name="connsiteY1948" fmla="*/ 171133 h 1734136"/>
              <a:gd name="connsiteX1949" fmla="*/ 1454660 w 1493481"/>
              <a:gd name="connsiteY1949" fmla="*/ 173415 h 1734136"/>
              <a:gd name="connsiteX1950" fmla="*/ 1452377 w 1493481"/>
              <a:gd name="connsiteY1950" fmla="*/ 173415 h 1734136"/>
              <a:gd name="connsiteX1951" fmla="*/ 1452377 w 1493481"/>
              <a:gd name="connsiteY1951" fmla="*/ 175696 h 1734136"/>
              <a:gd name="connsiteX1952" fmla="*/ 1452377 w 1493481"/>
              <a:gd name="connsiteY1952" fmla="*/ 177978 h 1734136"/>
              <a:gd name="connsiteX1953" fmla="*/ 1450093 w 1493481"/>
              <a:gd name="connsiteY1953" fmla="*/ 177978 h 1734136"/>
              <a:gd name="connsiteX1954" fmla="*/ 1450093 w 1493481"/>
              <a:gd name="connsiteY1954" fmla="*/ 180260 h 1734136"/>
              <a:gd name="connsiteX1955" fmla="*/ 1450093 w 1493481"/>
              <a:gd name="connsiteY1955" fmla="*/ 182542 h 1734136"/>
              <a:gd name="connsiteX1956" fmla="*/ 1450093 w 1493481"/>
              <a:gd name="connsiteY1956" fmla="*/ 184824 h 1734136"/>
              <a:gd name="connsiteX1957" fmla="*/ 1450093 w 1493481"/>
              <a:gd name="connsiteY1957" fmla="*/ 187106 h 1734136"/>
              <a:gd name="connsiteX1958" fmla="*/ 1447810 w 1493481"/>
              <a:gd name="connsiteY1958" fmla="*/ 187106 h 1734136"/>
              <a:gd name="connsiteX1959" fmla="*/ 1447810 w 1493481"/>
              <a:gd name="connsiteY1959" fmla="*/ 189388 h 1734136"/>
              <a:gd name="connsiteX1960" fmla="*/ 1447810 w 1493481"/>
              <a:gd name="connsiteY1960" fmla="*/ 191670 h 1734136"/>
              <a:gd name="connsiteX1961" fmla="*/ 1445526 w 1493481"/>
              <a:gd name="connsiteY1961" fmla="*/ 191670 h 1734136"/>
              <a:gd name="connsiteX1962" fmla="*/ 1445526 w 1493481"/>
              <a:gd name="connsiteY1962" fmla="*/ 193952 h 1734136"/>
              <a:gd name="connsiteX1963" fmla="*/ 1443242 w 1493481"/>
              <a:gd name="connsiteY1963" fmla="*/ 193952 h 1734136"/>
              <a:gd name="connsiteX1964" fmla="*/ 1443242 w 1493481"/>
              <a:gd name="connsiteY1964" fmla="*/ 196233 h 1734136"/>
              <a:gd name="connsiteX1965" fmla="*/ 1443242 w 1493481"/>
              <a:gd name="connsiteY1965" fmla="*/ 198515 h 1734136"/>
              <a:gd name="connsiteX1966" fmla="*/ 1443242 w 1493481"/>
              <a:gd name="connsiteY1966" fmla="*/ 200797 h 1734136"/>
              <a:gd name="connsiteX1967" fmla="*/ 1440959 w 1493481"/>
              <a:gd name="connsiteY1967" fmla="*/ 200797 h 1734136"/>
              <a:gd name="connsiteX1968" fmla="*/ 1440959 w 1493481"/>
              <a:gd name="connsiteY1968" fmla="*/ 203079 h 1734136"/>
              <a:gd name="connsiteX1969" fmla="*/ 1440959 w 1493481"/>
              <a:gd name="connsiteY1969" fmla="*/ 205361 h 1734136"/>
              <a:gd name="connsiteX1970" fmla="*/ 1440959 w 1493481"/>
              <a:gd name="connsiteY1970" fmla="*/ 207643 h 1734136"/>
              <a:gd name="connsiteX1971" fmla="*/ 1440959 w 1493481"/>
              <a:gd name="connsiteY1971" fmla="*/ 209925 h 1734136"/>
              <a:gd name="connsiteX1972" fmla="*/ 1438675 w 1493481"/>
              <a:gd name="connsiteY1972" fmla="*/ 209925 h 1734136"/>
              <a:gd name="connsiteX1973" fmla="*/ 1440959 w 1493481"/>
              <a:gd name="connsiteY1973" fmla="*/ 209925 h 1734136"/>
              <a:gd name="connsiteX1974" fmla="*/ 1438675 w 1493481"/>
              <a:gd name="connsiteY1974" fmla="*/ 209925 h 1734136"/>
              <a:gd name="connsiteX1975" fmla="*/ 1438675 w 1493481"/>
              <a:gd name="connsiteY1975" fmla="*/ 212207 h 1734136"/>
              <a:gd name="connsiteX1976" fmla="*/ 1438675 w 1493481"/>
              <a:gd name="connsiteY1976" fmla="*/ 214489 h 1734136"/>
              <a:gd name="connsiteX1977" fmla="*/ 1436392 w 1493481"/>
              <a:gd name="connsiteY1977" fmla="*/ 214489 h 1734136"/>
              <a:gd name="connsiteX1978" fmla="*/ 1436392 w 1493481"/>
              <a:gd name="connsiteY1978" fmla="*/ 216771 h 1734136"/>
              <a:gd name="connsiteX1979" fmla="*/ 1436392 w 1493481"/>
              <a:gd name="connsiteY1979" fmla="*/ 219052 h 1734136"/>
              <a:gd name="connsiteX1980" fmla="*/ 1434108 w 1493481"/>
              <a:gd name="connsiteY1980" fmla="*/ 219052 h 1734136"/>
              <a:gd name="connsiteX1981" fmla="*/ 1434108 w 1493481"/>
              <a:gd name="connsiteY1981" fmla="*/ 221334 h 1734136"/>
              <a:gd name="connsiteX1982" fmla="*/ 1434108 w 1493481"/>
              <a:gd name="connsiteY1982" fmla="*/ 223616 h 1734136"/>
              <a:gd name="connsiteX1983" fmla="*/ 1431825 w 1493481"/>
              <a:gd name="connsiteY1983" fmla="*/ 223616 h 1734136"/>
              <a:gd name="connsiteX1984" fmla="*/ 1431825 w 1493481"/>
              <a:gd name="connsiteY1984" fmla="*/ 225898 h 1734136"/>
              <a:gd name="connsiteX1985" fmla="*/ 1431825 w 1493481"/>
              <a:gd name="connsiteY1985" fmla="*/ 228180 h 1734136"/>
              <a:gd name="connsiteX1986" fmla="*/ 1431825 w 1493481"/>
              <a:gd name="connsiteY1986" fmla="*/ 230462 h 1734136"/>
              <a:gd name="connsiteX1987" fmla="*/ 1429540 w 1493481"/>
              <a:gd name="connsiteY1987" fmla="*/ 230462 h 1734136"/>
              <a:gd name="connsiteX1988" fmla="*/ 1429540 w 1493481"/>
              <a:gd name="connsiteY1988" fmla="*/ 232744 h 1734136"/>
              <a:gd name="connsiteX1989" fmla="*/ 1429540 w 1493481"/>
              <a:gd name="connsiteY1989" fmla="*/ 235026 h 1734136"/>
              <a:gd name="connsiteX1990" fmla="*/ 1427257 w 1493481"/>
              <a:gd name="connsiteY1990" fmla="*/ 235026 h 1734136"/>
              <a:gd name="connsiteX1991" fmla="*/ 1427257 w 1493481"/>
              <a:gd name="connsiteY1991" fmla="*/ 237308 h 1734136"/>
              <a:gd name="connsiteX1992" fmla="*/ 1427257 w 1493481"/>
              <a:gd name="connsiteY1992" fmla="*/ 239589 h 1734136"/>
              <a:gd name="connsiteX1993" fmla="*/ 1427257 w 1493481"/>
              <a:gd name="connsiteY1993" fmla="*/ 241871 h 1734136"/>
              <a:gd name="connsiteX1994" fmla="*/ 1424973 w 1493481"/>
              <a:gd name="connsiteY1994" fmla="*/ 241871 h 1734136"/>
              <a:gd name="connsiteX1995" fmla="*/ 1424973 w 1493481"/>
              <a:gd name="connsiteY1995" fmla="*/ 244153 h 1734136"/>
              <a:gd name="connsiteX1996" fmla="*/ 1424973 w 1493481"/>
              <a:gd name="connsiteY1996" fmla="*/ 246435 h 1734136"/>
              <a:gd name="connsiteX1997" fmla="*/ 1424973 w 1493481"/>
              <a:gd name="connsiteY1997" fmla="*/ 248717 h 1734136"/>
              <a:gd name="connsiteX1998" fmla="*/ 1422690 w 1493481"/>
              <a:gd name="connsiteY1998" fmla="*/ 248717 h 1734136"/>
              <a:gd name="connsiteX1999" fmla="*/ 1422690 w 1493481"/>
              <a:gd name="connsiteY1999" fmla="*/ 250999 h 1734136"/>
              <a:gd name="connsiteX2000" fmla="*/ 1422690 w 1493481"/>
              <a:gd name="connsiteY2000" fmla="*/ 253281 h 1734136"/>
              <a:gd name="connsiteX2001" fmla="*/ 1420406 w 1493481"/>
              <a:gd name="connsiteY2001" fmla="*/ 253281 h 1734136"/>
              <a:gd name="connsiteX2002" fmla="*/ 1420406 w 1493481"/>
              <a:gd name="connsiteY2002" fmla="*/ 255563 h 1734136"/>
              <a:gd name="connsiteX2003" fmla="*/ 1420406 w 1493481"/>
              <a:gd name="connsiteY2003" fmla="*/ 257845 h 1734136"/>
              <a:gd name="connsiteX2004" fmla="*/ 1418123 w 1493481"/>
              <a:gd name="connsiteY2004" fmla="*/ 257845 h 1734136"/>
              <a:gd name="connsiteX2005" fmla="*/ 1418123 w 1493481"/>
              <a:gd name="connsiteY2005" fmla="*/ 260127 h 1734136"/>
              <a:gd name="connsiteX2006" fmla="*/ 1418123 w 1493481"/>
              <a:gd name="connsiteY2006" fmla="*/ 262409 h 1734136"/>
              <a:gd name="connsiteX2007" fmla="*/ 1418123 w 1493481"/>
              <a:gd name="connsiteY2007" fmla="*/ 264690 h 1734136"/>
              <a:gd name="connsiteX2008" fmla="*/ 1418123 w 1493481"/>
              <a:gd name="connsiteY2008" fmla="*/ 266972 h 1734136"/>
              <a:gd name="connsiteX2009" fmla="*/ 1415839 w 1493481"/>
              <a:gd name="connsiteY2009" fmla="*/ 266972 h 1734136"/>
              <a:gd name="connsiteX2010" fmla="*/ 1415839 w 1493481"/>
              <a:gd name="connsiteY2010" fmla="*/ 269254 h 1734136"/>
              <a:gd name="connsiteX2011" fmla="*/ 1413555 w 1493481"/>
              <a:gd name="connsiteY2011" fmla="*/ 269254 h 1734136"/>
              <a:gd name="connsiteX2012" fmla="*/ 1413555 w 1493481"/>
              <a:gd name="connsiteY2012" fmla="*/ 271536 h 1734136"/>
              <a:gd name="connsiteX2013" fmla="*/ 1411272 w 1493481"/>
              <a:gd name="connsiteY2013" fmla="*/ 271536 h 1734136"/>
              <a:gd name="connsiteX2014" fmla="*/ 1411272 w 1493481"/>
              <a:gd name="connsiteY2014" fmla="*/ 273818 h 1734136"/>
              <a:gd name="connsiteX2015" fmla="*/ 1411272 w 1493481"/>
              <a:gd name="connsiteY2015" fmla="*/ 276100 h 1734136"/>
              <a:gd name="connsiteX2016" fmla="*/ 1408988 w 1493481"/>
              <a:gd name="connsiteY2016" fmla="*/ 276100 h 1734136"/>
              <a:gd name="connsiteX2017" fmla="*/ 1408988 w 1493481"/>
              <a:gd name="connsiteY2017" fmla="*/ 278382 h 1734136"/>
              <a:gd name="connsiteX2018" fmla="*/ 1408988 w 1493481"/>
              <a:gd name="connsiteY2018" fmla="*/ 280664 h 1734136"/>
              <a:gd name="connsiteX2019" fmla="*/ 1406705 w 1493481"/>
              <a:gd name="connsiteY2019" fmla="*/ 282945 h 1734136"/>
              <a:gd name="connsiteX2020" fmla="*/ 1406705 w 1493481"/>
              <a:gd name="connsiteY2020" fmla="*/ 285227 h 1734136"/>
              <a:gd name="connsiteX2021" fmla="*/ 1406705 w 1493481"/>
              <a:gd name="connsiteY2021" fmla="*/ 287509 h 1734136"/>
              <a:gd name="connsiteX2022" fmla="*/ 1404421 w 1493481"/>
              <a:gd name="connsiteY2022" fmla="*/ 287509 h 1734136"/>
              <a:gd name="connsiteX2023" fmla="*/ 1404421 w 1493481"/>
              <a:gd name="connsiteY2023" fmla="*/ 289791 h 1734136"/>
              <a:gd name="connsiteX2024" fmla="*/ 1404421 w 1493481"/>
              <a:gd name="connsiteY2024" fmla="*/ 292073 h 1734136"/>
              <a:gd name="connsiteX2025" fmla="*/ 1402137 w 1493481"/>
              <a:gd name="connsiteY2025" fmla="*/ 292073 h 1734136"/>
              <a:gd name="connsiteX2026" fmla="*/ 1402137 w 1493481"/>
              <a:gd name="connsiteY2026" fmla="*/ 294355 h 1734136"/>
              <a:gd name="connsiteX2027" fmla="*/ 1402137 w 1493481"/>
              <a:gd name="connsiteY2027" fmla="*/ 296637 h 1734136"/>
              <a:gd name="connsiteX2028" fmla="*/ 1402137 w 1493481"/>
              <a:gd name="connsiteY2028" fmla="*/ 298919 h 1734136"/>
              <a:gd name="connsiteX2029" fmla="*/ 1399854 w 1493481"/>
              <a:gd name="connsiteY2029" fmla="*/ 301201 h 1734136"/>
              <a:gd name="connsiteX2030" fmla="*/ 1399854 w 1493481"/>
              <a:gd name="connsiteY2030" fmla="*/ 303473 h 1734136"/>
              <a:gd name="connsiteX2031" fmla="*/ 1399854 w 1493481"/>
              <a:gd name="connsiteY2031" fmla="*/ 305755 h 1734136"/>
              <a:gd name="connsiteX2032" fmla="*/ 1399854 w 1493481"/>
              <a:gd name="connsiteY2032" fmla="*/ 308037 h 1734136"/>
              <a:gd name="connsiteX2033" fmla="*/ 1399854 w 1493481"/>
              <a:gd name="connsiteY2033" fmla="*/ 310319 h 1734136"/>
              <a:gd name="connsiteX2034" fmla="*/ 1402137 w 1493481"/>
              <a:gd name="connsiteY2034" fmla="*/ 310319 h 1734136"/>
              <a:gd name="connsiteX2035" fmla="*/ 1402137 w 1493481"/>
              <a:gd name="connsiteY2035" fmla="*/ 312601 h 1734136"/>
              <a:gd name="connsiteX2036" fmla="*/ 1402137 w 1493481"/>
              <a:gd name="connsiteY2036" fmla="*/ 314883 h 1734136"/>
              <a:gd name="connsiteX2037" fmla="*/ 1399854 w 1493481"/>
              <a:gd name="connsiteY2037" fmla="*/ 314883 h 1734136"/>
              <a:gd name="connsiteX2038" fmla="*/ 1399854 w 1493481"/>
              <a:gd name="connsiteY2038" fmla="*/ 317164 h 1734136"/>
              <a:gd name="connsiteX2039" fmla="*/ 1399854 w 1493481"/>
              <a:gd name="connsiteY2039" fmla="*/ 319446 h 1734136"/>
              <a:gd name="connsiteX2040" fmla="*/ 1399854 w 1493481"/>
              <a:gd name="connsiteY2040" fmla="*/ 321728 h 1734136"/>
              <a:gd name="connsiteX2041" fmla="*/ 1397570 w 1493481"/>
              <a:gd name="connsiteY2041" fmla="*/ 321728 h 1734136"/>
              <a:gd name="connsiteX2042" fmla="*/ 1397570 w 1493481"/>
              <a:gd name="connsiteY2042" fmla="*/ 324010 h 1734136"/>
              <a:gd name="connsiteX2043" fmla="*/ 1397570 w 1493481"/>
              <a:gd name="connsiteY2043" fmla="*/ 326292 h 1734136"/>
              <a:gd name="connsiteX2044" fmla="*/ 1397570 w 1493481"/>
              <a:gd name="connsiteY2044" fmla="*/ 328574 h 1734136"/>
              <a:gd name="connsiteX2045" fmla="*/ 1395287 w 1493481"/>
              <a:gd name="connsiteY2045" fmla="*/ 328574 h 1734136"/>
              <a:gd name="connsiteX2046" fmla="*/ 1395287 w 1493481"/>
              <a:gd name="connsiteY2046" fmla="*/ 330856 h 1734136"/>
              <a:gd name="connsiteX2047" fmla="*/ 1395287 w 1493481"/>
              <a:gd name="connsiteY2047" fmla="*/ 333138 h 1734136"/>
              <a:gd name="connsiteX2048" fmla="*/ 1393003 w 1493481"/>
              <a:gd name="connsiteY2048" fmla="*/ 333138 h 1734136"/>
              <a:gd name="connsiteX2049" fmla="*/ 1393003 w 1493481"/>
              <a:gd name="connsiteY2049" fmla="*/ 335420 h 1734136"/>
              <a:gd name="connsiteX2050" fmla="*/ 1393003 w 1493481"/>
              <a:gd name="connsiteY2050" fmla="*/ 337701 h 1734136"/>
              <a:gd name="connsiteX2051" fmla="*/ 1393003 w 1493481"/>
              <a:gd name="connsiteY2051" fmla="*/ 339983 h 1734136"/>
              <a:gd name="connsiteX2052" fmla="*/ 1393003 w 1493481"/>
              <a:gd name="connsiteY2052" fmla="*/ 342265 h 1734136"/>
              <a:gd name="connsiteX2053" fmla="*/ 1393003 w 1493481"/>
              <a:gd name="connsiteY2053" fmla="*/ 344547 h 1734136"/>
              <a:gd name="connsiteX2054" fmla="*/ 1393003 w 1493481"/>
              <a:gd name="connsiteY2054" fmla="*/ 346829 h 1734136"/>
              <a:gd name="connsiteX2055" fmla="*/ 1390720 w 1493481"/>
              <a:gd name="connsiteY2055" fmla="*/ 346829 h 1734136"/>
              <a:gd name="connsiteX2056" fmla="*/ 1390720 w 1493481"/>
              <a:gd name="connsiteY2056" fmla="*/ 349111 h 1734136"/>
              <a:gd name="connsiteX2057" fmla="*/ 1390720 w 1493481"/>
              <a:gd name="connsiteY2057" fmla="*/ 351393 h 1734136"/>
              <a:gd name="connsiteX2058" fmla="*/ 1390720 w 1493481"/>
              <a:gd name="connsiteY2058" fmla="*/ 353675 h 1734136"/>
              <a:gd name="connsiteX2059" fmla="*/ 1388436 w 1493481"/>
              <a:gd name="connsiteY2059" fmla="*/ 353675 h 1734136"/>
              <a:gd name="connsiteX2060" fmla="*/ 1388436 w 1493481"/>
              <a:gd name="connsiteY2060" fmla="*/ 355957 h 1734136"/>
              <a:gd name="connsiteX2061" fmla="*/ 1388436 w 1493481"/>
              <a:gd name="connsiteY2061" fmla="*/ 358239 h 1734136"/>
              <a:gd name="connsiteX2062" fmla="*/ 1388436 w 1493481"/>
              <a:gd name="connsiteY2062" fmla="*/ 360521 h 1734136"/>
              <a:gd name="connsiteX2063" fmla="*/ 1388436 w 1493481"/>
              <a:gd name="connsiteY2063" fmla="*/ 362802 h 1734136"/>
              <a:gd name="connsiteX2064" fmla="*/ 1386152 w 1493481"/>
              <a:gd name="connsiteY2064" fmla="*/ 362802 h 1734136"/>
              <a:gd name="connsiteX2065" fmla="*/ 1386152 w 1493481"/>
              <a:gd name="connsiteY2065" fmla="*/ 365084 h 1734136"/>
              <a:gd name="connsiteX2066" fmla="*/ 1386152 w 1493481"/>
              <a:gd name="connsiteY2066" fmla="*/ 367366 h 1734136"/>
              <a:gd name="connsiteX2067" fmla="*/ 1386152 w 1493481"/>
              <a:gd name="connsiteY2067" fmla="*/ 369648 h 1734136"/>
              <a:gd name="connsiteX2068" fmla="*/ 1383869 w 1493481"/>
              <a:gd name="connsiteY2068" fmla="*/ 371930 h 1734136"/>
              <a:gd name="connsiteX2069" fmla="*/ 1383869 w 1493481"/>
              <a:gd name="connsiteY2069" fmla="*/ 374212 h 1734136"/>
              <a:gd name="connsiteX2070" fmla="*/ 1383869 w 1493481"/>
              <a:gd name="connsiteY2070" fmla="*/ 376494 h 1734136"/>
              <a:gd name="connsiteX2071" fmla="*/ 1381585 w 1493481"/>
              <a:gd name="connsiteY2071" fmla="*/ 376494 h 1734136"/>
              <a:gd name="connsiteX2072" fmla="*/ 1381585 w 1493481"/>
              <a:gd name="connsiteY2072" fmla="*/ 378776 h 1734136"/>
              <a:gd name="connsiteX2073" fmla="*/ 1381585 w 1493481"/>
              <a:gd name="connsiteY2073" fmla="*/ 381057 h 1734136"/>
              <a:gd name="connsiteX2074" fmla="*/ 1379302 w 1493481"/>
              <a:gd name="connsiteY2074" fmla="*/ 381057 h 1734136"/>
              <a:gd name="connsiteX2075" fmla="*/ 1379302 w 1493481"/>
              <a:gd name="connsiteY2075" fmla="*/ 383339 h 1734136"/>
              <a:gd name="connsiteX2076" fmla="*/ 1379302 w 1493481"/>
              <a:gd name="connsiteY2076" fmla="*/ 385621 h 1734136"/>
              <a:gd name="connsiteX2077" fmla="*/ 1379302 w 1493481"/>
              <a:gd name="connsiteY2077" fmla="*/ 387903 h 1734136"/>
              <a:gd name="connsiteX2078" fmla="*/ 1377018 w 1493481"/>
              <a:gd name="connsiteY2078" fmla="*/ 387903 h 1734136"/>
              <a:gd name="connsiteX2079" fmla="*/ 1377018 w 1493481"/>
              <a:gd name="connsiteY2079" fmla="*/ 390185 h 1734136"/>
              <a:gd name="connsiteX2080" fmla="*/ 1377018 w 1493481"/>
              <a:gd name="connsiteY2080" fmla="*/ 392467 h 1734136"/>
              <a:gd name="connsiteX2081" fmla="*/ 1377018 w 1493481"/>
              <a:gd name="connsiteY2081" fmla="*/ 394749 h 1734136"/>
              <a:gd name="connsiteX2082" fmla="*/ 1377018 w 1493481"/>
              <a:gd name="connsiteY2082" fmla="*/ 397031 h 1734136"/>
              <a:gd name="connsiteX2083" fmla="*/ 1374735 w 1493481"/>
              <a:gd name="connsiteY2083" fmla="*/ 397031 h 1734136"/>
              <a:gd name="connsiteX2084" fmla="*/ 1374735 w 1493481"/>
              <a:gd name="connsiteY2084" fmla="*/ 399313 h 1734136"/>
              <a:gd name="connsiteX2085" fmla="*/ 1374735 w 1493481"/>
              <a:gd name="connsiteY2085" fmla="*/ 401595 h 1734136"/>
              <a:gd name="connsiteX2086" fmla="*/ 1372451 w 1493481"/>
              <a:gd name="connsiteY2086" fmla="*/ 401595 h 1734136"/>
              <a:gd name="connsiteX2087" fmla="*/ 1372451 w 1493481"/>
              <a:gd name="connsiteY2087" fmla="*/ 403877 h 1734136"/>
              <a:gd name="connsiteX2088" fmla="*/ 1372451 w 1493481"/>
              <a:gd name="connsiteY2088" fmla="*/ 406158 h 1734136"/>
              <a:gd name="connsiteX2089" fmla="*/ 1372451 w 1493481"/>
              <a:gd name="connsiteY2089" fmla="*/ 408440 h 1734136"/>
              <a:gd name="connsiteX2090" fmla="*/ 1372451 w 1493481"/>
              <a:gd name="connsiteY2090" fmla="*/ 410722 h 1734136"/>
              <a:gd name="connsiteX2091" fmla="*/ 1370167 w 1493481"/>
              <a:gd name="connsiteY2091" fmla="*/ 410722 h 1734136"/>
              <a:gd name="connsiteX2092" fmla="*/ 1370167 w 1493481"/>
              <a:gd name="connsiteY2092" fmla="*/ 413004 h 1734136"/>
              <a:gd name="connsiteX2093" fmla="*/ 1370167 w 1493481"/>
              <a:gd name="connsiteY2093" fmla="*/ 415286 h 1734136"/>
              <a:gd name="connsiteX2094" fmla="*/ 1370167 w 1493481"/>
              <a:gd name="connsiteY2094" fmla="*/ 417568 h 1734136"/>
              <a:gd name="connsiteX2095" fmla="*/ 1370167 w 1493481"/>
              <a:gd name="connsiteY2095" fmla="*/ 419850 h 1734136"/>
              <a:gd name="connsiteX2096" fmla="*/ 1367884 w 1493481"/>
              <a:gd name="connsiteY2096" fmla="*/ 422132 h 1734136"/>
              <a:gd name="connsiteX2097" fmla="*/ 1367884 w 1493481"/>
              <a:gd name="connsiteY2097" fmla="*/ 424414 h 1734136"/>
              <a:gd name="connsiteX2098" fmla="*/ 1367884 w 1493481"/>
              <a:gd name="connsiteY2098" fmla="*/ 426695 h 1734136"/>
              <a:gd name="connsiteX2099" fmla="*/ 1367884 w 1493481"/>
              <a:gd name="connsiteY2099" fmla="*/ 428977 h 1734136"/>
              <a:gd name="connsiteX2100" fmla="*/ 1367884 w 1493481"/>
              <a:gd name="connsiteY2100" fmla="*/ 431259 h 1734136"/>
              <a:gd name="connsiteX2101" fmla="*/ 1367884 w 1493481"/>
              <a:gd name="connsiteY2101" fmla="*/ 433541 h 1734136"/>
              <a:gd name="connsiteX2102" fmla="*/ 1365600 w 1493481"/>
              <a:gd name="connsiteY2102" fmla="*/ 433541 h 1734136"/>
              <a:gd name="connsiteX2103" fmla="*/ 1365600 w 1493481"/>
              <a:gd name="connsiteY2103" fmla="*/ 435823 h 1734136"/>
              <a:gd name="connsiteX2104" fmla="*/ 1365600 w 1493481"/>
              <a:gd name="connsiteY2104" fmla="*/ 438105 h 1734136"/>
              <a:gd name="connsiteX2105" fmla="*/ 1365600 w 1493481"/>
              <a:gd name="connsiteY2105" fmla="*/ 440387 h 1734136"/>
              <a:gd name="connsiteX2106" fmla="*/ 1365600 w 1493481"/>
              <a:gd name="connsiteY2106" fmla="*/ 442669 h 1734136"/>
              <a:gd name="connsiteX2107" fmla="*/ 1365600 w 1493481"/>
              <a:gd name="connsiteY2107" fmla="*/ 444951 h 1734136"/>
              <a:gd name="connsiteX2108" fmla="*/ 1363317 w 1493481"/>
              <a:gd name="connsiteY2108" fmla="*/ 447233 h 1734136"/>
              <a:gd name="connsiteX2109" fmla="*/ 1363317 w 1493481"/>
              <a:gd name="connsiteY2109" fmla="*/ 449514 h 1734136"/>
              <a:gd name="connsiteX2110" fmla="*/ 1363317 w 1493481"/>
              <a:gd name="connsiteY2110" fmla="*/ 451796 h 1734136"/>
              <a:gd name="connsiteX2111" fmla="*/ 1363317 w 1493481"/>
              <a:gd name="connsiteY2111" fmla="*/ 454069 h 1734136"/>
              <a:gd name="connsiteX2112" fmla="*/ 1363317 w 1493481"/>
              <a:gd name="connsiteY2112" fmla="*/ 456360 h 1734136"/>
              <a:gd name="connsiteX2113" fmla="*/ 1363317 w 1493481"/>
              <a:gd name="connsiteY2113" fmla="*/ 458633 h 1734136"/>
              <a:gd name="connsiteX2114" fmla="*/ 1363317 w 1493481"/>
              <a:gd name="connsiteY2114" fmla="*/ 460914 h 1734136"/>
              <a:gd name="connsiteX2115" fmla="*/ 1363317 w 1493481"/>
              <a:gd name="connsiteY2115" fmla="*/ 463196 h 1734136"/>
              <a:gd name="connsiteX2116" fmla="*/ 1363317 w 1493481"/>
              <a:gd name="connsiteY2116" fmla="*/ 465478 h 1734136"/>
              <a:gd name="connsiteX2117" fmla="*/ 1363317 w 1493481"/>
              <a:gd name="connsiteY2117" fmla="*/ 467760 h 1734136"/>
              <a:gd name="connsiteX2118" fmla="*/ 1363317 w 1493481"/>
              <a:gd name="connsiteY2118" fmla="*/ 470042 h 1734136"/>
              <a:gd name="connsiteX2119" fmla="*/ 1363317 w 1493481"/>
              <a:gd name="connsiteY2119" fmla="*/ 472324 h 1734136"/>
              <a:gd name="connsiteX2120" fmla="*/ 1363317 w 1493481"/>
              <a:gd name="connsiteY2120" fmla="*/ 474606 h 1734136"/>
              <a:gd name="connsiteX2121" fmla="*/ 1363317 w 1493481"/>
              <a:gd name="connsiteY2121" fmla="*/ 476888 h 1734136"/>
              <a:gd name="connsiteX2122" fmla="*/ 1363317 w 1493481"/>
              <a:gd name="connsiteY2122" fmla="*/ 479170 h 1734136"/>
              <a:gd name="connsiteX2123" fmla="*/ 1361033 w 1493481"/>
              <a:gd name="connsiteY2123" fmla="*/ 479170 h 1734136"/>
              <a:gd name="connsiteX2124" fmla="*/ 1361033 w 1493481"/>
              <a:gd name="connsiteY2124" fmla="*/ 481451 h 1734136"/>
              <a:gd name="connsiteX2125" fmla="*/ 1361033 w 1493481"/>
              <a:gd name="connsiteY2125" fmla="*/ 483733 h 1734136"/>
              <a:gd name="connsiteX2126" fmla="*/ 1361033 w 1493481"/>
              <a:gd name="connsiteY2126" fmla="*/ 486015 h 1734136"/>
              <a:gd name="connsiteX2127" fmla="*/ 1361033 w 1493481"/>
              <a:gd name="connsiteY2127" fmla="*/ 488297 h 1734136"/>
              <a:gd name="connsiteX2128" fmla="*/ 1358749 w 1493481"/>
              <a:gd name="connsiteY2128" fmla="*/ 488297 h 1734136"/>
              <a:gd name="connsiteX2129" fmla="*/ 1358749 w 1493481"/>
              <a:gd name="connsiteY2129" fmla="*/ 490579 h 1734136"/>
              <a:gd name="connsiteX2130" fmla="*/ 1358749 w 1493481"/>
              <a:gd name="connsiteY2130" fmla="*/ 492861 h 1734136"/>
              <a:gd name="connsiteX2131" fmla="*/ 1358749 w 1493481"/>
              <a:gd name="connsiteY2131" fmla="*/ 495143 h 1734136"/>
              <a:gd name="connsiteX2132" fmla="*/ 1358749 w 1493481"/>
              <a:gd name="connsiteY2132" fmla="*/ 497425 h 1734136"/>
              <a:gd name="connsiteX2133" fmla="*/ 1356465 w 1493481"/>
              <a:gd name="connsiteY2133" fmla="*/ 497425 h 1734136"/>
              <a:gd name="connsiteX2134" fmla="*/ 1356465 w 1493481"/>
              <a:gd name="connsiteY2134" fmla="*/ 499707 h 1734136"/>
              <a:gd name="connsiteX2135" fmla="*/ 1356465 w 1493481"/>
              <a:gd name="connsiteY2135" fmla="*/ 501988 h 1734136"/>
              <a:gd name="connsiteX2136" fmla="*/ 1356465 w 1493481"/>
              <a:gd name="connsiteY2136" fmla="*/ 504271 h 1734136"/>
              <a:gd name="connsiteX2137" fmla="*/ 1354182 w 1493481"/>
              <a:gd name="connsiteY2137" fmla="*/ 504271 h 1734136"/>
              <a:gd name="connsiteX2138" fmla="*/ 1354182 w 1493481"/>
              <a:gd name="connsiteY2138" fmla="*/ 506552 h 1734136"/>
              <a:gd name="connsiteX2139" fmla="*/ 1354182 w 1493481"/>
              <a:gd name="connsiteY2139" fmla="*/ 508834 h 1734136"/>
              <a:gd name="connsiteX2140" fmla="*/ 1354182 w 1493481"/>
              <a:gd name="connsiteY2140" fmla="*/ 511116 h 1734136"/>
              <a:gd name="connsiteX2141" fmla="*/ 1354182 w 1493481"/>
              <a:gd name="connsiteY2141" fmla="*/ 513398 h 1734136"/>
              <a:gd name="connsiteX2142" fmla="*/ 1351898 w 1493481"/>
              <a:gd name="connsiteY2142" fmla="*/ 515680 h 1734136"/>
              <a:gd name="connsiteX2143" fmla="*/ 1351898 w 1493481"/>
              <a:gd name="connsiteY2143" fmla="*/ 517962 h 1734136"/>
              <a:gd name="connsiteX2144" fmla="*/ 1351898 w 1493481"/>
              <a:gd name="connsiteY2144" fmla="*/ 520244 h 1734136"/>
              <a:gd name="connsiteX2145" fmla="*/ 1351898 w 1493481"/>
              <a:gd name="connsiteY2145" fmla="*/ 522526 h 1734136"/>
              <a:gd name="connsiteX2146" fmla="*/ 1351898 w 1493481"/>
              <a:gd name="connsiteY2146" fmla="*/ 524808 h 1734136"/>
              <a:gd name="connsiteX2147" fmla="*/ 1349615 w 1493481"/>
              <a:gd name="connsiteY2147" fmla="*/ 524808 h 1734136"/>
              <a:gd name="connsiteX2148" fmla="*/ 1349615 w 1493481"/>
              <a:gd name="connsiteY2148" fmla="*/ 527089 h 1734136"/>
              <a:gd name="connsiteX2149" fmla="*/ 1349615 w 1493481"/>
              <a:gd name="connsiteY2149" fmla="*/ 529371 h 1734136"/>
              <a:gd name="connsiteX2150" fmla="*/ 1349615 w 1493481"/>
              <a:gd name="connsiteY2150" fmla="*/ 531653 h 1734136"/>
              <a:gd name="connsiteX2151" fmla="*/ 1349615 w 1493481"/>
              <a:gd name="connsiteY2151" fmla="*/ 533935 h 1734136"/>
              <a:gd name="connsiteX2152" fmla="*/ 1347331 w 1493481"/>
              <a:gd name="connsiteY2152" fmla="*/ 533935 h 1734136"/>
              <a:gd name="connsiteX2153" fmla="*/ 1347331 w 1493481"/>
              <a:gd name="connsiteY2153" fmla="*/ 536217 h 1734136"/>
              <a:gd name="connsiteX2154" fmla="*/ 1347331 w 1493481"/>
              <a:gd name="connsiteY2154" fmla="*/ 538499 h 1734136"/>
              <a:gd name="connsiteX2155" fmla="*/ 1347331 w 1493481"/>
              <a:gd name="connsiteY2155" fmla="*/ 540781 h 1734136"/>
              <a:gd name="connsiteX2156" fmla="*/ 1347331 w 1493481"/>
              <a:gd name="connsiteY2156" fmla="*/ 543063 h 1734136"/>
              <a:gd name="connsiteX2157" fmla="*/ 1347331 w 1493481"/>
              <a:gd name="connsiteY2157" fmla="*/ 545344 h 1734136"/>
              <a:gd name="connsiteX2158" fmla="*/ 1347331 w 1493481"/>
              <a:gd name="connsiteY2158" fmla="*/ 547627 h 1734136"/>
              <a:gd name="connsiteX2159" fmla="*/ 1347331 w 1493481"/>
              <a:gd name="connsiteY2159" fmla="*/ 549908 h 1734136"/>
              <a:gd name="connsiteX2160" fmla="*/ 1347331 w 1493481"/>
              <a:gd name="connsiteY2160" fmla="*/ 552190 h 1734136"/>
              <a:gd name="connsiteX2161" fmla="*/ 1347331 w 1493481"/>
              <a:gd name="connsiteY2161" fmla="*/ 554472 h 1734136"/>
              <a:gd name="connsiteX2162" fmla="*/ 1345047 w 1493481"/>
              <a:gd name="connsiteY2162" fmla="*/ 554472 h 1734136"/>
              <a:gd name="connsiteX2163" fmla="*/ 1345047 w 1493481"/>
              <a:gd name="connsiteY2163" fmla="*/ 556754 h 1734136"/>
              <a:gd name="connsiteX2164" fmla="*/ 1345047 w 1493481"/>
              <a:gd name="connsiteY2164" fmla="*/ 559036 h 1734136"/>
              <a:gd name="connsiteX2165" fmla="*/ 1345047 w 1493481"/>
              <a:gd name="connsiteY2165" fmla="*/ 561318 h 1734136"/>
              <a:gd name="connsiteX2166" fmla="*/ 1342764 w 1493481"/>
              <a:gd name="connsiteY2166" fmla="*/ 561318 h 1734136"/>
              <a:gd name="connsiteX2167" fmla="*/ 1342764 w 1493481"/>
              <a:gd name="connsiteY2167" fmla="*/ 563600 h 1734136"/>
              <a:gd name="connsiteX2168" fmla="*/ 1342764 w 1493481"/>
              <a:gd name="connsiteY2168" fmla="*/ 565882 h 1734136"/>
              <a:gd name="connsiteX2169" fmla="*/ 1340480 w 1493481"/>
              <a:gd name="connsiteY2169" fmla="*/ 568164 h 1734136"/>
              <a:gd name="connsiteX2170" fmla="*/ 1340480 w 1493481"/>
              <a:gd name="connsiteY2170" fmla="*/ 570445 h 1734136"/>
              <a:gd name="connsiteX2171" fmla="*/ 1340480 w 1493481"/>
              <a:gd name="connsiteY2171" fmla="*/ 572727 h 1734136"/>
              <a:gd name="connsiteX2172" fmla="*/ 1338197 w 1493481"/>
              <a:gd name="connsiteY2172" fmla="*/ 572727 h 1734136"/>
              <a:gd name="connsiteX2173" fmla="*/ 1338197 w 1493481"/>
              <a:gd name="connsiteY2173" fmla="*/ 575009 h 1734136"/>
              <a:gd name="connsiteX2174" fmla="*/ 1338197 w 1493481"/>
              <a:gd name="connsiteY2174" fmla="*/ 577291 h 1734136"/>
              <a:gd name="connsiteX2175" fmla="*/ 1335913 w 1493481"/>
              <a:gd name="connsiteY2175" fmla="*/ 577291 h 1734136"/>
              <a:gd name="connsiteX2176" fmla="*/ 1335913 w 1493481"/>
              <a:gd name="connsiteY2176" fmla="*/ 579573 h 1734136"/>
              <a:gd name="connsiteX2177" fmla="*/ 1333630 w 1493481"/>
              <a:gd name="connsiteY2177" fmla="*/ 581855 h 1734136"/>
              <a:gd name="connsiteX2178" fmla="*/ 1333630 w 1493481"/>
              <a:gd name="connsiteY2178" fmla="*/ 584137 h 1734136"/>
              <a:gd name="connsiteX2179" fmla="*/ 1331346 w 1493481"/>
              <a:gd name="connsiteY2179" fmla="*/ 584137 h 1734136"/>
              <a:gd name="connsiteX2180" fmla="*/ 1331346 w 1493481"/>
              <a:gd name="connsiteY2180" fmla="*/ 586419 h 1734136"/>
              <a:gd name="connsiteX2181" fmla="*/ 1331346 w 1493481"/>
              <a:gd name="connsiteY2181" fmla="*/ 588701 h 1734136"/>
              <a:gd name="connsiteX2182" fmla="*/ 1329062 w 1493481"/>
              <a:gd name="connsiteY2182" fmla="*/ 588701 h 1734136"/>
              <a:gd name="connsiteX2183" fmla="*/ 1329062 w 1493481"/>
              <a:gd name="connsiteY2183" fmla="*/ 590983 h 1734136"/>
              <a:gd name="connsiteX2184" fmla="*/ 1329062 w 1493481"/>
              <a:gd name="connsiteY2184" fmla="*/ 593264 h 1734136"/>
              <a:gd name="connsiteX2185" fmla="*/ 1326779 w 1493481"/>
              <a:gd name="connsiteY2185" fmla="*/ 593264 h 1734136"/>
              <a:gd name="connsiteX2186" fmla="*/ 1326779 w 1493481"/>
              <a:gd name="connsiteY2186" fmla="*/ 595546 h 1734136"/>
              <a:gd name="connsiteX2187" fmla="*/ 1326779 w 1493481"/>
              <a:gd name="connsiteY2187" fmla="*/ 597828 h 1734136"/>
              <a:gd name="connsiteX2188" fmla="*/ 1324495 w 1493481"/>
              <a:gd name="connsiteY2188" fmla="*/ 597828 h 1734136"/>
              <a:gd name="connsiteX2189" fmla="*/ 1324495 w 1493481"/>
              <a:gd name="connsiteY2189" fmla="*/ 600110 h 1734136"/>
              <a:gd name="connsiteX2190" fmla="*/ 1322212 w 1493481"/>
              <a:gd name="connsiteY2190" fmla="*/ 600110 h 1734136"/>
              <a:gd name="connsiteX2191" fmla="*/ 1322212 w 1493481"/>
              <a:gd name="connsiteY2191" fmla="*/ 602392 h 1734136"/>
              <a:gd name="connsiteX2192" fmla="*/ 1322212 w 1493481"/>
              <a:gd name="connsiteY2192" fmla="*/ 604674 h 1734136"/>
              <a:gd name="connsiteX2193" fmla="*/ 1319928 w 1493481"/>
              <a:gd name="connsiteY2193" fmla="*/ 606956 h 1734136"/>
              <a:gd name="connsiteX2194" fmla="*/ 1319928 w 1493481"/>
              <a:gd name="connsiteY2194" fmla="*/ 609238 h 1734136"/>
              <a:gd name="connsiteX2195" fmla="*/ 1317645 w 1493481"/>
              <a:gd name="connsiteY2195" fmla="*/ 609238 h 1734136"/>
              <a:gd name="connsiteX2196" fmla="*/ 1317645 w 1493481"/>
              <a:gd name="connsiteY2196" fmla="*/ 611510 h 1734136"/>
              <a:gd name="connsiteX2197" fmla="*/ 1317645 w 1493481"/>
              <a:gd name="connsiteY2197" fmla="*/ 613792 h 1734136"/>
              <a:gd name="connsiteX2198" fmla="*/ 1315361 w 1493481"/>
              <a:gd name="connsiteY2198" fmla="*/ 613792 h 1734136"/>
              <a:gd name="connsiteX2199" fmla="*/ 1315361 w 1493481"/>
              <a:gd name="connsiteY2199" fmla="*/ 616074 h 1734136"/>
              <a:gd name="connsiteX2200" fmla="*/ 1315361 w 1493481"/>
              <a:gd name="connsiteY2200" fmla="*/ 613792 h 1734136"/>
              <a:gd name="connsiteX2201" fmla="*/ 1315361 w 1493481"/>
              <a:gd name="connsiteY2201" fmla="*/ 616074 h 1734136"/>
              <a:gd name="connsiteX2202" fmla="*/ 1315361 w 1493481"/>
              <a:gd name="connsiteY2202" fmla="*/ 618356 h 1734136"/>
              <a:gd name="connsiteX2203" fmla="*/ 1313077 w 1493481"/>
              <a:gd name="connsiteY2203" fmla="*/ 618356 h 1734136"/>
              <a:gd name="connsiteX2204" fmla="*/ 1313077 w 1493481"/>
              <a:gd name="connsiteY2204" fmla="*/ 620638 h 1734136"/>
              <a:gd name="connsiteX2205" fmla="*/ 1310794 w 1493481"/>
              <a:gd name="connsiteY2205" fmla="*/ 620638 h 1734136"/>
              <a:gd name="connsiteX2206" fmla="*/ 1310794 w 1493481"/>
              <a:gd name="connsiteY2206" fmla="*/ 622920 h 1734136"/>
              <a:gd name="connsiteX2207" fmla="*/ 1310794 w 1493481"/>
              <a:gd name="connsiteY2207" fmla="*/ 625201 h 1734136"/>
              <a:gd name="connsiteX2208" fmla="*/ 1308510 w 1493481"/>
              <a:gd name="connsiteY2208" fmla="*/ 625201 h 1734136"/>
              <a:gd name="connsiteX2209" fmla="*/ 1308510 w 1493481"/>
              <a:gd name="connsiteY2209" fmla="*/ 627483 h 1734136"/>
              <a:gd name="connsiteX2210" fmla="*/ 1306227 w 1493481"/>
              <a:gd name="connsiteY2210" fmla="*/ 629765 h 1734136"/>
              <a:gd name="connsiteX2211" fmla="*/ 1306227 w 1493481"/>
              <a:gd name="connsiteY2211" fmla="*/ 632047 h 1734136"/>
              <a:gd name="connsiteX2212" fmla="*/ 1303943 w 1493481"/>
              <a:gd name="connsiteY2212" fmla="*/ 632047 h 1734136"/>
              <a:gd name="connsiteX2213" fmla="*/ 1303943 w 1493481"/>
              <a:gd name="connsiteY2213" fmla="*/ 634329 h 1734136"/>
              <a:gd name="connsiteX2214" fmla="*/ 1301659 w 1493481"/>
              <a:gd name="connsiteY2214" fmla="*/ 636611 h 1734136"/>
              <a:gd name="connsiteX2215" fmla="*/ 1301659 w 1493481"/>
              <a:gd name="connsiteY2215" fmla="*/ 638893 h 1734136"/>
              <a:gd name="connsiteX2216" fmla="*/ 1299376 w 1493481"/>
              <a:gd name="connsiteY2216" fmla="*/ 638893 h 1734136"/>
              <a:gd name="connsiteX2217" fmla="*/ 1299376 w 1493481"/>
              <a:gd name="connsiteY2217" fmla="*/ 641175 h 1734136"/>
              <a:gd name="connsiteX2218" fmla="*/ 1299376 w 1493481"/>
              <a:gd name="connsiteY2218" fmla="*/ 643456 h 1734136"/>
              <a:gd name="connsiteX2219" fmla="*/ 1297092 w 1493481"/>
              <a:gd name="connsiteY2219" fmla="*/ 643456 h 1734136"/>
              <a:gd name="connsiteX2220" fmla="*/ 1297092 w 1493481"/>
              <a:gd name="connsiteY2220" fmla="*/ 645739 h 1734136"/>
              <a:gd name="connsiteX2221" fmla="*/ 1297092 w 1493481"/>
              <a:gd name="connsiteY2221" fmla="*/ 648020 h 1734136"/>
              <a:gd name="connsiteX2222" fmla="*/ 1294809 w 1493481"/>
              <a:gd name="connsiteY2222" fmla="*/ 648020 h 1734136"/>
              <a:gd name="connsiteX2223" fmla="*/ 1294809 w 1493481"/>
              <a:gd name="connsiteY2223" fmla="*/ 650302 h 1734136"/>
              <a:gd name="connsiteX2224" fmla="*/ 1294809 w 1493481"/>
              <a:gd name="connsiteY2224" fmla="*/ 652584 h 1734136"/>
              <a:gd name="connsiteX2225" fmla="*/ 1294809 w 1493481"/>
              <a:gd name="connsiteY2225" fmla="*/ 654866 h 1734136"/>
              <a:gd name="connsiteX2226" fmla="*/ 1292525 w 1493481"/>
              <a:gd name="connsiteY2226" fmla="*/ 654866 h 1734136"/>
              <a:gd name="connsiteX2227" fmla="*/ 1292525 w 1493481"/>
              <a:gd name="connsiteY2227" fmla="*/ 657148 h 1734136"/>
              <a:gd name="connsiteX2228" fmla="*/ 1292525 w 1493481"/>
              <a:gd name="connsiteY2228" fmla="*/ 659430 h 1734136"/>
              <a:gd name="connsiteX2229" fmla="*/ 1292525 w 1493481"/>
              <a:gd name="connsiteY2229" fmla="*/ 661712 h 1734136"/>
              <a:gd name="connsiteX2230" fmla="*/ 1292525 w 1493481"/>
              <a:gd name="connsiteY2230" fmla="*/ 663994 h 1734136"/>
              <a:gd name="connsiteX2231" fmla="*/ 1294809 w 1493481"/>
              <a:gd name="connsiteY2231" fmla="*/ 666276 h 1734136"/>
              <a:gd name="connsiteX2232" fmla="*/ 1292525 w 1493481"/>
              <a:gd name="connsiteY2232" fmla="*/ 666276 h 1734136"/>
              <a:gd name="connsiteX2233" fmla="*/ 1292525 w 1493481"/>
              <a:gd name="connsiteY2233" fmla="*/ 668557 h 1734136"/>
              <a:gd name="connsiteX2234" fmla="*/ 1292525 w 1493481"/>
              <a:gd name="connsiteY2234" fmla="*/ 670839 h 1734136"/>
              <a:gd name="connsiteX2235" fmla="*/ 1292525 w 1493481"/>
              <a:gd name="connsiteY2235" fmla="*/ 673121 h 1734136"/>
              <a:gd name="connsiteX2236" fmla="*/ 1292525 w 1493481"/>
              <a:gd name="connsiteY2236" fmla="*/ 675403 h 1734136"/>
              <a:gd name="connsiteX2237" fmla="*/ 1290242 w 1493481"/>
              <a:gd name="connsiteY2237" fmla="*/ 675403 h 1734136"/>
              <a:gd name="connsiteX2238" fmla="*/ 1290242 w 1493481"/>
              <a:gd name="connsiteY2238" fmla="*/ 677685 h 1734136"/>
              <a:gd name="connsiteX2239" fmla="*/ 1290242 w 1493481"/>
              <a:gd name="connsiteY2239" fmla="*/ 679967 h 1734136"/>
              <a:gd name="connsiteX2240" fmla="*/ 1290242 w 1493481"/>
              <a:gd name="connsiteY2240" fmla="*/ 682249 h 1734136"/>
              <a:gd name="connsiteX2241" fmla="*/ 1290242 w 1493481"/>
              <a:gd name="connsiteY2241" fmla="*/ 684531 h 1734136"/>
              <a:gd name="connsiteX2242" fmla="*/ 1290242 w 1493481"/>
              <a:gd name="connsiteY2242" fmla="*/ 686813 h 1734136"/>
              <a:gd name="connsiteX2243" fmla="*/ 1287957 w 1493481"/>
              <a:gd name="connsiteY2243" fmla="*/ 686813 h 1734136"/>
              <a:gd name="connsiteX2244" fmla="*/ 1287957 w 1493481"/>
              <a:gd name="connsiteY2244" fmla="*/ 689095 h 1734136"/>
              <a:gd name="connsiteX2245" fmla="*/ 1287957 w 1493481"/>
              <a:gd name="connsiteY2245" fmla="*/ 691376 h 1734136"/>
              <a:gd name="connsiteX2246" fmla="*/ 1287957 w 1493481"/>
              <a:gd name="connsiteY2246" fmla="*/ 693658 h 1734136"/>
              <a:gd name="connsiteX2247" fmla="*/ 1287957 w 1493481"/>
              <a:gd name="connsiteY2247" fmla="*/ 695940 h 1734136"/>
              <a:gd name="connsiteX2248" fmla="*/ 1285674 w 1493481"/>
              <a:gd name="connsiteY2248" fmla="*/ 695940 h 1734136"/>
              <a:gd name="connsiteX2249" fmla="*/ 1285674 w 1493481"/>
              <a:gd name="connsiteY2249" fmla="*/ 698222 h 1734136"/>
              <a:gd name="connsiteX2250" fmla="*/ 1285674 w 1493481"/>
              <a:gd name="connsiteY2250" fmla="*/ 700504 h 1734136"/>
              <a:gd name="connsiteX2251" fmla="*/ 1285674 w 1493481"/>
              <a:gd name="connsiteY2251" fmla="*/ 702786 h 1734136"/>
              <a:gd name="connsiteX2252" fmla="*/ 1283390 w 1493481"/>
              <a:gd name="connsiteY2252" fmla="*/ 702786 h 1734136"/>
              <a:gd name="connsiteX2253" fmla="*/ 1283390 w 1493481"/>
              <a:gd name="connsiteY2253" fmla="*/ 705068 h 1734136"/>
              <a:gd name="connsiteX2254" fmla="*/ 1283390 w 1493481"/>
              <a:gd name="connsiteY2254" fmla="*/ 707350 h 1734136"/>
              <a:gd name="connsiteX2255" fmla="*/ 1281107 w 1493481"/>
              <a:gd name="connsiteY2255" fmla="*/ 709632 h 1734136"/>
              <a:gd name="connsiteX2256" fmla="*/ 1281107 w 1493481"/>
              <a:gd name="connsiteY2256" fmla="*/ 711913 h 1734136"/>
              <a:gd name="connsiteX2257" fmla="*/ 1281107 w 1493481"/>
              <a:gd name="connsiteY2257" fmla="*/ 714195 h 1734136"/>
              <a:gd name="connsiteX2258" fmla="*/ 1278823 w 1493481"/>
              <a:gd name="connsiteY2258" fmla="*/ 714195 h 1734136"/>
              <a:gd name="connsiteX2259" fmla="*/ 1278823 w 1493481"/>
              <a:gd name="connsiteY2259" fmla="*/ 716477 h 1734136"/>
              <a:gd name="connsiteX2260" fmla="*/ 1276540 w 1493481"/>
              <a:gd name="connsiteY2260" fmla="*/ 716477 h 1734136"/>
              <a:gd name="connsiteX2261" fmla="*/ 1276540 w 1493481"/>
              <a:gd name="connsiteY2261" fmla="*/ 718759 h 1734136"/>
              <a:gd name="connsiteX2262" fmla="*/ 1276540 w 1493481"/>
              <a:gd name="connsiteY2262" fmla="*/ 721041 h 1734136"/>
              <a:gd name="connsiteX2263" fmla="*/ 1274256 w 1493481"/>
              <a:gd name="connsiteY2263" fmla="*/ 721041 h 1734136"/>
              <a:gd name="connsiteX2264" fmla="*/ 1274256 w 1493481"/>
              <a:gd name="connsiteY2264" fmla="*/ 723323 h 1734136"/>
              <a:gd name="connsiteX2265" fmla="*/ 1271972 w 1493481"/>
              <a:gd name="connsiteY2265" fmla="*/ 723323 h 1734136"/>
              <a:gd name="connsiteX2266" fmla="*/ 1271972 w 1493481"/>
              <a:gd name="connsiteY2266" fmla="*/ 725605 h 1734136"/>
              <a:gd name="connsiteX2267" fmla="*/ 1269689 w 1493481"/>
              <a:gd name="connsiteY2267" fmla="*/ 727887 h 1734136"/>
              <a:gd name="connsiteX2268" fmla="*/ 1269689 w 1493481"/>
              <a:gd name="connsiteY2268" fmla="*/ 730169 h 1734136"/>
              <a:gd name="connsiteX2269" fmla="*/ 1267405 w 1493481"/>
              <a:gd name="connsiteY2269" fmla="*/ 730169 h 1734136"/>
              <a:gd name="connsiteX2270" fmla="*/ 1267405 w 1493481"/>
              <a:gd name="connsiteY2270" fmla="*/ 732451 h 1734136"/>
              <a:gd name="connsiteX2271" fmla="*/ 1265122 w 1493481"/>
              <a:gd name="connsiteY2271" fmla="*/ 732451 h 1734136"/>
              <a:gd name="connsiteX2272" fmla="*/ 1265122 w 1493481"/>
              <a:gd name="connsiteY2272" fmla="*/ 734732 h 1734136"/>
              <a:gd name="connsiteX2273" fmla="*/ 1262838 w 1493481"/>
              <a:gd name="connsiteY2273" fmla="*/ 734732 h 1734136"/>
              <a:gd name="connsiteX2274" fmla="*/ 1262838 w 1493481"/>
              <a:gd name="connsiteY2274" fmla="*/ 737014 h 1734136"/>
              <a:gd name="connsiteX2275" fmla="*/ 1260555 w 1493481"/>
              <a:gd name="connsiteY2275" fmla="*/ 737014 h 1734136"/>
              <a:gd name="connsiteX2276" fmla="*/ 1260555 w 1493481"/>
              <a:gd name="connsiteY2276" fmla="*/ 739296 h 1734136"/>
              <a:gd name="connsiteX2277" fmla="*/ 1258271 w 1493481"/>
              <a:gd name="connsiteY2277" fmla="*/ 739296 h 1734136"/>
              <a:gd name="connsiteX2278" fmla="*/ 1255987 w 1493481"/>
              <a:gd name="connsiteY2278" fmla="*/ 741578 h 1734136"/>
              <a:gd name="connsiteX2279" fmla="*/ 1253704 w 1493481"/>
              <a:gd name="connsiteY2279" fmla="*/ 741578 h 1734136"/>
              <a:gd name="connsiteX2280" fmla="*/ 1253704 w 1493481"/>
              <a:gd name="connsiteY2280" fmla="*/ 743860 h 1734136"/>
              <a:gd name="connsiteX2281" fmla="*/ 1251420 w 1493481"/>
              <a:gd name="connsiteY2281" fmla="*/ 743860 h 1734136"/>
              <a:gd name="connsiteX2282" fmla="*/ 1249137 w 1493481"/>
              <a:gd name="connsiteY2282" fmla="*/ 746142 h 1734136"/>
              <a:gd name="connsiteX2283" fmla="*/ 1246853 w 1493481"/>
              <a:gd name="connsiteY2283" fmla="*/ 746142 h 1734136"/>
              <a:gd name="connsiteX2284" fmla="*/ 1246853 w 1493481"/>
              <a:gd name="connsiteY2284" fmla="*/ 748424 h 1734136"/>
              <a:gd name="connsiteX2285" fmla="*/ 1244569 w 1493481"/>
              <a:gd name="connsiteY2285" fmla="*/ 750706 h 1734136"/>
              <a:gd name="connsiteX2286" fmla="*/ 1244569 w 1493481"/>
              <a:gd name="connsiteY2286" fmla="*/ 752988 h 1734136"/>
              <a:gd name="connsiteX2287" fmla="*/ 1242286 w 1493481"/>
              <a:gd name="connsiteY2287" fmla="*/ 752988 h 1734136"/>
              <a:gd name="connsiteX2288" fmla="*/ 1242286 w 1493481"/>
              <a:gd name="connsiteY2288" fmla="*/ 755269 h 1734136"/>
              <a:gd name="connsiteX2289" fmla="*/ 1240002 w 1493481"/>
              <a:gd name="connsiteY2289" fmla="*/ 755269 h 1734136"/>
              <a:gd name="connsiteX2290" fmla="*/ 1240002 w 1493481"/>
              <a:gd name="connsiteY2290" fmla="*/ 757551 h 1734136"/>
              <a:gd name="connsiteX2291" fmla="*/ 1237719 w 1493481"/>
              <a:gd name="connsiteY2291" fmla="*/ 757551 h 1734136"/>
              <a:gd name="connsiteX2292" fmla="*/ 1237719 w 1493481"/>
              <a:gd name="connsiteY2292" fmla="*/ 759824 h 1734136"/>
              <a:gd name="connsiteX2293" fmla="*/ 1235435 w 1493481"/>
              <a:gd name="connsiteY2293" fmla="*/ 759824 h 1734136"/>
              <a:gd name="connsiteX2294" fmla="*/ 1233152 w 1493481"/>
              <a:gd name="connsiteY2294" fmla="*/ 762106 h 1734136"/>
              <a:gd name="connsiteX2295" fmla="*/ 1230868 w 1493481"/>
              <a:gd name="connsiteY2295" fmla="*/ 762106 h 1734136"/>
              <a:gd name="connsiteX2296" fmla="*/ 1230868 w 1493481"/>
              <a:gd name="connsiteY2296" fmla="*/ 764388 h 1734136"/>
              <a:gd name="connsiteX2297" fmla="*/ 1228584 w 1493481"/>
              <a:gd name="connsiteY2297" fmla="*/ 764388 h 1734136"/>
              <a:gd name="connsiteX2298" fmla="*/ 1226301 w 1493481"/>
              <a:gd name="connsiteY2298" fmla="*/ 766669 h 1734136"/>
              <a:gd name="connsiteX2299" fmla="*/ 1224017 w 1493481"/>
              <a:gd name="connsiteY2299" fmla="*/ 766669 h 1734136"/>
              <a:gd name="connsiteX2300" fmla="*/ 1224017 w 1493481"/>
              <a:gd name="connsiteY2300" fmla="*/ 768951 h 1734136"/>
              <a:gd name="connsiteX2301" fmla="*/ 1221734 w 1493481"/>
              <a:gd name="connsiteY2301" fmla="*/ 768951 h 1734136"/>
              <a:gd name="connsiteX2302" fmla="*/ 1219450 w 1493481"/>
              <a:gd name="connsiteY2302" fmla="*/ 771233 h 1734136"/>
              <a:gd name="connsiteX2303" fmla="*/ 1217167 w 1493481"/>
              <a:gd name="connsiteY2303" fmla="*/ 771233 h 1734136"/>
              <a:gd name="connsiteX2304" fmla="*/ 1217167 w 1493481"/>
              <a:gd name="connsiteY2304" fmla="*/ 773515 h 1734136"/>
              <a:gd name="connsiteX2305" fmla="*/ 1214882 w 1493481"/>
              <a:gd name="connsiteY2305" fmla="*/ 775797 h 1734136"/>
              <a:gd name="connsiteX2306" fmla="*/ 1212599 w 1493481"/>
              <a:gd name="connsiteY2306" fmla="*/ 775797 h 1734136"/>
              <a:gd name="connsiteX2307" fmla="*/ 1212599 w 1493481"/>
              <a:gd name="connsiteY2307" fmla="*/ 778079 h 1734136"/>
              <a:gd name="connsiteX2308" fmla="*/ 1210315 w 1493481"/>
              <a:gd name="connsiteY2308" fmla="*/ 778079 h 1734136"/>
              <a:gd name="connsiteX2309" fmla="*/ 1210315 w 1493481"/>
              <a:gd name="connsiteY2309" fmla="*/ 780361 h 1734136"/>
              <a:gd name="connsiteX2310" fmla="*/ 1208032 w 1493481"/>
              <a:gd name="connsiteY2310" fmla="*/ 782643 h 1734136"/>
              <a:gd name="connsiteX2311" fmla="*/ 1205748 w 1493481"/>
              <a:gd name="connsiteY2311" fmla="*/ 784925 h 1734136"/>
              <a:gd name="connsiteX2312" fmla="*/ 1205748 w 1493481"/>
              <a:gd name="connsiteY2312" fmla="*/ 787207 h 1734136"/>
              <a:gd name="connsiteX2313" fmla="*/ 1203465 w 1493481"/>
              <a:gd name="connsiteY2313" fmla="*/ 787207 h 1734136"/>
              <a:gd name="connsiteX2314" fmla="*/ 1201181 w 1493481"/>
              <a:gd name="connsiteY2314" fmla="*/ 789488 h 1734136"/>
              <a:gd name="connsiteX2315" fmla="*/ 1198897 w 1493481"/>
              <a:gd name="connsiteY2315" fmla="*/ 791770 h 1734136"/>
              <a:gd name="connsiteX2316" fmla="*/ 1196614 w 1493481"/>
              <a:gd name="connsiteY2316" fmla="*/ 794052 h 1734136"/>
              <a:gd name="connsiteX2317" fmla="*/ 1194330 w 1493481"/>
              <a:gd name="connsiteY2317" fmla="*/ 794052 h 1734136"/>
              <a:gd name="connsiteX2318" fmla="*/ 1194330 w 1493481"/>
              <a:gd name="connsiteY2318" fmla="*/ 796334 h 1734136"/>
              <a:gd name="connsiteX2319" fmla="*/ 1192047 w 1493481"/>
              <a:gd name="connsiteY2319" fmla="*/ 796334 h 1734136"/>
              <a:gd name="connsiteX2320" fmla="*/ 1192047 w 1493481"/>
              <a:gd name="connsiteY2320" fmla="*/ 798616 h 1734136"/>
              <a:gd name="connsiteX2321" fmla="*/ 1189763 w 1493481"/>
              <a:gd name="connsiteY2321" fmla="*/ 798616 h 1734136"/>
              <a:gd name="connsiteX2322" fmla="*/ 1189763 w 1493481"/>
              <a:gd name="connsiteY2322" fmla="*/ 800898 h 1734136"/>
              <a:gd name="connsiteX2323" fmla="*/ 1187479 w 1493481"/>
              <a:gd name="connsiteY2323" fmla="*/ 800898 h 1734136"/>
              <a:gd name="connsiteX2324" fmla="*/ 1187479 w 1493481"/>
              <a:gd name="connsiteY2324" fmla="*/ 803180 h 1734136"/>
              <a:gd name="connsiteX2325" fmla="*/ 1185196 w 1493481"/>
              <a:gd name="connsiteY2325" fmla="*/ 803180 h 1734136"/>
              <a:gd name="connsiteX2326" fmla="*/ 1185196 w 1493481"/>
              <a:gd name="connsiteY2326" fmla="*/ 805462 h 1734136"/>
              <a:gd name="connsiteX2327" fmla="*/ 1182912 w 1493481"/>
              <a:gd name="connsiteY2327" fmla="*/ 805462 h 1734136"/>
              <a:gd name="connsiteX2328" fmla="*/ 1182912 w 1493481"/>
              <a:gd name="connsiteY2328" fmla="*/ 807744 h 1734136"/>
              <a:gd name="connsiteX2329" fmla="*/ 1180629 w 1493481"/>
              <a:gd name="connsiteY2329" fmla="*/ 807744 h 1734136"/>
              <a:gd name="connsiteX2330" fmla="*/ 1180629 w 1493481"/>
              <a:gd name="connsiteY2330" fmla="*/ 810025 h 1734136"/>
              <a:gd name="connsiteX2331" fmla="*/ 1178345 w 1493481"/>
              <a:gd name="connsiteY2331" fmla="*/ 810025 h 1734136"/>
              <a:gd name="connsiteX2332" fmla="*/ 1178345 w 1493481"/>
              <a:gd name="connsiteY2332" fmla="*/ 812307 h 1734136"/>
              <a:gd name="connsiteX2333" fmla="*/ 1176062 w 1493481"/>
              <a:gd name="connsiteY2333" fmla="*/ 812307 h 1734136"/>
              <a:gd name="connsiteX2334" fmla="*/ 1176062 w 1493481"/>
              <a:gd name="connsiteY2334" fmla="*/ 814589 h 1734136"/>
              <a:gd name="connsiteX2335" fmla="*/ 1173778 w 1493481"/>
              <a:gd name="connsiteY2335" fmla="*/ 814589 h 1734136"/>
              <a:gd name="connsiteX2336" fmla="*/ 1173778 w 1493481"/>
              <a:gd name="connsiteY2336" fmla="*/ 816871 h 1734136"/>
              <a:gd name="connsiteX2337" fmla="*/ 1171494 w 1493481"/>
              <a:gd name="connsiteY2337" fmla="*/ 816871 h 1734136"/>
              <a:gd name="connsiteX2338" fmla="*/ 1169211 w 1493481"/>
              <a:gd name="connsiteY2338" fmla="*/ 816871 h 1734136"/>
              <a:gd name="connsiteX2339" fmla="*/ 1169211 w 1493481"/>
              <a:gd name="connsiteY2339" fmla="*/ 819153 h 1734136"/>
              <a:gd name="connsiteX2340" fmla="*/ 1166927 w 1493481"/>
              <a:gd name="connsiteY2340" fmla="*/ 819153 h 1734136"/>
              <a:gd name="connsiteX2341" fmla="*/ 1166927 w 1493481"/>
              <a:gd name="connsiteY2341" fmla="*/ 821435 h 1734136"/>
              <a:gd name="connsiteX2342" fmla="*/ 1164644 w 1493481"/>
              <a:gd name="connsiteY2342" fmla="*/ 821435 h 1734136"/>
              <a:gd name="connsiteX2343" fmla="*/ 1164644 w 1493481"/>
              <a:gd name="connsiteY2343" fmla="*/ 819153 h 1734136"/>
              <a:gd name="connsiteX2344" fmla="*/ 1162360 w 1493481"/>
              <a:gd name="connsiteY2344" fmla="*/ 819153 h 1734136"/>
              <a:gd name="connsiteX2345" fmla="*/ 1164644 w 1493481"/>
              <a:gd name="connsiteY2345" fmla="*/ 819153 h 1734136"/>
              <a:gd name="connsiteX2346" fmla="*/ 1162360 w 1493481"/>
              <a:gd name="connsiteY2346" fmla="*/ 819153 h 1734136"/>
              <a:gd name="connsiteX2347" fmla="*/ 1162360 w 1493481"/>
              <a:gd name="connsiteY2347" fmla="*/ 816871 h 1734136"/>
              <a:gd name="connsiteX2348" fmla="*/ 1162360 w 1493481"/>
              <a:gd name="connsiteY2348" fmla="*/ 819153 h 1734136"/>
              <a:gd name="connsiteX2349" fmla="*/ 1164644 w 1493481"/>
              <a:gd name="connsiteY2349" fmla="*/ 819153 h 1734136"/>
              <a:gd name="connsiteX2350" fmla="*/ 1164644 w 1493481"/>
              <a:gd name="connsiteY2350" fmla="*/ 816871 h 1734136"/>
              <a:gd name="connsiteX2351" fmla="*/ 1162360 w 1493481"/>
              <a:gd name="connsiteY2351" fmla="*/ 816871 h 1734136"/>
              <a:gd name="connsiteX2352" fmla="*/ 1162360 w 1493481"/>
              <a:gd name="connsiteY2352" fmla="*/ 814589 h 1734136"/>
              <a:gd name="connsiteX2353" fmla="*/ 1160077 w 1493481"/>
              <a:gd name="connsiteY2353" fmla="*/ 814589 h 1734136"/>
              <a:gd name="connsiteX2354" fmla="*/ 1160077 w 1493481"/>
              <a:gd name="connsiteY2354" fmla="*/ 816871 h 1734136"/>
              <a:gd name="connsiteX2355" fmla="*/ 1162360 w 1493481"/>
              <a:gd name="connsiteY2355" fmla="*/ 816871 h 1734136"/>
              <a:gd name="connsiteX2356" fmla="*/ 1160077 w 1493481"/>
              <a:gd name="connsiteY2356" fmla="*/ 816871 h 1734136"/>
              <a:gd name="connsiteX2357" fmla="*/ 1162360 w 1493481"/>
              <a:gd name="connsiteY2357" fmla="*/ 819153 h 1734136"/>
              <a:gd name="connsiteX2358" fmla="*/ 1160077 w 1493481"/>
              <a:gd name="connsiteY2358" fmla="*/ 819153 h 1734136"/>
              <a:gd name="connsiteX2359" fmla="*/ 1160077 w 1493481"/>
              <a:gd name="connsiteY2359" fmla="*/ 821435 h 1734136"/>
              <a:gd name="connsiteX2360" fmla="*/ 1160077 w 1493481"/>
              <a:gd name="connsiteY2360" fmla="*/ 819153 h 1734136"/>
              <a:gd name="connsiteX2361" fmla="*/ 1160077 w 1493481"/>
              <a:gd name="connsiteY2361" fmla="*/ 816871 h 1734136"/>
              <a:gd name="connsiteX2362" fmla="*/ 1160077 w 1493481"/>
              <a:gd name="connsiteY2362" fmla="*/ 819153 h 1734136"/>
              <a:gd name="connsiteX2363" fmla="*/ 1157793 w 1493481"/>
              <a:gd name="connsiteY2363" fmla="*/ 816871 h 1734136"/>
              <a:gd name="connsiteX2364" fmla="*/ 1157793 w 1493481"/>
              <a:gd name="connsiteY2364" fmla="*/ 814589 h 1734136"/>
              <a:gd name="connsiteX2365" fmla="*/ 1157793 w 1493481"/>
              <a:gd name="connsiteY2365" fmla="*/ 816871 h 1734136"/>
              <a:gd name="connsiteX2366" fmla="*/ 1155509 w 1493481"/>
              <a:gd name="connsiteY2366" fmla="*/ 816871 h 1734136"/>
              <a:gd name="connsiteX2367" fmla="*/ 1157793 w 1493481"/>
              <a:gd name="connsiteY2367" fmla="*/ 816871 h 1734136"/>
              <a:gd name="connsiteX2368" fmla="*/ 1155509 w 1493481"/>
              <a:gd name="connsiteY2368" fmla="*/ 816871 h 1734136"/>
              <a:gd name="connsiteX2369" fmla="*/ 1155509 w 1493481"/>
              <a:gd name="connsiteY2369" fmla="*/ 819153 h 1734136"/>
              <a:gd name="connsiteX2370" fmla="*/ 1155509 w 1493481"/>
              <a:gd name="connsiteY2370" fmla="*/ 816871 h 1734136"/>
              <a:gd name="connsiteX2371" fmla="*/ 1157793 w 1493481"/>
              <a:gd name="connsiteY2371" fmla="*/ 816871 h 1734136"/>
              <a:gd name="connsiteX2372" fmla="*/ 1155509 w 1493481"/>
              <a:gd name="connsiteY2372" fmla="*/ 819153 h 1734136"/>
              <a:gd name="connsiteX2373" fmla="*/ 1153226 w 1493481"/>
              <a:gd name="connsiteY2373" fmla="*/ 819153 h 1734136"/>
              <a:gd name="connsiteX2374" fmla="*/ 1153226 w 1493481"/>
              <a:gd name="connsiteY2374" fmla="*/ 816871 h 1734136"/>
              <a:gd name="connsiteX2375" fmla="*/ 1150942 w 1493481"/>
              <a:gd name="connsiteY2375" fmla="*/ 816871 h 1734136"/>
              <a:gd name="connsiteX2376" fmla="*/ 1153226 w 1493481"/>
              <a:gd name="connsiteY2376" fmla="*/ 814589 h 1734136"/>
              <a:gd name="connsiteX2377" fmla="*/ 1150942 w 1493481"/>
              <a:gd name="connsiteY2377" fmla="*/ 814589 h 1734136"/>
              <a:gd name="connsiteX2378" fmla="*/ 1148659 w 1493481"/>
              <a:gd name="connsiteY2378" fmla="*/ 814589 h 1734136"/>
              <a:gd name="connsiteX2379" fmla="*/ 1148659 w 1493481"/>
              <a:gd name="connsiteY2379" fmla="*/ 816871 h 1734136"/>
              <a:gd name="connsiteX2380" fmla="*/ 1148659 w 1493481"/>
              <a:gd name="connsiteY2380" fmla="*/ 814589 h 1734136"/>
              <a:gd name="connsiteX2381" fmla="*/ 1144091 w 1493481"/>
              <a:gd name="connsiteY2381" fmla="*/ 814589 h 1734136"/>
              <a:gd name="connsiteX2382" fmla="*/ 1144091 w 1493481"/>
              <a:gd name="connsiteY2382" fmla="*/ 816871 h 1734136"/>
              <a:gd name="connsiteX2383" fmla="*/ 1141807 w 1493481"/>
              <a:gd name="connsiteY2383" fmla="*/ 814589 h 1734136"/>
              <a:gd name="connsiteX2384" fmla="*/ 1141807 w 1493481"/>
              <a:gd name="connsiteY2384" fmla="*/ 816871 h 1734136"/>
              <a:gd name="connsiteX2385" fmla="*/ 1141807 w 1493481"/>
              <a:gd name="connsiteY2385" fmla="*/ 814589 h 1734136"/>
              <a:gd name="connsiteX2386" fmla="*/ 1141807 w 1493481"/>
              <a:gd name="connsiteY2386" fmla="*/ 816871 h 1734136"/>
              <a:gd name="connsiteX2387" fmla="*/ 1139524 w 1493481"/>
              <a:gd name="connsiteY2387" fmla="*/ 816871 h 1734136"/>
              <a:gd name="connsiteX2388" fmla="*/ 1139524 w 1493481"/>
              <a:gd name="connsiteY2388" fmla="*/ 819153 h 1734136"/>
              <a:gd name="connsiteX2389" fmla="*/ 1139524 w 1493481"/>
              <a:gd name="connsiteY2389" fmla="*/ 821435 h 1734136"/>
              <a:gd name="connsiteX2390" fmla="*/ 1141807 w 1493481"/>
              <a:gd name="connsiteY2390" fmla="*/ 823717 h 1734136"/>
              <a:gd name="connsiteX2391" fmla="*/ 1141807 w 1493481"/>
              <a:gd name="connsiteY2391" fmla="*/ 825999 h 1734136"/>
              <a:gd name="connsiteX2392" fmla="*/ 1144091 w 1493481"/>
              <a:gd name="connsiteY2392" fmla="*/ 825999 h 1734136"/>
              <a:gd name="connsiteX2393" fmla="*/ 1144091 w 1493481"/>
              <a:gd name="connsiteY2393" fmla="*/ 828281 h 1734136"/>
              <a:gd name="connsiteX2394" fmla="*/ 1144091 w 1493481"/>
              <a:gd name="connsiteY2394" fmla="*/ 830563 h 1734136"/>
              <a:gd name="connsiteX2395" fmla="*/ 1146375 w 1493481"/>
              <a:gd name="connsiteY2395" fmla="*/ 830563 h 1734136"/>
              <a:gd name="connsiteX2396" fmla="*/ 1146375 w 1493481"/>
              <a:gd name="connsiteY2396" fmla="*/ 832844 h 1734136"/>
              <a:gd name="connsiteX2397" fmla="*/ 1148659 w 1493481"/>
              <a:gd name="connsiteY2397" fmla="*/ 832844 h 1734136"/>
              <a:gd name="connsiteX2398" fmla="*/ 1148659 w 1493481"/>
              <a:gd name="connsiteY2398" fmla="*/ 830563 h 1734136"/>
              <a:gd name="connsiteX2399" fmla="*/ 1146375 w 1493481"/>
              <a:gd name="connsiteY2399" fmla="*/ 830563 h 1734136"/>
              <a:gd name="connsiteX2400" fmla="*/ 1146375 w 1493481"/>
              <a:gd name="connsiteY2400" fmla="*/ 828281 h 1734136"/>
              <a:gd name="connsiteX2401" fmla="*/ 1148659 w 1493481"/>
              <a:gd name="connsiteY2401" fmla="*/ 828281 h 1734136"/>
              <a:gd name="connsiteX2402" fmla="*/ 1146375 w 1493481"/>
              <a:gd name="connsiteY2402" fmla="*/ 828281 h 1734136"/>
              <a:gd name="connsiteX2403" fmla="*/ 1150942 w 1493481"/>
              <a:gd name="connsiteY2403" fmla="*/ 821435 h 1734136"/>
              <a:gd name="connsiteX2404" fmla="*/ 1150942 w 1493481"/>
              <a:gd name="connsiteY2404" fmla="*/ 823717 h 1734136"/>
              <a:gd name="connsiteX2405" fmla="*/ 1150942 w 1493481"/>
              <a:gd name="connsiteY2405" fmla="*/ 821435 h 1734136"/>
              <a:gd name="connsiteX2406" fmla="*/ 1150942 w 1493481"/>
              <a:gd name="connsiteY2406" fmla="*/ 823717 h 1734136"/>
              <a:gd name="connsiteX2407" fmla="*/ 1150942 w 1493481"/>
              <a:gd name="connsiteY2407" fmla="*/ 821435 h 1734136"/>
              <a:gd name="connsiteX2408" fmla="*/ 1153226 w 1493481"/>
              <a:gd name="connsiteY2408" fmla="*/ 821435 h 1734136"/>
              <a:gd name="connsiteX2409" fmla="*/ 1155509 w 1493481"/>
              <a:gd name="connsiteY2409" fmla="*/ 821435 h 1734136"/>
              <a:gd name="connsiteX2410" fmla="*/ 1157793 w 1493481"/>
              <a:gd name="connsiteY2410" fmla="*/ 821435 h 1734136"/>
              <a:gd name="connsiteX2411" fmla="*/ 1157793 w 1493481"/>
              <a:gd name="connsiteY2411" fmla="*/ 823717 h 1734136"/>
              <a:gd name="connsiteX2412" fmla="*/ 1157793 w 1493481"/>
              <a:gd name="connsiteY2412" fmla="*/ 821435 h 1734136"/>
              <a:gd name="connsiteX2413" fmla="*/ 1157793 w 1493481"/>
              <a:gd name="connsiteY2413" fmla="*/ 823717 h 1734136"/>
              <a:gd name="connsiteX2414" fmla="*/ 1160077 w 1493481"/>
              <a:gd name="connsiteY2414" fmla="*/ 823717 h 1734136"/>
              <a:gd name="connsiteX2415" fmla="*/ 1162360 w 1493481"/>
              <a:gd name="connsiteY2415" fmla="*/ 823717 h 1734136"/>
              <a:gd name="connsiteX2416" fmla="*/ 1162360 w 1493481"/>
              <a:gd name="connsiteY2416" fmla="*/ 825999 h 1734136"/>
              <a:gd name="connsiteX2417" fmla="*/ 1164644 w 1493481"/>
              <a:gd name="connsiteY2417" fmla="*/ 825999 h 1734136"/>
              <a:gd name="connsiteX2418" fmla="*/ 1166927 w 1493481"/>
              <a:gd name="connsiteY2418" fmla="*/ 825999 h 1734136"/>
              <a:gd name="connsiteX2419" fmla="*/ 1164644 w 1493481"/>
              <a:gd name="connsiteY2419" fmla="*/ 825999 h 1734136"/>
              <a:gd name="connsiteX2420" fmla="*/ 1162360 w 1493481"/>
              <a:gd name="connsiteY2420" fmla="*/ 825999 h 1734136"/>
              <a:gd name="connsiteX2421" fmla="*/ 1160077 w 1493481"/>
              <a:gd name="connsiteY2421" fmla="*/ 828281 h 1734136"/>
              <a:gd name="connsiteX2422" fmla="*/ 1157793 w 1493481"/>
              <a:gd name="connsiteY2422" fmla="*/ 828281 h 1734136"/>
              <a:gd name="connsiteX2423" fmla="*/ 1157793 w 1493481"/>
              <a:gd name="connsiteY2423" fmla="*/ 830563 h 1734136"/>
              <a:gd name="connsiteX2424" fmla="*/ 1155509 w 1493481"/>
              <a:gd name="connsiteY2424" fmla="*/ 830563 h 1734136"/>
              <a:gd name="connsiteX2425" fmla="*/ 1155509 w 1493481"/>
              <a:gd name="connsiteY2425" fmla="*/ 832844 h 1734136"/>
              <a:gd name="connsiteX2426" fmla="*/ 1153226 w 1493481"/>
              <a:gd name="connsiteY2426" fmla="*/ 832844 h 1734136"/>
              <a:gd name="connsiteX2427" fmla="*/ 1153226 w 1493481"/>
              <a:gd name="connsiteY2427" fmla="*/ 835126 h 1734136"/>
              <a:gd name="connsiteX2428" fmla="*/ 1150942 w 1493481"/>
              <a:gd name="connsiteY2428" fmla="*/ 835126 h 1734136"/>
              <a:gd name="connsiteX2429" fmla="*/ 1150942 w 1493481"/>
              <a:gd name="connsiteY2429" fmla="*/ 837408 h 1734136"/>
              <a:gd name="connsiteX2430" fmla="*/ 1148659 w 1493481"/>
              <a:gd name="connsiteY2430" fmla="*/ 837408 h 1734136"/>
              <a:gd name="connsiteX2431" fmla="*/ 1148659 w 1493481"/>
              <a:gd name="connsiteY2431" fmla="*/ 839690 h 1734136"/>
              <a:gd name="connsiteX2432" fmla="*/ 1146375 w 1493481"/>
              <a:gd name="connsiteY2432" fmla="*/ 839690 h 1734136"/>
              <a:gd name="connsiteX2433" fmla="*/ 1146375 w 1493481"/>
              <a:gd name="connsiteY2433" fmla="*/ 841972 h 1734136"/>
              <a:gd name="connsiteX2434" fmla="*/ 1144091 w 1493481"/>
              <a:gd name="connsiteY2434" fmla="*/ 841972 h 1734136"/>
              <a:gd name="connsiteX2435" fmla="*/ 1144091 w 1493481"/>
              <a:gd name="connsiteY2435" fmla="*/ 844254 h 1734136"/>
              <a:gd name="connsiteX2436" fmla="*/ 1141807 w 1493481"/>
              <a:gd name="connsiteY2436" fmla="*/ 844254 h 1734136"/>
              <a:gd name="connsiteX2437" fmla="*/ 1141807 w 1493481"/>
              <a:gd name="connsiteY2437" fmla="*/ 846536 h 1734136"/>
              <a:gd name="connsiteX2438" fmla="*/ 1139524 w 1493481"/>
              <a:gd name="connsiteY2438" fmla="*/ 846536 h 1734136"/>
              <a:gd name="connsiteX2439" fmla="*/ 1139524 w 1493481"/>
              <a:gd name="connsiteY2439" fmla="*/ 844254 h 1734136"/>
              <a:gd name="connsiteX2440" fmla="*/ 1139524 w 1493481"/>
              <a:gd name="connsiteY2440" fmla="*/ 846536 h 1734136"/>
              <a:gd name="connsiteX2441" fmla="*/ 1134957 w 1493481"/>
              <a:gd name="connsiteY2441" fmla="*/ 851100 h 1734136"/>
              <a:gd name="connsiteX2442" fmla="*/ 1130389 w 1493481"/>
              <a:gd name="connsiteY2442" fmla="*/ 851100 h 1734136"/>
              <a:gd name="connsiteX2443" fmla="*/ 1128106 w 1493481"/>
              <a:gd name="connsiteY2443" fmla="*/ 853381 h 1734136"/>
              <a:gd name="connsiteX2444" fmla="*/ 1114404 w 1493481"/>
              <a:gd name="connsiteY2444" fmla="*/ 857945 h 1734136"/>
              <a:gd name="connsiteX2445" fmla="*/ 1109837 w 1493481"/>
              <a:gd name="connsiteY2445" fmla="*/ 860227 h 1734136"/>
              <a:gd name="connsiteX2446" fmla="*/ 1107554 w 1493481"/>
              <a:gd name="connsiteY2446" fmla="*/ 860227 h 1734136"/>
              <a:gd name="connsiteX2447" fmla="*/ 1105270 w 1493481"/>
              <a:gd name="connsiteY2447" fmla="*/ 862509 h 1734136"/>
              <a:gd name="connsiteX2448" fmla="*/ 1102987 w 1493481"/>
              <a:gd name="connsiteY2448" fmla="*/ 864791 h 1734136"/>
              <a:gd name="connsiteX2449" fmla="*/ 1100703 w 1493481"/>
              <a:gd name="connsiteY2449" fmla="*/ 864791 h 1734136"/>
              <a:gd name="connsiteX2450" fmla="*/ 1096136 w 1493481"/>
              <a:gd name="connsiteY2450" fmla="*/ 867073 h 1734136"/>
              <a:gd name="connsiteX2451" fmla="*/ 1091569 w 1493481"/>
              <a:gd name="connsiteY2451" fmla="*/ 867073 h 1734136"/>
              <a:gd name="connsiteX2452" fmla="*/ 1087001 w 1493481"/>
              <a:gd name="connsiteY2452" fmla="*/ 869355 h 1734136"/>
              <a:gd name="connsiteX2453" fmla="*/ 1084718 w 1493481"/>
              <a:gd name="connsiteY2453" fmla="*/ 869355 h 1734136"/>
              <a:gd name="connsiteX2454" fmla="*/ 1082434 w 1493481"/>
              <a:gd name="connsiteY2454" fmla="*/ 869355 h 1734136"/>
              <a:gd name="connsiteX2455" fmla="*/ 1080151 w 1493481"/>
              <a:gd name="connsiteY2455" fmla="*/ 871637 h 1734136"/>
              <a:gd name="connsiteX2456" fmla="*/ 1077867 w 1493481"/>
              <a:gd name="connsiteY2456" fmla="*/ 871637 h 1734136"/>
              <a:gd name="connsiteX2457" fmla="*/ 1075584 w 1493481"/>
              <a:gd name="connsiteY2457" fmla="*/ 873919 h 1734136"/>
              <a:gd name="connsiteX2458" fmla="*/ 1073299 w 1493481"/>
              <a:gd name="connsiteY2458" fmla="*/ 873919 h 1734136"/>
              <a:gd name="connsiteX2459" fmla="*/ 1071016 w 1493481"/>
              <a:gd name="connsiteY2459" fmla="*/ 873919 h 1734136"/>
              <a:gd name="connsiteX2460" fmla="*/ 1068732 w 1493481"/>
              <a:gd name="connsiteY2460" fmla="*/ 873919 h 1734136"/>
              <a:gd name="connsiteX2461" fmla="*/ 1066449 w 1493481"/>
              <a:gd name="connsiteY2461" fmla="*/ 873919 h 1734136"/>
              <a:gd name="connsiteX2462" fmla="*/ 1064165 w 1493481"/>
              <a:gd name="connsiteY2462" fmla="*/ 873919 h 1734136"/>
              <a:gd name="connsiteX2463" fmla="*/ 1061882 w 1493481"/>
              <a:gd name="connsiteY2463" fmla="*/ 876200 h 1734136"/>
              <a:gd name="connsiteX2464" fmla="*/ 1059598 w 1493481"/>
              <a:gd name="connsiteY2464" fmla="*/ 876200 h 1734136"/>
              <a:gd name="connsiteX2465" fmla="*/ 1057314 w 1493481"/>
              <a:gd name="connsiteY2465" fmla="*/ 876200 h 1734136"/>
              <a:gd name="connsiteX2466" fmla="*/ 1055031 w 1493481"/>
              <a:gd name="connsiteY2466" fmla="*/ 876200 h 1734136"/>
              <a:gd name="connsiteX2467" fmla="*/ 1055031 w 1493481"/>
              <a:gd name="connsiteY2467" fmla="*/ 878482 h 1734136"/>
              <a:gd name="connsiteX2468" fmla="*/ 1052747 w 1493481"/>
              <a:gd name="connsiteY2468" fmla="*/ 878482 h 1734136"/>
              <a:gd name="connsiteX2469" fmla="*/ 1050464 w 1493481"/>
              <a:gd name="connsiteY2469" fmla="*/ 878482 h 1734136"/>
              <a:gd name="connsiteX2470" fmla="*/ 1050464 w 1493481"/>
              <a:gd name="connsiteY2470" fmla="*/ 880764 h 1734136"/>
              <a:gd name="connsiteX2471" fmla="*/ 1048180 w 1493481"/>
              <a:gd name="connsiteY2471" fmla="*/ 880764 h 1734136"/>
              <a:gd name="connsiteX2472" fmla="*/ 1045897 w 1493481"/>
              <a:gd name="connsiteY2472" fmla="*/ 880764 h 1734136"/>
              <a:gd name="connsiteX2473" fmla="*/ 1045897 w 1493481"/>
              <a:gd name="connsiteY2473" fmla="*/ 883046 h 1734136"/>
              <a:gd name="connsiteX2474" fmla="*/ 1043613 w 1493481"/>
              <a:gd name="connsiteY2474" fmla="*/ 883046 h 1734136"/>
              <a:gd name="connsiteX2475" fmla="*/ 1041329 w 1493481"/>
              <a:gd name="connsiteY2475" fmla="*/ 883046 h 1734136"/>
              <a:gd name="connsiteX2476" fmla="*/ 1041329 w 1493481"/>
              <a:gd name="connsiteY2476" fmla="*/ 885328 h 1734136"/>
              <a:gd name="connsiteX2477" fmla="*/ 1039046 w 1493481"/>
              <a:gd name="connsiteY2477" fmla="*/ 885328 h 1734136"/>
              <a:gd name="connsiteX2478" fmla="*/ 1039046 w 1493481"/>
              <a:gd name="connsiteY2478" fmla="*/ 887610 h 1734136"/>
              <a:gd name="connsiteX2479" fmla="*/ 1036762 w 1493481"/>
              <a:gd name="connsiteY2479" fmla="*/ 887610 h 1734136"/>
              <a:gd name="connsiteX2480" fmla="*/ 1036762 w 1493481"/>
              <a:gd name="connsiteY2480" fmla="*/ 889892 h 1734136"/>
              <a:gd name="connsiteX2481" fmla="*/ 1034479 w 1493481"/>
              <a:gd name="connsiteY2481" fmla="*/ 889892 h 1734136"/>
              <a:gd name="connsiteX2482" fmla="*/ 1034479 w 1493481"/>
              <a:gd name="connsiteY2482" fmla="*/ 892174 h 1734136"/>
              <a:gd name="connsiteX2483" fmla="*/ 1032195 w 1493481"/>
              <a:gd name="connsiteY2483" fmla="*/ 892174 h 1734136"/>
              <a:gd name="connsiteX2484" fmla="*/ 1032195 w 1493481"/>
              <a:gd name="connsiteY2484" fmla="*/ 894456 h 1734136"/>
              <a:gd name="connsiteX2485" fmla="*/ 1029911 w 1493481"/>
              <a:gd name="connsiteY2485" fmla="*/ 894456 h 1734136"/>
              <a:gd name="connsiteX2486" fmla="*/ 1029911 w 1493481"/>
              <a:gd name="connsiteY2486" fmla="*/ 896737 h 1734136"/>
              <a:gd name="connsiteX2487" fmla="*/ 1029911 w 1493481"/>
              <a:gd name="connsiteY2487" fmla="*/ 899020 h 1734136"/>
              <a:gd name="connsiteX2488" fmla="*/ 1027628 w 1493481"/>
              <a:gd name="connsiteY2488" fmla="*/ 899020 h 1734136"/>
              <a:gd name="connsiteX2489" fmla="*/ 1027628 w 1493481"/>
              <a:gd name="connsiteY2489" fmla="*/ 901301 h 1734136"/>
              <a:gd name="connsiteX2490" fmla="*/ 1025344 w 1493481"/>
              <a:gd name="connsiteY2490" fmla="*/ 901301 h 1734136"/>
              <a:gd name="connsiteX2491" fmla="*/ 1025344 w 1493481"/>
              <a:gd name="connsiteY2491" fmla="*/ 903583 h 1734136"/>
              <a:gd name="connsiteX2492" fmla="*/ 1023061 w 1493481"/>
              <a:gd name="connsiteY2492" fmla="*/ 903583 h 1734136"/>
              <a:gd name="connsiteX2493" fmla="*/ 1023061 w 1493481"/>
              <a:gd name="connsiteY2493" fmla="*/ 905865 h 1734136"/>
              <a:gd name="connsiteX2494" fmla="*/ 1020777 w 1493481"/>
              <a:gd name="connsiteY2494" fmla="*/ 905865 h 1734136"/>
              <a:gd name="connsiteX2495" fmla="*/ 1020777 w 1493481"/>
              <a:gd name="connsiteY2495" fmla="*/ 908147 h 1734136"/>
              <a:gd name="connsiteX2496" fmla="*/ 1018494 w 1493481"/>
              <a:gd name="connsiteY2496" fmla="*/ 908147 h 1734136"/>
              <a:gd name="connsiteX2497" fmla="*/ 1018494 w 1493481"/>
              <a:gd name="connsiteY2497" fmla="*/ 910429 h 1734136"/>
              <a:gd name="connsiteX2498" fmla="*/ 1016210 w 1493481"/>
              <a:gd name="connsiteY2498" fmla="*/ 910429 h 1734136"/>
              <a:gd name="connsiteX2499" fmla="*/ 1016210 w 1493481"/>
              <a:gd name="connsiteY2499" fmla="*/ 912711 h 1734136"/>
              <a:gd name="connsiteX2500" fmla="*/ 1013926 w 1493481"/>
              <a:gd name="connsiteY2500" fmla="*/ 912711 h 1734136"/>
              <a:gd name="connsiteX2501" fmla="*/ 1013926 w 1493481"/>
              <a:gd name="connsiteY2501" fmla="*/ 914983 h 1734136"/>
              <a:gd name="connsiteX2502" fmla="*/ 1011643 w 1493481"/>
              <a:gd name="connsiteY2502" fmla="*/ 914983 h 1734136"/>
              <a:gd name="connsiteX2503" fmla="*/ 1011643 w 1493481"/>
              <a:gd name="connsiteY2503" fmla="*/ 917275 h 1734136"/>
              <a:gd name="connsiteX2504" fmla="*/ 1009359 w 1493481"/>
              <a:gd name="connsiteY2504" fmla="*/ 917275 h 1734136"/>
              <a:gd name="connsiteX2505" fmla="*/ 1009359 w 1493481"/>
              <a:gd name="connsiteY2505" fmla="*/ 919547 h 1734136"/>
              <a:gd name="connsiteX2506" fmla="*/ 1007076 w 1493481"/>
              <a:gd name="connsiteY2506" fmla="*/ 919547 h 1734136"/>
              <a:gd name="connsiteX2507" fmla="*/ 1007076 w 1493481"/>
              <a:gd name="connsiteY2507" fmla="*/ 921829 h 1734136"/>
              <a:gd name="connsiteX2508" fmla="*/ 1004792 w 1493481"/>
              <a:gd name="connsiteY2508" fmla="*/ 921829 h 1734136"/>
              <a:gd name="connsiteX2509" fmla="*/ 1004792 w 1493481"/>
              <a:gd name="connsiteY2509" fmla="*/ 924111 h 1734136"/>
              <a:gd name="connsiteX2510" fmla="*/ 1002508 w 1493481"/>
              <a:gd name="connsiteY2510" fmla="*/ 924111 h 1734136"/>
              <a:gd name="connsiteX2511" fmla="*/ 1002508 w 1493481"/>
              <a:gd name="connsiteY2511" fmla="*/ 926393 h 1734136"/>
              <a:gd name="connsiteX2512" fmla="*/ 1000224 w 1493481"/>
              <a:gd name="connsiteY2512" fmla="*/ 926393 h 1734136"/>
              <a:gd name="connsiteX2513" fmla="*/ 1000224 w 1493481"/>
              <a:gd name="connsiteY2513" fmla="*/ 928675 h 1734136"/>
              <a:gd name="connsiteX2514" fmla="*/ 997941 w 1493481"/>
              <a:gd name="connsiteY2514" fmla="*/ 928675 h 1734136"/>
              <a:gd name="connsiteX2515" fmla="*/ 997941 w 1493481"/>
              <a:gd name="connsiteY2515" fmla="*/ 930956 h 1734136"/>
              <a:gd name="connsiteX2516" fmla="*/ 995657 w 1493481"/>
              <a:gd name="connsiteY2516" fmla="*/ 930956 h 1734136"/>
              <a:gd name="connsiteX2517" fmla="*/ 995657 w 1493481"/>
              <a:gd name="connsiteY2517" fmla="*/ 933238 h 1734136"/>
              <a:gd name="connsiteX2518" fmla="*/ 993374 w 1493481"/>
              <a:gd name="connsiteY2518" fmla="*/ 933238 h 1734136"/>
              <a:gd name="connsiteX2519" fmla="*/ 993374 w 1493481"/>
              <a:gd name="connsiteY2519" fmla="*/ 935520 h 1734136"/>
              <a:gd name="connsiteX2520" fmla="*/ 991090 w 1493481"/>
              <a:gd name="connsiteY2520" fmla="*/ 935520 h 1734136"/>
              <a:gd name="connsiteX2521" fmla="*/ 991090 w 1493481"/>
              <a:gd name="connsiteY2521" fmla="*/ 937802 h 1734136"/>
              <a:gd name="connsiteX2522" fmla="*/ 991090 w 1493481"/>
              <a:gd name="connsiteY2522" fmla="*/ 940084 h 1734136"/>
              <a:gd name="connsiteX2523" fmla="*/ 988807 w 1493481"/>
              <a:gd name="connsiteY2523" fmla="*/ 940084 h 1734136"/>
              <a:gd name="connsiteX2524" fmla="*/ 988807 w 1493481"/>
              <a:gd name="connsiteY2524" fmla="*/ 942366 h 1734136"/>
              <a:gd name="connsiteX2525" fmla="*/ 986523 w 1493481"/>
              <a:gd name="connsiteY2525" fmla="*/ 942366 h 1734136"/>
              <a:gd name="connsiteX2526" fmla="*/ 986523 w 1493481"/>
              <a:gd name="connsiteY2526" fmla="*/ 944648 h 1734136"/>
              <a:gd name="connsiteX2527" fmla="*/ 984239 w 1493481"/>
              <a:gd name="connsiteY2527" fmla="*/ 944648 h 1734136"/>
              <a:gd name="connsiteX2528" fmla="*/ 984239 w 1493481"/>
              <a:gd name="connsiteY2528" fmla="*/ 946930 h 1734136"/>
              <a:gd name="connsiteX2529" fmla="*/ 981956 w 1493481"/>
              <a:gd name="connsiteY2529" fmla="*/ 946930 h 1734136"/>
              <a:gd name="connsiteX2530" fmla="*/ 981956 w 1493481"/>
              <a:gd name="connsiteY2530" fmla="*/ 949212 h 1734136"/>
              <a:gd name="connsiteX2531" fmla="*/ 981956 w 1493481"/>
              <a:gd name="connsiteY2531" fmla="*/ 951493 h 1734136"/>
              <a:gd name="connsiteX2532" fmla="*/ 979672 w 1493481"/>
              <a:gd name="connsiteY2532" fmla="*/ 951493 h 1734136"/>
              <a:gd name="connsiteX2533" fmla="*/ 979672 w 1493481"/>
              <a:gd name="connsiteY2533" fmla="*/ 953775 h 1734136"/>
              <a:gd name="connsiteX2534" fmla="*/ 977389 w 1493481"/>
              <a:gd name="connsiteY2534" fmla="*/ 953775 h 1734136"/>
              <a:gd name="connsiteX2535" fmla="*/ 977389 w 1493481"/>
              <a:gd name="connsiteY2535" fmla="*/ 956057 h 1734136"/>
              <a:gd name="connsiteX2536" fmla="*/ 975105 w 1493481"/>
              <a:gd name="connsiteY2536" fmla="*/ 956057 h 1734136"/>
              <a:gd name="connsiteX2537" fmla="*/ 975105 w 1493481"/>
              <a:gd name="connsiteY2537" fmla="*/ 958339 h 1734136"/>
              <a:gd name="connsiteX2538" fmla="*/ 972821 w 1493481"/>
              <a:gd name="connsiteY2538" fmla="*/ 958339 h 1734136"/>
              <a:gd name="connsiteX2539" fmla="*/ 972821 w 1493481"/>
              <a:gd name="connsiteY2539" fmla="*/ 960621 h 1734136"/>
              <a:gd name="connsiteX2540" fmla="*/ 970538 w 1493481"/>
              <a:gd name="connsiteY2540" fmla="*/ 960621 h 1734136"/>
              <a:gd name="connsiteX2541" fmla="*/ 970538 w 1493481"/>
              <a:gd name="connsiteY2541" fmla="*/ 962903 h 1734136"/>
              <a:gd name="connsiteX2542" fmla="*/ 968254 w 1493481"/>
              <a:gd name="connsiteY2542" fmla="*/ 962903 h 1734136"/>
              <a:gd name="connsiteX2543" fmla="*/ 968254 w 1493481"/>
              <a:gd name="connsiteY2543" fmla="*/ 965185 h 1734136"/>
              <a:gd name="connsiteX2544" fmla="*/ 965971 w 1493481"/>
              <a:gd name="connsiteY2544" fmla="*/ 965185 h 1734136"/>
              <a:gd name="connsiteX2545" fmla="*/ 965971 w 1493481"/>
              <a:gd name="connsiteY2545" fmla="*/ 967467 h 1734136"/>
              <a:gd name="connsiteX2546" fmla="*/ 963687 w 1493481"/>
              <a:gd name="connsiteY2546" fmla="*/ 967467 h 1734136"/>
              <a:gd name="connsiteX2547" fmla="*/ 963687 w 1493481"/>
              <a:gd name="connsiteY2547" fmla="*/ 969749 h 1734136"/>
              <a:gd name="connsiteX2548" fmla="*/ 961404 w 1493481"/>
              <a:gd name="connsiteY2548" fmla="*/ 969749 h 1734136"/>
              <a:gd name="connsiteX2549" fmla="*/ 961404 w 1493481"/>
              <a:gd name="connsiteY2549" fmla="*/ 972031 h 1734136"/>
              <a:gd name="connsiteX2550" fmla="*/ 959120 w 1493481"/>
              <a:gd name="connsiteY2550" fmla="*/ 972031 h 1734136"/>
              <a:gd name="connsiteX2551" fmla="*/ 959120 w 1493481"/>
              <a:gd name="connsiteY2551" fmla="*/ 974312 h 1734136"/>
              <a:gd name="connsiteX2552" fmla="*/ 956836 w 1493481"/>
              <a:gd name="connsiteY2552" fmla="*/ 974312 h 1734136"/>
              <a:gd name="connsiteX2553" fmla="*/ 956836 w 1493481"/>
              <a:gd name="connsiteY2553" fmla="*/ 976594 h 1734136"/>
              <a:gd name="connsiteX2554" fmla="*/ 954553 w 1493481"/>
              <a:gd name="connsiteY2554" fmla="*/ 976594 h 1734136"/>
              <a:gd name="connsiteX2555" fmla="*/ 954553 w 1493481"/>
              <a:gd name="connsiteY2555" fmla="*/ 978876 h 1734136"/>
              <a:gd name="connsiteX2556" fmla="*/ 952269 w 1493481"/>
              <a:gd name="connsiteY2556" fmla="*/ 978876 h 1734136"/>
              <a:gd name="connsiteX2557" fmla="*/ 952269 w 1493481"/>
              <a:gd name="connsiteY2557" fmla="*/ 981158 h 1734136"/>
              <a:gd name="connsiteX2558" fmla="*/ 949986 w 1493481"/>
              <a:gd name="connsiteY2558" fmla="*/ 981158 h 1734136"/>
              <a:gd name="connsiteX2559" fmla="*/ 949986 w 1493481"/>
              <a:gd name="connsiteY2559" fmla="*/ 983440 h 1734136"/>
              <a:gd name="connsiteX2560" fmla="*/ 947702 w 1493481"/>
              <a:gd name="connsiteY2560" fmla="*/ 983440 h 1734136"/>
              <a:gd name="connsiteX2561" fmla="*/ 945418 w 1493481"/>
              <a:gd name="connsiteY2561" fmla="*/ 983440 h 1734136"/>
              <a:gd name="connsiteX2562" fmla="*/ 945418 w 1493481"/>
              <a:gd name="connsiteY2562" fmla="*/ 985722 h 1734136"/>
              <a:gd name="connsiteX2563" fmla="*/ 943135 w 1493481"/>
              <a:gd name="connsiteY2563" fmla="*/ 985722 h 1734136"/>
              <a:gd name="connsiteX2564" fmla="*/ 943135 w 1493481"/>
              <a:gd name="connsiteY2564" fmla="*/ 988004 h 1734136"/>
              <a:gd name="connsiteX2565" fmla="*/ 940851 w 1493481"/>
              <a:gd name="connsiteY2565" fmla="*/ 988004 h 1734136"/>
              <a:gd name="connsiteX2566" fmla="*/ 940851 w 1493481"/>
              <a:gd name="connsiteY2566" fmla="*/ 990286 h 1734136"/>
              <a:gd name="connsiteX2567" fmla="*/ 938568 w 1493481"/>
              <a:gd name="connsiteY2567" fmla="*/ 990286 h 1734136"/>
              <a:gd name="connsiteX2568" fmla="*/ 938568 w 1493481"/>
              <a:gd name="connsiteY2568" fmla="*/ 992568 h 1734136"/>
              <a:gd name="connsiteX2569" fmla="*/ 936284 w 1493481"/>
              <a:gd name="connsiteY2569" fmla="*/ 992568 h 1734136"/>
              <a:gd name="connsiteX2570" fmla="*/ 936284 w 1493481"/>
              <a:gd name="connsiteY2570" fmla="*/ 994849 h 1734136"/>
              <a:gd name="connsiteX2571" fmla="*/ 934001 w 1493481"/>
              <a:gd name="connsiteY2571" fmla="*/ 994849 h 1734136"/>
              <a:gd name="connsiteX2572" fmla="*/ 934001 w 1493481"/>
              <a:gd name="connsiteY2572" fmla="*/ 997132 h 1734136"/>
              <a:gd name="connsiteX2573" fmla="*/ 931717 w 1493481"/>
              <a:gd name="connsiteY2573" fmla="*/ 997132 h 1734136"/>
              <a:gd name="connsiteX2574" fmla="*/ 931717 w 1493481"/>
              <a:gd name="connsiteY2574" fmla="*/ 999413 h 1734136"/>
              <a:gd name="connsiteX2575" fmla="*/ 929433 w 1493481"/>
              <a:gd name="connsiteY2575" fmla="*/ 999413 h 1734136"/>
              <a:gd name="connsiteX2576" fmla="*/ 929433 w 1493481"/>
              <a:gd name="connsiteY2576" fmla="*/ 1001695 h 1734136"/>
              <a:gd name="connsiteX2577" fmla="*/ 927149 w 1493481"/>
              <a:gd name="connsiteY2577" fmla="*/ 1001695 h 1734136"/>
              <a:gd name="connsiteX2578" fmla="*/ 924866 w 1493481"/>
              <a:gd name="connsiteY2578" fmla="*/ 1001695 h 1734136"/>
              <a:gd name="connsiteX2579" fmla="*/ 924866 w 1493481"/>
              <a:gd name="connsiteY2579" fmla="*/ 1003977 h 1734136"/>
              <a:gd name="connsiteX2580" fmla="*/ 924866 w 1493481"/>
              <a:gd name="connsiteY2580" fmla="*/ 1006259 h 1734136"/>
              <a:gd name="connsiteX2581" fmla="*/ 922582 w 1493481"/>
              <a:gd name="connsiteY2581" fmla="*/ 1006259 h 1734136"/>
              <a:gd name="connsiteX2582" fmla="*/ 922582 w 1493481"/>
              <a:gd name="connsiteY2582" fmla="*/ 1008541 h 1734136"/>
              <a:gd name="connsiteX2583" fmla="*/ 922582 w 1493481"/>
              <a:gd name="connsiteY2583" fmla="*/ 1010823 h 1734136"/>
              <a:gd name="connsiteX2584" fmla="*/ 920299 w 1493481"/>
              <a:gd name="connsiteY2584" fmla="*/ 1010823 h 1734136"/>
              <a:gd name="connsiteX2585" fmla="*/ 920299 w 1493481"/>
              <a:gd name="connsiteY2585" fmla="*/ 1013105 h 1734136"/>
              <a:gd name="connsiteX2586" fmla="*/ 918015 w 1493481"/>
              <a:gd name="connsiteY2586" fmla="*/ 1013105 h 1734136"/>
              <a:gd name="connsiteX2587" fmla="*/ 918015 w 1493481"/>
              <a:gd name="connsiteY2587" fmla="*/ 1015387 h 1734136"/>
              <a:gd name="connsiteX2588" fmla="*/ 918015 w 1493481"/>
              <a:gd name="connsiteY2588" fmla="*/ 1013105 h 1734136"/>
              <a:gd name="connsiteX2589" fmla="*/ 918015 w 1493481"/>
              <a:gd name="connsiteY2589" fmla="*/ 1015387 h 1734136"/>
              <a:gd name="connsiteX2590" fmla="*/ 915731 w 1493481"/>
              <a:gd name="connsiteY2590" fmla="*/ 1015387 h 1734136"/>
              <a:gd name="connsiteX2591" fmla="*/ 915731 w 1493481"/>
              <a:gd name="connsiteY2591" fmla="*/ 1017668 h 1734136"/>
              <a:gd name="connsiteX2592" fmla="*/ 913448 w 1493481"/>
              <a:gd name="connsiteY2592" fmla="*/ 1017668 h 1734136"/>
              <a:gd name="connsiteX2593" fmla="*/ 913448 w 1493481"/>
              <a:gd name="connsiteY2593" fmla="*/ 1019950 h 1734136"/>
              <a:gd name="connsiteX2594" fmla="*/ 911164 w 1493481"/>
              <a:gd name="connsiteY2594" fmla="*/ 1019950 h 1734136"/>
              <a:gd name="connsiteX2595" fmla="*/ 911164 w 1493481"/>
              <a:gd name="connsiteY2595" fmla="*/ 1022232 h 1734136"/>
              <a:gd name="connsiteX2596" fmla="*/ 908881 w 1493481"/>
              <a:gd name="connsiteY2596" fmla="*/ 1022232 h 1734136"/>
              <a:gd name="connsiteX2597" fmla="*/ 908881 w 1493481"/>
              <a:gd name="connsiteY2597" fmla="*/ 1024514 h 1734136"/>
              <a:gd name="connsiteX2598" fmla="*/ 906597 w 1493481"/>
              <a:gd name="connsiteY2598" fmla="*/ 1024514 h 1734136"/>
              <a:gd name="connsiteX2599" fmla="*/ 906597 w 1493481"/>
              <a:gd name="connsiteY2599" fmla="*/ 1026796 h 1734136"/>
              <a:gd name="connsiteX2600" fmla="*/ 904314 w 1493481"/>
              <a:gd name="connsiteY2600" fmla="*/ 1026796 h 1734136"/>
              <a:gd name="connsiteX2601" fmla="*/ 904314 w 1493481"/>
              <a:gd name="connsiteY2601" fmla="*/ 1029078 h 1734136"/>
              <a:gd name="connsiteX2602" fmla="*/ 902030 w 1493481"/>
              <a:gd name="connsiteY2602" fmla="*/ 1029078 h 1734136"/>
              <a:gd name="connsiteX2603" fmla="*/ 902030 w 1493481"/>
              <a:gd name="connsiteY2603" fmla="*/ 1031360 h 1734136"/>
              <a:gd name="connsiteX2604" fmla="*/ 899746 w 1493481"/>
              <a:gd name="connsiteY2604" fmla="*/ 1031360 h 1734136"/>
              <a:gd name="connsiteX2605" fmla="*/ 899746 w 1493481"/>
              <a:gd name="connsiteY2605" fmla="*/ 1033642 h 1734136"/>
              <a:gd name="connsiteX2606" fmla="*/ 897463 w 1493481"/>
              <a:gd name="connsiteY2606" fmla="*/ 1033642 h 1734136"/>
              <a:gd name="connsiteX2607" fmla="*/ 897463 w 1493481"/>
              <a:gd name="connsiteY2607" fmla="*/ 1035924 h 1734136"/>
              <a:gd name="connsiteX2608" fmla="*/ 895179 w 1493481"/>
              <a:gd name="connsiteY2608" fmla="*/ 1035924 h 1734136"/>
              <a:gd name="connsiteX2609" fmla="*/ 895179 w 1493481"/>
              <a:gd name="connsiteY2609" fmla="*/ 1038205 h 1734136"/>
              <a:gd name="connsiteX2610" fmla="*/ 892896 w 1493481"/>
              <a:gd name="connsiteY2610" fmla="*/ 1038205 h 1734136"/>
              <a:gd name="connsiteX2611" fmla="*/ 892896 w 1493481"/>
              <a:gd name="connsiteY2611" fmla="*/ 1040488 h 1734136"/>
              <a:gd name="connsiteX2612" fmla="*/ 890612 w 1493481"/>
              <a:gd name="connsiteY2612" fmla="*/ 1040488 h 1734136"/>
              <a:gd name="connsiteX2613" fmla="*/ 890612 w 1493481"/>
              <a:gd name="connsiteY2613" fmla="*/ 1042769 h 1734136"/>
              <a:gd name="connsiteX2614" fmla="*/ 888328 w 1493481"/>
              <a:gd name="connsiteY2614" fmla="*/ 1042769 h 1734136"/>
              <a:gd name="connsiteX2615" fmla="*/ 888328 w 1493481"/>
              <a:gd name="connsiteY2615" fmla="*/ 1045051 h 1734136"/>
              <a:gd name="connsiteX2616" fmla="*/ 886045 w 1493481"/>
              <a:gd name="connsiteY2616" fmla="*/ 1045051 h 1734136"/>
              <a:gd name="connsiteX2617" fmla="*/ 886045 w 1493481"/>
              <a:gd name="connsiteY2617" fmla="*/ 1047333 h 1734136"/>
              <a:gd name="connsiteX2618" fmla="*/ 883761 w 1493481"/>
              <a:gd name="connsiteY2618" fmla="*/ 1047333 h 1734136"/>
              <a:gd name="connsiteX2619" fmla="*/ 883761 w 1493481"/>
              <a:gd name="connsiteY2619" fmla="*/ 1049615 h 1734136"/>
              <a:gd name="connsiteX2620" fmla="*/ 881478 w 1493481"/>
              <a:gd name="connsiteY2620" fmla="*/ 1049615 h 1734136"/>
              <a:gd name="connsiteX2621" fmla="*/ 881478 w 1493481"/>
              <a:gd name="connsiteY2621" fmla="*/ 1051897 h 1734136"/>
              <a:gd name="connsiteX2622" fmla="*/ 881478 w 1493481"/>
              <a:gd name="connsiteY2622" fmla="*/ 1054179 h 1734136"/>
              <a:gd name="connsiteX2623" fmla="*/ 879194 w 1493481"/>
              <a:gd name="connsiteY2623" fmla="*/ 1054179 h 1734136"/>
              <a:gd name="connsiteX2624" fmla="*/ 879194 w 1493481"/>
              <a:gd name="connsiteY2624" fmla="*/ 1056461 h 1734136"/>
              <a:gd name="connsiteX2625" fmla="*/ 876911 w 1493481"/>
              <a:gd name="connsiteY2625" fmla="*/ 1056461 h 1734136"/>
              <a:gd name="connsiteX2626" fmla="*/ 876911 w 1493481"/>
              <a:gd name="connsiteY2626" fmla="*/ 1058743 h 1734136"/>
              <a:gd name="connsiteX2627" fmla="*/ 874627 w 1493481"/>
              <a:gd name="connsiteY2627" fmla="*/ 1058743 h 1734136"/>
              <a:gd name="connsiteX2628" fmla="*/ 874627 w 1493481"/>
              <a:gd name="connsiteY2628" fmla="*/ 1061024 h 1734136"/>
              <a:gd name="connsiteX2629" fmla="*/ 872343 w 1493481"/>
              <a:gd name="connsiteY2629" fmla="*/ 1061024 h 1734136"/>
              <a:gd name="connsiteX2630" fmla="*/ 872343 w 1493481"/>
              <a:gd name="connsiteY2630" fmla="*/ 1063306 h 1734136"/>
              <a:gd name="connsiteX2631" fmla="*/ 872343 w 1493481"/>
              <a:gd name="connsiteY2631" fmla="*/ 1065588 h 1734136"/>
              <a:gd name="connsiteX2632" fmla="*/ 870060 w 1493481"/>
              <a:gd name="connsiteY2632" fmla="*/ 1065588 h 1734136"/>
              <a:gd name="connsiteX2633" fmla="*/ 870060 w 1493481"/>
              <a:gd name="connsiteY2633" fmla="*/ 1067870 h 1734136"/>
              <a:gd name="connsiteX2634" fmla="*/ 867776 w 1493481"/>
              <a:gd name="connsiteY2634" fmla="*/ 1067870 h 1734136"/>
              <a:gd name="connsiteX2635" fmla="*/ 870060 w 1493481"/>
              <a:gd name="connsiteY2635" fmla="*/ 1067870 h 1734136"/>
              <a:gd name="connsiteX2636" fmla="*/ 867776 w 1493481"/>
              <a:gd name="connsiteY2636" fmla="*/ 1067870 h 1734136"/>
              <a:gd name="connsiteX2637" fmla="*/ 867776 w 1493481"/>
              <a:gd name="connsiteY2637" fmla="*/ 1070143 h 1734136"/>
              <a:gd name="connsiteX2638" fmla="*/ 865492 w 1493481"/>
              <a:gd name="connsiteY2638" fmla="*/ 1070143 h 1734136"/>
              <a:gd name="connsiteX2639" fmla="*/ 865492 w 1493481"/>
              <a:gd name="connsiteY2639" fmla="*/ 1072434 h 1734136"/>
              <a:gd name="connsiteX2640" fmla="*/ 865492 w 1493481"/>
              <a:gd name="connsiteY2640" fmla="*/ 1074707 h 1734136"/>
              <a:gd name="connsiteX2641" fmla="*/ 863209 w 1493481"/>
              <a:gd name="connsiteY2641" fmla="*/ 1074707 h 1734136"/>
              <a:gd name="connsiteX2642" fmla="*/ 865492 w 1493481"/>
              <a:gd name="connsiteY2642" fmla="*/ 1074707 h 1734136"/>
              <a:gd name="connsiteX2643" fmla="*/ 863209 w 1493481"/>
              <a:gd name="connsiteY2643" fmla="*/ 1074707 h 1734136"/>
              <a:gd name="connsiteX2644" fmla="*/ 863209 w 1493481"/>
              <a:gd name="connsiteY2644" fmla="*/ 1076988 h 1734136"/>
              <a:gd name="connsiteX2645" fmla="*/ 860925 w 1493481"/>
              <a:gd name="connsiteY2645" fmla="*/ 1076988 h 1734136"/>
              <a:gd name="connsiteX2646" fmla="*/ 860925 w 1493481"/>
              <a:gd name="connsiteY2646" fmla="*/ 1079270 h 1734136"/>
              <a:gd name="connsiteX2647" fmla="*/ 858641 w 1493481"/>
              <a:gd name="connsiteY2647" fmla="*/ 1079270 h 1734136"/>
              <a:gd name="connsiteX2648" fmla="*/ 858641 w 1493481"/>
              <a:gd name="connsiteY2648" fmla="*/ 1081552 h 1734136"/>
              <a:gd name="connsiteX2649" fmla="*/ 858641 w 1493481"/>
              <a:gd name="connsiteY2649" fmla="*/ 1083834 h 1734136"/>
              <a:gd name="connsiteX2650" fmla="*/ 856358 w 1493481"/>
              <a:gd name="connsiteY2650" fmla="*/ 1083834 h 1734136"/>
              <a:gd name="connsiteX2651" fmla="*/ 856358 w 1493481"/>
              <a:gd name="connsiteY2651" fmla="*/ 1086116 h 1734136"/>
              <a:gd name="connsiteX2652" fmla="*/ 854074 w 1493481"/>
              <a:gd name="connsiteY2652" fmla="*/ 1086116 h 1734136"/>
              <a:gd name="connsiteX2653" fmla="*/ 854074 w 1493481"/>
              <a:gd name="connsiteY2653" fmla="*/ 1088398 h 1734136"/>
              <a:gd name="connsiteX2654" fmla="*/ 851791 w 1493481"/>
              <a:gd name="connsiteY2654" fmla="*/ 1088398 h 1734136"/>
              <a:gd name="connsiteX2655" fmla="*/ 854074 w 1493481"/>
              <a:gd name="connsiteY2655" fmla="*/ 1088398 h 1734136"/>
              <a:gd name="connsiteX2656" fmla="*/ 851791 w 1493481"/>
              <a:gd name="connsiteY2656" fmla="*/ 1088398 h 1734136"/>
              <a:gd name="connsiteX2657" fmla="*/ 851791 w 1493481"/>
              <a:gd name="connsiteY2657" fmla="*/ 1090680 h 1734136"/>
              <a:gd name="connsiteX2658" fmla="*/ 849507 w 1493481"/>
              <a:gd name="connsiteY2658" fmla="*/ 1090680 h 1734136"/>
              <a:gd name="connsiteX2659" fmla="*/ 849507 w 1493481"/>
              <a:gd name="connsiteY2659" fmla="*/ 1092962 h 1734136"/>
              <a:gd name="connsiteX2660" fmla="*/ 847224 w 1493481"/>
              <a:gd name="connsiteY2660" fmla="*/ 1092962 h 1734136"/>
              <a:gd name="connsiteX2661" fmla="*/ 847224 w 1493481"/>
              <a:gd name="connsiteY2661" fmla="*/ 1095244 h 1734136"/>
              <a:gd name="connsiteX2662" fmla="*/ 844940 w 1493481"/>
              <a:gd name="connsiteY2662" fmla="*/ 1095244 h 1734136"/>
              <a:gd name="connsiteX2663" fmla="*/ 844940 w 1493481"/>
              <a:gd name="connsiteY2663" fmla="*/ 1097525 h 1734136"/>
              <a:gd name="connsiteX2664" fmla="*/ 842656 w 1493481"/>
              <a:gd name="connsiteY2664" fmla="*/ 1097525 h 1734136"/>
              <a:gd name="connsiteX2665" fmla="*/ 842656 w 1493481"/>
              <a:gd name="connsiteY2665" fmla="*/ 1099807 h 1734136"/>
              <a:gd name="connsiteX2666" fmla="*/ 842656 w 1493481"/>
              <a:gd name="connsiteY2666" fmla="*/ 1102089 h 1734136"/>
              <a:gd name="connsiteX2667" fmla="*/ 840373 w 1493481"/>
              <a:gd name="connsiteY2667" fmla="*/ 1102089 h 1734136"/>
              <a:gd name="connsiteX2668" fmla="*/ 840373 w 1493481"/>
              <a:gd name="connsiteY2668" fmla="*/ 1104371 h 1734136"/>
              <a:gd name="connsiteX2669" fmla="*/ 840373 w 1493481"/>
              <a:gd name="connsiteY2669" fmla="*/ 1106653 h 1734136"/>
              <a:gd name="connsiteX2670" fmla="*/ 840373 w 1493481"/>
              <a:gd name="connsiteY2670" fmla="*/ 1108935 h 1734136"/>
              <a:gd name="connsiteX2671" fmla="*/ 838089 w 1493481"/>
              <a:gd name="connsiteY2671" fmla="*/ 1108935 h 1734136"/>
              <a:gd name="connsiteX2672" fmla="*/ 838089 w 1493481"/>
              <a:gd name="connsiteY2672" fmla="*/ 1111217 h 1734136"/>
              <a:gd name="connsiteX2673" fmla="*/ 835806 w 1493481"/>
              <a:gd name="connsiteY2673" fmla="*/ 1111217 h 1734136"/>
              <a:gd name="connsiteX2674" fmla="*/ 835806 w 1493481"/>
              <a:gd name="connsiteY2674" fmla="*/ 1113499 h 1734136"/>
              <a:gd name="connsiteX2675" fmla="*/ 833522 w 1493481"/>
              <a:gd name="connsiteY2675" fmla="*/ 1113499 h 1734136"/>
              <a:gd name="connsiteX2676" fmla="*/ 833522 w 1493481"/>
              <a:gd name="connsiteY2676" fmla="*/ 1115780 h 1734136"/>
              <a:gd name="connsiteX2677" fmla="*/ 831238 w 1493481"/>
              <a:gd name="connsiteY2677" fmla="*/ 1115780 h 1734136"/>
              <a:gd name="connsiteX2678" fmla="*/ 831238 w 1493481"/>
              <a:gd name="connsiteY2678" fmla="*/ 1118063 h 1734136"/>
              <a:gd name="connsiteX2679" fmla="*/ 828955 w 1493481"/>
              <a:gd name="connsiteY2679" fmla="*/ 1118063 h 1734136"/>
              <a:gd name="connsiteX2680" fmla="*/ 828955 w 1493481"/>
              <a:gd name="connsiteY2680" fmla="*/ 1120344 h 1734136"/>
              <a:gd name="connsiteX2681" fmla="*/ 826671 w 1493481"/>
              <a:gd name="connsiteY2681" fmla="*/ 1120344 h 1734136"/>
              <a:gd name="connsiteX2682" fmla="*/ 826671 w 1493481"/>
              <a:gd name="connsiteY2682" fmla="*/ 1122626 h 1734136"/>
              <a:gd name="connsiteX2683" fmla="*/ 824388 w 1493481"/>
              <a:gd name="connsiteY2683" fmla="*/ 1122626 h 1734136"/>
              <a:gd name="connsiteX2684" fmla="*/ 824388 w 1493481"/>
              <a:gd name="connsiteY2684" fmla="*/ 1124908 h 1734136"/>
              <a:gd name="connsiteX2685" fmla="*/ 824388 w 1493481"/>
              <a:gd name="connsiteY2685" fmla="*/ 1127190 h 1734136"/>
              <a:gd name="connsiteX2686" fmla="*/ 822104 w 1493481"/>
              <a:gd name="connsiteY2686" fmla="*/ 1127190 h 1734136"/>
              <a:gd name="connsiteX2687" fmla="*/ 822104 w 1493481"/>
              <a:gd name="connsiteY2687" fmla="*/ 1129472 h 1734136"/>
              <a:gd name="connsiteX2688" fmla="*/ 819821 w 1493481"/>
              <a:gd name="connsiteY2688" fmla="*/ 1129472 h 1734136"/>
              <a:gd name="connsiteX2689" fmla="*/ 819821 w 1493481"/>
              <a:gd name="connsiteY2689" fmla="*/ 1131754 h 1734136"/>
              <a:gd name="connsiteX2690" fmla="*/ 819821 w 1493481"/>
              <a:gd name="connsiteY2690" fmla="*/ 1134036 h 1734136"/>
              <a:gd name="connsiteX2691" fmla="*/ 817537 w 1493481"/>
              <a:gd name="connsiteY2691" fmla="*/ 1134036 h 1734136"/>
              <a:gd name="connsiteX2692" fmla="*/ 817537 w 1493481"/>
              <a:gd name="connsiteY2692" fmla="*/ 1136318 h 1734136"/>
              <a:gd name="connsiteX2693" fmla="*/ 817537 w 1493481"/>
              <a:gd name="connsiteY2693" fmla="*/ 1138600 h 1734136"/>
              <a:gd name="connsiteX2694" fmla="*/ 815253 w 1493481"/>
              <a:gd name="connsiteY2694" fmla="*/ 1138600 h 1734136"/>
              <a:gd name="connsiteX2695" fmla="*/ 815253 w 1493481"/>
              <a:gd name="connsiteY2695" fmla="*/ 1140881 h 1734136"/>
              <a:gd name="connsiteX2696" fmla="*/ 812970 w 1493481"/>
              <a:gd name="connsiteY2696" fmla="*/ 1140881 h 1734136"/>
              <a:gd name="connsiteX2697" fmla="*/ 812970 w 1493481"/>
              <a:gd name="connsiteY2697" fmla="*/ 1143163 h 1734136"/>
              <a:gd name="connsiteX2698" fmla="*/ 810686 w 1493481"/>
              <a:gd name="connsiteY2698" fmla="*/ 1143163 h 1734136"/>
              <a:gd name="connsiteX2699" fmla="*/ 810686 w 1493481"/>
              <a:gd name="connsiteY2699" fmla="*/ 1145445 h 1734136"/>
              <a:gd name="connsiteX2700" fmla="*/ 810686 w 1493481"/>
              <a:gd name="connsiteY2700" fmla="*/ 1147727 h 1734136"/>
              <a:gd name="connsiteX2701" fmla="*/ 808403 w 1493481"/>
              <a:gd name="connsiteY2701" fmla="*/ 1147727 h 1734136"/>
              <a:gd name="connsiteX2702" fmla="*/ 808403 w 1493481"/>
              <a:gd name="connsiteY2702" fmla="*/ 1150009 h 1734136"/>
              <a:gd name="connsiteX2703" fmla="*/ 806119 w 1493481"/>
              <a:gd name="connsiteY2703" fmla="*/ 1150009 h 1734136"/>
              <a:gd name="connsiteX2704" fmla="*/ 806119 w 1493481"/>
              <a:gd name="connsiteY2704" fmla="*/ 1152291 h 1734136"/>
              <a:gd name="connsiteX2705" fmla="*/ 806119 w 1493481"/>
              <a:gd name="connsiteY2705" fmla="*/ 1154573 h 1734136"/>
              <a:gd name="connsiteX2706" fmla="*/ 803836 w 1493481"/>
              <a:gd name="connsiteY2706" fmla="*/ 1154573 h 1734136"/>
              <a:gd name="connsiteX2707" fmla="*/ 803836 w 1493481"/>
              <a:gd name="connsiteY2707" fmla="*/ 1156855 h 1734136"/>
              <a:gd name="connsiteX2708" fmla="*/ 801552 w 1493481"/>
              <a:gd name="connsiteY2708" fmla="*/ 1156855 h 1734136"/>
              <a:gd name="connsiteX2709" fmla="*/ 801552 w 1493481"/>
              <a:gd name="connsiteY2709" fmla="*/ 1159136 h 1734136"/>
              <a:gd name="connsiteX2710" fmla="*/ 801552 w 1493481"/>
              <a:gd name="connsiteY2710" fmla="*/ 1161419 h 1734136"/>
              <a:gd name="connsiteX2711" fmla="*/ 799268 w 1493481"/>
              <a:gd name="connsiteY2711" fmla="*/ 1161419 h 1734136"/>
              <a:gd name="connsiteX2712" fmla="*/ 799268 w 1493481"/>
              <a:gd name="connsiteY2712" fmla="*/ 1163700 h 1734136"/>
              <a:gd name="connsiteX2713" fmla="*/ 799268 w 1493481"/>
              <a:gd name="connsiteY2713" fmla="*/ 1165982 h 1734136"/>
              <a:gd name="connsiteX2714" fmla="*/ 796984 w 1493481"/>
              <a:gd name="connsiteY2714" fmla="*/ 1168264 h 1734136"/>
              <a:gd name="connsiteX2715" fmla="*/ 796984 w 1493481"/>
              <a:gd name="connsiteY2715" fmla="*/ 1170546 h 1734136"/>
              <a:gd name="connsiteX2716" fmla="*/ 794701 w 1493481"/>
              <a:gd name="connsiteY2716" fmla="*/ 1170546 h 1734136"/>
              <a:gd name="connsiteX2717" fmla="*/ 794701 w 1493481"/>
              <a:gd name="connsiteY2717" fmla="*/ 1172828 h 1734136"/>
              <a:gd name="connsiteX2718" fmla="*/ 794701 w 1493481"/>
              <a:gd name="connsiteY2718" fmla="*/ 1175110 h 1734136"/>
              <a:gd name="connsiteX2719" fmla="*/ 792417 w 1493481"/>
              <a:gd name="connsiteY2719" fmla="*/ 1175110 h 1734136"/>
              <a:gd name="connsiteX2720" fmla="*/ 792417 w 1493481"/>
              <a:gd name="connsiteY2720" fmla="*/ 1177392 h 1734136"/>
              <a:gd name="connsiteX2721" fmla="*/ 792417 w 1493481"/>
              <a:gd name="connsiteY2721" fmla="*/ 1179674 h 1734136"/>
              <a:gd name="connsiteX2722" fmla="*/ 790134 w 1493481"/>
              <a:gd name="connsiteY2722" fmla="*/ 1179674 h 1734136"/>
              <a:gd name="connsiteX2723" fmla="*/ 790134 w 1493481"/>
              <a:gd name="connsiteY2723" fmla="*/ 1181956 h 1734136"/>
              <a:gd name="connsiteX2724" fmla="*/ 790134 w 1493481"/>
              <a:gd name="connsiteY2724" fmla="*/ 1184237 h 1734136"/>
              <a:gd name="connsiteX2725" fmla="*/ 787850 w 1493481"/>
              <a:gd name="connsiteY2725" fmla="*/ 1184237 h 1734136"/>
              <a:gd name="connsiteX2726" fmla="*/ 787850 w 1493481"/>
              <a:gd name="connsiteY2726" fmla="*/ 1186519 h 1734136"/>
              <a:gd name="connsiteX2727" fmla="*/ 787850 w 1493481"/>
              <a:gd name="connsiteY2727" fmla="*/ 1188801 h 1734136"/>
              <a:gd name="connsiteX2728" fmla="*/ 785566 w 1493481"/>
              <a:gd name="connsiteY2728" fmla="*/ 1188801 h 1734136"/>
              <a:gd name="connsiteX2729" fmla="*/ 785566 w 1493481"/>
              <a:gd name="connsiteY2729" fmla="*/ 1191083 h 1734136"/>
              <a:gd name="connsiteX2730" fmla="*/ 785566 w 1493481"/>
              <a:gd name="connsiteY2730" fmla="*/ 1193365 h 1734136"/>
              <a:gd name="connsiteX2731" fmla="*/ 783283 w 1493481"/>
              <a:gd name="connsiteY2731" fmla="*/ 1193365 h 1734136"/>
              <a:gd name="connsiteX2732" fmla="*/ 783283 w 1493481"/>
              <a:gd name="connsiteY2732" fmla="*/ 1195647 h 1734136"/>
              <a:gd name="connsiteX2733" fmla="*/ 780999 w 1493481"/>
              <a:gd name="connsiteY2733" fmla="*/ 1195647 h 1734136"/>
              <a:gd name="connsiteX2734" fmla="*/ 780999 w 1493481"/>
              <a:gd name="connsiteY2734" fmla="*/ 1197929 h 1734136"/>
              <a:gd name="connsiteX2735" fmla="*/ 780999 w 1493481"/>
              <a:gd name="connsiteY2735" fmla="*/ 1200211 h 1734136"/>
              <a:gd name="connsiteX2736" fmla="*/ 778716 w 1493481"/>
              <a:gd name="connsiteY2736" fmla="*/ 1200211 h 1734136"/>
              <a:gd name="connsiteX2737" fmla="*/ 778716 w 1493481"/>
              <a:gd name="connsiteY2737" fmla="*/ 1202493 h 1734136"/>
              <a:gd name="connsiteX2738" fmla="*/ 776432 w 1493481"/>
              <a:gd name="connsiteY2738" fmla="*/ 1202493 h 1734136"/>
              <a:gd name="connsiteX2739" fmla="*/ 776432 w 1493481"/>
              <a:gd name="connsiteY2739" fmla="*/ 1204775 h 1734136"/>
              <a:gd name="connsiteX2740" fmla="*/ 776432 w 1493481"/>
              <a:gd name="connsiteY2740" fmla="*/ 1207056 h 1734136"/>
              <a:gd name="connsiteX2741" fmla="*/ 774148 w 1493481"/>
              <a:gd name="connsiteY2741" fmla="*/ 1207056 h 1734136"/>
              <a:gd name="connsiteX2742" fmla="*/ 774148 w 1493481"/>
              <a:gd name="connsiteY2742" fmla="*/ 1209338 h 1734136"/>
              <a:gd name="connsiteX2743" fmla="*/ 771865 w 1493481"/>
              <a:gd name="connsiteY2743" fmla="*/ 1211620 h 1734136"/>
              <a:gd name="connsiteX2744" fmla="*/ 771865 w 1493481"/>
              <a:gd name="connsiteY2744" fmla="*/ 1213902 h 1734136"/>
              <a:gd name="connsiteX2745" fmla="*/ 771865 w 1493481"/>
              <a:gd name="connsiteY2745" fmla="*/ 1216184 h 1734136"/>
              <a:gd name="connsiteX2746" fmla="*/ 769581 w 1493481"/>
              <a:gd name="connsiteY2746" fmla="*/ 1218466 h 1734136"/>
              <a:gd name="connsiteX2747" fmla="*/ 769581 w 1493481"/>
              <a:gd name="connsiteY2747" fmla="*/ 1220748 h 1734136"/>
              <a:gd name="connsiteX2748" fmla="*/ 769581 w 1493481"/>
              <a:gd name="connsiteY2748" fmla="*/ 1223020 h 1734136"/>
              <a:gd name="connsiteX2749" fmla="*/ 769581 w 1493481"/>
              <a:gd name="connsiteY2749" fmla="*/ 1225302 h 1734136"/>
              <a:gd name="connsiteX2750" fmla="*/ 767298 w 1493481"/>
              <a:gd name="connsiteY2750" fmla="*/ 1225302 h 1734136"/>
              <a:gd name="connsiteX2751" fmla="*/ 767298 w 1493481"/>
              <a:gd name="connsiteY2751" fmla="*/ 1227584 h 1734136"/>
              <a:gd name="connsiteX2752" fmla="*/ 767298 w 1493481"/>
              <a:gd name="connsiteY2752" fmla="*/ 1229866 h 1734136"/>
              <a:gd name="connsiteX2753" fmla="*/ 767298 w 1493481"/>
              <a:gd name="connsiteY2753" fmla="*/ 1232148 h 1734136"/>
              <a:gd name="connsiteX2754" fmla="*/ 767298 w 1493481"/>
              <a:gd name="connsiteY2754" fmla="*/ 1234430 h 1734136"/>
              <a:gd name="connsiteX2755" fmla="*/ 767298 w 1493481"/>
              <a:gd name="connsiteY2755" fmla="*/ 1236712 h 1734136"/>
              <a:gd name="connsiteX2756" fmla="*/ 769581 w 1493481"/>
              <a:gd name="connsiteY2756" fmla="*/ 1236712 h 1734136"/>
              <a:gd name="connsiteX2757" fmla="*/ 769581 w 1493481"/>
              <a:gd name="connsiteY2757" fmla="*/ 1238993 h 1734136"/>
              <a:gd name="connsiteX2758" fmla="*/ 769581 w 1493481"/>
              <a:gd name="connsiteY2758" fmla="*/ 1241275 h 1734136"/>
              <a:gd name="connsiteX2759" fmla="*/ 769581 w 1493481"/>
              <a:gd name="connsiteY2759" fmla="*/ 1243557 h 1734136"/>
              <a:gd name="connsiteX2760" fmla="*/ 771865 w 1493481"/>
              <a:gd name="connsiteY2760" fmla="*/ 1243557 h 1734136"/>
              <a:gd name="connsiteX2761" fmla="*/ 771865 w 1493481"/>
              <a:gd name="connsiteY2761" fmla="*/ 1245839 h 1734136"/>
              <a:gd name="connsiteX2762" fmla="*/ 774148 w 1493481"/>
              <a:gd name="connsiteY2762" fmla="*/ 1245839 h 1734136"/>
              <a:gd name="connsiteX2763" fmla="*/ 774148 w 1493481"/>
              <a:gd name="connsiteY2763" fmla="*/ 1243557 h 1734136"/>
              <a:gd name="connsiteX2764" fmla="*/ 771865 w 1493481"/>
              <a:gd name="connsiteY2764" fmla="*/ 1245839 h 1734136"/>
              <a:gd name="connsiteX2765" fmla="*/ 769581 w 1493481"/>
              <a:gd name="connsiteY2765" fmla="*/ 1245839 h 1734136"/>
              <a:gd name="connsiteX2766" fmla="*/ 767298 w 1493481"/>
              <a:gd name="connsiteY2766" fmla="*/ 1243557 h 1734136"/>
              <a:gd name="connsiteX2767" fmla="*/ 765014 w 1493481"/>
              <a:gd name="connsiteY2767" fmla="*/ 1245839 h 1734136"/>
              <a:gd name="connsiteX2768" fmla="*/ 765014 w 1493481"/>
              <a:gd name="connsiteY2768" fmla="*/ 1243557 h 1734136"/>
              <a:gd name="connsiteX2769" fmla="*/ 765014 w 1493481"/>
              <a:gd name="connsiteY2769" fmla="*/ 1241275 h 1734136"/>
              <a:gd name="connsiteX2770" fmla="*/ 762731 w 1493481"/>
              <a:gd name="connsiteY2770" fmla="*/ 1241275 h 1734136"/>
              <a:gd name="connsiteX2771" fmla="*/ 760447 w 1493481"/>
              <a:gd name="connsiteY2771" fmla="*/ 1241275 h 1734136"/>
              <a:gd name="connsiteX2772" fmla="*/ 762731 w 1493481"/>
              <a:gd name="connsiteY2772" fmla="*/ 1241275 h 1734136"/>
              <a:gd name="connsiteX2773" fmla="*/ 762731 w 1493481"/>
              <a:gd name="connsiteY2773" fmla="*/ 1243557 h 1734136"/>
              <a:gd name="connsiteX2774" fmla="*/ 762731 w 1493481"/>
              <a:gd name="connsiteY2774" fmla="*/ 1241275 h 1734136"/>
              <a:gd name="connsiteX2775" fmla="*/ 760447 w 1493481"/>
              <a:gd name="connsiteY2775" fmla="*/ 1241275 h 1734136"/>
              <a:gd name="connsiteX2776" fmla="*/ 760447 w 1493481"/>
              <a:gd name="connsiteY2776" fmla="*/ 1243557 h 1734136"/>
              <a:gd name="connsiteX2777" fmla="*/ 758163 w 1493481"/>
              <a:gd name="connsiteY2777" fmla="*/ 1243557 h 1734136"/>
              <a:gd name="connsiteX2778" fmla="*/ 755880 w 1493481"/>
              <a:gd name="connsiteY2778" fmla="*/ 1245839 h 1734136"/>
              <a:gd name="connsiteX2779" fmla="*/ 755880 w 1493481"/>
              <a:gd name="connsiteY2779" fmla="*/ 1250403 h 1734136"/>
              <a:gd name="connsiteX2780" fmla="*/ 753596 w 1493481"/>
              <a:gd name="connsiteY2780" fmla="*/ 1250403 h 1734136"/>
              <a:gd name="connsiteX2781" fmla="*/ 751313 w 1493481"/>
              <a:gd name="connsiteY2781" fmla="*/ 1250403 h 1734136"/>
              <a:gd name="connsiteX2782" fmla="*/ 753596 w 1493481"/>
              <a:gd name="connsiteY2782" fmla="*/ 1250403 h 1734136"/>
              <a:gd name="connsiteX2783" fmla="*/ 753596 w 1493481"/>
              <a:gd name="connsiteY2783" fmla="*/ 1252685 h 1734136"/>
              <a:gd name="connsiteX2784" fmla="*/ 753596 w 1493481"/>
              <a:gd name="connsiteY2784" fmla="*/ 1250403 h 1734136"/>
              <a:gd name="connsiteX2785" fmla="*/ 753596 w 1493481"/>
              <a:gd name="connsiteY2785" fmla="*/ 1252685 h 1734136"/>
              <a:gd name="connsiteX2786" fmla="*/ 753596 w 1493481"/>
              <a:gd name="connsiteY2786" fmla="*/ 1250403 h 1734136"/>
              <a:gd name="connsiteX2787" fmla="*/ 753596 w 1493481"/>
              <a:gd name="connsiteY2787" fmla="*/ 1252685 h 1734136"/>
              <a:gd name="connsiteX2788" fmla="*/ 753596 w 1493481"/>
              <a:gd name="connsiteY2788" fmla="*/ 1250403 h 1734136"/>
              <a:gd name="connsiteX2789" fmla="*/ 755880 w 1493481"/>
              <a:gd name="connsiteY2789" fmla="*/ 1252685 h 1734136"/>
              <a:gd name="connsiteX2790" fmla="*/ 755880 w 1493481"/>
              <a:gd name="connsiteY2790" fmla="*/ 1254967 h 1734136"/>
              <a:gd name="connsiteX2791" fmla="*/ 753596 w 1493481"/>
              <a:gd name="connsiteY2791" fmla="*/ 1254967 h 1734136"/>
              <a:gd name="connsiteX2792" fmla="*/ 753596 w 1493481"/>
              <a:gd name="connsiteY2792" fmla="*/ 1257248 h 1734136"/>
              <a:gd name="connsiteX2793" fmla="*/ 755880 w 1493481"/>
              <a:gd name="connsiteY2793" fmla="*/ 1257248 h 1734136"/>
              <a:gd name="connsiteX2794" fmla="*/ 755880 w 1493481"/>
              <a:gd name="connsiteY2794" fmla="*/ 1259531 h 1734136"/>
              <a:gd name="connsiteX2795" fmla="*/ 755880 w 1493481"/>
              <a:gd name="connsiteY2795" fmla="*/ 1257248 h 1734136"/>
              <a:gd name="connsiteX2796" fmla="*/ 755880 w 1493481"/>
              <a:gd name="connsiteY2796" fmla="*/ 1254967 h 1734136"/>
              <a:gd name="connsiteX2797" fmla="*/ 755880 w 1493481"/>
              <a:gd name="connsiteY2797" fmla="*/ 1252685 h 1734136"/>
              <a:gd name="connsiteX2798" fmla="*/ 758163 w 1493481"/>
              <a:gd name="connsiteY2798" fmla="*/ 1252685 h 1734136"/>
              <a:gd name="connsiteX2799" fmla="*/ 755880 w 1493481"/>
              <a:gd name="connsiteY2799" fmla="*/ 1252685 h 1734136"/>
              <a:gd name="connsiteX2800" fmla="*/ 758163 w 1493481"/>
              <a:gd name="connsiteY2800" fmla="*/ 1254967 h 1734136"/>
              <a:gd name="connsiteX2801" fmla="*/ 758163 w 1493481"/>
              <a:gd name="connsiteY2801" fmla="*/ 1252685 h 1734136"/>
              <a:gd name="connsiteX2802" fmla="*/ 758163 w 1493481"/>
              <a:gd name="connsiteY2802" fmla="*/ 1250403 h 1734136"/>
              <a:gd name="connsiteX2803" fmla="*/ 758163 w 1493481"/>
              <a:gd name="connsiteY2803" fmla="*/ 1248121 h 1734136"/>
              <a:gd name="connsiteX2804" fmla="*/ 762731 w 1493481"/>
              <a:gd name="connsiteY2804" fmla="*/ 1248121 h 1734136"/>
              <a:gd name="connsiteX2805" fmla="*/ 760447 w 1493481"/>
              <a:gd name="connsiteY2805" fmla="*/ 1250403 h 1734136"/>
              <a:gd name="connsiteX2806" fmla="*/ 762731 w 1493481"/>
              <a:gd name="connsiteY2806" fmla="*/ 1250403 h 1734136"/>
              <a:gd name="connsiteX2807" fmla="*/ 765014 w 1493481"/>
              <a:gd name="connsiteY2807" fmla="*/ 1248121 h 1734136"/>
              <a:gd name="connsiteX2808" fmla="*/ 765014 w 1493481"/>
              <a:gd name="connsiteY2808" fmla="*/ 1250403 h 1734136"/>
              <a:gd name="connsiteX2809" fmla="*/ 765014 w 1493481"/>
              <a:gd name="connsiteY2809" fmla="*/ 1248121 h 1734136"/>
              <a:gd name="connsiteX2810" fmla="*/ 767298 w 1493481"/>
              <a:gd name="connsiteY2810" fmla="*/ 1248121 h 1734136"/>
              <a:gd name="connsiteX2811" fmla="*/ 765014 w 1493481"/>
              <a:gd name="connsiteY2811" fmla="*/ 1250403 h 1734136"/>
              <a:gd name="connsiteX2812" fmla="*/ 767298 w 1493481"/>
              <a:gd name="connsiteY2812" fmla="*/ 1250403 h 1734136"/>
              <a:gd name="connsiteX2813" fmla="*/ 767298 w 1493481"/>
              <a:gd name="connsiteY2813" fmla="*/ 1248121 h 1734136"/>
              <a:gd name="connsiteX2814" fmla="*/ 767298 w 1493481"/>
              <a:gd name="connsiteY2814" fmla="*/ 1250403 h 1734136"/>
              <a:gd name="connsiteX2815" fmla="*/ 767298 w 1493481"/>
              <a:gd name="connsiteY2815" fmla="*/ 1248121 h 1734136"/>
              <a:gd name="connsiteX2816" fmla="*/ 767298 w 1493481"/>
              <a:gd name="connsiteY2816" fmla="*/ 1250403 h 1734136"/>
              <a:gd name="connsiteX2817" fmla="*/ 767298 w 1493481"/>
              <a:gd name="connsiteY2817" fmla="*/ 1248121 h 1734136"/>
              <a:gd name="connsiteX2818" fmla="*/ 769581 w 1493481"/>
              <a:gd name="connsiteY2818" fmla="*/ 1250403 h 1734136"/>
              <a:gd name="connsiteX2819" fmla="*/ 767298 w 1493481"/>
              <a:gd name="connsiteY2819" fmla="*/ 1250403 h 1734136"/>
              <a:gd name="connsiteX2820" fmla="*/ 765014 w 1493481"/>
              <a:gd name="connsiteY2820" fmla="*/ 1250403 h 1734136"/>
              <a:gd name="connsiteX2821" fmla="*/ 762731 w 1493481"/>
              <a:gd name="connsiteY2821" fmla="*/ 1252685 h 1734136"/>
              <a:gd name="connsiteX2822" fmla="*/ 765014 w 1493481"/>
              <a:gd name="connsiteY2822" fmla="*/ 1252685 h 1734136"/>
              <a:gd name="connsiteX2823" fmla="*/ 767298 w 1493481"/>
              <a:gd name="connsiteY2823" fmla="*/ 1252685 h 1734136"/>
              <a:gd name="connsiteX2824" fmla="*/ 767298 w 1493481"/>
              <a:gd name="connsiteY2824" fmla="*/ 1250403 h 1734136"/>
              <a:gd name="connsiteX2825" fmla="*/ 769581 w 1493481"/>
              <a:gd name="connsiteY2825" fmla="*/ 1250403 h 1734136"/>
              <a:gd name="connsiteX2826" fmla="*/ 771865 w 1493481"/>
              <a:gd name="connsiteY2826" fmla="*/ 1250403 h 1734136"/>
              <a:gd name="connsiteX2827" fmla="*/ 771865 w 1493481"/>
              <a:gd name="connsiteY2827" fmla="*/ 1248121 h 1734136"/>
              <a:gd name="connsiteX2828" fmla="*/ 774148 w 1493481"/>
              <a:gd name="connsiteY2828" fmla="*/ 1248121 h 1734136"/>
              <a:gd name="connsiteX2829" fmla="*/ 774148 w 1493481"/>
              <a:gd name="connsiteY2829" fmla="*/ 1245839 h 1734136"/>
              <a:gd name="connsiteX2830" fmla="*/ 776432 w 1493481"/>
              <a:gd name="connsiteY2830" fmla="*/ 1243557 h 1734136"/>
              <a:gd name="connsiteX2831" fmla="*/ 776432 w 1493481"/>
              <a:gd name="connsiteY2831" fmla="*/ 1245839 h 1734136"/>
              <a:gd name="connsiteX2832" fmla="*/ 776432 w 1493481"/>
              <a:gd name="connsiteY2832" fmla="*/ 1248121 h 1734136"/>
              <a:gd name="connsiteX2833" fmla="*/ 774148 w 1493481"/>
              <a:gd name="connsiteY2833" fmla="*/ 1248121 h 1734136"/>
              <a:gd name="connsiteX2834" fmla="*/ 774148 w 1493481"/>
              <a:gd name="connsiteY2834" fmla="*/ 1250403 h 1734136"/>
              <a:gd name="connsiteX2835" fmla="*/ 771865 w 1493481"/>
              <a:gd name="connsiteY2835" fmla="*/ 1250403 h 1734136"/>
              <a:gd name="connsiteX2836" fmla="*/ 771865 w 1493481"/>
              <a:gd name="connsiteY2836" fmla="*/ 1252685 h 1734136"/>
              <a:gd name="connsiteX2837" fmla="*/ 771865 w 1493481"/>
              <a:gd name="connsiteY2837" fmla="*/ 1254967 h 1734136"/>
              <a:gd name="connsiteX2838" fmla="*/ 769581 w 1493481"/>
              <a:gd name="connsiteY2838" fmla="*/ 1254967 h 1734136"/>
              <a:gd name="connsiteX2839" fmla="*/ 769581 w 1493481"/>
              <a:gd name="connsiteY2839" fmla="*/ 1257248 h 1734136"/>
              <a:gd name="connsiteX2840" fmla="*/ 767298 w 1493481"/>
              <a:gd name="connsiteY2840" fmla="*/ 1257248 h 1734136"/>
              <a:gd name="connsiteX2841" fmla="*/ 767298 w 1493481"/>
              <a:gd name="connsiteY2841" fmla="*/ 1259531 h 1734136"/>
              <a:gd name="connsiteX2842" fmla="*/ 765014 w 1493481"/>
              <a:gd name="connsiteY2842" fmla="*/ 1259531 h 1734136"/>
              <a:gd name="connsiteX2843" fmla="*/ 765014 w 1493481"/>
              <a:gd name="connsiteY2843" fmla="*/ 1261812 h 1734136"/>
              <a:gd name="connsiteX2844" fmla="*/ 765014 w 1493481"/>
              <a:gd name="connsiteY2844" fmla="*/ 1264094 h 1734136"/>
              <a:gd name="connsiteX2845" fmla="*/ 762731 w 1493481"/>
              <a:gd name="connsiteY2845" fmla="*/ 1264094 h 1734136"/>
              <a:gd name="connsiteX2846" fmla="*/ 760447 w 1493481"/>
              <a:gd name="connsiteY2846" fmla="*/ 1264094 h 1734136"/>
              <a:gd name="connsiteX2847" fmla="*/ 760447 w 1493481"/>
              <a:gd name="connsiteY2847" fmla="*/ 1266376 h 1734136"/>
              <a:gd name="connsiteX2848" fmla="*/ 760447 w 1493481"/>
              <a:gd name="connsiteY2848" fmla="*/ 1268658 h 1734136"/>
              <a:gd name="connsiteX2849" fmla="*/ 758163 w 1493481"/>
              <a:gd name="connsiteY2849" fmla="*/ 1268658 h 1734136"/>
              <a:gd name="connsiteX2850" fmla="*/ 758163 w 1493481"/>
              <a:gd name="connsiteY2850" fmla="*/ 1270940 h 1734136"/>
              <a:gd name="connsiteX2851" fmla="*/ 755880 w 1493481"/>
              <a:gd name="connsiteY2851" fmla="*/ 1270940 h 1734136"/>
              <a:gd name="connsiteX2852" fmla="*/ 755880 w 1493481"/>
              <a:gd name="connsiteY2852" fmla="*/ 1273222 h 1734136"/>
              <a:gd name="connsiteX2853" fmla="*/ 753596 w 1493481"/>
              <a:gd name="connsiteY2853" fmla="*/ 1273222 h 1734136"/>
              <a:gd name="connsiteX2854" fmla="*/ 753596 w 1493481"/>
              <a:gd name="connsiteY2854" fmla="*/ 1275504 h 1734136"/>
              <a:gd name="connsiteX2855" fmla="*/ 751313 w 1493481"/>
              <a:gd name="connsiteY2855" fmla="*/ 1275504 h 1734136"/>
              <a:gd name="connsiteX2856" fmla="*/ 751313 w 1493481"/>
              <a:gd name="connsiteY2856" fmla="*/ 1277786 h 1734136"/>
              <a:gd name="connsiteX2857" fmla="*/ 749029 w 1493481"/>
              <a:gd name="connsiteY2857" fmla="*/ 1277786 h 1734136"/>
              <a:gd name="connsiteX2858" fmla="*/ 749029 w 1493481"/>
              <a:gd name="connsiteY2858" fmla="*/ 1280068 h 1734136"/>
              <a:gd name="connsiteX2859" fmla="*/ 749029 w 1493481"/>
              <a:gd name="connsiteY2859" fmla="*/ 1282349 h 1734136"/>
              <a:gd name="connsiteX2860" fmla="*/ 746746 w 1493481"/>
              <a:gd name="connsiteY2860" fmla="*/ 1282349 h 1734136"/>
              <a:gd name="connsiteX2861" fmla="*/ 746746 w 1493481"/>
              <a:gd name="connsiteY2861" fmla="*/ 1284631 h 1734136"/>
              <a:gd name="connsiteX2862" fmla="*/ 744462 w 1493481"/>
              <a:gd name="connsiteY2862" fmla="*/ 1284631 h 1734136"/>
              <a:gd name="connsiteX2863" fmla="*/ 744462 w 1493481"/>
              <a:gd name="connsiteY2863" fmla="*/ 1286913 h 1734136"/>
              <a:gd name="connsiteX2864" fmla="*/ 742178 w 1493481"/>
              <a:gd name="connsiteY2864" fmla="*/ 1286913 h 1734136"/>
              <a:gd name="connsiteX2865" fmla="*/ 742178 w 1493481"/>
              <a:gd name="connsiteY2865" fmla="*/ 1289195 h 1734136"/>
              <a:gd name="connsiteX2866" fmla="*/ 739895 w 1493481"/>
              <a:gd name="connsiteY2866" fmla="*/ 1289195 h 1734136"/>
              <a:gd name="connsiteX2867" fmla="*/ 739895 w 1493481"/>
              <a:gd name="connsiteY2867" fmla="*/ 1291477 h 1734136"/>
              <a:gd name="connsiteX2868" fmla="*/ 737611 w 1493481"/>
              <a:gd name="connsiteY2868" fmla="*/ 1291477 h 1734136"/>
              <a:gd name="connsiteX2869" fmla="*/ 737611 w 1493481"/>
              <a:gd name="connsiteY2869" fmla="*/ 1293759 h 1734136"/>
              <a:gd name="connsiteX2870" fmla="*/ 735328 w 1493481"/>
              <a:gd name="connsiteY2870" fmla="*/ 1293759 h 1734136"/>
              <a:gd name="connsiteX2871" fmla="*/ 735328 w 1493481"/>
              <a:gd name="connsiteY2871" fmla="*/ 1296041 h 1734136"/>
              <a:gd name="connsiteX2872" fmla="*/ 733044 w 1493481"/>
              <a:gd name="connsiteY2872" fmla="*/ 1296041 h 1734136"/>
              <a:gd name="connsiteX2873" fmla="*/ 733044 w 1493481"/>
              <a:gd name="connsiteY2873" fmla="*/ 1298323 h 1734136"/>
              <a:gd name="connsiteX2874" fmla="*/ 730760 w 1493481"/>
              <a:gd name="connsiteY2874" fmla="*/ 1298323 h 1734136"/>
              <a:gd name="connsiteX2875" fmla="*/ 730760 w 1493481"/>
              <a:gd name="connsiteY2875" fmla="*/ 1300605 h 1734136"/>
              <a:gd name="connsiteX2876" fmla="*/ 728476 w 1493481"/>
              <a:gd name="connsiteY2876" fmla="*/ 1300605 h 1734136"/>
              <a:gd name="connsiteX2877" fmla="*/ 728476 w 1493481"/>
              <a:gd name="connsiteY2877" fmla="*/ 1302887 h 1734136"/>
              <a:gd name="connsiteX2878" fmla="*/ 726193 w 1493481"/>
              <a:gd name="connsiteY2878" fmla="*/ 1302887 h 1734136"/>
              <a:gd name="connsiteX2879" fmla="*/ 726193 w 1493481"/>
              <a:gd name="connsiteY2879" fmla="*/ 1305168 h 1734136"/>
              <a:gd name="connsiteX2880" fmla="*/ 723909 w 1493481"/>
              <a:gd name="connsiteY2880" fmla="*/ 1305168 h 1734136"/>
              <a:gd name="connsiteX2881" fmla="*/ 723909 w 1493481"/>
              <a:gd name="connsiteY2881" fmla="*/ 1307450 h 1734136"/>
              <a:gd name="connsiteX2882" fmla="*/ 721626 w 1493481"/>
              <a:gd name="connsiteY2882" fmla="*/ 1307450 h 1734136"/>
              <a:gd name="connsiteX2883" fmla="*/ 721626 w 1493481"/>
              <a:gd name="connsiteY2883" fmla="*/ 1309732 h 1734136"/>
              <a:gd name="connsiteX2884" fmla="*/ 719342 w 1493481"/>
              <a:gd name="connsiteY2884" fmla="*/ 1309732 h 1734136"/>
              <a:gd name="connsiteX2885" fmla="*/ 717058 w 1493481"/>
              <a:gd name="connsiteY2885" fmla="*/ 1309732 h 1734136"/>
              <a:gd name="connsiteX2886" fmla="*/ 717058 w 1493481"/>
              <a:gd name="connsiteY2886" fmla="*/ 1312014 h 1734136"/>
              <a:gd name="connsiteX2887" fmla="*/ 714775 w 1493481"/>
              <a:gd name="connsiteY2887" fmla="*/ 1312014 h 1734136"/>
              <a:gd name="connsiteX2888" fmla="*/ 714775 w 1493481"/>
              <a:gd name="connsiteY2888" fmla="*/ 1314296 h 1734136"/>
              <a:gd name="connsiteX2889" fmla="*/ 712491 w 1493481"/>
              <a:gd name="connsiteY2889" fmla="*/ 1314296 h 1734136"/>
              <a:gd name="connsiteX2890" fmla="*/ 712491 w 1493481"/>
              <a:gd name="connsiteY2890" fmla="*/ 1316578 h 1734136"/>
              <a:gd name="connsiteX2891" fmla="*/ 712491 w 1493481"/>
              <a:gd name="connsiteY2891" fmla="*/ 1318860 h 1734136"/>
              <a:gd name="connsiteX2892" fmla="*/ 710208 w 1493481"/>
              <a:gd name="connsiteY2892" fmla="*/ 1318860 h 1734136"/>
              <a:gd name="connsiteX2893" fmla="*/ 710208 w 1493481"/>
              <a:gd name="connsiteY2893" fmla="*/ 1321142 h 1734136"/>
              <a:gd name="connsiteX2894" fmla="*/ 710208 w 1493481"/>
              <a:gd name="connsiteY2894" fmla="*/ 1323424 h 1734136"/>
              <a:gd name="connsiteX2895" fmla="*/ 707924 w 1493481"/>
              <a:gd name="connsiteY2895" fmla="*/ 1323424 h 1734136"/>
              <a:gd name="connsiteX2896" fmla="*/ 707924 w 1493481"/>
              <a:gd name="connsiteY2896" fmla="*/ 1325705 h 1734136"/>
              <a:gd name="connsiteX2897" fmla="*/ 705641 w 1493481"/>
              <a:gd name="connsiteY2897" fmla="*/ 1325705 h 1734136"/>
              <a:gd name="connsiteX2898" fmla="*/ 705641 w 1493481"/>
              <a:gd name="connsiteY2898" fmla="*/ 1327987 h 1734136"/>
              <a:gd name="connsiteX2899" fmla="*/ 705641 w 1493481"/>
              <a:gd name="connsiteY2899" fmla="*/ 1330269 h 1734136"/>
              <a:gd name="connsiteX2900" fmla="*/ 703357 w 1493481"/>
              <a:gd name="connsiteY2900" fmla="*/ 1330269 h 1734136"/>
              <a:gd name="connsiteX2901" fmla="*/ 703357 w 1493481"/>
              <a:gd name="connsiteY2901" fmla="*/ 1332551 h 1734136"/>
              <a:gd name="connsiteX2902" fmla="*/ 701073 w 1493481"/>
              <a:gd name="connsiteY2902" fmla="*/ 1332551 h 1734136"/>
              <a:gd name="connsiteX2903" fmla="*/ 701073 w 1493481"/>
              <a:gd name="connsiteY2903" fmla="*/ 1334833 h 1734136"/>
              <a:gd name="connsiteX2904" fmla="*/ 701073 w 1493481"/>
              <a:gd name="connsiteY2904" fmla="*/ 1337115 h 1734136"/>
              <a:gd name="connsiteX2905" fmla="*/ 701073 w 1493481"/>
              <a:gd name="connsiteY2905" fmla="*/ 1339397 h 1734136"/>
              <a:gd name="connsiteX2906" fmla="*/ 698790 w 1493481"/>
              <a:gd name="connsiteY2906" fmla="*/ 1339397 h 1734136"/>
              <a:gd name="connsiteX2907" fmla="*/ 698790 w 1493481"/>
              <a:gd name="connsiteY2907" fmla="*/ 1341679 h 1734136"/>
              <a:gd name="connsiteX2908" fmla="*/ 698790 w 1493481"/>
              <a:gd name="connsiteY2908" fmla="*/ 1343961 h 1734136"/>
              <a:gd name="connsiteX2909" fmla="*/ 696506 w 1493481"/>
              <a:gd name="connsiteY2909" fmla="*/ 1343961 h 1734136"/>
              <a:gd name="connsiteX2910" fmla="*/ 696506 w 1493481"/>
              <a:gd name="connsiteY2910" fmla="*/ 1346243 h 1734136"/>
              <a:gd name="connsiteX2911" fmla="*/ 696506 w 1493481"/>
              <a:gd name="connsiteY2911" fmla="*/ 1348524 h 1734136"/>
              <a:gd name="connsiteX2912" fmla="*/ 696506 w 1493481"/>
              <a:gd name="connsiteY2912" fmla="*/ 1350806 h 1734136"/>
              <a:gd name="connsiteX2913" fmla="*/ 694223 w 1493481"/>
              <a:gd name="connsiteY2913" fmla="*/ 1350806 h 1734136"/>
              <a:gd name="connsiteX2914" fmla="*/ 691939 w 1493481"/>
              <a:gd name="connsiteY2914" fmla="*/ 1353088 h 1734136"/>
              <a:gd name="connsiteX2915" fmla="*/ 691939 w 1493481"/>
              <a:gd name="connsiteY2915" fmla="*/ 1355370 h 1734136"/>
              <a:gd name="connsiteX2916" fmla="*/ 689656 w 1493481"/>
              <a:gd name="connsiteY2916" fmla="*/ 1357652 h 1734136"/>
              <a:gd name="connsiteX2917" fmla="*/ 689656 w 1493481"/>
              <a:gd name="connsiteY2917" fmla="*/ 1359934 h 1734136"/>
              <a:gd name="connsiteX2918" fmla="*/ 687372 w 1493481"/>
              <a:gd name="connsiteY2918" fmla="*/ 1359934 h 1734136"/>
              <a:gd name="connsiteX2919" fmla="*/ 687372 w 1493481"/>
              <a:gd name="connsiteY2919" fmla="*/ 1362216 h 1734136"/>
              <a:gd name="connsiteX2920" fmla="*/ 685088 w 1493481"/>
              <a:gd name="connsiteY2920" fmla="*/ 1364498 h 1734136"/>
              <a:gd name="connsiteX2921" fmla="*/ 685088 w 1493481"/>
              <a:gd name="connsiteY2921" fmla="*/ 1366780 h 1734136"/>
              <a:gd name="connsiteX2922" fmla="*/ 685088 w 1493481"/>
              <a:gd name="connsiteY2922" fmla="*/ 1369061 h 1734136"/>
              <a:gd name="connsiteX2923" fmla="*/ 682805 w 1493481"/>
              <a:gd name="connsiteY2923" fmla="*/ 1369061 h 1734136"/>
              <a:gd name="connsiteX2924" fmla="*/ 682805 w 1493481"/>
              <a:gd name="connsiteY2924" fmla="*/ 1371343 h 1734136"/>
              <a:gd name="connsiteX2925" fmla="*/ 682805 w 1493481"/>
              <a:gd name="connsiteY2925" fmla="*/ 1373625 h 1734136"/>
              <a:gd name="connsiteX2926" fmla="*/ 680521 w 1493481"/>
              <a:gd name="connsiteY2926" fmla="*/ 1373625 h 1734136"/>
              <a:gd name="connsiteX2927" fmla="*/ 680521 w 1493481"/>
              <a:gd name="connsiteY2927" fmla="*/ 1375907 h 1734136"/>
              <a:gd name="connsiteX2928" fmla="*/ 680521 w 1493481"/>
              <a:gd name="connsiteY2928" fmla="*/ 1378189 h 1734136"/>
              <a:gd name="connsiteX2929" fmla="*/ 678238 w 1493481"/>
              <a:gd name="connsiteY2929" fmla="*/ 1378189 h 1734136"/>
              <a:gd name="connsiteX2930" fmla="*/ 678238 w 1493481"/>
              <a:gd name="connsiteY2930" fmla="*/ 1380461 h 1734136"/>
              <a:gd name="connsiteX2931" fmla="*/ 678238 w 1493481"/>
              <a:gd name="connsiteY2931" fmla="*/ 1382743 h 1734136"/>
              <a:gd name="connsiteX2932" fmla="*/ 675954 w 1493481"/>
              <a:gd name="connsiteY2932" fmla="*/ 1382743 h 1734136"/>
              <a:gd name="connsiteX2933" fmla="*/ 675954 w 1493481"/>
              <a:gd name="connsiteY2933" fmla="*/ 1385025 h 1734136"/>
              <a:gd name="connsiteX2934" fmla="*/ 675954 w 1493481"/>
              <a:gd name="connsiteY2934" fmla="*/ 1387307 h 1734136"/>
              <a:gd name="connsiteX2935" fmla="*/ 673670 w 1493481"/>
              <a:gd name="connsiteY2935" fmla="*/ 1387307 h 1734136"/>
              <a:gd name="connsiteX2936" fmla="*/ 673670 w 1493481"/>
              <a:gd name="connsiteY2936" fmla="*/ 1389589 h 1734136"/>
              <a:gd name="connsiteX2937" fmla="*/ 673670 w 1493481"/>
              <a:gd name="connsiteY2937" fmla="*/ 1391871 h 1734136"/>
              <a:gd name="connsiteX2938" fmla="*/ 671387 w 1493481"/>
              <a:gd name="connsiteY2938" fmla="*/ 1391871 h 1734136"/>
              <a:gd name="connsiteX2939" fmla="*/ 673670 w 1493481"/>
              <a:gd name="connsiteY2939" fmla="*/ 1391871 h 1734136"/>
              <a:gd name="connsiteX2940" fmla="*/ 671387 w 1493481"/>
              <a:gd name="connsiteY2940" fmla="*/ 1391871 h 1734136"/>
              <a:gd name="connsiteX2941" fmla="*/ 671387 w 1493481"/>
              <a:gd name="connsiteY2941" fmla="*/ 1394153 h 1734136"/>
              <a:gd name="connsiteX2942" fmla="*/ 671387 w 1493481"/>
              <a:gd name="connsiteY2942" fmla="*/ 1391871 h 1734136"/>
              <a:gd name="connsiteX2943" fmla="*/ 671387 w 1493481"/>
              <a:gd name="connsiteY2943" fmla="*/ 1394153 h 1734136"/>
              <a:gd name="connsiteX2944" fmla="*/ 671387 w 1493481"/>
              <a:gd name="connsiteY2944" fmla="*/ 1396435 h 1734136"/>
              <a:gd name="connsiteX2945" fmla="*/ 669103 w 1493481"/>
              <a:gd name="connsiteY2945" fmla="*/ 1396435 h 1734136"/>
              <a:gd name="connsiteX2946" fmla="*/ 671387 w 1493481"/>
              <a:gd name="connsiteY2946" fmla="*/ 1396435 h 1734136"/>
              <a:gd name="connsiteX2947" fmla="*/ 671387 w 1493481"/>
              <a:gd name="connsiteY2947" fmla="*/ 1398717 h 1734136"/>
              <a:gd name="connsiteX2948" fmla="*/ 669103 w 1493481"/>
              <a:gd name="connsiteY2948" fmla="*/ 1398717 h 1734136"/>
              <a:gd name="connsiteX2949" fmla="*/ 669103 w 1493481"/>
              <a:gd name="connsiteY2949" fmla="*/ 1400999 h 1734136"/>
              <a:gd name="connsiteX2950" fmla="*/ 666820 w 1493481"/>
              <a:gd name="connsiteY2950" fmla="*/ 1400999 h 1734136"/>
              <a:gd name="connsiteX2951" fmla="*/ 666820 w 1493481"/>
              <a:gd name="connsiteY2951" fmla="*/ 1403280 h 1734136"/>
              <a:gd name="connsiteX2952" fmla="*/ 664536 w 1493481"/>
              <a:gd name="connsiteY2952" fmla="*/ 1403280 h 1734136"/>
              <a:gd name="connsiteX2953" fmla="*/ 664536 w 1493481"/>
              <a:gd name="connsiteY2953" fmla="*/ 1405562 h 1734136"/>
              <a:gd name="connsiteX2954" fmla="*/ 662253 w 1493481"/>
              <a:gd name="connsiteY2954" fmla="*/ 1405562 h 1734136"/>
              <a:gd name="connsiteX2955" fmla="*/ 662253 w 1493481"/>
              <a:gd name="connsiteY2955" fmla="*/ 1407844 h 1734136"/>
              <a:gd name="connsiteX2956" fmla="*/ 662253 w 1493481"/>
              <a:gd name="connsiteY2956" fmla="*/ 1410126 h 1734136"/>
              <a:gd name="connsiteX2957" fmla="*/ 662253 w 1493481"/>
              <a:gd name="connsiteY2957" fmla="*/ 1412408 h 1734136"/>
              <a:gd name="connsiteX2958" fmla="*/ 662253 w 1493481"/>
              <a:gd name="connsiteY2958" fmla="*/ 1414690 h 1734136"/>
              <a:gd name="connsiteX2959" fmla="*/ 659968 w 1493481"/>
              <a:gd name="connsiteY2959" fmla="*/ 1414690 h 1734136"/>
              <a:gd name="connsiteX2960" fmla="*/ 659968 w 1493481"/>
              <a:gd name="connsiteY2960" fmla="*/ 1416972 h 1734136"/>
              <a:gd name="connsiteX2961" fmla="*/ 657685 w 1493481"/>
              <a:gd name="connsiteY2961" fmla="*/ 1416972 h 1734136"/>
              <a:gd name="connsiteX2962" fmla="*/ 657685 w 1493481"/>
              <a:gd name="connsiteY2962" fmla="*/ 1419254 h 1734136"/>
              <a:gd name="connsiteX2963" fmla="*/ 657685 w 1493481"/>
              <a:gd name="connsiteY2963" fmla="*/ 1421536 h 1734136"/>
              <a:gd name="connsiteX2964" fmla="*/ 655401 w 1493481"/>
              <a:gd name="connsiteY2964" fmla="*/ 1421536 h 1734136"/>
              <a:gd name="connsiteX2965" fmla="*/ 655401 w 1493481"/>
              <a:gd name="connsiteY2965" fmla="*/ 1423817 h 1734136"/>
              <a:gd name="connsiteX2966" fmla="*/ 655401 w 1493481"/>
              <a:gd name="connsiteY2966" fmla="*/ 1426099 h 1734136"/>
              <a:gd name="connsiteX2967" fmla="*/ 655401 w 1493481"/>
              <a:gd name="connsiteY2967" fmla="*/ 1428381 h 1734136"/>
              <a:gd name="connsiteX2968" fmla="*/ 653118 w 1493481"/>
              <a:gd name="connsiteY2968" fmla="*/ 1428381 h 1734136"/>
              <a:gd name="connsiteX2969" fmla="*/ 653118 w 1493481"/>
              <a:gd name="connsiteY2969" fmla="*/ 1430663 h 1734136"/>
              <a:gd name="connsiteX2970" fmla="*/ 653118 w 1493481"/>
              <a:gd name="connsiteY2970" fmla="*/ 1432945 h 1734136"/>
              <a:gd name="connsiteX2971" fmla="*/ 653118 w 1493481"/>
              <a:gd name="connsiteY2971" fmla="*/ 1435227 h 1734136"/>
              <a:gd name="connsiteX2972" fmla="*/ 650834 w 1493481"/>
              <a:gd name="connsiteY2972" fmla="*/ 1435227 h 1734136"/>
              <a:gd name="connsiteX2973" fmla="*/ 650834 w 1493481"/>
              <a:gd name="connsiteY2973" fmla="*/ 1437509 h 1734136"/>
              <a:gd name="connsiteX2974" fmla="*/ 648551 w 1493481"/>
              <a:gd name="connsiteY2974" fmla="*/ 1437509 h 1734136"/>
              <a:gd name="connsiteX2975" fmla="*/ 648551 w 1493481"/>
              <a:gd name="connsiteY2975" fmla="*/ 1439791 h 1734136"/>
              <a:gd name="connsiteX2976" fmla="*/ 646267 w 1493481"/>
              <a:gd name="connsiteY2976" fmla="*/ 1439791 h 1734136"/>
              <a:gd name="connsiteX2977" fmla="*/ 646267 w 1493481"/>
              <a:gd name="connsiteY2977" fmla="*/ 1442073 h 1734136"/>
              <a:gd name="connsiteX2978" fmla="*/ 646267 w 1493481"/>
              <a:gd name="connsiteY2978" fmla="*/ 1444355 h 1734136"/>
              <a:gd name="connsiteX2979" fmla="*/ 643983 w 1493481"/>
              <a:gd name="connsiteY2979" fmla="*/ 1444355 h 1734136"/>
              <a:gd name="connsiteX2980" fmla="*/ 643983 w 1493481"/>
              <a:gd name="connsiteY2980" fmla="*/ 1446636 h 1734136"/>
              <a:gd name="connsiteX2981" fmla="*/ 641700 w 1493481"/>
              <a:gd name="connsiteY2981" fmla="*/ 1446636 h 1734136"/>
              <a:gd name="connsiteX2982" fmla="*/ 641700 w 1493481"/>
              <a:gd name="connsiteY2982" fmla="*/ 1448918 h 1734136"/>
              <a:gd name="connsiteX2983" fmla="*/ 639416 w 1493481"/>
              <a:gd name="connsiteY2983" fmla="*/ 1448918 h 1734136"/>
              <a:gd name="connsiteX2984" fmla="*/ 639416 w 1493481"/>
              <a:gd name="connsiteY2984" fmla="*/ 1451200 h 1734136"/>
              <a:gd name="connsiteX2985" fmla="*/ 639416 w 1493481"/>
              <a:gd name="connsiteY2985" fmla="*/ 1453482 h 1734136"/>
              <a:gd name="connsiteX2986" fmla="*/ 637133 w 1493481"/>
              <a:gd name="connsiteY2986" fmla="*/ 1453482 h 1734136"/>
              <a:gd name="connsiteX2987" fmla="*/ 637133 w 1493481"/>
              <a:gd name="connsiteY2987" fmla="*/ 1455764 h 1734136"/>
              <a:gd name="connsiteX2988" fmla="*/ 637133 w 1493481"/>
              <a:gd name="connsiteY2988" fmla="*/ 1458046 h 1734136"/>
              <a:gd name="connsiteX2989" fmla="*/ 637133 w 1493481"/>
              <a:gd name="connsiteY2989" fmla="*/ 1455764 h 1734136"/>
              <a:gd name="connsiteX2990" fmla="*/ 637133 w 1493481"/>
              <a:gd name="connsiteY2990" fmla="*/ 1458046 h 1734136"/>
              <a:gd name="connsiteX2991" fmla="*/ 634849 w 1493481"/>
              <a:gd name="connsiteY2991" fmla="*/ 1458046 h 1734136"/>
              <a:gd name="connsiteX2992" fmla="*/ 637133 w 1493481"/>
              <a:gd name="connsiteY2992" fmla="*/ 1458046 h 1734136"/>
              <a:gd name="connsiteX2993" fmla="*/ 634849 w 1493481"/>
              <a:gd name="connsiteY2993" fmla="*/ 1458046 h 1734136"/>
              <a:gd name="connsiteX2994" fmla="*/ 634849 w 1493481"/>
              <a:gd name="connsiteY2994" fmla="*/ 1460328 h 1734136"/>
              <a:gd name="connsiteX2995" fmla="*/ 632566 w 1493481"/>
              <a:gd name="connsiteY2995" fmla="*/ 1460328 h 1734136"/>
              <a:gd name="connsiteX2996" fmla="*/ 632566 w 1493481"/>
              <a:gd name="connsiteY2996" fmla="*/ 1462610 h 1734136"/>
              <a:gd name="connsiteX2997" fmla="*/ 632566 w 1493481"/>
              <a:gd name="connsiteY2997" fmla="*/ 1464892 h 1734136"/>
              <a:gd name="connsiteX2998" fmla="*/ 630282 w 1493481"/>
              <a:gd name="connsiteY2998" fmla="*/ 1464892 h 1734136"/>
              <a:gd name="connsiteX2999" fmla="*/ 630282 w 1493481"/>
              <a:gd name="connsiteY2999" fmla="*/ 1467173 h 1734136"/>
              <a:gd name="connsiteX3000" fmla="*/ 627998 w 1493481"/>
              <a:gd name="connsiteY3000" fmla="*/ 1467173 h 1734136"/>
              <a:gd name="connsiteX3001" fmla="*/ 627998 w 1493481"/>
              <a:gd name="connsiteY3001" fmla="*/ 1469455 h 1734136"/>
              <a:gd name="connsiteX3002" fmla="*/ 630282 w 1493481"/>
              <a:gd name="connsiteY3002" fmla="*/ 1469455 h 1734136"/>
              <a:gd name="connsiteX3003" fmla="*/ 627998 w 1493481"/>
              <a:gd name="connsiteY3003" fmla="*/ 1469455 h 1734136"/>
              <a:gd name="connsiteX3004" fmla="*/ 627998 w 1493481"/>
              <a:gd name="connsiteY3004" fmla="*/ 1471737 h 1734136"/>
              <a:gd name="connsiteX3005" fmla="*/ 627998 w 1493481"/>
              <a:gd name="connsiteY3005" fmla="*/ 1469455 h 1734136"/>
              <a:gd name="connsiteX3006" fmla="*/ 627998 w 1493481"/>
              <a:gd name="connsiteY3006" fmla="*/ 1471737 h 1734136"/>
              <a:gd name="connsiteX3007" fmla="*/ 627998 w 1493481"/>
              <a:gd name="connsiteY3007" fmla="*/ 1474019 h 1734136"/>
              <a:gd name="connsiteX3008" fmla="*/ 625715 w 1493481"/>
              <a:gd name="connsiteY3008" fmla="*/ 1474019 h 1734136"/>
              <a:gd name="connsiteX3009" fmla="*/ 625715 w 1493481"/>
              <a:gd name="connsiteY3009" fmla="*/ 1476301 h 1734136"/>
              <a:gd name="connsiteX3010" fmla="*/ 623431 w 1493481"/>
              <a:gd name="connsiteY3010" fmla="*/ 1476301 h 1734136"/>
              <a:gd name="connsiteX3011" fmla="*/ 625715 w 1493481"/>
              <a:gd name="connsiteY3011" fmla="*/ 1476301 h 1734136"/>
              <a:gd name="connsiteX3012" fmla="*/ 623431 w 1493481"/>
              <a:gd name="connsiteY3012" fmla="*/ 1476301 h 1734136"/>
              <a:gd name="connsiteX3013" fmla="*/ 625715 w 1493481"/>
              <a:gd name="connsiteY3013" fmla="*/ 1476301 h 1734136"/>
              <a:gd name="connsiteX3014" fmla="*/ 623431 w 1493481"/>
              <a:gd name="connsiteY3014" fmla="*/ 1476301 h 1734136"/>
              <a:gd name="connsiteX3015" fmla="*/ 623431 w 1493481"/>
              <a:gd name="connsiteY3015" fmla="*/ 1478583 h 1734136"/>
              <a:gd name="connsiteX3016" fmla="*/ 623431 w 1493481"/>
              <a:gd name="connsiteY3016" fmla="*/ 1480865 h 1734136"/>
              <a:gd name="connsiteX3017" fmla="*/ 621148 w 1493481"/>
              <a:gd name="connsiteY3017" fmla="*/ 1480865 h 1734136"/>
              <a:gd name="connsiteX3018" fmla="*/ 621148 w 1493481"/>
              <a:gd name="connsiteY3018" fmla="*/ 1483147 h 1734136"/>
              <a:gd name="connsiteX3019" fmla="*/ 621148 w 1493481"/>
              <a:gd name="connsiteY3019" fmla="*/ 1485429 h 1734136"/>
              <a:gd name="connsiteX3020" fmla="*/ 621148 w 1493481"/>
              <a:gd name="connsiteY3020" fmla="*/ 1483147 h 1734136"/>
              <a:gd name="connsiteX3021" fmla="*/ 621148 w 1493481"/>
              <a:gd name="connsiteY3021" fmla="*/ 1485429 h 1734136"/>
              <a:gd name="connsiteX3022" fmla="*/ 618864 w 1493481"/>
              <a:gd name="connsiteY3022" fmla="*/ 1485429 h 1734136"/>
              <a:gd name="connsiteX3023" fmla="*/ 618864 w 1493481"/>
              <a:gd name="connsiteY3023" fmla="*/ 1487711 h 1734136"/>
              <a:gd name="connsiteX3024" fmla="*/ 616580 w 1493481"/>
              <a:gd name="connsiteY3024" fmla="*/ 1487711 h 1734136"/>
              <a:gd name="connsiteX3025" fmla="*/ 616580 w 1493481"/>
              <a:gd name="connsiteY3025" fmla="*/ 1489992 h 1734136"/>
              <a:gd name="connsiteX3026" fmla="*/ 616580 w 1493481"/>
              <a:gd name="connsiteY3026" fmla="*/ 1492274 h 1734136"/>
              <a:gd name="connsiteX3027" fmla="*/ 614297 w 1493481"/>
              <a:gd name="connsiteY3027" fmla="*/ 1492274 h 1734136"/>
              <a:gd name="connsiteX3028" fmla="*/ 614297 w 1493481"/>
              <a:gd name="connsiteY3028" fmla="*/ 1494556 h 1734136"/>
              <a:gd name="connsiteX3029" fmla="*/ 614297 w 1493481"/>
              <a:gd name="connsiteY3029" fmla="*/ 1496838 h 1734136"/>
              <a:gd name="connsiteX3030" fmla="*/ 614297 w 1493481"/>
              <a:gd name="connsiteY3030" fmla="*/ 1499120 h 1734136"/>
              <a:gd name="connsiteX3031" fmla="*/ 612013 w 1493481"/>
              <a:gd name="connsiteY3031" fmla="*/ 1499120 h 1734136"/>
              <a:gd name="connsiteX3032" fmla="*/ 612013 w 1493481"/>
              <a:gd name="connsiteY3032" fmla="*/ 1501402 h 1734136"/>
              <a:gd name="connsiteX3033" fmla="*/ 612013 w 1493481"/>
              <a:gd name="connsiteY3033" fmla="*/ 1503684 h 1734136"/>
              <a:gd name="connsiteX3034" fmla="*/ 609730 w 1493481"/>
              <a:gd name="connsiteY3034" fmla="*/ 1503684 h 1734136"/>
              <a:gd name="connsiteX3035" fmla="*/ 612013 w 1493481"/>
              <a:gd name="connsiteY3035" fmla="*/ 1503684 h 1734136"/>
              <a:gd name="connsiteX3036" fmla="*/ 609730 w 1493481"/>
              <a:gd name="connsiteY3036" fmla="*/ 1503684 h 1734136"/>
              <a:gd name="connsiteX3037" fmla="*/ 612013 w 1493481"/>
              <a:gd name="connsiteY3037" fmla="*/ 1503684 h 1734136"/>
              <a:gd name="connsiteX3038" fmla="*/ 609730 w 1493481"/>
              <a:gd name="connsiteY3038" fmla="*/ 1503684 h 1734136"/>
              <a:gd name="connsiteX3039" fmla="*/ 609730 w 1493481"/>
              <a:gd name="connsiteY3039" fmla="*/ 1505966 h 1734136"/>
              <a:gd name="connsiteX3040" fmla="*/ 607446 w 1493481"/>
              <a:gd name="connsiteY3040" fmla="*/ 1505966 h 1734136"/>
              <a:gd name="connsiteX3041" fmla="*/ 607446 w 1493481"/>
              <a:gd name="connsiteY3041" fmla="*/ 1508248 h 1734136"/>
              <a:gd name="connsiteX3042" fmla="*/ 605163 w 1493481"/>
              <a:gd name="connsiteY3042" fmla="*/ 1508248 h 1734136"/>
              <a:gd name="connsiteX3043" fmla="*/ 605163 w 1493481"/>
              <a:gd name="connsiteY3043" fmla="*/ 1510529 h 1734136"/>
              <a:gd name="connsiteX3044" fmla="*/ 605163 w 1493481"/>
              <a:gd name="connsiteY3044" fmla="*/ 1512812 h 1734136"/>
              <a:gd name="connsiteX3045" fmla="*/ 605163 w 1493481"/>
              <a:gd name="connsiteY3045" fmla="*/ 1515093 h 1734136"/>
              <a:gd name="connsiteX3046" fmla="*/ 602879 w 1493481"/>
              <a:gd name="connsiteY3046" fmla="*/ 1515093 h 1734136"/>
              <a:gd name="connsiteX3047" fmla="*/ 600595 w 1493481"/>
              <a:gd name="connsiteY3047" fmla="*/ 1515093 h 1734136"/>
              <a:gd name="connsiteX3048" fmla="*/ 600595 w 1493481"/>
              <a:gd name="connsiteY3048" fmla="*/ 1517375 h 1734136"/>
              <a:gd name="connsiteX3049" fmla="*/ 598312 w 1493481"/>
              <a:gd name="connsiteY3049" fmla="*/ 1517375 h 1734136"/>
              <a:gd name="connsiteX3050" fmla="*/ 598312 w 1493481"/>
              <a:gd name="connsiteY3050" fmla="*/ 1519657 h 1734136"/>
              <a:gd name="connsiteX3051" fmla="*/ 598312 w 1493481"/>
              <a:gd name="connsiteY3051" fmla="*/ 1521939 h 1734136"/>
              <a:gd name="connsiteX3052" fmla="*/ 598312 w 1493481"/>
              <a:gd name="connsiteY3052" fmla="*/ 1519657 h 1734136"/>
              <a:gd name="connsiteX3053" fmla="*/ 598312 w 1493481"/>
              <a:gd name="connsiteY3053" fmla="*/ 1521939 h 1734136"/>
              <a:gd name="connsiteX3054" fmla="*/ 598312 w 1493481"/>
              <a:gd name="connsiteY3054" fmla="*/ 1519657 h 1734136"/>
              <a:gd name="connsiteX3055" fmla="*/ 598312 w 1493481"/>
              <a:gd name="connsiteY3055" fmla="*/ 1521939 h 1734136"/>
              <a:gd name="connsiteX3056" fmla="*/ 596028 w 1493481"/>
              <a:gd name="connsiteY3056" fmla="*/ 1521939 h 1734136"/>
              <a:gd name="connsiteX3057" fmla="*/ 596028 w 1493481"/>
              <a:gd name="connsiteY3057" fmla="*/ 1524221 h 1734136"/>
              <a:gd name="connsiteX3058" fmla="*/ 593745 w 1493481"/>
              <a:gd name="connsiteY3058" fmla="*/ 1524221 h 1734136"/>
              <a:gd name="connsiteX3059" fmla="*/ 593745 w 1493481"/>
              <a:gd name="connsiteY3059" fmla="*/ 1526503 h 1734136"/>
              <a:gd name="connsiteX3060" fmla="*/ 593745 w 1493481"/>
              <a:gd name="connsiteY3060" fmla="*/ 1528785 h 1734136"/>
              <a:gd name="connsiteX3061" fmla="*/ 591461 w 1493481"/>
              <a:gd name="connsiteY3061" fmla="*/ 1528785 h 1734136"/>
              <a:gd name="connsiteX3062" fmla="*/ 591461 w 1493481"/>
              <a:gd name="connsiteY3062" fmla="*/ 1531067 h 1734136"/>
              <a:gd name="connsiteX3063" fmla="*/ 591461 w 1493481"/>
              <a:gd name="connsiteY3063" fmla="*/ 1533339 h 1734136"/>
              <a:gd name="connsiteX3064" fmla="*/ 591461 w 1493481"/>
              <a:gd name="connsiteY3064" fmla="*/ 1535621 h 1734136"/>
              <a:gd name="connsiteX3065" fmla="*/ 589178 w 1493481"/>
              <a:gd name="connsiteY3065" fmla="*/ 1535621 h 1734136"/>
              <a:gd name="connsiteX3066" fmla="*/ 589178 w 1493481"/>
              <a:gd name="connsiteY3066" fmla="*/ 1537903 h 1734136"/>
              <a:gd name="connsiteX3067" fmla="*/ 589178 w 1493481"/>
              <a:gd name="connsiteY3067" fmla="*/ 1535621 h 1734136"/>
              <a:gd name="connsiteX3068" fmla="*/ 589178 w 1493481"/>
              <a:gd name="connsiteY3068" fmla="*/ 1537903 h 1734136"/>
              <a:gd name="connsiteX3069" fmla="*/ 586893 w 1493481"/>
              <a:gd name="connsiteY3069" fmla="*/ 1537903 h 1734136"/>
              <a:gd name="connsiteX3070" fmla="*/ 586893 w 1493481"/>
              <a:gd name="connsiteY3070" fmla="*/ 1540185 h 1734136"/>
              <a:gd name="connsiteX3071" fmla="*/ 584610 w 1493481"/>
              <a:gd name="connsiteY3071" fmla="*/ 1540185 h 1734136"/>
              <a:gd name="connsiteX3072" fmla="*/ 584610 w 1493481"/>
              <a:gd name="connsiteY3072" fmla="*/ 1542467 h 1734136"/>
              <a:gd name="connsiteX3073" fmla="*/ 582326 w 1493481"/>
              <a:gd name="connsiteY3073" fmla="*/ 1542467 h 1734136"/>
              <a:gd name="connsiteX3074" fmla="*/ 582326 w 1493481"/>
              <a:gd name="connsiteY3074" fmla="*/ 1544748 h 1734136"/>
              <a:gd name="connsiteX3075" fmla="*/ 582326 w 1493481"/>
              <a:gd name="connsiteY3075" fmla="*/ 1547030 h 1734136"/>
              <a:gd name="connsiteX3076" fmla="*/ 580043 w 1493481"/>
              <a:gd name="connsiteY3076" fmla="*/ 1547030 h 1734136"/>
              <a:gd name="connsiteX3077" fmla="*/ 580043 w 1493481"/>
              <a:gd name="connsiteY3077" fmla="*/ 1549312 h 1734136"/>
              <a:gd name="connsiteX3078" fmla="*/ 582326 w 1493481"/>
              <a:gd name="connsiteY3078" fmla="*/ 1549312 h 1734136"/>
              <a:gd name="connsiteX3079" fmla="*/ 582326 w 1493481"/>
              <a:gd name="connsiteY3079" fmla="*/ 1551594 h 1734136"/>
              <a:gd name="connsiteX3080" fmla="*/ 582326 w 1493481"/>
              <a:gd name="connsiteY3080" fmla="*/ 1549312 h 1734136"/>
              <a:gd name="connsiteX3081" fmla="*/ 580043 w 1493481"/>
              <a:gd name="connsiteY3081" fmla="*/ 1549312 h 1734136"/>
              <a:gd name="connsiteX3082" fmla="*/ 580043 w 1493481"/>
              <a:gd name="connsiteY3082" fmla="*/ 1551594 h 1734136"/>
              <a:gd name="connsiteX3083" fmla="*/ 577759 w 1493481"/>
              <a:gd name="connsiteY3083" fmla="*/ 1551594 h 1734136"/>
              <a:gd name="connsiteX3084" fmla="*/ 577759 w 1493481"/>
              <a:gd name="connsiteY3084" fmla="*/ 1553876 h 1734136"/>
              <a:gd name="connsiteX3085" fmla="*/ 577759 w 1493481"/>
              <a:gd name="connsiteY3085" fmla="*/ 1556158 h 1734136"/>
              <a:gd name="connsiteX3086" fmla="*/ 575476 w 1493481"/>
              <a:gd name="connsiteY3086" fmla="*/ 1556158 h 1734136"/>
              <a:gd name="connsiteX3087" fmla="*/ 575476 w 1493481"/>
              <a:gd name="connsiteY3087" fmla="*/ 1558440 h 1734136"/>
              <a:gd name="connsiteX3088" fmla="*/ 573192 w 1493481"/>
              <a:gd name="connsiteY3088" fmla="*/ 1558440 h 1734136"/>
              <a:gd name="connsiteX3089" fmla="*/ 573192 w 1493481"/>
              <a:gd name="connsiteY3089" fmla="*/ 1560722 h 1734136"/>
              <a:gd name="connsiteX3090" fmla="*/ 570908 w 1493481"/>
              <a:gd name="connsiteY3090" fmla="*/ 1560722 h 1734136"/>
              <a:gd name="connsiteX3091" fmla="*/ 570908 w 1493481"/>
              <a:gd name="connsiteY3091" fmla="*/ 1563004 h 1734136"/>
              <a:gd name="connsiteX3092" fmla="*/ 570908 w 1493481"/>
              <a:gd name="connsiteY3092" fmla="*/ 1565285 h 1734136"/>
              <a:gd name="connsiteX3093" fmla="*/ 568625 w 1493481"/>
              <a:gd name="connsiteY3093" fmla="*/ 1565285 h 1734136"/>
              <a:gd name="connsiteX3094" fmla="*/ 568625 w 1493481"/>
              <a:gd name="connsiteY3094" fmla="*/ 1567567 h 1734136"/>
              <a:gd name="connsiteX3095" fmla="*/ 568625 w 1493481"/>
              <a:gd name="connsiteY3095" fmla="*/ 1569849 h 1734136"/>
              <a:gd name="connsiteX3096" fmla="*/ 566341 w 1493481"/>
              <a:gd name="connsiteY3096" fmla="*/ 1569849 h 1734136"/>
              <a:gd name="connsiteX3097" fmla="*/ 566341 w 1493481"/>
              <a:gd name="connsiteY3097" fmla="*/ 1572131 h 1734136"/>
              <a:gd name="connsiteX3098" fmla="*/ 564058 w 1493481"/>
              <a:gd name="connsiteY3098" fmla="*/ 1572131 h 1734136"/>
              <a:gd name="connsiteX3099" fmla="*/ 564058 w 1493481"/>
              <a:gd name="connsiteY3099" fmla="*/ 1574413 h 1734136"/>
              <a:gd name="connsiteX3100" fmla="*/ 564058 w 1493481"/>
              <a:gd name="connsiteY3100" fmla="*/ 1576695 h 1734136"/>
              <a:gd name="connsiteX3101" fmla="*/ 561774 w 1493481"/>
              <a:gd name="connsiteY3101" fmla="*/ 1576695 h 1734136"/>
              <a:gd name="connsiteX3102" fmla="*/ 561774 w 1493481"/>
              <a:gd name="connsiteY3102" fmla="*/ 1578977 h 1734136"/>
              <a:gd name="connsiteX3103" fmla="*/ 561774 w 1493481"/>
              <a:gd name="connsiteY3103" fmla="*/ 1581259 h 1734136"/>
              <a:gd name="connsiteX3104" fmla="*/ 559490 w 1493481"/>
              <a:gd name="connsiteY3104" fmla="*/ 1581259 h 1734136"/>
              <a:gd name="connsiteX3105" fmla="*/ 557207 w 1493481"/>
              <a:gd name="connsiteY3105" fmla="*/ 1581259 h 1734136"/>
              <a:gd name="connsiteX3106" fmla="*/ 557207 w 1493481"/>
              <a:gd name="connsiteY3106" fmla="*/ 1583541 h 1734136"/>
              <a:gd name="connsiteX3107" fmla="*/ 557207 w 1493481"/>
              <a:gd name="connsiteY3107" fmla="*/ 1585823 h 1734136"/>
              <a:gd name="connsiteX3108" fmla="*/ 554923 w 1493481"/>
              <a:gd name="connsiteY3108" fmla="*/ 1585823 h 1734136"/>
              <a:gd name="connsiteX3109" fmla="*/ 554923 w 1493481"/>
              <a:gd name="connsiteY3109" fmla="*/ 1588104 h 1734136"/>
              <a:gd name="connsiteX3110" fmla="*/ 552640 w 1493481"/>
              <a:gd name="connsiteY3110" fmla="*/ 1588104 h 1734136"/>
              <a:gd name="connsiteX3111" fmla="*/ 552640 w 1493481"/>
              <a:gd name="connsiteY3111" fmla="*/ 1590386 h 1734136"/>
              <a:gd name="connsiteX3112" fmla="*/ 550356 w 1493481"/>
              <a:gd name="connsiteY3112" fmla="*/ 1590386 h 1734136"/>
              <a:gd name="connsiteX3113" fmla="*/ 550356 w 1493481"/>
              <a:gd name="connsiteY3113" fmla="*/ 1592668 h 1734136"/>
              <a:gd name="connsiteX3114" fmla="*/ 550356 w 1493481"/>
              <a:gd name="connsiteY3114" fmla="*/ 1594950 h 1734136"/>
              <a:gd name="connsiteX3115" fmla="*/ 548073 w 1493481"/>
              <a:gd name="connsiteY3115" fmla="*/ 1594950 h 1734136"/>
              <a:gd name="connsiteX3116" fmla="*/ 550356 w 1493481"/>
              <a:gd name="connsiteY3116" fmla="*/ 1594950 h 1734136"/>
              <a:gd name="connsiteX3117" fmla="*/ 550356 w 1493481"/>
              <a:gd name="connsiteY3117" fmla="*/ 1597232 h 1734136"/>
              <a:gd name="connsiteX3118" fmla="*/ 548073 w 1493481"/>
              <a:gd name="connsiteY3118" fmla="*/ 1597232 h 1734136"/>
              <a:gd name="connsiteX3119" fmla="*/ 548073 w 1493481"/>
              <a:gd name="connsiteY3119" fmla="*/ 1599514 h 1734136"/>
              <a:gd name="connsiteX3120" fmla="*/ 545789 w 1493481"/>
              <a:gd name="connsiteY3120" fmla="*/ 1599514 h 1734136"/>
              <a:gd name="connsiteX3121" fmla="*/ 545789 w 1493481"/>
              <a:gd name="connsiteY3121" fmla="*/ 1601796 h 1734136"/>
              <a:gd name="connsiteX3122" fmla="*/ 545789 w 1493481"/>
              <a:gd name="connsiteY3122" fmla="*/ 1604078 h 1734136"/>
              <a:gd name="connsiteX3123" fmla="*/ 545789 w 1493481"/>
              <a:gd name="connsiteY3123" fmla="*/ 1601796 h 1734136"/>
              <a:gd name="connsiteX3124" fmla="*/ 545789 w 1493481"/>
              <a:gd name="connsiteY3124" fmla="*/ 1604078 h 1734136"/>
              <a:gd name="connsiteX3125" fmla="*/ 543505 w 1493481"/>
              <a:gd name="connsiteY3125" fmla="*/ 1604078 h 1734136"/>
              <a:gd name="connsiteX3126" fmla="*/ 543505 w 1493481"/>
              <a:gd name="connsiteY3126" fmla="*/ 1606360 h 1734136"/>
              <a:gd name="connsiteX3127" fmla="*/ 541222 w 1493481"/>
              <a:gd name="connsiteY3127" fmla="*/ 1606360 h 1734136"/>
              <a:gd name="connsiteX3128" fmla="*/ 541222 w 1493481"/>
              <a:gd name="connsiteY3128" fmla="*/ 1608641 h 1734136"/>
              <a:gd name="connsiteX3129" fmla="*/ 538938 w 1493481"/>
              <a:gd name="connsiteY3129" fmla="*/ 1608641 h 1734136"/>
              <a:gd name="connsiteX3130" fmla="*/ 538938 w 1493481"/>
              <a:gd name="connsiteY3130" fmla="*/ 1610924 h 1734136"/>
              <a:gd name="connsiteX3131" fmla="*/ 538938 w 1493481"/>
              <a:gd name="connsiteY3131" fmla="*/ 1613205 h 1734136"/>
              <a:gd name="connsiteX3132" fmla="*/ 536655 w 1493481"/>
              <a:gd name="connsiteY3132" fmla="*/ 1613205 h 1734136"/>
              <a:gd name="connsiteX3133" fmla="*/ 536655 w 1493481"/>
              <a:gd name="connsiteY3133" fmla="*/ 1615487 h 1734136"/>
              <a:gd name="connsiteX3134" fmla="*/ 534371 w 1493481"/>
              <a:gd name="connsiteY3134" fmla="*/ 1615487 h 1734136"/>
              <a:gd name="connsiteX3135" fmla="*/ 534371 w 1493481"/>
              <a:gd name="connsiteY3135" fmla="*/ 1617769 h 1734136"/>
              <a:gd name="connsiteX3136" fmla="*/ 534371 w 1493481"/>
              <a:gd name="connsiteY3136" fmla="*/ 1620051 h 1734136"/>
              <a:gd name="connsiteX3137" fmla="*/ 532088 w 1493481"/>
              <a:gd name="connsiteY3137" fmla="*/ 1620051 h 1734136"/>
              <a:gd name="connsiteX3138" fmla="*/ 532088 w 1493481"/>
              <a:gd name="connsiteY3138" fmla="*/ 1622333 h 1734136"/>
              <a:gd name="connsiteX3139" fmla="*/ 532088 w 1493481"/>
              <a:gd name="connsiteY3139" fmla="*/ 1624615 h 1734136"/>
              <a:gd name="connsiteX3140" fmla="*/ 529804 w 1493481"/>
              <a:gd name="connsiteY3140" fmla="*/ 1624615 h 1734136"/>
              <a:gd name="connsiteX3141" fmla="*/ 529804 w 1493481"/>
              <a:gd name="connsiteY3141" fmla="*/ 1626897 h 1734136"/>
              <a:gd name="connsiteX3142" fmla="*/ 529804 w 1493481"/>
              <a:gd name="connsiteY3142" fmla="*/ 1629179 h 1734136"/>
              <a:gd name="connsiteX3143" fmla="*/ 529804 w 1493481"/>
              <a:gd name="connsiteY3143" fmla="*/ 1631460 h 1734136"/>
              <a:gd name="connsiteX3144" fmla="*/ 527520 w 1493481"/>
              <a:gd name="connsiteY3144" fmla="*/ 1631460 h 1734136"/>
              <a:gd name="connsiteX3145" fmla="*/ 529804 w 1493481"/>
              <a:gd name="connsiteY3145" fmla="*/ 1631460 h 1734136"/>
              <a:gd name="connsiteX3146" fmla="*/ 527520 w 1493481"/>
              <a:gd name="connsiteY3146" fmla="*/ 1631460 h 1734136"/>
              <a:gd name="connsiteX3147" fmla="*/ 527520 w 1493481"/>
              <a:gd name="connsiteY3147" fmla="*/ 1633742 h 1734136"/>
              <a:gd name="connsiteX3148" fmla="*/ 525237 w 1493481"/>
              <a:gd name="connsiteY3148" fmla="*/ 1633742 h 1734136"/>
              <a:gd name="connsiteX3149" fmla="*/ 525237 w 1493481"/>
              <a:gd name="connsiteY3149" fmla="*/ 1636024 h 1734136"/>
              <a:gd name="connsiteX3150" fmla="*/ 525237 w 1493481"/>
              <a:gd name="connsiteY3150" fmla="*/ 1638306 h 1734136"/>
              <a:gd name="connsiteX3151" fmla="*/ 525237 w 1493481"/>
              <a:gd name="connsiteY3151" fmla="*/ 1636024 h 1734136"/>
              <a:gd name="connsiteX3152" fmla="*/ 525237 w 1493481"/>
              <a:gd name="connsiteY3152" fmla="*/ 1638306 h 1734136"/>
              <a:gd name="connsiteX3153" fmla="*/ 522953 w 1493481"/>
              <a:gd name="connsiteY3153" fmla="*/ 1638306 h 1734136"/>
              <a:gd name="connsiteX3154" fmla="*/ 522953 w 1493481"/>
              <a:gd name="connsiteY3154" fmla="*/ 1640588 h 1734136"/>
              <a:gd name="connsiteX3155" fmla="*/ 520670 w 1493481"/>
              <a:gd name="connsiteY3155" fmla="*/ 1640588 h 1734136"/>
              <a:gd name="connsiteX3156" fmla="*/ 522953 w 1493481"/>
              <a:gd name="connsiteY3156" fmla="*/ 1640588 h 1734136"/>
              <a:gd name="connsiteX3157" fmla="*/ 520670 w 1493481"/>
              <a:gd name="connsiteY3157" fmla="*/ 1640588 h 1734136"/>
              <a:gd name="connsiteX3158" fmla="*/ 520670 w 1493481"/>
              <a:gd name="connsiteY3158" fmla="*/ 1642870 h 1734136"/>
              <a:gd name="connsiteX3159" fmla="*/ 518386 w 1493481"/>
              <a:gd name="connsiteY3159" fmla="*/ 1642870 h 1734136"/>
              <a:gd name="connsiteX3160" fmla="*/ 516102 w 1493481"/>
              <a:gd name="connsiteY3160" fmla="*/ 1642870 h 1734136"/>
              <a:gd name="connsiteX3161" fmla="*/ 516102 w 1493481"/>
              <a:gd name="connsiteY3161" fmla="*/ 1645152 h 1734136"/>
              <a:gd name="connsiteX3162" fmla="*/ 516102 w 1493481"/>
              <a:gd name="connsiteY3162" fmla="*/ 1647434 h 1734136"/>
              <a:gd name="connsiteX3163" fmla="*/ 516102 w 1493481"/>
              <a:gd name="connsiteY3163" fmla="*/ 1649716 h 1734136"/>
              <a:gd name="connsiteX3164" fmla="*/ 513818 w 1493481"/>
              <a:gd name="connsiteY3164" fmla="*/ 1649716 h 1734136"/>
              <a:gd name="connsiteX3165" fmla="*/ 511535 w 1493481"/>
              <a:gd name="connsiteY3165" fmla="*/ 1649716 h 1734136"/>
              <a:gd name="connsiteX3166" fmla="*/ 511535 w 1493481"/>
              <a:gd name="connsiteY3166" fmla="*/ 1651997 h 1734136"/>
              <a:gd name="connsiteX3167" fmla="*/ 511535 w 1493481"/>
              <a:gd name="connsiteY3167" fmla="*/ 1654280 h 1734136"/>
              <a:gd name="connsiteX3168" fmla="*/ 509251 w 1493481"/>
              <a:gd name="connsiteY3168" fmla="*/ 1654280 h 1734136"/>
              <a:gd name="connsiteX3169" fmla="*/ 509251 w 1493481"/>
              <a:gd name="connsiteY3169" fmla="*/ 1656561 h 1734136"/>
              <a:gd name="connsiteX3170" fmla="*/ 506968 w 1493481"/>
              <a:gd name="connsiteY3170" fmla="*/ 1656561 h 1734136"/>
              <a:gd name="connsiteX3171" fmla="*/ 509251 w 1493481"/>
              <a:gd name="connsiteY3171" fmla="*/ 1656561 h 1734136"/>
              <a:gd name="connsiteX3172" fmla="*/ 506968 w 1493481"/>
              <a:gd name="connsiteY3172" fmla="*/ 1656561 h 1734136"/>
              <a:gd name="connsiteX3173" fmla="*/ 506968 w 1493481"/>
              <a:gd name="connsiteY3173" fmla="*/ 1658843 h 1734136"/>
              <a:gd name="connsiteX3174" fmla="*/ 506968 w 1493481"/>
              <a:gd name="connsiteY3174" fmla="*/ 1661125 h 1734136"/>
              <a:gd name="connsiteX3175" fmla="*/ 504684 w 1493481"/>
              <a:gd name="connsiteY3175" fmla="*/ 1661125 h 1734136"/>
              <a:gd name="connsiteX3176" fmla="*/ 504684 w 1493481"/>
              <a:gd name="connsiteY3176" fmla="*/ 1663407 h 1734136"/>
              <a:gd name="connsiteX3177" fmla="*/ 502400 w 1493481"/>
              <a:gd name="connsiteY3177" fmla="*/ 1663407 h 1734136"/>
              <a:gd name="connsiteX3178" fmla="*/ 502400 w 1493481"/>
              <a:gd name="connsiteY3178" fmla="*/ 1665689 h 1734136"/>
              <a:gd name="connsiteX3179" fmla="*/ 500117 w 1493481"/>
              <a:gd name="connsiteY3179" fmla="*/ 1665689 h 1734136"/>
              <a:gd name="connsiteX3180" fmla="*/ 500117 w 1493481"/>
              <a:gd name="connsiteY3180" fmla="*/ 1667971 h 1734136"/>
              <a:gd name="connsiteX3181" fmla="*/ 497833 w 1493481"/>
              <a:gd name="connsiteY3181" fmla="*/ 1667971 h 1734136"/>
              <a:gd name="connsiteX3182" fmla="*/ 497833 w 1493481"/>
              <a:gd name="connsiteY3182" fmla="*/ 1670253 h 1734136"/>
              <a:gd name="connsiteX3183" fmla="*/ 495550 w 1493481"/>
              <a:gd name="connsiteY3183" fmla="*/ 1670253 h 1734136"/>
              <a:gd name="connsiteX3184" fmla="*/ 495550 w 1493481"/>
              <a:gd name="connsiteY3184" fmla="*/ 1672535 h 1734136"/>
              <a:gd name="connsiteX3185" fmla="*/ 493266 w 1493481"/>
              <a:gd name="connsiteY3185" fmla="*/ 1672535 h 1734136"/>
              <a:gd name="connsiteX3186" fmla="*/ 493266 w 1493481"/>
              <a:gd name="connsiteY3186" fmla="*/ 1674816 h 1734136"/>
              <a:gd name="connsiteX3187" fmla="*/ 493266 w 1493481"/>
              <a:gd name="connsiteY3187" fmla="*/ 1677098 h 1734136"/>
              <a:gd name="connsiteX3188" fmla="*/ 490983 w 1493481"/>
              <a:gd name="connsiteY3188" fmla="*/ 1677098 h 1734136"/>
              <a:gd name="connsiteX3189" fmla="*/ 490983 w 1493481"/>
              <a:gd name="connsiteY3189" fmla="*/ 1679380 h 1734136"/>
              <a:gd name="connsiteX3190" fmla="*/ 490983 w 1493481"/>
              <a:gd name="connsiteY3190" fmla="*/ 1681662 h 1734136"/>
              <a:gd name="connsiteX3191" fmla="*/ 490983 w 1493481"/>
              <a:gd name="connsiteY3191" fmla="*/ 1683944 h 1734136"/>
              <a:gd name="connsiteX3192" fmla="*/ 488699 w 1493481"/>
              <a:gd name="connsiteY3192" fmla="*/ 1683944 h 1734136"/>
              <a:gd name="connsiteX3193" fmla="*/ 490983 w 1493481"/>
              <a:gd name="connsiteY3193" fmla="*/ 1683944 h 1734136"/>
              <a:gd name="connsiteX3194" fmla="*/ 488699 w 1493481"/>
              <a:gd name="connsiteY3194" fmla="*/ 1683944 h 1734136"/>
              <a:gd name="connsiteX3195" fmla="*/ 488699 w 1493481"/>
              <a:gd name="connsiteY3195" fmla="*/ 1686226 h 1734136"/>
              <a:gd name="connsiteX3196" fmla="*/ 488699 w 1493481"/>
              <a:gd name="connsiteY3196" fmla="*/ 1683944 h 1734136"/>
              <a:gd name="connsiteX3197" fmla="*/ 488699 w 1493481"/>
              <a:gd name="connsiteY3197" fmla="*/ 1686226 h 1734136"/>
              <a:gd name="connsiteX3198" fmla="*/ 486415 w 1493481"/>
              <a:gd name="connsiteY3198" fmla="*/ 1686226 h 1734136"/>
              <a:gd name="connsiteX3199" fmla="*/ 488699 w 1493481"/>
              <a:gd name="connsiteY3199" fmla="*/ 1686226 h 1734136"/>
              <a:gd name="connsiteX3200" fmla="*/ 486415 w 1493481"/>
              <a:gd name="connsiteY3200" fmla="*/ 1686226 h 1734136"/>
              <a:gd name="connsiteX3201" fmla="*/ 486415 w 1493481"/>
              <a:gd name="connsiteY3201" fmla="*/ 1688498 h 1734136"/>
              <a:gd name="connsiteX3202" fmla="*/ 486415 w 1493481"/>
              <a:gd name="connsiteY3202" fmla="*/ 1686226 h 1734136"/>
              <a:gd name="connsiteX3203" fmla="*/ 486415 w 1493481"/>
              <a:gd name="connsiteY3203" fmla="*/ 1688498 h 1734136"/>
              <a:gd name="connsiteX3204" fmla="*/ 484132 w 1493481"/>
              <a:gd name="connsiteY3204" fmla="*/ 1688498 h 1734136"/>
              <a:gd name="connsiteX3205" fmla="*/ 484132 w 1493481"/>
              <a:gd name="connsiteY3205" fmla="*/ 1690780 h 1734136"/>
              <a:gd name="connsiteX3206" fmla="*/ 481848 w 1493481"/>
              <a:gd name="connsiteY3206" fmla="*/ 1690780 h 1734136"/>
              <a:gd name="connsiteX3207" fmla="*/ 481848 w 1493481"/>
              <a:gd name="connsiteY3207" fmla="*/ 1693062 h 1734136"/>
              <a:gd name="connsiteX3208" fmla="*/ 481848 w 1493481"/>
              <a:gd name="connsiteY3208" fmla="*/ 1695344 h 1734136"/>
              <a:gd name="connsiteX3209" fmla="*/ 479565 w 1493481"/>
              <a:gd name="connsiteY3209" fmla="*/ 1695344 h 1734136"/>
              <a:gd name="connsiteX3210" fmla="*/ 479565 w 1493481"/>
              <a:gd name="connsiteY3210" fmla="*/ 1697626 h 1734136"/>
              <a:gd name="connsiteX3211" fmla="*/ 481848 w 1493481"/>
              <a:gd name="connsiteY3211" fmla="*/ 1697626 h 1734136"/>
              <a:gd name="connsiteX3212" fmla="*/ 479565 w 1493481"/>
              <a:gd name="connsiteY3212" fmla="*/ 1697626 h 1734136"/>
              <a:gd name="connsiteX3213" fmla="*/ 477281 w 1493481"/>
              <a:gd name="connsiteY3213" fmla="*/ 1697626 h 1734136"/>
              <a:gd name="connsiteX3214" fmla="*/ 477281 w 1493481"/>
              <a:gd name="connsiteY3214" fmla="*/ 1699908 h 1734136"/>
              <a:gd name="connsiteX3215" fmla="*/ 479565 w 1493481"/>
              <a:gd name="connsiteY3215" fmla="*/ 1699908 h 1734136"/>
              <a:gd name="connsiteX3216" fmla="*/ 477281 w 1493481"/>
              <a:gd name="connsiteY3216" fmla="*/ 1699908 h 1734136"/>
              <a:gd name="connsiteX3217" fmla="*/ 477281 w 1493481"/>
              <a:gd name="connsiteY3217" fmla="*/ 1702190 h 1734136"/>
              <a:gd name="connsiteX3218" fmla="*/ 474998 w 1493481"/>
              <a:gd name="connsiteY3218" fmla="*/ 1702190 h 1734136"/>
              <a:gd name="connsiteX3219" fmla="*/ 474998 w 1493481"/>
              <a:gd name="connsiteY3219" fmla="*/ 1704472 h 1734136"/>
              <a:gd name="connsiteX3220" fmla="*/ 474998 w 1493481"/>
              <a:gd name="connsiteY3220" fmla="*/ 1706753 h 1734136"/>
              <a:gd name="connsiteX3221" fmla="*/ 472714 w 1493481"/>
              <a:gd name="connsiteY3221" fmla="*/ 1706753 h 1734136"/>
              <a:gd name="connsiteX3222" fmla="*/ 472714 w 1493481"/>
              <a:gd name="connsiteY3222" fmla="*/ 1709036 h 1734136"/>
              <a:gd name="connsiteX3223" fmla="*/ 470421 w 1493481"/>
              <a:gd name="connsiteY3223" fmla="*/ 1709036 h 1734136"/>
              <a:gd name="connsiteX3224" fmla="*/ 470421 w 1493481"/>
              <a:gd name="connsiteY3224" fmla="*/ 1711317 h 1734136"/>
              <a:gd name="connsiteX3225" fmla="*/ 468147 w 1493481"/>
              <a:gd name="connsiteY3225" fmla="*/ 1711317 h 1734136"/>
              <a:gd name="connsiteX3226" fmla="*/ 468147 w 1493481"/>
              <a:gd name="connsiteY3226" fmla="*/ 1713599 h 1734136"/>
              <a:gd name="connsiteX3227" fmla="*/ 468147 w 1493481"/>
              <a:gd name="connsiteY3227" fmla="*/ 1711317 h 1734136"/>
              <a:gd name="connsiteX3228" fmla="*/ 468147 w 1493481"/>
              <a:gd name="connsiteY3228" fmla="*/ 1713599 h 1734136"/>
              <a:gd name="connsiteX3229" fmla="*/ 468147 w 1493481"/>
              <a:gd name="connsiteY3229" fmla="*/ 1711317 h 1734136"/>
              <a:gd name="connsiteX3230" fmla="*/ 468147 w 1493481"/>
              <a:gd name="connsiteY3230" fmla="*/ 1713599 h 1734136"/>
              <a:gd name="connsiteX3231" fmla="*/ 465863 w 1493481"/>
              <a:gd name="connsiteY3231" fmla="*/ 1713599 h 1734136"/>
              <a:gd name="connsiteX3232" fmla="*/ 465863 w 1493481"/>
              <a:gd name="connsiteY3232" fmla="*/ 1715881 h 1734136"/>
              <a:gd name="connsiteX3233" fmla="*/ 463580 w 1493481"/>
              <a:gd name="connsiteY3233" fmla="*/ 1715881 h 1734136"/>
              <a:gd name="connsiteX3234" fmla="*/ 463580 w 1493481"/>
              <a:gd name="connsiteY3234" fmla="*/ 1718163 h 1734136"/>
              <a:gd name="connsiteX3235" fmla="*/ 463580 w 1493481"/>
              <a:gd name="connsiteY3235" fmla="*/ 1720445 h 1734136"/>
              <a:gd name="connsiteX3236" fmla="*/ 463580 w 1493481"/>
              <a:gd name="connsiteY3236" fmla="*/ 1722727 h 1734136"/>
              <a:gd name="connsiteX3237" fmla="*/ 463580 w 1493481"/>
              <a:gd name="connsiteY3237" fmla="*/ 1725009 h 1734136"/>
              <a:gd name="connsiteX3238" fmla="*/ 461296 w 1493481"/>
              <a:gd name="connsiteY3238" fmla="*/ 1725009 h 1734136"/>
              <a:gd name="connsiteX3239" fmla="*/ 461296 w 1493481"/>
              <a:gd name="connsiteY3239" fmla="*/ 1727291 h 1734136"/>
              <a:gd name="connsiteX3240" fmla="*/ 459003 w 1493481"/>
              <a:gd name="connsiteY3240" fmla="*/ 1727291 h 1734136"/>
              <a:gd name="connsiteX3241" fmla="*/ 456719 w 1493481"/>
              <a:gd name="connsiteY3241" fmla="*/ 1727291 h 1734136"/>
              <a:gd name="connsiteX3242" fmla="*/ 456719 w 1493481"/>
              <a:gd name="connsiteY3242" fmla="*/ 1729572 h 1734136"/>
              <a:gd name="connsiteX3243" fmla="*/ 456719 w 1493481"/>
              <a:gd name="connsiteY3243" fmla="*/ 1731854 h 1734136"/>
              <a:gd name="connsiteX3244" fmla="*/ 454445 w 1493481"/>
              <a:gd name="connsiteY3244" fmla="*/ 1729572 h 1734136"/>
              <a:gd name="connsiteX3245" fmla="*/ 454445 w 1493481"/>
              <a:gd name="connsiteY3245" fmla="*/ 1731854 h 1734136"/>
              <a:gd name="connsiteX3246" fmla="*/ 452162 w 1493481"/>
              <a:gd name="connsiteY3246" fmla="*/ 1731854 h 1734136"/>
              <a:gd name="connsiteX3247" fmla="*/ 452162 w 1493481"/>
              <a:gd name="connsiteY3247" fmla="*/ 1734136 h 1734136"/>
              <a:gd name="connsiteX3248" fmla="*/ 449878 w 1493481"/>
              <a:gd name="connsiteY3248" fmla="*/ 1734136 h 1734136"/>
              <a:gd name="connsiteX3249" fmla="*/ 449878 w 1493481"/>
              <a:gd name="connsiteY3249" fmla="*/ 1731854 h 1734136"/>
              <a:gd name="connsiteX3250" fmla="*/ 449868 w 1493481"/>
              <a:gd name="connsiteY3250" fmla="*/ 1731854 h 1734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</a:cxnLst>
            <a:rect l="l" t="t" r="r" b="b"/>
            <a:pathLst>
              <a:path w="1493481" h="1734136">
                <a:moveTo>
                  <a:pt x="762731" y="1245839"/>
                </a:moveTo>
                <a:lnTo>
                  <a:pt x="762731" y="1243567"/>
                </a:lnTo>
                <a:lnTo>
                  <a:pt x="762731" y="1245839"/>
                </a:lnTo>
                <a:lnTo>
                  <a:pt x="762731" y="1245839"/>
                </a:lnTo>
                <a:close/>
                <a:moveTo>
                  <a:pt x="1146375" y="819153"/>
                </a:moveTo>
                <a:lnTo>
                  <a:pt x="1148659" y="821435"/>
                </a:lnTo>
                <a:lnTo>
                  <a:pt x="1146375" y="821435"/>
                </a:lnTo>
                <a:lnTo>
                  <a:pt x="1146375" y="819153"/>
                </a:lnTo>
                <a:lnTo>
                  <a:pt x="1144091" y="819153"/>
                </a:lnTo>
                <a:lnTo>
                  <a:pt x="1141807" y="819153"/>
                </a:lnTo>
                <a:lnTo>
                  <a:pt x="1141807" y="816871"/>
                </a:lnTo>
                <a:lnTo>
                  <a:pt x="1144091" y="819153"/>
                </a:lnTo>
                <a:lnTo>
                  <a:pt x="1146375" y="819153"/>
                </a:lnTo>
                <a:lnTo>
                  <a:pt x="1146375" y="819153"/>
                </a:lnTo>
                <a:close/>
                <a:moveTo>
                  <a:pt x="449868" y="1731854"/>
                </a:moveTo>
                <a:lnTo>
                  <a:pt x="452152" y="1731854"/>
                </a:lnTo>
                <a:lnTo>
                  <a:pt x="449868" y="1731854"/>
                </a:lnTo>
                <a:lnTo>
                  <a:pt x="449868" y="1729572"/>
                </a:lnTo>
                <a:lnTo>
                  <a:pt x="449868" y="1727291"/>
                </a:lnTo>
                <a:lnTo>
                  <a:pt x="447585" y="1727291"/>
                </a:lnTo>
                <a:lnTo>
                  <a:pt x="445301" y="1727291"/>
                </a:lnTo>
                <a:lnTo>
                  <a:pt x="445301" y="1725009"/>
                </a:lnTo>
                <a:lnTo>
                  <a:pt x="443018" y="1725009"/>
                </a:lnTo>
                <a:lnTo>
                  <a:pt x="443018" y="1722727"/>
                </a:lnTo>
                <a:lnTo>
                  <a:pt x="440734" y="1722727"/>
                </a:lnTo>
                <a:lnTo>
                  <a:pt x="440734" y="1720445"/>
                </a:lnTo>
                <a:lnTo>
                  <a:pt x="440734" y="1718163"/>
                </a:lnTo>
                <a:lnTo>
                  <a:pt x="440734" y="1715881"/>
                </a:lnTo>
                <a:lnTo>
                  <a:pt x="443018" y="1715881"/>
                </a:lnTo>
                <a:lnTo>
                  <a:pt x="443018" y="1713599"/>
                </a:lnTo>
                <a:lnTo>
                  <a:pt x="443018" y="1711317"/>
                </a:lnTo>
                <a:lnTo>
                  <a:pt x="443018" y="1709036"/>
                </a:lnTo>
                <a:lnTo>
                  <a:pt x="440734" y="1709036"/>
                </a:lnTo>
                <a:lnTo>
                  <a:pt x="438451" y="1709036"/>
                </a:lnTo>
                <a:lnTo>
                  <a:pt x="438451" y="1706753"/>
                </a:lnTo>
                <a:lnTo>
                  <a:pt x="436167" y="1706753"/>
                </a:lnTo>
                <a:lnTo>
                  <a:pt x="436167" y="1704472"/>
                </a:lnTo>
                <a:lnTo>
                  <a:pt x="436167" y="1706753"/>
                </a:lnTo>
                <a:lnTo>
                  <a:pt x="433883" y="1706753"/>
                </a:lnTo>
                <a:lnTo>
                  <a:pt x="433883" y="1709036"/>
                </a:lnTo>
                <a:lnTo>
                  <a:pt x="431600" y="1709036"/>
                </a:lnTo>
                <a:lnTo>
                  <a:pt x="431600" y="1706753"/>
                </a:lnTo>
                <a:lnTo>
                  <a:pt x="431600" y="1704472"/>
                </a:lnTo>
                <a:lnTo>
                  <a:pt x="431600" y="1702199"/>
                </a:lnTo>
                <a:lnTo>
                  <a:pt x="433883" y="1702199"/>
                </a:lnTo>
                <a:lnTo>
                  <a:pt x="433883" y="1699917"/>
                </a:lnTo>
                <a:lnTo>
                  <a:pt x="436167" y="1699917"/>
                </a:lnTo>
                <a:lnTo>
                  <a:pt x="433883" y="1699917"/>
                </a:lnTo>
                <a:lnTo>
                  <a:pt x="433883" y="1697636"/>
                </a:lnTo>
                <a:lnTo>
                  <a:pt x="433883" y="1695353"/>
                </a:lnTo>
                <a:lnTo>
                  <a:pt x="433883" y="1693072"/>
                </a:lnTo>
                <a:lnTo>
                  <a:pt x="436167" y="1693072"/>
                </a:lnTo>
                <a:lnTo>
                  <a:pt x="438451" y="1693072"/>
                </a:lnTo>
                <a:lnTo>
                  <a:pt x="438451" y="1690790"/>
                </a:lnTo>
                <a:lnTo>
                  <a:pt x="438451" y="1688508"/>
                </a:lnTo>
                <a:lnTo>
                  <a:pt x="436167" y="1688508"/>
                </a:lnTo>
                <a:lnTo>
                  <a:pt x="436167" y="1686226"/>
                </a:lnTo>
                <a:lnTo>
                  <a:pt x="433883" y="1686226"/>
                </a:lnTo>
                <a:lnTo>
                  <a:pt x="433883" y="1683944"/>
                </a:lnTo>
                <a:lnTo>
                  <a:pt x="431600" y="1683944"/>
                </a:lnTo>
                <a:lnTo>
                  <a:pt x="431600" y="1681662"/>
                </a:lnTo>
                <a:lnTo>
                  <a:pt x="431600" y="1679380"/>
                </a:lnTo>
                <a:lnTo>
                  <a:pt x="433883" y="1679380"/>
                </a:lnTo>
                <a:lnTo>
                  <a:pt x="433883" y="1677098"/>
                </a:lnTo>
                <a:lnTo>
                  <a:pt x="433883" y="1674816"/>
                </a:lnTo>
                <a:lnTo>
                  <a:pt x="431600" y="1674816"/>
                </a:lnTo>
                <a:lnTo>
                  <a:pt x="433883" y="1674816"/>
                </a:lnTo>
                <a:lnTo>
                  <a:pt x="433883" y="1672535"/>
                </a:lnTo>
                <a:lnTo>
                  <a:pt x="436167" y="1672535"/>
                </a:lnTo>
                <a:lnTo>
                  <a:pt x="436167" y="1670253"/>
                </a:lnTo>
                <a:lnTo>
                  <a:pt x="433883" y="1670253"/>
                </a:lnTo>
                <a:lnTo>
                  <a:pt x="433883" y="1667971"/>
                </a:lnTo>
                <a:lnTo>
                  <a:pt x="436167" y="1667971"/>
                </a:lnTo>
                <a:lnTo>
                  <a:pt x="436167" y="1665689"/>
                </a:lnTo>
                <a:lnTo>
                  <a:pt x="433883" y="1665689"/>
                </a:lnTo>
                <a:lnTo>
                  <a:pt x="433883" y="1663407"/>
                </a:lnTo>
                <a:lnTo>
                  <a:pt x="431600" y="1663407"/>
                </a:lnTo>
                <a:lnTo>
                  <a:pt x="431600" y="1661125"/>
                </a:lnTo>
                <a:lnTo>
                  <a:pt x="429316" y="1661125"/>
                </a:lnTo>
                <a:lnTo>
                  <a:pt x="427033" y="1661125"/>
                </a:lnTo>
                <a:lnTo>
                  <a:pt x="429316" y="1661125"/>
                </a:lnTo>
                <a:lnTo>
                  <a:pt x="429316" y="1658843"/>
                </a:lnTo>
                <a:lnTo>
                  <a:pt x="427033" y="1658843"/>
                </a:lnTo>
                <a:lnTo>
                  <a:pt x="424749" y="1658843"/>
                </a:lnTo>
                <a:lnTo>
                  <a:pt x="424749" y="1656561"/>
                </a:lnTo>
                <a:lnTo>
                  <a:pt x="427033" y="1656561"/>
                </a:lnTo>
                <a:lnTo>
                  <a:pt x="427033" y="1654280"/>
                </a:lnTo>
                <a:lnTo>
                  <a:pt x="427033" y="1651997"/>
                </a:lnTo>
                <a:lnTo>
                  <a:pt x="424749" y="1651997"/>
                </a:lnTo>
                <a:lnTo>
                  <a:pt x="422465" y="1651997"/>
                </a:lnTo>
                <a:lnTo>
                  <a:pt x="420181" y="1651997"/>
                </a:lnTo>
                <a:lnTo>
                  <a:pt x="417898" y="1651997"/>
                </a:lnTo>
                <a:lnTo>
                  <a:pt x="417898" y="1649716"/>
                </a:lnTo>
                <a:lnTo>
                  <a:pt x="415614" y="1649716"/>
                </a:lnTo>
                <a:lnTo>
                  <a:pt x="415614" y="1651997"/>
                </a:lnTo>
                <a:lnTo>
                  <a:pt x="413331" y="1651997"/>
                </a:lnTo>
                <a:lnTo>
                  <a:pt x="413331" y="1649716"/>
                </a:lnTo>
                <a:lnTo>
                  <a:pt x="411047" y="1649716"/>
                </a:lnTo>
                <a:lnTo>
                  <a:pt x="411047" y="1647434"/>
                </a:lnTo>
                <a:lnTo>
                  <a:pt x="408763" y="1647434"/>
                </a:lnTo>
                <a:lnTo>
                  <a:pt x="408763" y="1645152"/>
                </a:lnTo>
                <a:lnTo>
                  <a:pt x="411047" y="1645152"/>
                </a:lnTo>
                <a:lnTo>
                  <a:pt x="413331" y="1645152"/>
                </a:lnTo>
                <a:lnTo>
                  <a:pt x="413331" y="1647434"/>
                </a:lnTo>
                <a:lnTo>
                  <a:pt x="415614" y="1647434"/>
                </a:lnTo>
                <a:lnTo>
                  <a:pt x="417898" y="1647434"/>
                </a:lnTo>
                <a:lnTo>
                  <a:pt x="417898" y="1645152"/>
                </a:lnTo>
                <a:lnTo>
                  <a:pt x="417898" y="1642870"/>
                </a:lnTo>
                <a:lnTo>
                  <a:pt x="415614" y="1642870"/>
                </a:lnTo>
                <a:lnTo>
                  <a:pt x="413331" y="1642870"/>
                </a:lnTo>
                <a:lnTo>
                  <a:pt x="411047" y="1642870"/>
                </a:lnTo>
                <a:lnTo>
                  <a:pt x="411047" y="1640588"/>
                </a:lnTo>
                <a:lnTo>
                  <a:pt x="411047" y="1638306"/>
                </a:lnTo>
                <a:lnTo>
                  <a:pt x="408763" y="1638306"/>
                </a:lnTo>
                <a:lnTo>
                  <a:pt x="408763" y="1636024"/>
                </a:lnTo>
                <a:lnTo>
                  <a:pt x="408763" y="1638306"/>
                </a:lnTo>
                <a:lnTo>
                  <a:pt x="408763" y="1636024"/>
                </a:lnTo>
                <a:lnTo>
                  <a:pt x="406480" y="1636024"/>
                </a:lnTo>
                <a:lnTo>
                  <a:pt x="404196" y="1636024"/>
                </a:lnTo>
                <a:lnTo>
                  <a:pt x="401913" y="1636024"/>
                </a:lnTo>
                <a:lnTo>
                  <a:pt x="399629" y="1636024"/>
                </a:lnTo>
                <a:lnTo>
                  <a:pt x="399629" y="1633742"/>
                </a:lnTo>
                <a:lnTo>
                  <a:pt x="397346" y="1633742"/>
                </a:lnTo>
                <a:lnTo>
                  <a:pt x="397346" y="1636024"/>
                </a:lnTo>
                <a:lnTo>
                  <a:pt x="395062" y="1636024"/>
                </a:lnTo>
                <a:lnTo>
                  <a:pt x="392778" y="1636024"/>
                </a:lnTo>
                <a:lnTo>
                  <a:pt x="392778" y="1638306"/>
                </a:lnTo>
                <a:lnTo>
                  <a:pt x="390495" y="1638306"/>
                </a:lnTo>
                <a:lnTo>
                  <a:pt x="392778" y="1638306"/>
                </a:lnTo>
                <a:lnTo>
                  <a:pt x="390495" y="1638306"/>
                </a:lnTo>
                <a:lnTo>
                  <a:pt x="392778" y="1638306"/>
                </a:lnTo>
                <a:lnTo>
                  <a:pt x="392778" y="1636024"/>
                </a:lnTo>
                <a:lnTo>
                  <a:pt x="392778" y="1633742"/>
                </a:lnTo>
                <a:lnTo>
                  <a:pt x="392778" y="1631460"/>
                </a:lnTo>
                <a:lnTo>
                  <a:pt x="390495" y="1631460"/>
                </a:lnTo>
                <a:lnTo>
                  <a:pt x="390495" y="1633742"/>
                </a:lnTo>
                <a:lnTo>
                  <a:pt x="388211" y="1633742"/>
                </a:lnTo>
                <a:lnTo>
                  <a:pt x="388211" y="1631460"/>
                </a:lnTo>
                <a:lnTo>
                  <a:pt x="388211" y="1629179"/>
                </a:lnTo>
                <a:lnTo>
                  <a:pt x="388211" y="1626897"/>
                </a:lnTo>
                <a:lnTo>
                  <a:pt x="385928" y="1626897"/>
                </a:lnTo>
                <a:lnTo>
                  <a:pt x="385928" y="1629179"/>
                </a:lnTo>
                <a:lnTo>
                  <a:pt x="385928" y="1631460"/>
                </a:lnTo>
                <a:lnTo>
                  <a:pt x="383644" y="1631460"/>
                </a:lnTo>
                <a:lnTo>
                  <a:pt x="383644" y="1629179"/>
                </a:lnTo>
                <a:lnTo>
                  <a:pt x="381361" y="1629179"/>
                </a:lnTo>
                <a:lnTo>
                  <a:pt x="381361" y="1631460"/>
                </a:lnTo>
                <a:lnTo>
                  <a:pt x="379077" y="1631460"/>
                </a:lnTo>
                <a:lnTo>
                  <a:pt x="379077" y="1629179"/>
                </a:lnTo>
                <a:lnTo>
                  <a:pt x="379077" y="1631460"/>
                </a:lnTo>
                <a:lnTo>
                  <a:pt x="376793" y="1631460"/>
                </a:lnTo>
                <a:lnTo>
                  <a:pt x="376793" y="1629179"/>
                </a:lnTo>
                <a:lnTo>
                  <a:pt x="374510" y="1629179"/>
                </a:lnTo>
                <a:lnTo>
                  <a:pt x="372226" y="1629179"/>
                </a:lnTo>
                <a:lnTo>
                  <a:pt x="372226" y="1626897"/>
                </a:lnTo>
                <a:lnTo>
                  <a:pt x="369943" y="1626897"/>
                </a:lnTo>
                <a:lnTo>
                  <a:pt x="369943" y="1624615"/>
                </a:lnTo>
                <a:lnTo>
                  <a:pt x="372226" y="1624615"/>
                </a:lnTo>
                <a:lnTo>
                  <a:pt x="374510" y="1624615"/>
                </a:lnTo>
                <a:lnTo>
                  <a:pt x="374510" y="1622333"/>
                </a:lnTo>
                <a:lnTo>
                  <a:pt x="372226" y="1622333"/>
                </a:lnTo>
                <a:lnTo>
                  <a:pt x="374510" y="1622333"/>
                </a:lnTo>
                <a:lnTo>
                  <a:pt x="374510" y="1620051"/>
                </a:lnTo>
                <a:lnTo>
                  <a:pt x="374510" y="1617769"/>
                </a:lnTo>
                <a:lnTo>
                  <a:pt x="376793" y="1617769"/>
                </a:lnTo>
                <a:lnTo>
                  <a:pt x="376793" y="1615487"/>
                </a:lnTo>
                <a:lnTo>
                  <a:pt x="374510" y="1615487"/>
                </a:lnTo>
                <a:lnTo>
                  <a:pt x="374510" y="1617769"/>
                </a:lnTo>
                <a:lnTo>
                  <a:pt x="372226" y="1617769"/>
                </a:lnTo>
                <a:lnTo>
                  <a:pt x="369943" y="1617769"/>
                </a:lnTo>
                <a:lnTo>
                  <a:pt x="367659" y="1617769"/>
                </a:lnTo>
                <a:lnTo>
                  <a:pt x="365375" y="1617769"/>
                </a:lnTo>
                <a:lnTo>
                  <a:pt x="365375" y="1620051"/>
                </a:lnTo>
                <a:lnTo>
                  <a:pt x="365375" y="1617769"/>
                </a:lnTo>
                <a:lnTo>
                  <a:pt x="365375" y="1620051"/>
                </a:lnTo>
                <a:lnTo>
                  <a:pt x="365375" y="1617769"/>
                </a:lnTo>
                <a:lnTo>
                  <a:pt x="363092" y="1617769"/>
                </a:lnTo>
                <a:lnTo>
                  <a:pt x="360808" y="1617769"/>
                </a:lnTo>
                <a:lnTo>
                  <a:pt x="360808" y="1615487"/>
                </a:lnTo>
                <a:lnTo>
                  <a:pt x="363092" y="1615487"/>
                </a:lnTo>
                <a:lnTo>
                  <a:pt x="363092" y="1613205"/>
                </a:lnTo>
                <a:lnTo>
                  <a:pt x="363092" y="1610924"/>
                </a:lnTo>
                <a:lnTo>
                  <a:pt x="365375" y="1610924"/>
                </a:lnTo>
                <a:lnTo>
                  <a:pt x="367659" y="1610924"/>
                </a:lnTo>
                <a:lnTo>
                  <a:pt x="369943" y="1610924"/>
                </a:lnTo>
                <a:lnTo>
                  <a:pt x="369943" y="1608641"/>
                </a:lnTo>
                <a:lnTo>
                  <a:pt x="367659" y="1608641"/>
                </a:lnTo>
                <a:lnTo>
                  <a:pt x="367659" y="1606360"/>
                </a:lnTo>
                <a:lnTo>
                  <a:pt x="367659" y="1604078"/>
                </a:lnTo>
                <a:lnTo>
                  <a:pt x="367659" y="1601796"/>
                </a:lnTo>
                <a:lnTo>
                  <a:pt x="365375" y="1601796"/>
                </a:lnTo>
                <a:lnTo>
                  <a:pt x="363092" y="1601796"/>
                </a:lnTo>
                <a:lnTo>
                  <a:pt x="360808" y="1601796"/>
                </a:lnTo>
                <a:lnTo>
                  <a:pt x="358525" y="1601796"/>
                </a:lnTo>
                <a:lnTo>
                  <a:pt x="358525" y="1604078"/>
                </a:lnTo>
                <a:lnTo>
                  <a:pt x="360808" y="1604078"/>
                </a:lnTo>
                <a:lnTo>
                  <a:pt x="360808" y="1606360"/>
                </a:lnTo>
                <a:lnTo>
                  <a:pt x="360808" y="1608641"/>
                </a:lnTo>
                <a:lnTo>
                  <a:pt x="360808" y="1610924"/>
                </a:lnTo>
                <a:lnTo>
                  <a:pt x="360808" y="1613205"/>
                </a:lnTo>
                <a:lnTo>
                  <a:pt x="358525" y="1613205"/>
                </a:lnTo>
                <a:lnTo>
                  <a:pt x="358525" y="1610924"/>
                </a:lnTo>
                <a:lnTo>
                  <a:pt x="356241" y="1610924"/>
                </a:lnTo>
                <a:lnTo>
                  <a:pt x="353957" y="1610924"/>
                </a:lnTo>
                <a:lnTo>
                  <a:pt x="353957" y="1613205"/>
                </a:lnTo>
                <a:lnTo>
                  <a:pt x="351674" y="1613205"/>
                </a:lnTo>
                <a:lnTo>
                  <a:pt x="351674" y="1610924"/>
                </a:lnTo>
                <a:lnTo>
                  <a:pt x="353957" y="1610924"/>
                </a:lnTo>
                <a:lnTo>
                  <a:pt x="353957" y="1608641"/>
                </a:lnTo>
                <a:lnTo>
                  <a:pt x="353957" y="1606360"/>
                </a:lnTo>
                <a:lnTo>
                  <a:pt x="353957" y="1604078"/>
                </a:lnTo>
                <a:lnTo>
                  <a:pt x="356241" y="1604078"/>
                </a:lnTo>
                <a:lnTo>
                  <a:pt x="356241" y="1601796"/>
                </a:lnTo>
                <a:lnTo>
                  <a:pt x="353957" y="1601796"/>
                </a:lnTo>
                <a:lnTo>
                  <a:pt x="353957" y="1604078"/>
                </a:lnTo>
                <a:lnTo>
                  <a:pt x="351674" y="1604078"/>
                </a:lnTo>
                <a:lnTo>
                  <a:pt x="349390" y="1604078"/>
                </a:lnTo>
                <a:lnTo>
                  <a:pt x="347106" y="1604078"/>
                </a:lnTo>
                <a:lnTo>
                  <a:pt x="347106" y="1606360"/>
                </a:lnTo>
                <a:lnTo>
                  <a:pt x="347106" y="1608641"/>
                </a:lnTo>
                <a:lnTo>
                  <a:pt x="344823" y="1608641"/>
                </a:lnTo>
                <a:lnTo>
                  <a:pt x="344823" y="1606360"/>
                </a:lnTo>
                <a:lnTo>
                  <a:pt x="344823" y="1604078"/>
                </a:lnTo>
                <a:lnTo>
                  <a:pt x="344823" y="1601796"/>
                </a:lnTo>
                <a:lnTo>
                  <a:pt x="347106" y="1601796"/>
                </a:lnTo>
                <a:lnTo>
                  <a:pt x="349390" y="1601796"/>
                </a:lnTo>
                <a:lnTo>
                  <a:pt x="349390" y="1599514"/>
                </a:lnTo>
                <a:lnTo>
                  <a:pt x="347106" y="1599514"/>
                </a:lnTo>
                <a:lnTo>
                  <a:pt x="347106" y="1597232"/>
                </a:lnTo>
                <a:lnTo>
                  <a:pt x="344823" y="1597232"/>
                </a:lnTo>
                <a:lnTo>
                  <a:pt x="344823" y="1599514"/>
                </a:lnTo>
                <a:lnTo>
                  <a:pt x="342539" y="1599514"/>
                </a:lnTo>
                <a:lnTo>
                  <a:pt x="342539" y="1597232"/>
                </a:lnTo>
                <a:lnTo>
                  <a:pt x="340256" y="1597232"/>
                </a:lnTo>
                <a:lnTo>
                  <a:pt x="340256" y="1594950"/>
                </a:lnTo>
                <a:lnTo>
                  <a:pt x="337972" y="1594950"/>
                </a:lnTo>
                <a:lnTo>
                  <a:pt x="337972" y="1597232"/>
                </a:lnTo>
                <a:lnTo>
                  <a:pt x="335689" y="1597232"/>
                </a:lnTo>
                <a:lnTo>
                  <a:pt x="333405" y="1597232"/>
                </a:lnTo>
                <a:lnTo>
                  <a:pt x="331121" y="1597232"/>
                </a:lnTo>
                <a:lnTo>
                  <a:pt x="331121" y="1594950"/>
                </a:lnTo>
                <a:lnTo>
                  <a:pt x="333405" y="1594950"/>
                </a:lnTo>
                <a:lnTo>
                  <a:pt x="333405" y="1592668"/>
                </a:lnTo>
                <a:lnTo>
                  <a:pt x="333405" y="1590386"/>
                </a:lnTo>
                <a:lnTo>
                  <a:pt x="333405" y="1588104"/>
                </a:lnTo>
                <a:lnTo>
                  <a:pt x="331121" y="1588104"/>
                </a:lnTo>
                <a:lnTo>
                  <a:pt x="331121" y="1590386"/>
                </a:lnTo>
                <a:lnTo>
                  <a:pt x="328838" y="1590386"/>
                </a:lnTo>
                <a:lnTo>
                  <a:pt x="326554" y="1590386"/>
                </a:lnTo>
                <a:lnTo>
                  <a:pt x="324271" y="1590386"/>
                </a:lnTo>
                <a:lnTo>
                  <a:pt x="326554" y="1590386"/>
                </a:lnTo>
                <a:lnTo>
                  <a:pt x="326554" y="1588104"/>
                </a:lnTo>
                <a:lnTo>
                  <a:pt x="326554" y="1585823"/>
                </a:lnTo>
                <a:lnTo>
                  <a:pt x="324271" y="1585823"/>
                </a:lnTo>
                <a:lnTo>
                  <a:pt x="324271" y="1588104"/>
                </a:lnTo>
                <a:lnTo>
                  <a:pt x="324271" y="1585823"/>
                </a:lnTo>
                <a:lnTo>
                  <a:pt x="324271" y="1583541"/>
                </a:lnTo>
                <a:lnTo>
                  <a:pt x="324271" y="1581259"/>
                </a:lnTo>
                <a:lnTo>
                  <a:pt x="321987" y="1581259"/>
                </a:lnTo>
                <a:lnTo>
                  <a:pt x="321987" y="1583541"/>
                </a:lnTo>
                <a:lnTo>
                  <a:pt x="319704" y="1583541"/>
                </a:lnTo>
                <a:lnTo>
                  <a:pt x="319704" y="1585823"/>
                </a:lnTo>
                <a:lnTo>
                  <a:pt x="317420" y="1585823"/>
                </a:lnTo>
                <a:lnTo>
                  <a:pt x="317420" y="1583541"/>
                </a:lnTo>
                <a:lnTo>
                  <a:pt x="317420" y="1581259"/>
                </a:lnTo>
                <a:lnTo>
                  <a:pt x="317420" y="1578977"/>
                </a:lnTo>
                <a:lnTo>
                  <a:pt x="317420" y="1576695"/>
                </a:lnTo>
                <a:lnTo>
                  <a:pt x="319704" y="1576695"/>
                </a:lnTo>
                <a:lnTo>
                  <a:pt x="319704" y="1574413"/>
                </a:lnTo>
                <a:lnTo>
                  <a:pt x="321987" y="1574413"/>
                </a:lnTo>
                <a:lnTo>
                  <a:pt x="319704" y="1572131"/>
                </a:lnTo>
                <a:lnTo>
                  <a:pt x="317420" y="1572131"/>
                </a:lnTo>
                <a:lnTo>
                  <a:pt x="317420" y="1574413"/>
                </a:lnTo>
                <a:lnTo>
                  <a:pt x="315136" y="1574413"/>
                </a:lnTo>
                <a:lnTo>
                  <a:pt x="315136" y="1576695"/>
                </a:lnTo>
                <a:lnTo>
                  <a:pt x="315136" y="1574413"/>
                </a:lnTo>
                <a:lnTo>
                  <a:pt x="312853" y="1574413"/>
                </a:lnTo>
                <a:lnTo>
                  <a:pt x="312853" y="1572131"/>
                </a:lnTo>
                <a:lnTo>
                  <a:pt x="310569" y="1572131"/>
                </a:lnTo>
                <a:lnTo>
                  <a:pt x="310569" y="1569849"/>
                </a:lnTo>
                <a:lnTo>
                  <a:pt x="308285" y="1569849"/>
                </a:lnTo>
                <a:lnTo>
                  <a:pt x="308285" y="1572131"/>
                </a:lnTo>
                <a:lnTo>
                  <a:pt x="308285" y="1574413"/>
                </a:lnTo>
                <a:lnTo>
                  <a:pt x="310569" y="1574413"/>
                </a:lnTo>
                <a:lnTo>
                  <a:pt x="310569" y="1576695"/>
                </a:lnTo>
                <a:lnTo>
                  <a:pt x="308285" y="1576695"/>
                </a:lnTo>
                <a:lnTo>
                  <a:pt x="308285" y="1574413"/>
                </a:lnTo>
                <a:lnTo>
                  <a:pt x="306002" y="1574413"/>
                </a:lnTo>
                <a:lnTo>
                  <a:pt x="306002" y="1576695"/>
                </a:lnTo>
                <a:lnTo>
                  <a:pt x="303718" y="1576695"/>
                </a:lnTo>
                <a:lnTo>
                  <a:pt x="303718" y="1578977"/>
                </a:lnTo>
                <a:lnTo>
                  <a:pt x="306002" y="1578977"/>
                </a:lnTo>
                <a:lnTo>
                  <a:pt x="303718" y="1578977"/>
                </a:lnTo>
                <a:lnTo>
                  <a:pt x="301435" y="1578977"/>
                </a:lnTo>
                <a:lnTo>
                  <a:pt x="301435" y="1581259"/>
                </a:lnTo>
                <a:lnTo>
                  <a:pt x="301435" y="1578977"/>
                </a:lnTo>
                <a:lnTo>
                  <a:pt x="299151" y="1578977"/>
                </a:lnTo>
                <a:lnTo>
                  <a:pt x="299151" y="1576695"/>
                </a:lnTo>
                <a:lnTo>
                  <a:pt x="299151" y="1574413"/>
                </a:lnTo>
                <a:lnTo>
                  <a:pt x="296867" y="1574413"/>
                </a:lnTo>
                <a:lnTo>
                  <a:pt x="296867" y="1576695"/>
                </a:lnTo>
                <a:lnTo>
                  <a:pt x="296867" y="1578977"/>
                </a:lnTo>
                <a:lnTo>
                  <a:pt x="296867" y="1581259"/>
                </a:lnTo>
                <a:lnTo>
                  <a:pt x="294584" y="1581259"/>
                </a:lnTo>
                <a:lnTo>
                  <a:pt x="294584" y="1578977"/>
                </a:lnTo>
                <a:lnTo>
                  <a:pt x="292300" y="1578977"/>
                </a:lnTo>
                <a:lnTo>
                  <a:pt x="290017" y="1578977"/>
                </a:lnTo>
                <a:lnTo>
                  <a:pt x="290017" y="1576695"/>
                </a:lnTo>
                <a:lnTo>
                  <a:pt x="292300" y="1576695"/>
                </a:lnTo>
                <a:lnTo>
                  <a:pt x="292300" y="1574413"/>
                </a:lnTo>
                <a:lnTo>
                  <a:pt x="290017" y="1574413"/>
                </a:lnTo>
                <a:lnTo>
                  <a:pt x="287733" y="1574413"/>
                </a:lnTo>
                <a:lnTo>
                  <a:pt x="285450" y="1574413"/>
                </a:lnTo>
                <a:lnTo>
                  <a:pt x="283166" y="1574413"/>
                </a:lnTo>
                <a:lnTo>
                  <a:pt x="283166" y="1572131"/>
                </a:lnTo>
                <a:lnTo>
                  <a:pt x="280882" y="1572131"/>
                </a:lnTo>
                <a:lnTo>
                  <a:pt x="280882" y="1574413"/>
                </a:lnTo>
                <a:lnTo>
                  <a:pt x="280882" y="1572131"/>
                </a:lnTo>
                <a:lnTo>
                  <a:pt x="278599" y="1572131"/>
                </a:lnTo>
                <a:lnTo>
                  <a:pt x="280882" y="1572131"/>
                </a:lnTo>
                <a:lnTo>
                  <a:pt x="278599" y="1572131"/>
                </a:lnTo>
                <a:lnTo>
                  <a:pt x="278599" y="1569849"/>
                </a:lnTo>
                <a:lnTo>
                  <a:pt x="278599" y="1567567"/>
                </a:lnTo>
                <a:lnTo>
                  <a:pt x="278599" y="1565285"/>
                </a:lnTo>
                <a:lnTo>
                  <a:pt x="276315" y="1565285"/>
                </a:lnTo>
                <a:lnTo>
                  <a:pt x="276315" y="1567567"/>
                </a:lnTo>
                <a:lnTo>
                  <a:pt x="276315" y="1565285"/>
                </a:lnTo>
                <a:lnTo>
                  <a:pt x="274031" y="1565285"/>
                </a:lnTo>
                <a:lnTo>
                  <a:pt x="274031" y="1563004"/>
                </a:lnTo>
                <a:lnTo>
                  <a:pt x="274031" y="1565285"/>
                </a:lnTo>
                <a:lnTo>
                  <a:pt x="274031" y="1563004"/>
                </a:lnTo>
                <a:lnTo>
                  <a:pt x="276315" y="1563004"/>
                </a:lnTo>
                <a:lnTo>
                  <a:pt x="274031" y="1563004"/>
                </a:lnTo>
                <a:lnTo>
                  <a:pt x="274031" y="1560722"/>
                </a:lnTo>
                <a:lnTo>
                  <a:pt x="271748" y="1560722"/>
                </a:lnTo>
                <a:lnTo>
                  <a:pt x="271748" y="1558440"/>
                </a:lnTo>
                <a:lnTo>
                  <a:pt x="269464" y="1558440"/>
                </a:lnTo>
                <a:lnTo>
                  <a:pt x="269464" y="1560722"/>
                </a:lnTo>
                <a:lnTo>
                  <a:pt x="267181" y="1560722"/>
                </a:lnTo>
                <a:lnTo>
                  <a:pt x="267181" y="1563004"/>
                </a:lnTo>
                <a:lnTo>
                  <a:pt x="267181" y="1560722"/>
                </a:lnTo>
                <a:lnTo>
                  <a:pt x="267181" y="1563004"/>
                </a:lnTo>
                <a:lnTo>
                  <a:pt x="264897" y="1563004"/>
                </a:lnTo>
                <a:lnTo>
                  <a:pt x="264897" y="1565285"/>
                </a:lnTo>
                <a:lnTo>
                  <a:pt x="262614" y="1565285"/>
                </a:lnTo>
                <a:lnTo>
                  <a:pt x="260330" y="1565285"/>
                </a:lnTo>
                <a:lnTo>
                  <a:pt x="258046" y="1565285"/>
                </a:lnTo>
                <a:lnTo>
                  <a:pt x="255763" y="1565285"/>
                </a:lnTo>
                <a:lnTo>
                  <a:pt x="253479" y="1565285"/>
                </a:lnTo>
                <a:lnTo>
                  <a:pt x="251196" y="1565285"/>
                </a:lnTo>
                <a:lnTo>
                  <a:pt x="248912" y="1565285"/>
                </a:lnTo>
                <a:lnTo>
                  <a:pt x="246628" y="1565285"/>
                </a:lnTo>
                <a:lnTo>
                  <a:pt x="244345" y="1565285"/>
                </a:lnTo>
                <a:lnTo>
                  <a:pt x="244345" y="1567567"/>
                </a:lnTo>
                <a:lnTo>
                  <a:pt x="244345" y="1565285"/>
                </a:lnTo>
                <a:lnTo>
                  <a:pt x="244345" y="1567567"/>
                </a:lnTo>
                <a:lnTo>
                  <a:pt x="244345" y="1565285"/>
                </a:lnTo>
                <a:lnTo>
                  <a:pt x="242061" y="1565285"/>
                </a:lnTo>
                <a:lnTo>
                  <a:pt x="242061" y="1563004"/>
                </a:lnTo>
                <a:lnTo>
                  <a:pt x="242061" y="1560722"/>
                </a:lnTo>
                <a:lnTo>
                  <a:pt x="242061" y="1558440"/>
                </a:lnTo>
                <a:lnTo>
                  <a:pt x="242061" y="1556158"/>
                </a:lnTo>
                <a:lnTo>
                  <a:pt x="242061" y="1553876"/>
                </a:lnTo>
                <a:lnTo>
                  <a:pt x="239777" y="1553876"/>
                </a:lnTo>
                <a:lnTo>
                  <a:pt x="239777" y="1551594"/>
                </a:lnTo>
                <a:lnTo>
                  <a:pt x="237494" y="1551594"/>
                </a:lnTo>
                <a:lnTo>
                  <a:pt x="235210" y="1551594"/>
                </a:lnTo>
                <a:lnTo>
                  <a:pt x="235210" y="1553876"/>
                </a:lnTo>
                <a:lnTo>
                  <a:pt x="235210" y="1551594"/>
                </a:lnTo>
                <a:lnTo>
                  <a:pt x="226076" y="1549322"/>
                </a:lnTo>
                <a:lnTo>
                  <a:pt x="219225" y="1547040"/>
                </a:lnTo>
                <a:lnTo>
                  <a:pt x="216942" y="1547040"/>
                </a:lnTo>
                <a:lnTo>
                  <a:pt x="214658" y="1535630"/>
                </a:lnTo>
                <a:lnTo>
                  <a:pt x="210091" y="1537912"/>
                </a:lnTo>
                <a:lnTo>
                  <a:pt x="207807" y="1537912"/>
                </a:lnTo>
                <a:lnTo>
                  <a:pt x="205524" y="1537912"/>
                </a:lnTo>
                <a:lnTo>
                  <a:pt x="203240" y="1537912"/>
                </a:lnTo>
                <a:lnTo>
                  <a:pt x="200956" y="1537912"/>
                </a:lnTo>
                <a:lnTo>
                  <a:pt x="198673" y="1537912"/>
                </a:lnTo>
                <a:lnTo>
                  <a:pt x="196389" y="1540194"/>
                </a:lnTo>
                <a:lnTo>
                  <a:pt x="189538" y="1544758"/>
                </a:lnTo>
                <a:lnTo>
                  <a:pt x="187255" y="1544758"/>
                </a:lnTo>
                <a:lnTo>
                  <a:pt x="184971" y="1544758"/>
                </a:lnTo>
                <a:lnTo>
                  <a:pt x="182688" y="1544758"/>
                </a:lnTo>
                <a:lnTo>
                  <a:pt x="180404" y="1544758"/>
                </a:lnTo>
                <a:lnTo>
                  <a:pt x="178121" y="1544758"/>
                </a:lnTo>
                <a:lnTo>
                  <a:pt x="175837" y="1544758"/>
                </a:lnTo>
                <a:lnTo>
                  <a:pt x="173553" y="1544758"/>
                </a:lnTo>
                <a:lnTo>
                  <a:pt x="168986" y="1549322"/>
                </a:lnTo>
                <a:lnTo>
                  <a:pt x="166702" y="1549322"/>
                </a:lnTo>
                <a:lnTo>
                  <a:pt x="164419" y="1547040"/>
                </a:lnTo>
                <a:lnTo>
                  <a:pt x="162135" y="1549322"/>
                </a:lnTo>
                <a:lnTo>
                  <a:pt x="159852" y="1551594"/>
                </a:lnTo>
                <a:lnTo>
                  <a:pt x="155284" y="1556158"/>
                </a:lnTo>
                <a:lnTo>
                  <a:pt x="153001" y="1556158"/>
                </a:lnTo>
                <a:lnTo>
                  <a:pt x="153001" y="1553876"/>
                </a:lnTo>
                <a:lnTo>
                  <a:pt x="150717" y="1551594"/>
                </a:lnTo>
                <a:lnTo>
                  <a:pt x="148434" y="1549322"/>
                </a:lnTo>
                <a:lnTo>
                  <a:pt x="148434" y="1547040"/>
                </a:lnTo>
                <a:lnTo>
                  <a:pt x="146150" y="1547040"/>
                </a:lnTo>
                <a:lnTo>
                  <a:pt x="146150" y="1544758"/>
                </a:lnTo>
                <a:lnTo>
                  <a:pt x="146150" y="1547040"/>
                </a:lnTo>
                <a:lnTo>
                  <a:pt x="143867" y="1544758"/>
                </a:lnTo>
                <a:lnTo>
                  <a:pt x="141583" y="1544758"/>
                </a:lnTo>
                <a:lnTo>
                  <a:pt x="139299" y="1544758"/>
                </a:lnTo>
                <a:lnTo>
                  <a:pt x="139299" y="1542476"/>
                </a:lnTo>
                <a:lnTo>
                  <a:pt x="137016" y="1542476"/>
                </a:lnTo>
                <a:lnTo>
                  <a:pt x="134732" y="1542476"/>
                </a:lnTo>
                <a:lnTo>
                  <a:pt x="132448" y="1542476"/>
                </a:lnTo>
                <a:lnTo>
                  <a:pt x="130165" y="1542476"/>
                </a:lnTo>
                <a:lnTo>
                  <a:pt x="130165" y="1540194"/>
                </a:lnTo>
                <a:lnTo>
                  <a:pt x="127881" y="1540194"/>
                </a:lnTo>
                <a:lnTo>
                  <a:pt x="127881" y="1537912"/>
                </a:lnTo>
                <a:lnTo>
                  <a:pt x="125598" y="1537912"/>
                </a:lnTo>
                <a:lnTo>
                  <a:pt x="125598" y="1535630"/>
                </a:lnTo>
                <a:lnTo>
                  <a:pt x="123314" y="1535630"/>
                </a:lnTo>
                <a:lnTo>
                  <a:pt x="121031" y="1535630"/>
                </a:lnTo>
                <a:lnTo>
                  <a:pt x="118747" y="1535630"/>
                </a:lnTo>
                <a:lnTo>
                  <a:pt x="116463" y="1535630"/>
                </a:lnTo>
                <a:lnTo>
                  <a:pt x="114180" y="1535630"/>
                </a:lnTo>
                <a:lnTo>
                  <a:pt x="111896" y="1535630"/>
                </a:lnTo>
                <a:lnTo>
                  <a:pt x="109613" y="1535630"/>
                </a:lnTo>
                <a:lnTo>
                  <a:pt x="109613" y="1533348"/>
                </a:lnTo>
                <a:lnTo>
                  <a:pt x="109613" y="1535630"/>
                </a:lnTo>
                <a:lnTo>
                  <a:pt x="107329" y="1535630"/>
                </a:lnTo>
                <a:lnTo>
                  <a:pt x="105045" y="1535630"/>
                </a:lnTo>
                <a:lnTo>
                  <a:pt x="102762" y="1535630"/>
                </a:lnTo>
                <a:lnTo>
                  <a:pt x="100478" y="1535630"/>
                </a:lnTo>
                <a:lnTo>
                  <a:pt x="100478" y="1537912"/>
                </a:lnTo>
                <a:lnTo>
                  <a:pt x="102762" y="1537912"/>
                </a:lnTo>
                <a:lnTo>
                  <a:pt x="102762" y="1540194"/>
                </a:lnTo>
                <a:lnTo>
                  <a:pt x="100478" y="1540194"/>
                </a:lnTo>
                <a:lnTo>
                  <a:pt x="100478" y="1542476"/>
                </a:lnTo>
                <a:lnTo>
                  <a:pt x="98194" y="1542476"/>
                </a:lnTo>
                <a:lnTo>
                  <a:pt x="95911" y="1542476"/>
                </a:lnTo>
                <a:lnTo>
                  <a:pt x="95911" y="1540194"/>
                </a:lnTo>
                <a:lnTo>
                  <a:pt x="95911" y="1537912"/>
                </a:lnTo>
                <a:lnTo>
                  <a:pt x="95911" y="1535630"/>
                </a:lnTo>
                <a:lnTo>
                  <a:pt x="98194" y="1535630"/>
                </a:lnTo>
                <a:lnTo>
                  <a:pt x="98194" y="1533348"/>
                </a:lnTo>
                <a:lnTo>
                  <a:pt x="95911" y="1533348"/>
                </a:lnTo>
                <a:lnTo>
                  <a:pt x="95911" y="1535630"/>
                </a:lnTo>
                <a:lnTo>
                  <a:pt x="93627" y="1535630"/>
                </a:lnTo>
                <a:lnTo>
                  <a:pt x="91344" y="1535630"/>
                </a:lnTo>
                <a:lnTo>
                  <a:pt x="91344" y="1533348"/>
                </a:lnTo>
                <a:lnTo>
                  <a:pt x="91344" y="1531067"/>
                </a:lnTo>
                <a:lnTo>
                  <a:pt x="89060" y="1531067"/>
                </a:lnTo>
                <a:lnTo>
                  <a:pt x="86777" y="1531067"/>
                </a:lnTo>
                <a:lnTo>
                  <a:pt x="84493" y="1528785"/>
                </a:lnTo>
                <a:lnTo>
                  <a:pt x="82209" y="1528785"/>
                </a:lnTo>
                <a:lnTo>
                  <a:pt x="79926" y="1528785"/>
                </a:lnTo>
                <a:lnTo>
                  <a:pt x="79926" y="1526503"/>
                </a:lnTo>
                <a:lnTo>
                  <a:pt x="84493" y="1524221"/>
                </a:lnTo>
                <a:lnTo>
                  <a:pt x="82209" y="1524221"/>
                </a:lnTo>
                <a:lnTo>
                  <a:pt x="79926" y="1521939"/>
                </a:lnTo>
                <a:lnTo>
                  <a:pt x="77642" y="1521939"/>
                </a:lnTo>
                <a:lnTo>
                  <a:pt x="75359" y="1521939"/>
                </a:lnTo>
                <a:lnTo>
                  <a:pt x="75359" y="1519657"/>
                </a:lnTo>
                <a:lnTo>
                  <a:pt x="73075" y="1517375"/>
                </a:lnTo>
                <a:lnTo>
                  <a:pt x="75359" y="1517375"/>
                </a:lnTo>
                <a:lnTo>
                  <a:pt x="75359" y="1515093"/>
                </a:lnTo>
                <a:lnTo>
                  <a:pt x="77642" y="1515093"/>
                </a:lnTo>
                <a:lnTo>
                  <a:pt x="79926" y="1512812"/>
                </a:lnTo>
                <a:lnTo>
                  <a:pt x="82209" y="1512812"/>
                </a:lnTo>
                <a:lnTo>
                  <a:pt x="84493" y="1510529"/>
                </a:lnTo>
                <a:lnTo>
                  <a:pt x="86777" y="1510529"/>
                </a:lnTo>
                <a:lnTo>
                  <a:pt x="89060" y="1510529"/>
                </a:lnTo>
                <a:lnTo>
                  <a:pt x="89060" y="1508248"/>
                </a:lnTo>
                <a:lnTo>
                  <a:pt x="91344" y="1508248"/>
                </a:lnTo>
                <a:lnTo>
                  <a:pt x="93627" y="1508248"/>
                </a:lnTo>
                <a:lnTo>
                  <a:pt x="93627" y="1505966"/>
                </a:lnTo>
                <a:lnTo>
                  <a:pt x="93627" y="1503684"/>
                </a:lnTo>
                <a:lnTo>
                  <a:pt x="91344" y="1503684"/>
                </a:lnTo>
                <a:lnTo>
                  <a:pt x="91344" y="1501402"/>
                </a:lnTo>
                <a:lnTo>
                  <a:pt x="91344" y="1503684"/>
                </a:lnTo>
                <a:lnTo>
                  <a:pt x="89060" y="1503684"/>
                </a:lnTo>
                <a:lnTo>
                  <a:pt x="89060" y="1501402"/>
                </a:lnTo>
                <a:lnTo>
                  <a:pt x="89060" y="1503684"/>
                </a:lnTo>
                <a:lnTo>
                  <a:pt x="89060" y="1505966"/>
                </a:lnTo>
                <a:lnTo>
                  <a:pt x="89060" y="1503684"/>
                </a:lnTo>
                <a:lnTo>
                  <a:pt x="89060" y="1505966"/>
                </a:lnTo>
                <a:lnTo>
                  <a:pt x="89060" y="1508248"/>
                </a:lnTo>
                <a:lnTo>
                  <a:pt x="86777" y="1508248"/>
                </a:lnTo>
                <a:lnTo>
                  <a:pt x="86777" y="1505966"/>
                </a:lnTo>
                <a:lnTo>
                  <a:pt x="86777" y="1503684"/>
                </a:lnTo>
                <a:lnTo>
                  <a:pt x="84493" y="1503684"/>
                </a:lnTo>
                <a:lnTo>
                  <a:pt x="84493" y="1501402"/>
                </a:lnTo>
                <a:lnTo>
                  <a:pt x="84493" y="1499120"/>
                </a:lnTo>
                <a:lnTo>
                  <a:pt x="84493" y="1496838"/>
                </a:lnTo>
                <a:lnTo>
                  <a:pt x="84493" y="1499120"/>
                </a:lnTo>
                <a:lnTo>
                  <a:pt x="82209" y="1499120"/>
                </a:lnTo>
                <a:lnTo>
                  <a:pt x="82209" y="1496838"/>
                </a:lnTo>
                <a:lnTo>
                  <a:pt x="84493" y="1496838"/>
                </a:lnTo>
                <a:lnTo>
                  <a:pt x="84493" y="1494556"/>
                </a:lnTo>
                <a:lnTo>
                  <a:pt x="84493" y="1492274"/>
                </a:lnTo>
                <a:lnTo>
                  <a:pt x="84493" y="1489992"/>
                </a:lnTo>
                <a:lnTo>
                  <a:pt x="86777" y="1489992"/>
                </a:lnTo>
                <a:lnTo>
                  <a:pt x="89060" y="1489992"/>
                </a:lnTo>
                <a:lnTo>
                  <a:pt x="91344" y="1489992"/>
                </a:lnTo>
                <a:lnTo>
                  <a:pt x="93627" y="1492274"/>
                </a:lnTo>
                <a:lnTo>
                  <a:pt x="95911" y="1492274"/>
                </a:lnTo>
                <a:lnTo>
                  <a:pt x="95911" y="1489992"/>
                </a:lnTo>
                <a:lnTo>
                  <a:pt x="98194" y="1487711"/>
                </a:lnTo>
                <a:lnTo>
                  <a:pt x="98194" y="1485429"/>
                </a:lnTo>
                <a:lnTo>
                  <a:pt x="98194" y="1483147"/>
                </a:lnTo>
                <a:lnTo>
                  <a:pt x="98194" y="1480865"/>
                </a:lnTo>
                <a:lnTo>
                  <a:pt x="100478" y="1478583"/>
                </a:lnTo>
                <a:lnTo>
                  <a:pt x="100478" y="1476301"/>
                </a:lnTo>
                <a:lnTo>
                  <a:pt x="100478" y="1474019"/>
                </a:lnTo>
                <a:lnTo>
                  <a:pt x="102762" y="1474019"/>
                </a:lnTo>
                <a:lnTo>
                  <a:pt x="102762" y="1471737"/>
                </a:lnTo>
                <a:lnTo>
                  <a:pt x="102762" y="1469455"/>
                </a:lnTo>
                <a:lnTo>
                  <a:pt x="102762" y="1467173"/>
                </a:lnTo>
                <a:lnTo>
                  <a:pt x="102762" y="1464892"/>
                </a:lnTo>
                <a:lnTo>
                  <a:pt x="102762" y="1462610"/>
                </a:lnTo>
                <a:lnTo>
                  <a:pt x="102762" y="1460328"/>
                </a:lnTo>
                <a:lnTo>
                  <a:pt x="102762" y="1458046"/>
                </a:lnTo>
                <a:lnTo>
                  <a:pt x="105045" y="1458046"/>
                </a:lnTo>
                <a:lnTo>
                  <a:pt x="105045" y="1455764"/>
                </a:lnTo>
                <a:lnTo>
                  <a:pt x="107329" y="1455764"/>
                </a:lnTo>
                <a:lnTo>
                  <a:pt x="109613" y="1455764"/>
                </a:lnTo>
                <a:lnTo>
                  <a:pt x="109613" y="1453482"/>
                </a:lnTo>
                <a:lnTo>
                  <a:pt x="111896" y="1453482"/>
                </a:lnTo>
                <a:lnTo>
                  <a:pt x="111896" y="1455764"/>
                </a:lnTo>
                <a:lnTo>
                  <a:pt x="114180" y="1455764"/>
                </a:lnTo>
                <a:lnTo>
                  <a:pt x="114180" y="1453482"/>
                </a:lnTo>
                <a:lnTo>
                  <a:pt x="114180" y="1451200"/>
                </a:lnTo>
                <a:lnTo>
                  <a:pt x="114180" y="1448918"/>
                </a:lnTo>
                <a:lnTo>
                  <a:pt x="116463" y="1448918"/>
                </a:lnTo>
                <a:lnTo>
                  <a:pt x="116463" y="1446636"/>
                </a:lnTo>
                <a:lnTo>
                  <a:pt x="118747" y="1446636"/>
                </a:lnTo>
                <a:lnTo>
                  <a:pt x="121031" y="1446636"/>
                </a:lnTo>
                <a:lnTo>
                  <a:pt x="123314" y="1446636"/>
                </a:lnTo>
                <a:lnTo>
                  <a:pt x="123314" y="1444355"/>
                </a:lnTo>
                <a:lnTo>
                  <a:pt x="125598" y="1444355"/>
                </a:lnTo>
                <a:lnTo>
                  <a:pt x="127881" y="1444355"/>
                </a:lnTo>
                <a:lnTo>
                  <a:pt x="130165" y="1444355"/>
                </a:lnTo>
                <a:lnTo>
                  <a:pt x="132448" y="1444355"/>
                </a:lnTo>
                <a:lnTo>
                  <a:pt x="134732" y="1444355"/>
                </a:lnTo>
                <a:lnTo>
                  <a:pt x="134732" y="1442073"/>
                </a:lnTo>
                <a:lnTo>
                  <a:pt x="132448" y="1439791"/>
                </a:lnTo>
                <a:lnTo>
                  <a:pt x="132448" y="1437509"/>
                </a:lnTo>
                <a:lnTo>
                  <a:pt x="132448" y="1435227"/>
                </a:lnTo>
                <a:lnTo>
                  <a:pt x="134732" y="1435227"/>
                </a:lnTo>
                <a:lnTo>
                  <a:pt x="137016" y="1435227"/>
                </a:lnTo>
                <a:lnTo>
                  <a:pt x="137016" y="1437509"/>
                </a:lnTo>
                <a:lnTo>
                  <a:pt x="139299" y="1437509"/>
                </a:lnTo>
                <a:lnTo>
                  <a:pt x="141583" y="1437509"/>
                </a:lnTo>
                <a:lnTo>
                  <a:pt x="141583" y="1435227"/>
                </a:lnTo>
                <a:lnTo>
                  <a:pt x="141583" y="1432945"/>
                </a:lnTo>
                <a:lnTo>
                  <a:pt x="141583" y="1430663"/>
                </a:lnTo>
                <a:lnTo>
                  <a:pt x="141583" y="1428381"/>
                </a:lnTo>
                <a:lnTo>
                  <a:pt x="141583" y="1426099"/>
                </a:lnTo>
                <a:lnTo>
                  <a:pt x="139299" y="1426099"/>
                </a:lnTo>
                <a:lnTo>
                  <a:pt x="139299" y="1423817"/>
                </a:lnTo>
                <a:lnTo>
                  <a:pt x="137016" y="1423817"/>
                </a:lnTo>
                <a:lnTo>
                  <a:pt x="137016" y="1421536"/>
                </a:lnTo>
                <a:lnTo>
                  <a:pt x="139299" y="1421536"/>
                </a:lnTo>
                <a:lnTo>
                  <a:pt x="139299" y="1419254"/>
                </a:lnTo>
                <a:lnTo>
                  <a:pt x="141583" y="1416972"/>
                </a:lnTo>
                <a:lnTo>
                  <a:pt x="141583" y="1414690"/>
                </a:lnTo>
                <a:lnTo>
                  <a:pt x="141583" y="1412408"/>
                </a:lnTo>
                <a:lnTo>
                  <a:pt x="141583" y="1410126"/>
                </a:lnTo>
                <a:lnTo>
                  <a:pt x="139299" y="1410126"/>
                </a:lnTo>
                <a:lnTo>
                  <a:pt x="139299" y="1407844"/>
                </a:lnTo>
                <a:lnTo>
                  <a:pt x="137016" y="1407844"/>
                </a:lnTo>
                <a:lnTo>
                  <a:pt x="137016" y="1405562"/>
                </a:lnTo>
                <a:lnTo>
                  <a:pt x="134732" y="1405562"/>
                </a:lnTo>
                <a:lnTo>
                  <a:pt x="134732" y="1403280"/>
                </a:lnTo>
                <a:lnTo>
                  <a:pt x="132448" y="1400999"/>
                </a:lnTo>
                <a:lnTo>
                  <a:pt x="132448" y="1398726"/>
                </a:lnTo>
                <a:lnTo>
                  <a:pt x="130165" y="1398726"/>
                </a:lnTo>
                <a:lnTo>
                  <a:pt x="130165" y="1396444"/>
                </a:lnTo>
                <a:lnTo>
                  <a:pt x="127881" y="1396444"/>
                </a:lnTo>
                <a:lnTo>
                  <a:pt x="127881" y="1394162"/>
                </a:lnTo>
                <a:lnTo>
                  <a:pt x="125598" y="1394162"/>
                </a:lnTo>
                <a:lnTo>
                  <a:pt x="123314" y="1391880"/>
                </a:lnTo>
                <a:lnTo>
                  <a:pt x="121031" y="1391880"/>
                </a:lnTo>
                <a:lnTo>
                  <a:pt x="118747" y="1389599"/>
                </a:lnTo>
                <a:lnTo>
                  <a:pt x="116463" y="1389599"/>
                </a:lnTo>
                <a:lnTo>
                  <a:pt x="116463" y="1391880"/>
                </a:lnTo>
                <a:lnTo>
                  <a:pt x="118747" y="1391880"/>
                </a:lnTo>
                <a:lnTo>
                  <a:pt x="118747" y="1394162"/>
                </a:lnTo>
                <a:lnTo>
                  <a:pt x="118747" y="1396444"/>
                </a:lnTo>
                <a:lnTo>
                  <a:pt x="121031" y="1396444"/>
                </a:lnTo>
                <a:lnTo>
                  <a:pt x="121031" y="1398726"/>
                </a:lnTo>
                <a:lnTo>
                  <a:pt x="121031" y="1400999"/>
                </a:lnTo>
                <a:lnTo>
                  <a:pt x="123314" y="1400999"/>
                </a:lnTo>
                <a:lnTo>
                  <a:pt x="123314" y="1403280"/>
                </a:lnTo>
                <a:lnTo>
                  <a:pt x="123314" y="1405562"/>
                </a:lnTo>
                <a:lnTo>
                  <a:pt x="125598" y="1405562"/>
                </a:lnTo>
                <a:lnTo>
                  <a:pt x="123314" y="1405562"/>
                </a:lnTo>
                <a:lnTo>
                  <a:pt x="121031" y="1405562"/>
                </a:lnTo>
                <a:lnTo>
                  <a:pt x="118747" y="1405562"/>
                </a:lnTo>
                <a:lnTo>
                  <a:pt x="116463" y="1405562"/>
                </a:lnTo>
                <a:lnTo>
                  <a:pt x="116463" y="1403280"/>
                </a:lnTo>
                <a:lnTo>
                  <a:pt x="114180" y="1403280"/>
                </a:lnTo>
                <a:lnTo>
                  <a:pt x="114180" y="1400999"/>
                </a:lnTo>
                <a:lnTo>
                  <a:pt x="111896" y="1400999"/>
                </a:lnTo>
                <a:lnTo>
                  <a:pt x="109613" y="1400999"/>
                </a:lnTo>
                <a:lnTo>
                  <a:pt x="107329" y="1400999"/>
                </a:lnTo>
                <a:lnTo>
                  <a:pt x="105045" y="1400999"/>
                </a:lnTo>
                <a:lnTo>
                  <a:pt x="105045" y="1398726"/>
                </a:lnTo>
                <a:lnTo>
                  <a:pt x="102762" y="1398726"/>
                </a:lnTo>
                <a:lnTo>
                  <a:pt x="100478" y="1398726"/>
                </a:lnTo>
                <a:lnTo>
                  <a:pt x="98194" y="1398726"/>
                </a:lnTo>
                <a:lnTo>
                  <a:pt x="98194" y="1396444"/>
                </a:lnTo>
                <a:lnTo>
                  <a:pt x="95911" y="1396444"/>
                </a:lnTo>
                <a:lnTo>
                  <a:pt x="95911" y="1394162"/>
                </a:lnTo>
                <a:lnTo>
                  <a:pt x="95911" y="1396444"/>
                </a:lnTo>
                <a:lnTo>
                  <a:pt x="93627" y="1396444"/>
                </a:lnTo>
                <a:lnTo>
                  <a:pt x="93627" y="1394162"/>
                </a:lnTo>
                <a:lnTo>
                  <a:pt x="91344" y="1394162"/>
                </a:lnTo>
                <a:lnTo>
                  <a:pt x="89060" y="1394162"/>
                </a:lnTo>
                <a:lnTo>
                  <a:pt x="91344" y="1394162"/>
                </a:lnTo>
                <a:lnTo>
                  <a:pt x="91344" y="1391880"/>
                </a:lnTo>
                <a:lnTo>
                  <a:pt x="91344" y="1394162"/>
                </a:lnTo>
                <a:lnTo>
                  <a:pt x="91344" y="1391880"/>
                </a:lnTo>
                <a:lnTo>
                  <a:pt x="93627" y="1391880"/>
                </a:lnTo>
                <a:lnTo>
                  <a:pt x="91344" y="1391880"/>
                </a:lnTo>
                <a:lnTo>
                  <a:pt x="91344" y="1389599"/>
                </a:lnTo>
                <a:lnTo>
                  <a:pt x="89060" y="1389599"/>
                </a:lnTo>
                <a:lnTo>
                  <a:pt x="91344" y="1389599"/>
                </a:lnTo>
                <a:lnTo>
                  <a:pt x="93627" y="1387317"/>
                </a:lnTo>
                <a:lnTo>
                  <a:pt x="91344" y="1387317"/>
                </a:lnTo>
                <a:lnTo>
                  <a:pt x="89060" y="1387317"/>
                </a:lnTo>
                <a:lnTo>
                  <a:pt x="91344" y="1389599"/>
                </a:lnTo>
                <a:lnTo>
                  <a:pt x="89060" y="1389599"/>
                </a:lnTo>
                <a:lnTo>
                  <a:pt x="89060" y="1387317"/>
                </a:lnTo>
                <a:lnTo>
                  <a:pt x="89060" y="1385035"/>
                </a:lnTo>
                <a:lnTo>
                  <a:pt x="86777" y="1385035"/>
                </a:lnTo>
                <a:lnTo>
                  <a:pt x="86777" y="1387317"/>
                </a:lnTo>
                <a:lnTo>
                  <a:pt x="84493" y="1387317"/>
                </a:lnTo>
                <a:lnTo>
                  <a:pt x="82209" y="1387317"/>
                </a:lnTo>
                <a:lnTo>
                  <a:pt x="82209" y="1385035"/>
                </a:lnTo>
                <a:lnTo>
                  <a:pt x="82209" y="1382753"/>
                </a:lnTo>
                <a:lnTo>
                  <a:pt x="79926" y="1382753"/>
                </a:lnTo>
                <a:lnTo>
                  <a:pt x="79926" y="1380471"/>
                </a:lnTo>
                <a:lnTo>
                  <a:pt x="79926" y="1378189"/>
                </a:lnTo>
                <a:lnTo>
                  <a:pt x="79926" y="1375907"/>
                </a:lnTo>
                <a:lnTo>
                  <a:pt x="82209" y="1375907"/>
                </a:lnTo>
                <a:lnTo>
                  <a:pt x="82209" y="1373625"/>
                </a:lnTo>
                <a:lnTo>
                  <a:pt x="79926" y="1373625"/>
                </a:lnTo>
                <a:lnTo>
                  <a:pt x="79926" y="1371343"/>
                </a:lnTo>
                <a:lnTo>
                  <a:pt x="77642" y="1371343"/>
                </a:lnTo>
                <a:lnTo>
                  <a:pt x="77642" y="1369061"/>
                </a:lnTo>
                <a:lnTo>
                  <a:pt x="79926" y="1369061"/>
                </a:lnTo>
                <a:lnTo>
                  <a:pt x="82209" y="1369061"/>
                </a:lnTo>
                <a:lnTo>
                  <a:pt x="82209" y="1366780"/>
                </a:lnTo>
                <a:lnTo>
                  <a:pt x="79926" y="1366780"/>
                </a:lnTo>
                <a:lnTo>
                  <a:pt x="77642" y="1366780"/>
                </a:lnTo>
                <a:lnTo>
                  <a:pt x="77642" y="1364498"/>
                </a:lnTo>
                <a:lnTo>
                  <a:pt x="75359" y="1364498"/>
                </a:lnTo>
                <a:lnTo>
                  <a:pt x="75359" y="1366780"/>
                </a:lnTo>
                <a:lnTo>
                  <a:pt x="75359" y="1364498"/>
                </a:lnTo>
                <a:lnTo>
                  <a:pt x="75359" y="1362216"/>
                </a:lnTo>
                <a:lnTo>
                  <a:pt x="75359" y="1359934"/>
                </a:lnTo>
                <a:lnTo>
                  <a:pt x="77642" y="1359934"/>
                </a:lnTo>
                <a:lnTo>
                  <a:pt x="77642" y="1357652"/>
                </a:lnTo>
                <a:lnTo>
                  <a:pt x="75359" y="1357652"/>
                </a:lnTo>
                <a:lnTo>
                  <a:pt x="75359" y="1355370"/>
                </a:lnTo>
                <a:lnTo>
                  <a:pt x="73075" y="1355370"/>
                </a:lnTo>
                <a:lnTo>
                  <a:pt x="73075" y="1353088"/>
                </a:lnTo>
                <a:lnTo>
                  <a:pt x="70792" y="1353088"/>
                </a:lnTo>
                <a:lnTo>
                  <a:pt x="70792" y="1350806"/>
                </a:lnTo>
                <a:lnTo>
                  <a:pt x="73075" y="1350806"/>
                </a:lnTo>
                <a:lnTo>
                  <a:pt x="73075" y="1353088"/>
                </a:lnTo>
                <a:lnTo>
                  <a:pt x="73075" y="1350806"/>
                </a:lnTo>
                <a:lnTo>
                  <a:pt x="73075" y="1348524"/>
                </a:lnTo>
                <a:lnTo>
                  <a:pt x="75359" y="1348524"/>
                </a:lnTo>
                <a:lnTo>
                  <a:pt x="75359" y="1346243"/>
                </a:lnTo>
                <a:lnTo>
                  <a:pt x="77642" y="1346243"/>
                </a:lnTo>
                <a:lnTo>
                  <a:pt x="77642" y="1343961"/>
                </a:lnTo>
                <a:lnTo>
                  <a:pt x="75359" y="1343961"/>
                </a:lnTo>
                <a:lnTo>
                  <a:pt x="75359" y="1341679"/>
                </a:lnTo>
                <a:lnTo>
                  <a:pt x="77642" y="1341679"/>
                </a:lnTo>
                <a:lnTo>
                  <a:pt x="77642" y="1339397"/>
                </a:lnTo>
                <a:lnTo>
                  <a:pt x="77642" y="1337115"/>
                </a:lnTo>
                <a:lnTo>
                  <a:pt x="77642" y="1339397"/>
                </a:lnTo>
                <a:lnTo>
                  <a:pt x="77642" y="1337115"/>
                </a:lnTo>
                <a:lnTo>
                  <a:pt x="77642" y="1334833"/>
                </a:lnTo>
                <a:lnTo>
                  <a:pt x="77642" y="1332551"/>
                </a:lnTo>
                <a:lnTo>
                  <a:pt x="77642" y="1330269"/>
                </a:lnTo>
                <a:lnTo>
                  <a:pt x="77642" y="1327987"/>
                </a:lnTo>
                <a:lnTo>
                  <a:pt x="77642" y="1325705"/>
                </a:lnTo>
                <a:lnTo>
                  <a:pt x="75359" y="1325705"/>
                </a:lnTo>
                <a:lnTo>
                  <a:pt x="77642" y="1325705"/>
                </a:lnTo>
                <a:lnTo>
                  <a:pt x="77642" y="1323424"/>
                </a:lnTo>
                <a:lnTo>
                  <a:pt x="75359" y="1323424"/>
                </a:lnTo>
                <a:lnTo>
                  <a:pt x="75359" y="1321142"/>
                </a:lnTo>
                <a:lnTo>
                  <a:pt x="77642" y="1321142"/>
                </a:lnTo>
                <a:lnTo>
                  <a:pt x="77642" y="1323424"/>
                </a:lnTo>
                <a:lnTo>
                  <a:pt x="77642" y="1321142"/>
                </a:lnTo>
                <a:lnTo>
                  <a:pt x="79926" y="1321142"/>
                </a:lnTo>
                <a:lnTo>
                  <a:pt x="77642" y="1321142"/>
                </a:lnTo>
                <a:lnTo>
                  <a:pt x="77642" y="1318860"/>
                </a:lnTo>
                <a:lnTo>
                  <a:pt x="75359" y="1318860"/>
                </a:lnTo>
                <a:lnTo>
                  <a:pt x="75359" y="1316578"/>
                </a:lnTo>
                <a:lnTo>
                  <a:pt x="75359" y="1314296"/>
                </a:lnTo>
                <a:lnTo>
                  <a:pt x="73075" y="1312014"/>
                </a:lnTo>
                <a:lnTo>
                  <a:pt x="73075" y="1309732"/>
                </a:lnTo>
                <a:lnTo>
                  <a:pt x="70792" y="1307450"/>
                </a:lnTo>
                <a:lnTo>
                  <a:pt x="70792" y="1305168"/>
                </a:lnTo>
                <a:lnTo>
                  <a:pt x="68508" y="1305168"/>
                </a:lnTo>
                <a:lnTo>
                  <a:pt x="68508" y="1302887"/>
                </a:lnTo>
                <a:lnTo>
                  <a:pt x="66224" y="1302887"/>
                </a:lnTo>
                <a:lnTo>
                  <a:pt x="66224" y="1300605"/>
                </a:lnTo>
                <a:lnTo>
                  <a:pt x="63941" y="1300605"/>
                </a:lnTo>
                <a:lnTo>
                  <a:pt x="61657" y="1298323"/>
                </a:lnTo>
                <a:lnTo>
                  <a:pt x="59373" y="1298323"/>
                </a:lnTo>
                <a:lnTo>
                  <a:pt x="59373" y="1296041"/>
                </a:lnTo>
                <a:lnTo>
                  <a:pt x="59373" y="1293759"/>
                </a:lnTo>
                <a:lnTo>
                  <a:pt x="57090" y="1291477"/>
                </a:lnTo>
                <a:lnTo>
                  <a:pt x="54806" y="1289195"/>
                </a:lnTo>
                <a:lnTo>
                  <a:pt x="54806" y="1286913"/>
                </a:lnTo>
                <a:lnTo>
                  <a:pt x="52523" y="1286913"/>
                </a:lnTo>
                <a:lnTo>
                  <a:pt x="52523" y="1284631"/>
                </a:lnTo>
                <a:lnTo>
                  <a:pt x="50239" y="1284631"/>
                </a:lnTo>
                <a:lnTo>
                  <a:pt x="50239" y="1282349"/>
                </a:lnTo>
                <a:lnTo>
                  <a:pt x="47955" y="1282349"/>
                </a:lnTo>
                <a:lnTo>
                  <a:pt x="45672" y="1282349"/>
                </a:lnTo>
                <a:lnTo>
                  <a:pt x="43388" y="1280068"/>
                </a:lnTo>
                <a:lnTo>
                  <a:pt x="45672" y="1280068"/>
                </a:lnTo>
                <a:lnTo>
                  <a:pt x="47955" y="1277786"/>
                </a:lnTo>
                <a:lnTo>
                  <a:pt x="50239" y="1275504"/>
                </a:lnTo>
                <a:lnTo>
                  <a:pt x="54806" y="1275504"/>
                </a:lnTo>
                <a:lnTo>
                  <a:pt x="57090" y="1273222"/>
                </a:lnTo>
                <a:lnTo>
                  <a:pt x="59373" y="1270940"/>
                </a:lnTo>
                <a:lnTo>
                  <a:pt x="68508" y="1261812"/>
                </a:lnTo>
                <a:lnTo>
                  <a:pt x="70792" y="1261812"/>
                </a:lnTo>
                <a:lnTo>
                  <a:pt x="73075" y="1261812"/>
                </a:lnTo>
                <a:lnTo>
                  <a:pt x="73075" y="1264094"/>
                </a:lnTo>
                <a:lnTo>
                  <a:pt x="75359" y="1264094"/>
                </a:lnTo>
                <a:lnTo>
                  <a:pt x="77642" y="1264094"/>
                </a:lnTo>
                <a:lnTo>
                  <a:pt x="79926" y="1257248"/>
                </a:lnTo>
                <a:lnTo>
                  <a:pt x="82209" y="1252685"/>
                </a:lnTo>
                <a:lnTo>
                  <a:pt x="89060" y="1252685"/>
                </a:lnTo>
                <a:lnTo>
                  <a:pt x="91344" y="1252685"/>
                </a:lnTo>
                <a:lnTo>
                  <a:pt x="93627" y="1252685"/>
                </a:lnTo>
                <a:lnTo>
                  <a:pt x="95911" y="1250403"/>
                </a:lnTo>
                <a:lnTo>
                  <a:pt x="98194" y="1250403"/>
                </a:lnTo>
                <a:lnTo>
                  <a:pt x="100478" y="1245839"/>
                </a:lnTo>
                <a:lnTo>
                  <a:pt x="98194" y="1243567"/>
                </a:lnTo>
                <a:lnTo>
                  <a:pt x="98194" y="1241275"/>
                </a:lnTo>
                <a:lnTo>
                  <a:pt x="95911" y="1234439"/>
                </a:lnTo>
                <a:lnTo>
                  <a:pt x="93627" y="1225312"/>
                </a:lnTo>
                <a:lnTo>
                  <a:pt x="93627" y="1223030"/>
                </a:lnTo>
                <a:lnTo>
                  <a:pt x="91344" y="1223030"/>
                </a:lnTo>
                <a:lnTo>
                  <a:pt x="89060" y="1220748"/>
                </a:lnTo>
                <a:lnTo>
                  <a:pt x="86777" y="1220748"/>
                </a:lnTo>
                <a:lnTo>
                  <a:pt x="84493" y="1218466"/>
                </a:lnTo>
                <a:lnTo>
                  <a:pt x="84493" y="1213902"/>
                </a:lnTo>
                <a:lnTo>
                  <a:pt x="84493" y="1209338"/>
                </a:lnTo>
                <a:lnTo>
                  <a:pt x="86777" y="1204775"/>
                </a:lnTo>
                <a:lnTo>
                  <a:pt x="89060" y="1200211"/>
                </a:lnTo>
                <a:lnTo>
                  <a:pt x="91344" y="1193365"/>
                </a:lnTo>
                <a:lnTo>
                  <a:pt x="91344" y="1186519"/>
                </a:lnTo>
                <a:lnTo>
                  <a:pt x="91344" y="1181956"/>
                </a:lnTo>
                <a:lnTo>
                  <a:pt x="93627" y="1179674"/>
                </a:lnTo>
                <a:lnTo>
                  <a:pt x="93627" y="1177392"/>
                </a:lnTo>
                <a:lnTo>
                  <a:pt x="93627" y="1175110"/>
                </a:lnTo>
                <a:lnTo>
                  <a:pt x="93627" y="1172828"/>
                </a:lnTo>
                <a:lnTo>
                  <a:pt x="91344" y="1170546"/>
                </a:lnTo>
                <a:lnTo>
                  <a:pt x="91344" y="1168264"/>
                </a:lnTo>
                <a:lnTo>
                  <a:pt x="91344" y="1163700"/>
                </a:lnTo>
                <a:lnTo>
                  <a:pt x="93627" y="1163700"/>
                </a:lnTo>
                <a:lnTo>
                  <a:pt x="95911" y="1161419"/>
                </a:lnTo>
                <a:lnTo>
                  <a:pt x="100478" y="1156855"/>
                </a:lnTo>
                <a:lnTo>
                  <a:pt x="102762" y="1156855"/>
                </a:lnTo>
                <a:lnTo>
                  <a:pt x="102762" y="1154573"/>
                </a:lnTo>
                <a:lnTo>
                  <a:pt x="102762" y="1147727"/>
                </a:lnTo>
                <a:lnTo>
                  <a:pt x="102762" y="1145445"/>
                </a:lnTo>
                <a:lnTo>
                  <a:pt x="105045" y="1143163"/>
                </a:lnTo>
                <a:lnTo>
                  <a:pt x="107329" y="1140881"/>
                </a:lnTo>
                <a:lnTo>
                  <a:pt x="109613" y="1140881"/>
                </a:lnTo>
                <a:lnTo>
                  <a:pt x="114180" y="1140881"/>
                </a:lnTo>
                <a:lnTo>
                  <a:pt x="118747" y="1136318"/>
                </a:lnTo>
                <a:lnTo>
                  <a:pt x="121031" y="1136318"/>
                </a:lnTo>
                <a:lnTo>
                  <a:pt x="121031" y="1134036"/>
                </a:lnTo>
                <a:lnTo>
                  <a:pt x="123314" y="1134036"/>
                </a:lnTo>
                <a:lnTo>
                  <a:pt x="125598" y="1134036"/>
                </a:lnTo>
                <a:lnTo>
                  <a:pt x="125598" y="1131754"/>
                </a:lnTo>
                <a:lnTo>
                  <a:pt x="134732" y="1129472"/>
                </a:lnTo>
                <a:lnTo>
                  <a:pt x="139299" y="1129472"/>
                </a:lnTo>
                <a:lnTo>
                  <a:pt x="141583" y="1129472"/>
                </a:lnTo>
                <a:lnTo>
                  <a:pt x="143867" y="1129472"/>
                </a:lnTo>
                <a:lnTo>
                  <a:pt x="146150" y="1129472"/>
                </a:lnTo>
                <a:lnTo>
                  <a:pt x="146150" y="1127190"/>
                </a:lnTo>
                <a:lnTo>
                  <a:pt x="146150" y="1124908"/>
                </a:lnTo>
                <a:lnTo>
                  <a:pt x="148434" y="1118063"/>
                </a:lnTo>
                <a:lnTo>
                  <a:pt x="146150" y="1115780"/>
                </a:lnTo>
                <a:lnTo>
                  <a:pt x="146150" y="1113499"/>
                </a:lnTo>
                <a:lnTo>
                  <a:pt x="146150" y="1111217"/>
                </a:lnTo>
                <a:lnTo>
                  <a:pt x="148434" y="1111217"/>
                </a:lnTo>
                <a:lnTo>
                  <a:pt x="155284" y="1111217"/>
                </a:lnTo>
                <a:lnTo>
                  <a:pt x="157568" y="1108935"/>
                </a:lnTo>
                <a:lnTo>
                  <a:pt x="157568" y="1106653"/>
                </a:lnTo>
                <a:lnTo>
                  <a:pt x="155284" y="1104371"/>
                </a:lnTo>
                <a:lnTo>
                  <a:pt x="153001" y="1104371"/>
                </a:lnTo>
                <a:lnTo>
                  <a:pt x="150717" y="1104371"/>
                </a:lnTo>
                <a:lnTo>
                  <a:pt x="148434" y="1102089"/>
                </a:lnTo>
                <a:lnTo>
                  <a:pt x="148434" y="1099807"/>
                </a:lnTo>
                <a:lnTo>
                  <a:pt x="148434" y="1097525"/>
                </a:lnTo>
                <a:lnTo>
                  <a:pt x="148434" y="1095244"/>
                </a:lnTo>
                <a:lnTo>
                  <a:pt x="150717" y="1090680"/>
                </a:lnTo>
                <a:lnTo>
                  <a:pt x="150717" y="1086125"/>
                </a:lnTo>
                <a:lnTo>
                  <a:pt x="150717" y="1081561"/>
                </a:lnTo>
                <a:lnTo>
                  <a:pt x="150717" y="1074716"/>
                </a:lnTo>
                <a:lnTo>
                  <a:pt x="148434" y="1072434"/>
                </a:lnTo>
                <a:lnTo>
                  <a:pt x="150717" y="1072434"/>
                </a:lnTo>
                <a:lnTo>
                  <a:pt x="150717" y="1070152"/>
                </a:lnTo>
                <a:lnTo>
                  <a:pt x="153001" y="1067870"/>
                </a:lnTo>
                <a:lnTo>
                  <a:pt x="155284" y="1070152"/>
                </a:lnTo>
                <a:lnTo>
                  <a:pt x="159852" y="1067870"/>
                </a:lnTo>
                <a:lnTo>
                  <a:pt x="162135" y="1063306"/>
                </a:lnTo>
                <a:lnTo>
                  <a:pt x="162135" y="1061024"/>
                </a:lnTo>
                <a:lnTo>
                  <a:pt x="164419" y="1061024"/>
                </a:lnTo>
                <a:lnTo>
                  <a:pt x="164419" y="1058743"/>
                </a:lnTo>
                <a:lnTo>
                  <a:pt x="168986" y="1056461"/>
                </a:lnTo>
                <a:lnTo>
                  <a:pt x="178121" y="1054179"/>
                </a:lnTo>
                <a:lnTo>
                  <a:pt x="184971" y="1051897"/>
                </a:lnTo>
                <a:lnTo>
                  <a:pt x="187255" y="1051897"/>
                </a:lnTo>
                <a:lnTo>
                  <a:pt x="191822" y="1049615"/>
                </a:lnTo>
                <a:lnTo>
                  <a:pt x="194106" y="1049615"/>
                </a:lnTo>
                <a:lnTo>
                  <a:pt x="194106" y="1047333"/>
                </a:lnTo>
                <a:lnTo>
                  <a:pt x="196389" y="1040488"/>
                </a:lnTo>
                <a:lnTo>
                  <a:pt x="200956" y="1035924"/>
                </a:lnTo>
                <a:lnTo>
                  <a:pt x="203240" y="1029078"/>
                </a:lnTo>
                <a:lnTo>
                  <a:pt x="203240" y="1026796"/>
                </a:lnTo>
                <a:lnTo>
                  <a:pt x="203240" y="1022232"/>
                </a:lnTo>
                <a:lnTo>
                  <a:pt x="203240" y="1019950"/>
                </a:lnTo>
                <a:lnTo>
                  <a:pt x="207807" y="1015387"/>
                </a:lnTo>
                <a:lnTo>
                  <a:pt x="207807" y="1013105"/>
                </a:lnTo>
                <a:lnTo>
                  <a:pt x="207807" y="1008541"/>
                </a:lnTo>
                <a:lnTo>
                  <a:pt x="203240" y="1006259"/>
                </a:lnTo>
                <a:lnTo>
                  <a:pt x="203240" y="1003977"/>
                </a:lnTo>
                <a:lnTo>
                  <a:pt x="200956" y="1003977"/>
                </a:lnTo>
                <a:lnTo>
                  <a:pt x="198673" y="999413"/>
                </a:lnTo>
                <a:lnTo>
                  <a:pt x="200956" y="994849"/>
                </a:lnTo>
                <a:lnTo>
                  <a:pt x="200956" y="992568"/>
                </a:lnTo>
                <a:lnTo>
                  <a:pt x="200956" y="990286"/>
                </a:lnTo>
                <a:lnTo>
                  <a:pt x="200956" y="985722"/>
                </a:lnTo>
                <a:lnTo>
                  <a:pt x="198673" y="983440"/>
                </a:lnTo>
                <a:lnTo>
                  <a:pt x="194106" y="978876"/>
                </a:lnTo>
                <a:lnTo>
                  <a:pt x="191822" y="976594"/>
                </a:lnTo>
                <a:lnTo>
                  <a:pt x="189538" y="972031"/>
                </a:lnTo>
                <a:lnTo>
                  <a:pt x="187255" y="965185"/>
                </a:lnTo>
                <a:lnTo>
                  <a:pt x="184971" y="956057"/>
                </a:lnTo>
                <a:lnTo>
                  <a:pt x="184971" y="953775"/>
                </a:lnTo>
                <a:lnTo>
                  <a:pt x="182688" y="951493"/>
                </a:lnTo>
                <a:lnTo>
                  <a:pt x="180404" y="946930"/>
                </a:lnTo>
                <a:lnTo>
                  <a:pt x="180404" y="944648"/>
                </a:lnTo>
                <a:lnTo>
                  <a:pt x="178121" y="942366"/>
                </a:lnTo>
                <a:lnTo>
                  <a:pt x="175837" y="942366"/>
                </a:lnTo>
                <a:lnTo>
                  <a:pt x="175837" y="940084"/>
                </a:lnTo>
                <a:lnTo>
                  <a:pt x="173553" y="937802"/>
                </a:lnTo>
                <a:lnTo>
                  <a:pt x="171270" y="935520"/>
                </a:lnTo>
                <a:lnTo>
                  <a:pt x="168986" y="935520"/>
                </a:lnTo>
                <a:lnTo>
                  <a:pt x="166702" y="933238"/>
                </a:lnTo>
                <a:lnTo>
                  <a:pt x="166702" y="930966"/>
                </a:lnTo>
                <a:lnTo>
                  <a:pt x="166702" y="928675"/>
                </a:lnTo>
                <a:lnTo>
                  <a:pt x="168986" y="921838"/>
                </a:lnTo>
                <a:lnTo>
                  <a:pt x="168986" y="919556"/>
                </a:lnTo>
                <a:lnTo>
                  <a:pt x="168986" y="914993"/>
                </a:lnTo>
                <a:lnTo>
                  <a:pt x="166702" y="910429"/>
                </a:lnTo>
                <a:lnTo>
                  <a:pt x="164419" y="908147"/>
                </a:lnTo>
                <a:lnTo>
                  <a:pt x="159852" y="905865"/>
                </a:lnTo>
                <a:lnTo>
                  <a:pt x="155284" y="903583"/>
                </a:lnTo>
                <a:lnTo>
                  <a:pt x="153001" y="903583"/>
                </a:lnTo>
                <a:lnTo>
                  <a:pt x="148434" y="901301"/>
                </a:lnTo>
                <a:lnTo>
                  <a:pt x="143867" y="903583"/>
                </a:lnTo>
                <a:lnTo>
                  <a:pt x="141583" y="905865"/>
                </a:lnTo>
                <a:lnTo>
                  <a:pt x="139299" y="908147"/>
                </a:lnTo>
                <a:lnTo>
                  <a:pt x="137016" y="905865"/>
                </a:lnTo>
                <a:lnTo>
                  <a:pt x="134732" y="905865"/>
                </a:lnTo>
                <a:lnTo>
                  <a:pt x="130165" y="896737"/>
                </a:lnTo>
                <a:lnTo>
                  <a:pt x="125598" y="894456"/>
                </a:lnTo>
                <a:lnTo>
                  <a:pt x="123314" y="889892"/>
                </a:lnTo>
                <a:lnTo>
                  <a:pt x="123314" y="885328"/>
                </a:lnTo>
                <a:lnTo>
                  <a:pt x="123314" y="883046"/>
                </a:lnTo>
                <a:lnTo>
                  <a:pt x="121031" y="880764"/>
                </a:lnTo>
                <a:lnTo>
                  <a:pt x="116463" y="878482"/>
                </a:lnTo>
                <a:lnTo>
                  <a:pt x="107329" y="876200"/>
                </a:lnTo>
                <a:lnTo>
                  <a:pt x="102762" y="873919"/>
                </a:lnTo>
                <a:lnTo>
                  <a:pt x="98194" y="867073"/>
                </a:lnTo>
                <a:lnTo>
                  <a:pt x="93627" y="864791"/>
                </a:lnTo>
                <a:lnTo>
                  <a:pt x="89060" y="862509"/>
                </a:lnTo>
                <a:lnTo>
                  <a:pt x="82209" y="862509"/>
                </a:lnTo>
                <a:lnTo>
                  <a:pt x="77642" y="860227"/>
                </a:lnTo>
                <a:lnTo>
                  <a:pt x="75359" y="857945"/>
                </a:lnTo>
                <a:lnTo>
                  <a:pt x="73075" y="857945"/>
                </a:lnTo>
                <a:lnTo>
                  <a:pt x="70792" y="853381"/>
                </a:lnTo>
                <a:lnTo>
                  <a:pt x="70792" y="851100"/>
                </a:lnTo>
                <a:lnTo>
                  <a:pt x="70792" y="846536"/>
                </a:lnTo>
                <a:lnTo>
                  <a:pt x="70792" y="844254"/>
                </a:lnTo>
                <a:lnTo>
                  <a:pt x="70792" y="841972"/>
                </a:lnTo>
                <a:lnTo>
                  <a:pt x="57090" y="832844"/>
                </a:lnTo>
                <a:lnTo>
                  <a:pt x="54806" y="830563"/>
                </a:lnTo>
                <a:lnTo>
                  <a:pt x="50239" y="830563"/>
                </a:lnTo>
                <a:lnTo>
                  <a:pt x="45672" y="832844"/>
                </a:lnTo>
                <a:lnTo>
                  <a:pt x="43388" y="832844"/>
                </a:lnTo>
                <a:lnTo>
                  <a:pt x="41105" y="830563"/>
                </a:lnTo>
                <a:lnTo>
                  <a:pt x="41105" y="828281"/>
                </a:lnTo>
                <a:lnTo>
                  <a:pt x="36538" y="823717"/>
                </a:lnTo>
                <a:lnTo>
                  <a:pt x="34254" y="821435"/>
                </a:lnTo>
                <a:lnTo>
                  <a:pt x="31970" y="816871"/>
                </a:lnTo>
                <a:lnTo>
                  <a:pt x="29687" y="816871"/>
                </a:lnTo>
                <a:lnTo>
                  <a:pt x="29687" y="814589"/>
                </a:lnTo>
                <a:lnTo>
                  <a:pt x="29687" y="807744"/>
                </a:lnTo>
                <a:lnTo>
                  <a:pt x="27403" y="803180"/>
                </a:lnTo>
                <a:lnTo>
                  <a:pt x="25119" y="803180"/>
                </a:lnTo>
                <a:lnTo>
                  <a:pt x="22836" y="800898"/>
                </a:lnTo>
                <a:lnTo>
                  <a:pt x="22836" y="798616"/>
                </a:lnTo>
                <a:lnTo>
                  <a:pt x="20552" y="794052"/>
                </a:lnTo>
                <a:lnTo>
                  <a:pt x="18269" y="789488"/>
                </a:lnTo>
                <a:lnTo>
                  <a:pt x="15985" y="787207"/>
                </a:lnTo>
                <a:lnTo>
                  <a:pt x="13702" y="784925"/>
                </a:lnTo>
                <a:lnTo>
                  <a:pt x="9134" y="780361"/>
                </a:lnTo>
                <a:lnTo>
                  <a:pt x="6851" y="778088"/>
                </a:lnTo>
                <a:lnTo>
                  <a:pt x="4567" y="775807"/>
                </a:lnTo>
                <a:lnTo>
                  <a:pt x="0" y="771243"/>
                </a:lnTo>
                <a:lnTo>
                  <a:pt x="0" y="768961"/>
                </a:lnTo>
                <a:lnTo>
                  <a:pt x="2284" y="768961"/>
                </a:lnTo>
                <a:lnTo>
                  <a:pt x="2284" y="766679"/>
                </a:lnTo>
                <a:lnTo>
                  <a:pt x="2284" y="764397"/>
                </a:lnTo>
                <a:lnTo>
                  <a:pt x="4567" y="764397"/>
                </a:lnTo>
                <a:lnTo>
                  <a:pt x="6851" y="764397"/>
                </a:lnTo>
                <a:lnTo>
                  <a:pt x="6851" y="762115"/>
                </a:lnTo>
                <a:lnTo>
                  <a:pt x="6851" y="759833"/>
                </a:lnTo>
                <a:lnTo>
                  <a:pt x="6851" y="755269"/>
                </a:lnTo>
                <a:lnTo>
                  <a:pt x="6851" y="752988"/>
                </a:lnTo>
                <a:lnTo>
                  <a:pt x="9134" y="748424"/>
                </a:lnTo>
                <a:lnTo>
                  <a:pt x="9134" y="746142"/>
                </a:lnTo>
                <a:lnTo>
                  <a:pt x="9134" y="743860"/>
                </a:lnTo>
                <a:lnTo>
                  <a:pt x="6851" y="741578"/>
                </a:lnTo>
                <a:lnTo>
                  <a:pt x="9134" y="741578"/>
                </a:lnTo>
                <a:lnTo>
                  <a:pt x="9134" y="739296"/>
                </a:lnTo>
                <a:lnTo>
                  <a:pt x="11418" y="739296"/>
                </a:lnTo>
                <a:lnTo>
                  <a:pt x="11418" y="737014"/>
                </a:lnTo>
                <a:lnTo>
                  <a:pt x="13702" y="737014"/>
                </a:lnTo>
                <a:lnTo>
                  <a:pt x="13702" y="734732"/>
                </a:lnTo>
                <a:lnTo>
                  <a:pt x="13702" y="732451"/>
                </a:lnTo>
                <a:lnTo>
                  <a:pt x="15985" y="730169"/>
                </a:lnTo>
                <a:lnTo>
                  <a:pt x="18269" y="730169"/>
                </a:lnTo>
                <a:lnTo>
                  <a:pt x="20552" y="727887"/>
                </a:lnTo>
                <a:lnTo>
                  <a:pt x="22836" y="727887"/>
                </a:lnTo>
                <a:lnTo>
                  <a:pt x="22836" y="725605"/>
                </a:lnTo>
                <a:lnTo>
                  <a:pt x="25119" y="725605"/>
                </a:lnTo>
                <a:lnTo>
                  <a:pt x="25119" y="723323"/>
                </a:lnTo>
                <a:lnTo>
                  <a:pt x="25119" y="721041"/>
                </a:lnTo>
                <a:lnTo>
                  <a:pt x="25119" y="718759"/>
                </a:lnTo>
                <a:lnTo>
                  <a:pt x="25119" y="716477"/>
                </a:lnTo>
                <a:lnTo>
                  <a:pt x="25119" y="714195"/>
                </a:lnTo>
                <a:lnTo>
                  <a:pt x="27403" y="711913"/>
                </a:lnTo>
                <a:lnTo>
                  <a:pt x="27403" y="709632"/>
                </a:lnTo>
                <a:lnTo>
                  <a:pt x="29687" y="707350"/>
                </a:lnTo>
                <a:lnTo>
                  <a:pt x="34254" y="705068"/>
                </a:lnTo>
                <a:lnTo>
                  <a:pt x="31970" y="702786"/>
                </a:lnTo>
                <a:lnTo>
                  <a:pt x="36538" y="693658"/>
                </a:lnTo>
                <a:lnTo>
                  <a:pt x="38821" y="693658"/>
                </a:lnTo>
                <a:lnTo>
                  <a:pt x="45672" y="691376"/>
                </a:lnTo>
                <a:lnTo>
                  <a:pt x="50239" y="691376"/>
                </a:lnTo>
                <a:lnTo>
                  <a:pt x="52523" y="689095"/>
                </a:lnTo>
                <a:lnTo>
                  <a:pt x="57090" y="689095"/>
                </a:lnTo>
                <a:lnTo>
                  <a:pt x="59373" y="686813"/>
                </a:lnTo>
                <a:lnTo>
                  <a:pt x="61657" y="686813"/>
                </a:lnTo>
                <a:lnTo>
                  <a:pt x="63941" y="686813"/>
                </a:lnTo>
                <a:lnTo>
                  <a:pt x="70792" y="684531"/>
                </a:lnTo>
                <a:lnTo>
                  <a:pt x="73075" y="684531"/>
                </a:lnTo>
                <a:lnTo>
                  <a:pt x="75359" y="684531"/>
                </a:lnTo>
                <a:lnTo>
                  <a:pt x="79926" y="682249"/>
                </a:lnTo>
                <a:lnTo>
                  <a:pt x="82209" y="682249"/>
                </a:lnTo>
                <a:lnTo>
                  <a:pt x="82209" y="684531"/>
                </a:lnTo>
                <a:lnTo>
                  <a:pt x="84493" y="684531"/>
                </a:lnTo>
                <a:lnTo>
                  <a:pt x="86777" y="684531"/>
                </a:lnTo>
                <a:lnTo>
                  <a:pt x="86777" y="686813"/>
                </a:lnTo>
                <a:lnTo>
                  <a:pt x="89060" y="686813"/>
                </a:lnTo>
                <a:lnTo>
                  <a:pt x="95911" y="691376"/>
                </a:lnTo>
                <a:lnTo>
                  <a:pt x="100478" y="686813"/>
                </a:lnTo>
                <a:lnTo>
                  <a:pt x="102762" y="684531"/>
                </a:lnTo>
                <a:lnTo>
                  <a:pt x="105045" y="682249"/>
                </a:lnTo>
                <a:lnTo>
                  <a:pt x="107329" y="677685"/>
                </a:lnTo>
                <a:lnTo>
                  <a:pt x="109613" y="677685"/>
                </a:lnTo>
                <a:lnTo>
                  <a:pt x="111896" y="682249"/>
                </a:lnTo>
                <a:lnTo>
                  <a:pt x="114180" y="682249"/>
                </a:lnTo>
                <a:lnTo>
                  <a:pt x="116463" y="682249"/>
                </a:lnTo>
                <a:lnTo>
                  <a:pt x="118747" y="682249"/>
                </a:lnTo>
                <a:lnTo>
                  <a:pt x="118747" y="679967"/>
                </a:lnTo>
                <a:lnTo>
                  <a:pt x="121031" y="677685"/>
                </a:lnTo>
                <a:lnTo>
                  <a:pt x="123314" y="675403"/>
                </a:lnTo>
                <a:lnTo>
                  <a:pt x="125598" y="673121"/>
                </a:lnTo>
                <a:lnTo>
                  <a:pt x="125598" y="670839"/>
                </a:lnTo>
                <a:lnTo>
                  <a:pt x="123314" y="670839"/>
                </a:lnTo>
                <a:lnTo>
                  <a:pt x="123314" y="668557"/>
                </a:lnTo>
                <a:lnTo>
                  <a:pt x="121031" y="668557"/>
                </a:lnTo>
                <a:lnTo>
                  <a:pt x="121031" y="666276"/>
                </a:lnTo>
                <a:lnTo>
                  <a:pt x="118747" y="666276"/>
                </a:lnTo>
                <a:lnTo>
                  <a:pt x="118747" y="663994"/>
                </a:lnTo>
                <a:lnTo>
                  <a:pt x="116463" y="661712"/>
                </a:lnTo>
                <a:lnTo>
                  <a:pt x="118747" y="657148"/>
                </a:lnTo>
                <a:lnTo>
                  <a:pt x="121031" y="657148"/>
                </a:lnTo>
                <a:lnTo>
                  <a:pt x="121031" y="654866"/>
                </a:lnTo>
                <a:lnTo>
                  <a:pt x="125598" y="650302"/>
                </a:lnTo>
                <a:lnTo>
                  <a:pt x="127881" y="648020"/>
                </a:lnTo>
                <a:lnTo>
                  <a:pt x="130165" y="645739"/>
                </a:lnTo>
                <a:lnTo>
                  <a:pt x="132448" y="643456"/>
                </a:lnTo>
                <a:lnTo>
                  <a:pt x="134732" y="641175"/>
                </a:lnTo>
                <a:lnTo>
                  <a:pt x="134732" y="638893"/>
                </a:lnTo>
                <a:lnTo>
                  <a:pt x="137016" y="634329"/>
                </a:lnTo>
                <a:lnTo>
                  <a:pt x="139299" y="634329"/>
                </a:lnTo>
                <a:lnTo>
                  <a:pt x="139299" y="636611"/>
                </a:lnTo>
                <a:lnTo>
                  <a:pt x="141583" y="636611"/>
                </a:lnTo>
                <a:lnTo>
                  <a:pt x="143867" y="636611"/>
                </a:lnTo>
                <a:lnTo>
                  <a:pt x="146150" y="636611"/>
                </a:lnTo>
                <a:lnTo>
                  <a:pt x="148434" y="638893"/>
                </a:lnTo>
                <a:lnTo>
                  <a:pt x="150717" y="638893"/>
                </a:lnTo>
                <a:lnTo>
                  <a:pt x="153001" y="638893"/>
                </a:lnTo>
                <a:lnTo>
                  <a:pt x="155284" y="638893"/>
                </a:lnTo>
                <a:lnTo>
                  <a:pt x="157568" y="636611"/>
                </a:lnTo>
                <a:lnTo>
                  <a:pt x="159852" y="636611"/>
                </a:lnTo>
                <a:lnTo>
                  <a:pt x="162135" y="636611"/>
                </a:lnTo>
                <a:lnTo>
                  <a:pt x="162135" y="634329"/>
                </a:lnTo>
                <a:lnTo>
                  <a:pt x="164419" y="634329"/>
                </a:lnTo>
                <a:lnTo>
                  <a:pt x="164419" y="632047"/>
                </a:lnTo>
                <a:lnTo>
                  <a:pt x="164419" y="627483"/>
                </a:lnTo>
                <a:lnTo>
                  <a:pt x="166702" y="625201"/>
                </a:lnTo>
                <a:lnTo>
                  <a:pt x="171270" y="622929"/>
                </a:lnTo>
                <a:lnTo>
                  <a:pt x="175837" y="620647"/>
                </a:lnTo>
                <a:lnTo>
                  <a:pt x="178121" y="620647"/>
                </a:lnTo>
                <a:lnTo>
                  <a:pt x="178121" y="618365"/>
                </a:lnTo>
                <a:lnTo>
                  <a:pt x="180404" y="618365"/>
                </a:lnTo>
                <a:lnTo>
                  <a:pt x="180404" y="616083"/>
                </a:lnTo>
                <a:lnTo>
                  <a:pt x="182688" y="613801"/>
                </a:lnTo>
                <a:lnTo>
                  <a:pt x="184971" y="613801"/>
                </a:lnTo>
                <a:lnTo>
                  <a:pt x="187255" y="613801"/>
                </a:lnTo>
                <a:lnTo>
                  <a:pt x="189538" y="613801"/>
                </a:lnTo>
                <a:lnTo>
                  <a:pt x="191822" y="613801"/>
                </a:lnTo>
                <a:lnTo>
                  <a:pt x="194106" y="613801"/>
                </a:lnTo>
                <a:lnTo>
                  <a:pt x="196389" y="613801"/>
                </a:lnTo>
                <a:lnTo>
                  <a:pt x="198673" y="613801"/>
                </a:lnTo>
                <a:lnTo>
                  <a:pt x="198673" y="616083"/>
                </a:lnTo>
                <a:lnTo>
                  <a:pt x="198673" y="613801"/>
                </a:lnTo>
                <a:lnTo>
                  <a:pt x="198673" y="611520"/>
                </a:lnTo>
                <a:lnTo>
                  <a:pt x="200956" y="609238"/>
                </a:lnTo>
                <a:lnTo>
                  <a:pt x="200956" y="606956"/>
                </a:lnTo>
                <a:lnTo>
                  <a:pt x="200956" y="604674"/>
                </a:lnTo>
                <a:lnTo>
                  <a:pt x="203240" y="602392"/>
                </a:lnTo>
                <a:lnTo>
                  <a:pt x="203240" y="600110"/>
                </a:lnTo>
                <a:lnTo>
                  <a:pt x="205524" y="600110"/>
                </a:lnTo>
                <a:lnTo>
                  <a:pt x="205524" y="597828"/>
                </a:lnTo>
                <a:lnTo>
                  <a:pt x="207807" y="597828"/>
                </a:lnTo>
                <a:lnTo>
                  <a:pt x="207807" y="595546"/>
                </a:lnTo>
                <a:lnTo>
                  <a:pt x="207807" y="593264"/>
                </a:lnTo>
                <a:lnTo>
                  <a:pt x="207807" y="590983"/>
                </a:lnTo>
                <a:lnTo>
                  <a:pt x="210091" y="590983"/>
                </a:lnTo>
                <a:lnTo>
                  <a:pt x="212374" y="590983"/>
                </a:lnTo>
                <a:lnTo>
                  <a:pt x="212374" y="588701"/>
                </a:lnTo>
                <a:lnTo>
                  <a:pt x="214658" y="588701"/>
                </a:lnTo>
                <a:lnTo>
                  <a:pt x="216942" y="586419"/>
                </a:lnTo>
                <a:lnTo>
                  <a:pt x="219225" y="584137"/>
                </a:lnTo>
                <a:lnTo>
                  <a:pt x="221509" y="581855"/>
                </a:lnTo>
                <a:lnTo>
                  <a:pt x="221509" y="579573"/>
                </a:lnTo>
                <a:lnTo>
                  <a:pt x="223792" y="579573"/>
                </a:lnTo>
                <a:lnTo>
                  <a:pt x="223792" y="577291"/>
                </a:lnTo>
                <a:lnTo>
                  <a:pt x="223792" y="575009"/>
                </a:lnTo>
                <a:lnTo>
                  <a:pt x="223792" y="572727"/>
                </a:lnTo>
                <a:lnTo>
                  <a:pt x="226076" y="572727"/>
                </a:lnTo>
                <a:lnTo>
                  <a:pt x="228360" y="572727"/>
                </a:lnTo>
                <a:lnTo>
                  <a:pt x="230643" y="570445"/>
                </a:lnTo>
                <a:lnTo>
                  <a:pt x="232927" y="570445"/>
                </a:lnTo>
                <a:lnTo>
                  <a:pt x="235210" y="570445"/>
                </a:lnTo>
                <a:lnTo>
                  <a:pt x="237494" y="568164"/>
                </a:lnTo>
                <a:lnTo>
                  <a:pt x="239777" y="568164"/>
                </a:lnTo>
                <a:lnTo>
                  <a:pt x="242061" y="565882"/>
                </a:lnTo>
                <a:lnTo>
                  <a:pt x="244345" y="565882"/>
                </a:lnTo>
                <a:lnTo>
                  <a:pt x="248912" y="563600"/>
                </a:lnTo>
                <a:lnTo>
                  <a:pt x="248912" y="565882"/>
                </a:lnTo>
                <a:lnTo>
                  <a:pt x="251196" y="565882"/>
                </a:lnTo>
                <a:lnTo>
                  <a:pt x="251196" y="568164"/>
                </a:lnTo>
                <a:lnTo>
                  <a:pt x="264897" y="563600"/>
                </a:lnTo>
                <a:lnTo>
                  <a:pt x="267181" y="563600"/>
                </a:lnTo>
                <a:lnTo>
                  <a:pt x="269464" y="563600"/>
                </a:lnTo>
                <a:lnTo>
                  <a:pt x="269464" y="561318"/>
                </a:lnTo>
                <a:lnTo>
                  <a:pt x="271748" y="561318"/>
                </a:lnTo>
                <a:lnTo>
                  <a:pt x="274031" y="561318"/>
                </a:lnTo>
                <a:lnTo>
                  <a:pt x="274031" y="559036"/>
                </a:lnTo>
                <a:lnTo>
                  <a:pt x="274031" y="556754"/>
                </a:lnTo>
                <a:lnTo>
                  <a:pt x="276315" y="556754"/>
                </a:lnTo>
                <a:lnTo>
                  <a:pt x="276315" y="554472"/>
                </a:lnTo>
                <a:lnTo>
                  <a:pt x="274031" y="554472"/>
                </a:lnTo>
                <a:lnTo>
                  <a:pt x="274031" y="552190"/>
                </a:lnTo>
                <a:lnTo>
                  <a:pt x="271748" y="552190"/>
                </a:lnTo>
                <a:lnTo>
                  <a:pt x="271748" y="549908"/>
                </a:lnTo>
                <a:lnTo>
                  <a:pt x="271748" y="547627"/>
                </a:lnTo>
                <a:lnTo>
                  <a:pt x="274031" y="545344"/>
                </a:lnTo>
                <a:lnTo>
                  <a:pt x="274031" y="543063"/>
                </a:lnTo>
                <a:lnTo>
                  <a:pt x="276315" y="540781"/>
                </a:lnTo>
                <a:lnTo>
                  <a:pt x="276315" y="538499"/>
                </a:lnTo>
                <a:lnTo>
                  <a:pt x="278599" y="538499"/>
                </a:lnTo>
                <a:lnTo>
                  <a:pt x="280882" y="538499"/>
                </a:lnTo>
                <a:lnTo>
                  <a:pt x="283166" y="536217"/>
                </a:lnTo>
                <a:lnTo>
                  <a:pt x="285450" y="536217"/>
                </a:lnTo>
                <a:lnTo>
                  <a:pt x="287733" y="536217"/>
                </a:lnTo>
                <a:lnTo>
                  <a:pt x="290017" y="536217"/>
                </a:lnTo>
                <a:lnTo>
                  <a:pt x="290017" y="533935"/>
                </a:lnTo>
                <a:lnTo>
                  <a:pt x="290017" y="531653"/>
                </a:lnTo>
                <a:lnTo>
                  <a:pt x="290017" y="529371"/>
                </a:lnTo>
                <a:lnTo>
                  <a:pt x="290017" y="527089"/>
                </a:lnTo>
                <a:lnTo>
                  <a:pt x="290017" y="524808"/>
                </a:lnTo>
                <a:lnTo>
                  <a:pt x="290017" y="522526"/>
                </a:lnTo>
                <a:lnTo>
                  <a:pt x="290017" y="520244"/>
                </a:lnTo>
                <a:lnTo>
                  <a:pt x="287733" y="520244"/>
                </a:lnTo>
                <a:lnTo>
                  <a:pt x="290017" y="513398"/>
                </a:lnTo>
                <a:lnTo>
                  <a:pt x="290017" y="511116"/>
                </a:lnTo>
                <a:lnTo>
                  <a:pt x="287733" y="501988"/>
                </a:lnTo>
                <a:lnTo>
                  <a:pt x="287733" y="499707"/>
                </a:lnTo>
                <a:lnTo>
                  <a:pt x="280882" y="490579"/>
                </a:lnTo>
                <a:lnTo>
                  <a:pt x="274031" y="481451"/>
                </a:lnTo>
                <a:lnTo>
                  <a:pt x="276315" y="479170"/>
                </a:lnTo>
                <a:lnTo>
                  <a:pt x="283166" y="470042"/>
                </a:lnTo>
                <a:lnTo>
                  <a:pt x="283166" y="467760"/>
                </a:lnTo>
                <a:lnTo>
                  <a:pt x="283166" y="463196"/>
                </a:lnTo>
                <a:lnTo>
                  <a:pt x="283166" y="460914"/>
                </a:lnTo>
                <a:lnTo>
                  <a:pt x="285450" y="456360"/>
                </a:lnTo>
                <a:lnTo>
                  <a:pt x="287733" y="449514"/>
                </a:lnTo>
                <a:lnTo>
                  <a:pt x="287733" y="447233"/>
                </a:lnTo>
                <a:lnTo>
                  <a:pt x="290017" y="447233"/>
                </a:lnTo>
                <a:lnTo>
                  <a:pt x="292300" y="447233"/>
                </a:lnTo>
                <a:lnTo>
                  <a:pt x="292300" y="444951"/>
                </a:lnTo>
                <a:lnTo>
                  <a:pt x="294584" y="444951"/>
                </a:lnTo>
                <a:lnTo>
                  <a:pt x="296867" y="444951"/>
                </a:lnTo>
                <a:lnTo>
                  <a:pt x="299151" y="444951"/>
                </a:lnTo>
                <a:lnTo>
                  <a:pt x="296867" y="444951"/>
                </a:lnTo>
                <a:lnTo>
                  <a:pt x="296867" y="442669"/>
                </a:lnTo>
                <a:lnTo>
                  <a:pt x="296867" y="440387"/>
                </a:lnTo>
                <a:lnTo>
                  <a:pt x="294584" y="440387"/>
                </a:lnTo>
                <a:lnTo>
                  <a:pt x="294584" y="438105"/>
                </a:lnTo>
                <a:lnTo>
                  <a:pt x="292300" y="438105"/>
                </a:lnTo>
                <a:lnTo>
                  <a:pt x="290017" y="438105"/>
                </a:lnTo>
                <a:lnTo>
                  <a:pt x="290017" y="435823"/>
                </a:lnTo>
                <a:lnTo>
                  <a:pt x="292300" y="435823"/>
                </a:lnTo>
                <a:lnTo>
                  <a:pt x="292300" y="433541"/>
                </a:lnTo>
                <a:lnTo>
                  <a:pt x="290017" y="431259"/>
                </a:lnTo>
                <a:lnTo>
                  <a:pt x="290017" y="428977"/>
                </a:lnTo>
                <a:lnTo>
                  <a:pt x="292300" y="428977"/>
                </a:lnTo>
                <a:lnTo>
                  <a:pt x="292300" y="431259"/>
                </a:lnTo>
                <a:lnTo>
                  <a:pt x="294584" y="428977"/>
                </a:lnTo>
                <a:lnTo>
                  <a:pt x="296867" y="428977"/>
                </a:lnTo>
                <a:lnTo>
                  <a:pt x="299151" y="424414"/>
                </a:lnTo>
                <a:lnTo>
                  <a:pt x="301435" y="422132"/>
                </a:lnTo>
                <a:lnTo>
                  <a:pt x="303718" y="419850"/>
                </a:lnTo>
                <a:lnTo>
                  <a:pt x="301435" y="417568"/>
                </a:lnTo>
                <a:lnTo>
                  <a:pt x="299151" y="417568"/>
                </a:lnTo>
                <a:lnTo>
                  <a:pt x="301435" y="415286"/>
                </a:lnTo>
                <a:lnTo>
                  <a:pt x="301435" y="413004"/>
                </a:lnTo>
                <a:lnTo>
                  <a:pt x="301435" y="410722"/>
                </a:lnTo>
                <a:lnTo>
                  <a:pt x="301435" y="408440"/>
                </a:lnTo>
                <a:lnTo>
                  <a:pt x="303718" y="406158"/>
                </a:lnTo>
                <a:lnTo>
                  <a:pt x="301435" y="406158"/>
                </a:lnTo>
                <a:lnTo>
                  <a:pt x="301435" y="403877"/>
                </a:lnTo>
                <a:lnTo>
                  <a:pt x="303718" y="403877"/>
                </a:lnTo>
                <a:lnTo>
                  <a:pt x="306002" y="403877"/>
                </a:lnTo>
                <a:lnTo>
                  <a:pt x="306002" y="406158"/>
                </a:lnTo>
                <a:lnTo>
                  <a:pt x="308285" y="403877"/>
                </a:lnTo>
                <a:lnTo>
                  <a:pt x="306002" y="403877"/>
                </a:lnTo>
                <a:lnTo>
                  <a:pt x="306002" y="401595"/>
                </a:lnTo>
                <a:lnTo>
                  <a:pt x="306002" y="399313"/>
                </a:lnTo>
                <a:lnTo>
                  <a:pt x="303718" y="397031"/>
                </a:lnTo>
                <a:lnTo>
                  <a:pt x="303718" y="394749"/>
                </a:lnTo>
                <a:lnTo>
                  <a:pt x="306002" y="394749"/>
                </a:lnTo>
                <a:lnTo>
                  <a:pt x="306002" y="392467"/>
                </a:lnTo>
                <a:lnTo>
                  <a:pt x="306002" y="390185"/>
                </a:lnTo>
                <a:lnTo>
                  <a:pt x="308285" y="390185"/>
                </a:lnTo>
                <a:lnTo>
                  <a:pt x="308285" y="387903"/>
                </a:lnTo>
                <a:lnTo>
                  <a:pt x="310569" y="387903"/>
                </a:lnTo>
                <a:lnTo>
                  <a:pt x="312853" y="387903"/>
                </a:lnTo>
                <a:lnTo>
                  <a:pt x="315136" y="385621"/>
                </a:lnTo>
                <a:lnTo>
                  <a:pt x="317420" y="385621"/>
                </a:lnTo>
                <a:lnTo>
                  <a:pt x="319704" y="383339"/>
                </a:lnTo>
                <a:lnTo>
                  <a:pt x="317420" y="383339"/>
                </a:lnTo>
                <a:lnTo>
                  <a:pt x="317420" y="381057"/>
                </a:lnTo>
                <a:lnTo>
                  <a:pt x="315136" y="378776"/>
                </a:lnTo>
                <a:lnTo>
                  <a:pt x="312853" y="378776"/>
                </a:lnTo>
                <a:lnTo>
                  <a:pt x="310569" y="378776"/>
                </a:lnTo>
                <a:lnTo>
                  <a:pt x="312853" y="376494"/>
                </a:lnTo>
                <a:lnTo>
                  <a:pt x="312853" y="374212"/>
                </a:lnTo>
                <a:lnTo>
                  <a:pt x="312853" y="371930"/>
                </a:lnTo>
                <a:lnTo>
                  <a:pt x="310569" y="371930"/>
                </a:lnTo>
                <a:lnTo>
                  <a:pt x="310569" y="369648"/>
                </a:lnTo>
                <a:lnTo>
                  <a:pt x="310569" y="367366"/>
                </a:lnTo>
                <a:lnTo>
                  <a:pt x="308285" y="367366"/>
                </a:lnTo>
                <a:lnTo>
                  <a:pt x="308285" y="365084"/>
                </a:lnTo>
                <a:lnTo>
                  <a:pt x="310569" y="362802"/>
                </a:lnTo>
                <a:lnTo>
                  <a:pt x="310569" y="360521"/>
                </a:lnTo>
                <a:lnTo>
                  <a:pt x="310569" y="358239"/>
                </a:lnTo>
                <a:lnTo>
                  <a:pt x="310569" y="355957"/>
                </a:lnTo>
                <a:lnTo>
                  <a:pt x="312853" y="351393"/>
                </a:lnTo>
                <a:lnTo>
                  <a:pt x="310569" y="351393"/>
                </a:lnTo>
                <a:lnTo>
                  <a:pt x="310569" y="349111"/>
                </a:lnTo>
                <a:lnTo>
                  <a:pt x="312853" y="349111"/>
                </a:lnTo>
                <a:lnTo>
                  <a:pt x="310569" y="346829"/>
                </a:lnTo>
                <a:lnTo>
                  <a:pt x="310569" y="344547"/>
                </a:lnTo>
                <a:lnTo>
                  <a:pt x="310569" y="342265"/>
                </a:lnTo>
                <a:lnTo>
                  <a:pt x="310569" y="339983"/>
                </a:lnTo>
                <a:lnTo>
                  <a:pt x="308285" y="339983"/>
                </a:lnTo>
                <a:lnTo>
                  <a:pt x="308285" y="337701"/>
                </a:lnTo>
                <a:lnTo>
                  <a:pt x="306002" y="337701"/>
                </a:lnTo>
                <a:lnTo>
                  <a:pt x="306002" y="335420"/>
                </a:lnTo>
                <a:lnTo>
                  <a:pt x="303718" y="335420"/>
                </a:lnTo>
                <a:lnTo>
                  <a:pt x="303718" y="333138"/>
                </a:lnTo>
                <a:lnTo>
                  <a:pt x="303718" y="330856"/>
                </a:lnTo>
                <a:lnTo>
                  <a:pt x="301435" y="330856"/>
                </a:lnTo>
                <a:lnTo>
                  <a:pt x="299151" y="330856"/>
                </a:lnTo>
                <a:lnTo>
                  <a:pt x="299151" y="328574"/>
                </a:lnTo>
                <a:lnTo>
                  <a:pt x="296867" y="326292"/>
                </a:lnTo>
                <a:lnTo>
                  <a:pt x="299151" y="324010"/>
                </a:lnTo>
                <a:lnTo>
                  <a:pt x="299151" y="321728"/>
                </a:lnTo>
                <a:lnTo>
                  <a:pt x="299151" y="319446"/>
                </a:lnTo>
                <a:lnTo>
                  <a:pt x="299151" y="317164"/>
                </a:lnTo>
                <a:lnTo>
                  <a:pt x="299151" y="314883"/>
                </a:lnTo>
                <a:lnTo>
                  <a:pt x="301435" y="314883"/>
                </a:lnTo>
                <a:lnTo>
                  <a:pt x="303718" y="314883"/>
                </a:lnTo>
                <a:lnTo>
                  <a:pt x="306002" y="314883"/>
                </a:lnTo>
                <a:lnTo>
                  <a:pt x="308285" y="314883"/>
                </a:lnTo>
                <a:lnTo>
                  <a:pt x="312853" y="312601"/>
                </a:lnTo>
                <a:lnTo>
                  <a:pt x="310569" y="312601"/>
                </a:lnTo>
                <a:lnTo>
                  <a:pt x="312853" y="312601"/>
                </a:lnTo>
                <a:lnTo>
                  <a:pt x="312853" y="310319"/>
                </a:lnTo>
                <a:lnTo>
                  <a:pt x="312853" y="312601"/>
                </a:lnTo>
                <a:lnTo>
                  <a:pt x="315136" y="312601"/>
                </a:lnTo>
                <a:lnTo>
                  <a:pt x="315136" y="310319"/>
                </a:lnTo>
                <a:lnTo>
                  <a:pt x="317420" y="310319"/>
                </a:lnTo>
                <a:lnTo>
                  <a:pt x="315136" y="310319"/>
                </a:lnTo>
                <a:lnTo>
                  <a:pt x="317420" y="310319"/>
                </a:lnTo>
                <a:lnTo>
                  <a:pt x="317420" y="308046"/>
                </a:lnTo>
                <a:lnTo>
                  <a:pt x="317420" y="305755"/>
                </a:lnTo>
                <a:lnTo>
                  <a:pt x="319704" y="305755"/>
                </a:lnTo>
                <a:lnTo>
                  <a:pt x="319704" y="303473"/>
                </a:lnTo>
                <a:lnTo>
                  <a:pt x="321987" y="301201"/>
                </a:lnTo>
                <a:lnTo>
                  <a:pt x="324271" y="301201"/>
                </a:lnTo>
                <a:lnTo>
                  <a:pt x="326554" y="305755"/>
                </a:lnTo>
                <a:lnTo>
                  <a:pt x="326554" y="303473"/>
                </a:lnTo>
                <a:lnTo>
                  <a:pt x="328838" y="303473"/>
                </a:lnTo>
                <a:lnTo>
                  <a:pt x="328838" y="301201"/>
                </a:lnTo>
                <a:lnTo>
                  <a:pt x="331121" y="298919"/>
                </a:lnTo>
                <a:lnTo>
                  <a:pt x="333405" y="298919"/>
                </a:lnTo>
                <a:lnTo>
                  <a:pt x="335689" y="296637"/>
                </a:lnTo>
                <a:lnTo>
                  <a:pt x="337972" y="298919"/>
                </a:lnTo>
                <a:lnTo>
                  <a:pt x="340256" y="298919"/>
                </a:lnTo>
                <a:lnTo>
                  <a:pt x="337972" y="294355"/>
                </a:lnTo>
                <a:lnTo>
                  <a:pt x="337972" y="292073"/>
                </a:lnTo>
                <a:lnTo>
                  <a:pt x="337972" y="289791"/>
                </a:lnTo>
                <a:lnTo>
                  <a:pt x="340256" y="289791"/>
                </a:lnTo>
                <a:lnTo>
                  <a:pt x="340256" y="287509"/>
                </a:lnTo>
                <a:lnTo>
                  <a:pt x="340256" y="285227"/>
                </a:lnTo>
                <a:lnTo>
                  <a:pt x="337972" y="282945"/>
                </a:lnTo>
                <a:lnTo>
                  <a:pt x="337972" y="280664"/>
                </a:lnTo>
                <a:lnTo>
                  <a:pt x="335689" y="280664"/>
                </a:lnTo>
                <a:lnTo>
                  <a:pt x="335689" y="278382"/>
                </a:lnTo>
                <a:lnTo>
                  <a:pt x="335689" y="276100"/>
                </a:lnTo>
                <a:lnTo>
                  <a:pt x="333405" y="276100"/>
                </a:lnTo>
                <a:lnTo>
                  <a:pt x="333405" y="273818"/>
                </a:lnTo>
                <a:lnTo>
                  <a:pt x="333405" y="271536"/>
                </a:lnTo>
                <a:lnTo>
                  <a:pt x="331121" y="269254"/>
                </a:lnTo>
                <a:lnTo>
                  <a:pt x="328838" y="269254"/>
                </a:lnTo>
                <a:lnTo>
                  <a:pt x="326554" y="269254"/>
                </a:lnTo>
                <a:lnTo>
                  <a:pt x="326554" y="266972"/>
                </a:lnTo>
                <a:lnTo>
                  <a:pt x="324271" y="266972"/>
                </a:lnTo>
                <a:lnTo>
                  <a:pt x="321987" y="266972"/>
                </a:lnTo>
                <a:lnTo>
                  <a:pt x="319704" y="266972"/>
                </a:lnTo>
                <a:lnTo>
                  <a:pt x="315136" y="266972"/>
                </a:lnTo>
                <a:lnTo>
                  <a:pt x="315136" y="264690"/>
                </a:lnTo>
                <a:lnTo>
                  <a:pt x="312853" y="264690"/>
                </a:lnTo>
                <a:lnTo>
                  <a:pt x="312853" y="262409"/>
                </a:lnTo>
                <a:lnTo>
                  <a:pt x="312853" y="260127"/>
                </a:lnTo>
                <a:lnTo>
                  <a:pt x="312853" y="257845"/>
                </a:lnTo>
                <a:lnTo>
                  <a:pt x="317420" y="253281"/>
                </a:lnTo>
                <a:lnTo>
                  <a:pt x="319704" y="253281"/>
                </a:lnTo>
                <a:lnTo>
                  <a:pt x="321987" y="253281"/>
                </a:lnTo>
                <a:lnTo>
                  <a:pt x="317420" y="250999"/>
                </a:lnTo>
                <a:lnTo>
                  <a:pt x="317420" y="248717"/>
                </a:lnTo>
                <a:lnTo>
                  <a:pt x="315136" y="248717"/>
                </a:lnTo>
                <a:lnTo>
                  <a:pt x="312853" y="248717"/>
                </a:lnTo>
                <a:lnTo>
                  <a:pt x="312853" y="246435"/>
                </a:lnTo>
                <a:lnTo>
                  <a:pt x="310569" y="246435"/>
                </a:lnTo>
                <a:lnTo>
                  <a:pt x="312853" y="244153"/>
                </a:lnTo>
                <a:lnTo>
                  <a:pt x="312853" y="241871"/>
                </a:lnTo>
                <a:lnTo>
                  <a:pt x="315136" y="241871"/>
                </a:lnTo>
                <a:lnTo>
                  <a:pt x="317420" y="244153"/>
                </a:lnTo>
                <a:lnTo>
                  <a:pt x="317420" y="241871"/>
                </a:lnTo>
                <a:lnTo>
                  <a:pt x="319704" y="241871"/>
                </a:lnTo>
                <a:lnTo>
                  <a:pt x="324271" y="237308"/>
                </a:lnTo>
                <a:lnTo>
                  <a:pt x="331121" y="235026"/>
                </a:lnTo>
                <a:lnTo>
                  <a:pt x="333405" y="235026"/>
                </a:lnTo>
                <a:lnTo>
                  <a:pt x="333405" y="237308"/>
                </a:lnTo>
                <a:lnTo>
                  <a:pt x="335689" y="237308"/>
                </a:lnTo>
                <a:lnTo>
                  <a:pt x="335689" y="239589"/>
                </a:lnTo>
                <a:lnTo>
                  <a:pt x="337972" y="239589"/>
                </a:lnTo>
                <a:lnTo>
                  <a:pt x="340256" y="239589"/>
                </a:lnTo>
                <a:lnTo>
                  <a:pt x="342539" y="239589"/>
                </a:lnTo>
                <a:lnTo>
                  <a:pt x="342539" y="241871"/>
                </a:lnTo>
                <a:lnTo>
                  <a:pt x="344823" y="241871"/>
                </a:lnTo>
                <a:lnTo>
                  <a:pt x="344823" y="239589"/>
                </a:lnTo>
                <a:lnTo>
                  <a:pt x="347106" y="239589"/>
                </a:lnTo>
                <a:lnTo>
                  <a:pt x="347106" y="237308"/>
                </a:lnTo>
                <a:lnTo>
                  <a:pt x="349390" y="237308"/>
                </a:lnTo>
                <a:lnTo>
                  <a:pt x="351674" y="237308"/>
                </a:lnTo>
                <a:lnTo>
                  <a:pt x="351674" y="235026"/>
                </a:lnTo>
                <a:lnTo>
                  <a:pt x="351674" y="232744"/>
                </a:lnTo>
                <a:lnTo>
                  <a:pt x="351674" y="230462"/>
                </a:lnTo>
                <a:lnTo>
                  <a:pt x="353957" y="230462"/>
                </a:lnTo>
                <a:lnTo>
                  <a:pt x="353957" y="228180"/>
                </a:lnTo>
                <a:lnTo>
                  <a:pt x="356241" y="228180"/>
                </a:lnTo>
                <a:lnTo>
                  <a:pt x="356241" y="225898"/>
                </a:lnTo>
                <a:lnTo>
                  <a:pt x="356241" y="223616"/>
                </a:lnTo>
                <a:lnTo>
                  <a:pt x="356241" y="221334"/>
                </a:lnTo>
                <a:lnTo>
                  <a:pt x="356241" y="219052"/>
                </a:lnTo>
                <a:lnTo>
                  <a:pt x="358525" y="219052"/>
                </a:lnTo>
                <a:lnTo>
                  <a:pt x="360808" y="219052"/>
                </a:lnTo>
                <a:lnTo>
                  <a:pt x="360808" y="216771"/>
                </a:lnTo>
                <a:lnTo>
                  <a:pt x="360808" y="214489"/>
                </a:lnTo>
                <a:lnTo>
                  <a:pt x="360808" y="212207"/>
                </a:lnTo>
                <a:lnTo>
                  <a:pt x="360808" y="209925"/>
                </a:lnTo>
                <a:lnTo>
                  <a:pt x="363092" y="209925"/>
                </a:lnTo>
                <a:lnTo>
                  <a:pt x="365375" y="209925"/>
                </a:lnTo>
                <a:lnTo>
                  <a:pt x="367659" y="209925"/>
                </a:lnTo>
                <a:lnTo>
                  <a:pt x="369943" y="209925"/>
                </a:lnTo>
                <a:lnTo>
                  <a:pt x="372226" y="209925"/>
                </a:lnTo>
                <a:lnTo>
                  <a:pt x="372226" y="212207"/>
                </a:lnTo>
                <a:lnTo>
                  <a:pt x="372226" y="209925"/>
                </a:lnTo>
                <a:lnTo>
                  <a:pt x="374510" y="209925"/>
                </a:lnTo>
                <a:lnTo>
                  <a:pt x="376793" y="209925"/>
                </a:lnTo>
                <a:lnTo>
                  <a:pt x="376793" y="207643"/>
                </a:lnTo>
                <a:lnTo>
                  <a:pt x="379077" y="207643"/>
                </a:lnTo>
                <a:lnTo>
                  <a:pt x="379077" y="209925"/>
                </a:lnTo>
                <a:lnTo>
                  <a:pt x="379077" y="212207"/>
                </a:lnTo>
                <a:lnTo>
                  <a:pt x="381361" y="212207"/>
                </a:lnTo>
                <a:lnTo>
                  <a:pt x="383644" y="212207"/>
                </a:lnTo>
                <a:lnTo>
                  <a:pt x="385928" y="212207"/>
                </a:lnTo>
                <a:lnTo>
                  <a:pt x="385928" y="209925"/>
                </a:lnTo>
                <a:lnTo>
                  <a:pt x="388211" y="207643"/>
                </a:lnTo>
                <a:lnTo>
                  <a:pt x="388211" y="205361"/>
                </a:lnTo>
                <a:lnTo>
                  <a:pt x="390495" y="200797"/>
                </a:lnTo>
                <a:lnTo>
                  <a:pt x="390495" y="198515"/>
                </a:lnTo>
                <a:lnTo>
                  <a:pt x="392778" y="200797"/>
                </a:lnTo>
                <a:lnTo>
                  <a:pt x="395062" y="200797"/>
                </a:lnTo>
                <a:lnTo>
                  <a:pt x="397346" y="200797"/>
                </a:lnTo>
                <a:lnTo>
                  <a:pt x="399629" y="203079"/>
                </a:lnTo>
                <a:lnTo>
                  <a:pt x="401913" y="203079"/>
                </a:lnTo>
                <a:lnTo>
                  <a:pt x="404196" y="203079"/>
                </a:lnTo>
                <a:lnTo>
                  <a:pt x="406480" y="205361"/>
                </a:lnTo>
                <a:lnTo>
                  <a:pt x="411047" y="207643"/>
                </a:lnTo>
                <a:lnTo>
                  <a:pt x="413331" y="207643"/>
                </a:lnTo>
                <a:lnTo>
                  <a:pt x="415614" y="209925"/>
                </a:lnTo>
                <a:lnTo>
                  <a:pt x="417898" y="212207"/>
                </a:lnTo>
                <a:lnTo>
                  <a:pt x="417898" y="214489"/>
                </a:lnTo>
                <a:lnTo>
                  <a:pt x="420181" y="214489"/>
                </a:lnTo>
                <a:lnTo>
                  <a:pt x="422465" y="214489"/>
                </a:lnTo>
                <a:lnTo>
                  <a:pt x="422465" y="216771"/>
                </a:lnTo>
                <a:lnTo>
                  <a:pt x="424749" y="216771"/>
                </a:lnTo>
                <a:lnTo>
                  <a:pt x="427033" y="219052"/>
                </a:lnTo>
                <a:lnTo>
                  <a:pt x="427033" y="216771"/>
                </a:lnTo>
                <a:lnTo>
                  <a:pt x="429316" y="216771"/>
                </a:lnTo>
                <a:lnTo>
                  <a:pt x="431600" y="216771"/>
                </a:lnTo>
                <a:lnTo>
                  <a:pt x="431600" y="214489"/>
                </a:lnTo>
                <a:lnTo>
                  <a:pt x="433883" y="214489"/>
                </a:lnTo>
                <a:lnTo>
                  <a:pt x="436167" y="214489"/>
                </a:lnTo>
                <a:lnTo>
                  <a:pt x="438451" y="214489"/>
                </a:lnTo>
                <a:lnTo>
                  <a:pt x="438451" y="212207"/>
                </a:lnTo>
                <a:lnTo>
                  <a:pt x="440734" y="212207"/>
                </a:lnTo>
                <a:lnTo>
                  <a:pt x="440734" y="209925"/>
                </a:lnTo>
                <a:lnTo>
                  <a:pt x="443018" y="209925"/>
                </a:lnTo>
                <a:lnTo>
                  <a:pt x="443018" y="207643"/>
                </a:lnTo>
                <a:lnTo>
                  <a:pt x="445301" y="207643"/>
                </a:lnTo>
                <a:lnTo>
                  <a:pt x="445301" y="205361"/>
                </a:lnTo>
                <a:lnTo>
                  <a:pt x="447585" y="205361"/>
                </a:lnTo>
                <a:lnTo>
                  <a:pt x="449868" y="207643"/>
                </a:lnTo>
                <a:lnTo>
                  <a:pt x="452152" y="207643"/>
                </a:lnTo>
                <a:lnTo>
                  <a:pt x="454436" y="207643"/>
                </a:lnTo>
                <a:lnTo>
                  <a:pt x="456719" y="209925"/>
                </a:lnTo>
                <a:lnTo>
                  <a:pt x="459003" y="212207"/>
                </a:lnTo>
                <a:lnTo>
                  <a:pt x="461286" y="212207"/>
                </a:lnTo>
                <a:lnTo>
                  <a:pt x="461286" y="214489"/>
                </a:lnTo>
                <a:lnTo>
                  <a:pt x="463570" y="214489"/>
                </a:lnTo>
                <a:lnTo>
                  <a:pt x="463570" y="216771"/>
                </a:lnTo>
                <a:lnTo>
                  <a:pt x="465853" y="219052"/>
                </a:lnTo>
                <a:lnTo>
                  <a:pt x="468137" y="219052"/>
                </a:lnTo>
                <a:lnTo>
                  <a:pt x="468137" y="221334"/>
                </a:lnTo>
                <a:lnTo>
                  <a:pt x="472704" y="225898"/>
                </a:lnTo>
                <a:lnTo>
                  <a:pt x="474988" y="225898"/>
                </a:lnTo>
                <a:lnTo>
                  <a:pt x="474988" y="223616"/>
                </a:lnTo>
                <a:lnTo>
                  <a:pt x="477271" y="223616"/>
                </a:lnTo>
                <a:lnTo>
                  <a:pt x="477271" y="221334"/>
                </a:lnTo>
                <a:lnTo>
                  <a:pt x="477271" y="219052"/>
                </a:lnTo>
                <a:lnTo>
                  <a:pt x="477271" y="216771"/>
                </a:lnTo>
                <a:lnTo>
                  <a:pt x="479555" y="216771"/>
                </a:lnTo>
                <a:lnTo>
                  <a:pt x="479555" y="214489"/>
                </a:lnTo>
                <a:lnTo>
                  <a:pt x="481839" y="214489"/>
                </a:lnTo>
                <a:lnTo>
                  <a:pt x="484122" y="214489"/>
                </a:lnTo>
                <a:lnTo>
                  <a:pt x="484122" y="212207"/>
                </a:lnTo>
                <a:lnTo>
                  <a:pt x="486406" y="212207"/>
                </a:lnTo>
                <a:lnTo>
                  <a:pt x="486406" y="209925"/>
                </a:lnTo>
                <a:lnTo>
                  <a:pt x="488689" y="209925"/>
                </a:lnTo>
                <a:lnTo>
                  <a:pt x="490973" y="209925"/>
                </a:lnTo>
                <a:lnTo>
                  <a:pt x="490973" y="207643"/>
                </a:lnTo>
                <a:lnTo>
                  <a:pt x="490973" y="205361"/>
                </a:lnTo>
                <a:lnTo>
                  <a:pt x="493256" y="205361"/>
                </a:lnTo>
                <a:lnTo>
                  <a:pt x="493256" y="203079"/>
                </a:lnTo>
                <a:lnTo>
                  <a:pt x="495541" y="203079"/>
                </a:lnTo>
                <a:lnTo>
                  <a:pt x="497824" y="203079"/>
                </a:lnTo>
                <a:lnTo>
                  <a:pt x="497824" y="205361"/>
                </a:lnTo>
                <a:lnTo>
                  <a:pt x="500108" y="205361"/>
                </a:lnTo>
                <a:lnTo>
                  <a:pt x="502391" y="205361"/>
                </a:lnTo>
                <a:lnTo>
                  <a:pt x="504675" y="205361"/>
                </a:lnTo>
                <a:lnTo>
                  <a:pt x="504675" y="207643"/>
                </a:lnTo>
                <a:lnTo>
                  <a:pt x="504675" y="209925"/>
                </a:lnTo>
                <a:lnTo>
                  <a:pt x="506958" y="209925"/>
                </a:lnTo>
                <a:lnTo>
                  <a:pt x="506958" y="212207"/>
                </a:lnTo>
                <a:lnTo>
                  <a:pt x="509242" y="212207"/>
                </a:lnTo>
                <a:lnTo>
                  <a:pt x="511526" y="212207"/>
                </a:lnTo>
                <a:lnTo>
                  <a:pt x="511526" y="209925"/>
                </a:lnTo>
                <a:lnTo>
                  <a:pt x="513809" y="209925"/>
                </a:lnTo>
                <a:lnTo>
                  <a:pt x="516093" y="209925"/>
                </a:lnTo>
                <a:lnTo>
                  <a:pt x="518376" y="209925"/>
                </a:lnTo>
                <a:lnTo>
                  <a:pt x="520660" y="209925"/>
                </a:lnTo>
                <a:lnTo>
                  <a:pt x="522943" y="209925"/>
                </a:lnTo>
                <a:lnTo>
                  <a:pt x="522943" y="207643"/>
                </a:lnTo>
                <a:lnTo>
                  <a:pt x="525227" y="205361"/>
                </a:lnTo>
                <a:lnTo>
                  <a:pt x="525227" y="203079"/>
                </a:lnTo>
                <a:lnTo>
                  <a:pt x="525227" y="200797"/>
                </a:lnTo>
                <a:lnTo>
                  <a:pt x="525227" y="198515"/>
                </a:lnTo>
                <a:lnTo>
                  <a:pt x="525227" y="196233"/>
                </a:lnTo>
                <a:lnTo>
                  <a:pt x="522943" y="196233"/>
                </a:lnTo>
                <a:lnTo>
                  <a:pt x="522943" y="193952"/>
                </a:lnTo>
                <a:lnTo>
                  <a:pt x="525227" y="191670"/>
                </a:lnTo>
                <a:lnTo>
                  <a:pt x="525227" y="189388"/>
                </a:lnTo>
                <a:lnTo>
                  <a:pt x="525227" y="187106"/>
                </a:lnTo>
                <a:lnTo>
                  <a:pt x="527511" y="187106"/>
                </a:lnTo>
                <a:lnTo>
                  <a:pt x="529794" y="187106"/>
                </a:lnTo>
                <a:lnTo>
                  <a:pt x="532078" y="187106"/>
                </a:lnTo>
                <a:lnTo>
                  <a:pt x="534361" y="187106"/>
                </a:lnTo>
                <a:lnTo>
                  <a:pt x="534361" y="184824"/>
                </a:lnTo>
                <a:lnTo>
                  <a:pt x="536645" y="184824"/>
                </a:lnTo>
                <a:lnTo>
                  <a:pt x="536645" y="182542"/>
                </a:lnTo>
                <a:lnTo>
                  <a:pt x="538929" y="182542"/>
                </a:lnTo>
                <a:lnTo>
                  <a:pt x="541212" y="180260"/>
                </a:lnTo>
                <a:lnTo>
                  <a:pt x="543496" y="180260"/>
                </a:lnTo>
                <a:lnTo>
                  <a:pt x="543496" y="182542"/>
                </a:lnTo>
                <a:lnTo>
                  <a:pt x="545779" y="182542"/>
                </a:lnTo>
                <a:lnTo>
                  <a:pt x="548063" y="182542"/>
                </a:lnTo>
                <a:lnTo>
                  <a:pt x="550346" y="182542"/>
                </a:lnTo>
                <a:lnTo>
                  <a:pt x="552630" y="184824"/>
                </a:lnTo>
                <a:lnTo>
                  <a:pt x="557197" y="187106"/>
                </a:lnTo>
                <a:lnTo>
                  <a:pt x="557197" y="184824"/>
                </a:lnTo>
                <a:lnTo>
                  <a:pt x="557197" y="182542"/>
                </a:lnTo>
                <a:lnTo>
                  <a:pt x="557197" y="180260"/>
                </a:lnTo>
                <a:lnTo>
                  <a:pt x="557197" y="177978"/>
                </a:lnTo>
                <a:lnTo>
                  <a:pt x="557197" y="175696"/>
                </a:lnTo>
                <a:lnTo>
                  <a:pt x="557197" y="173415"/>
                </a:lnTo>
                <a:lnTo>
                  <a:pt x="557197" y="171133"/>
                </a:lnTo>
                <a:lnTo>
                  <a:pt x="557197" y="168851"/>
                </a:lnTo>
                <a:lnTo>
                  <a:pt x="559481" y="168851"/>
                </a:lnTo>
                <a:lnTo>
                  <a:pt x="561764" y="168851"/>
                </a:lnTo>
                <a:lnTo>
                  <a:pt x="564048" y="168851"/>
                </a:lnTo>
                <a:lnTo>
                  <a:pt x="566332" y="171133"/>
                </a:lnTo>
                <a:lnTo>
                  <a:pt x="568616" y="171133"/>
                </a:lnTo>
                <a:lnTo>
                  <a:pt x="570899" y="171133"/>
                </a:lnTo>
                <a:lnTo>
                  <a:pt x="573183" y="171133"/>
                </a:lnTo>
                <a:lnTo>
                  <a:pt x="575466" y="171133"/>
                </a:lnTo>
                <a:lnTo>
                  <a:pt x="575466" y="168851"/>
                </a:lnTo>
                <a:lnTo>
                  <a:pt x="577750" y="168851"/>
                </a:lnTo>
                <a:lnTo>
                  <a:pt x="577750" y="171133"/>
                </a:lnTo>
                <a:lnTo>
                  <a:pt x="577750" y="173415"/>
                </a:lnTo>
                <a:lnTo>
                  <a:pt x="577750" y="175696"/>
                </a:lnTo>
                <a:lnTo>
                  <a:pt x="577750" y="177978"/>
                </a:lnTo>
                <a:lnTo>
                  <a:pt x="577750" y="180260"/>
                </a:lnTo>
                <a:lnTo>
                  <a:pt x="577750" y="182542"/>
                </a:lnTo>
                <a:lnTo>
                  <a:pt x="577750" y="184824"/>
                </a:lnTo>
                <a:lnTo>
                  <a:pt x="577750" y="187106"/>
                </a:lnTo>
                <a:lnTo>
                  <a:pt x="577750" y="189388"/>
                </a:lnTo>
                <a:lnTo>
                  <a:pt x="580033" y="189388"/>
                </a:lnTo>
                <a:lnTo>
                  <a:pt x="580033" y="191670"/>
                </a:lnTo>
                <a:lnTo>
                  <a:pt x="582317" y="191670"/>
                </a:lnTo>
                <a:lnTo>
                  <a:pt x="582317" y="193952"/>
                </a:lnTo>
                <a:lnTo>
                  <a:pt x="584601" y="193952"/>
                </a:lnTo>
                <a:lnTo>
                  <a:pt x="586884" y="193952"/>
                </a:lnTo>
                <a:lnTo>
                  <a:pt x="586884" y="191670"/>
                </a:lnTo>
                <a:lnTo>
                  <a:pt x="589168" y="191670"/>
                </a:lnTo>
                <a:lnTo>
                  <a:pt x="589168" y="193952"/>
                </a:lnTo>
                <a:lnTo>
                  <a:pt x="591451" y="193952"/>
                </a:lnTo>
                <a:lnTo>
                  <a:pt x="591451" y="191670"/>
                </a:lnTo>
                <a:lnTo>
                  <a:pt x="591451" y="193952"/>
                </a:lnTo>
                <a:lnTo>
                  <a:pt x="593735" y="193952"/>
                </a:lnTo>
                <a:lnTo>
                  <a:pt x="593735" y="191670"/>
                </a:lnTo>
                <a:lnTo>
                  <a:pt x="596019" y="191670"/>
                </a:lnTo>
                <a:lnTo>
                  <a:pt x="596019" y="189388"/>
                </a:lnTo>
                <a:lnTo>
                  <a:pt x="598302" y="189388"/>
                </a:lnTo>
                <a:lnTo>
                  <a:pt x="600586" y="189388"/>
                </a:lnTo>
                <a:lnTo>
                  <a:pt x="602869" y="189388"/>
                </a:lnTo>
                <a:lnTo>
                  <a:pt x="602869" y="187106"/>
                </a:lnTo>
                <a:lnTo>
                  <a:pt x="605153" y="187106"/>
                </a:lnTo>
                <a:lnTo>
                  <a:pt x="607436" y="189388"/>
                </a:lnTo>
                <a:lnTo>
                  <a:pt x="609720" y="189388"/>
                </a:lnTo>
                <a:lnTo>
                  <a:pt x="612004" y="189388"/>
                </a:lnTo>
                <a:lnTo>
                  <a:pt x="614287" y="189388"/>
                </a:lnTo>
                <a:lnTo>
                  <a:pt x="616571" y="189388"/>
                </a:lnTo>
                <a:lnTo>
                  <a:pt x="616571" y="191670"/>
                </a:lnTo>
                <a:lnTo>
                  <a:pt x="618854" y="191670"/>
                </a:lnTo>
                <a:lnTo>
                  <a:pt x="621138" y="191670"/>
                </a:lnTo>
                <a:lnTo>
                  <a:pt x="621138" y="193952"/>
                </a:lnTo>
                <a:lnTo>
                  <a:pt x="623422" y="193952"/>
                </a:lnTo>
                <a:lnTo>
                  <a:pt x="625705" y="193952"/>
                </a:lnTo>
                <a:lnTo>
                  <a:pt x="627989" y="193952"/>
                </a:lnTo>
                <a:lnTo>
                  <a:pt x="630272" y="193952"/>
                </a:lnTo>
                <a:lnTo>
                  <a:pt x="632556" y="193952"/>
                </a:lnTo>
                <a:lnTo>
                  <a:pt x="634840" y="193952"/>
                </a:lnTo>
                <a:lnTo>
                  <a:pt x="637123" y="193952"/>
                </a:lnTo>
                <a:lnTo>
                  <a:pt x="639407" y="191670"/>
                </a:lnTo>
                <a:lnTo>
                  <a:pt x="641691" y="191670"/>
                </a:lnTo>
                <a:lnTo>
                  <a:pt x="643974" y="189388"/>
                </a:lnTo>
                <a:lnTo>
                  <a:pt x="646258" y="189388"/>
                </a:lnTo>
                <a:lnTo>
                  <a:pt x="648541" y="187106"/>
                </a:lnTo>
                <a:lnTo>
                  <a:pt x="650825" y="187106"/>
                </a:lnTo>
                <a:lnTo>
                  <a:pt x="657676" y="182542"/>
                </a:lnTo>
                <a:lnTo>
                  <a:pt x="662243" y="180260"/>
                </a:lnTo>
                <a:lnTo>
                  <a:pt x="664536" y="180260"/>
                </a:lnTo>
                <a:lnTo>
                  <a:pt x="666810" y="180260"/>
                </a:lnTo>
                <a:lnTo>
                  <a:pt x="669094" y="180260"/>
                </a:lnTo>
                <a:lnTo>
                  <a:pt x="673661" y="177978"/>
                </a:lnTo>
                <a:lnTo>
                  <a:pt x="675954" y="177978"/>
                </a:lnTo>
                <a:lnTo>
                  <a:pt x="678238" y="177978"/>
                </a:lnTo>
                <a:lnTo>
                  <a:pt x="680512" y="177978"/>
                </a:lnTo>
                <a:lnTo>
                  <a:pt x="682795" y="177978"/>
                </a:lnTo>
                <a:lnTo>
                  <a:pt x="682795" y="180260"/>
                </a:lnTo>
                <a:lnTo>
                  <a:pt x="685079" y="180260"/>
                </a:lnTo>
                <a:lnTo>
                  <a:pt x="685079" y="177978"/>
                </a:lnTo>
                <a:lnTo>
                  <a:pt x="685079" y="180260"/>
                </a:lnTo>
                <a:lnTo>
                  <a:pt x="687362" y="180260"/>
                </a:lnTo>
                <a:lnTo>
                  <a:pt x="687362" y="182542"/>
                </a:lnTo>
                <a:lnTo>
                  <a:pt x="687362" y="180260"/>
                </a:lnTo>
                <a:lnTo>
                  <a:pt x="687362" y="182542"/>
                </a:lnTo>
                <a:lnTo>
                  <a:pt x="689646" y="182542"/>
                </a:lnTo>
                <a:lnTo>
                  <a:pt x="687362" y="182542"/>
                </a:lnTo>
                <a:lnTo>
                  <a:pt x="689646" y="184824"/>
                </a:lnTo>
                <a:lnTo>
                  <a:pt x="691939" y="184824"/>
                </a:lnTo>
                <a:lnTo>
                  <a:pt x="691939" y="182542"/>
                </a:lnTo>
                <a:lnTo>
                  <a:pt x="694213" y="182542"/>
                </a:lnTo>
                <a:lnTo>
                  <a:pt x="694213" y="184824"/>
                </a:lnTo>
                <a:lnTo>
                  <a:pt x="694213" y="187106"/>
                </a:lnTo>
                <a:lnTo>
                  <a:pt x="696497" y="187106"/>
                </a:lnTo>
                <a:lnTo>
                  <a:pt x="696497" y="184824"/>
                </a:lnTo>
                <a:lnTo>
                  <a:pt x="698780" y="184824"/>
                </a:lnTo>
                <a:lnTo>
                  <a:pt x="698780" y="187106"/>
                </a:lnTo>
                <a:lnTo>
                  <a:pt x="701064" y="187106"/>
                </a:lnTo>
                <a:lnTo>
                  <a:pt x="701064" y="189388"/>
                </a:lnTo>
                <a:lnTo>
                  <a:pt x="701064" y="191670"/>
                </a:lnTo>
                <a:lnTo>
                  <a:pt x="703357" y="191670"/>
                </a:lnTo>
                <a:lnTo>
                  <a:pt x="703357" y="193952"/>
                </a:lnTo>
                <a:lnTo>
                  <a:pt x="703357" y="196233"/>
                </a:lnTo>
                <a:lnTo>
                  <a:pt x="705641" y="196233"/>
                </a:lnTo>
                <a:lnTo>
                  <a:pt x="707915" y="196233"/>
                </a:lnTo>
                <a:lnTo>
                  <a:pt x="710208" y="196233"/>
                </a:lnTo>
                <a:lnTo>
                  <a:pt x="710208" y="193952"/>
                </a:lnTo>
                <a:lnTo>
                  <a:pt x="707915" y="193952"/>
                </a:lnTo>
                <a:lnTo>
                  <a:pt x="707915" y="191670"/>
                </a:lnTo>
                <a:lnTo>
                  <a:pt x="710208" y="191670"/>
                </a:lnTo>
                <a:lnTo>
                  <a:pt x="712491" y="191670"/>
                </a:lnTo>
                <a:lnTo>
                  <a:pt x="712491" y="193952"/>
                </a:lnTo>
                <a:lnTo>
                  <a:pt x="714766" y="193952"/>
                </a:lnTo>
                <a:lnTo>
                  <a:pt x="714766" y="196233"/>
                </a:lnTo>
                <a:lnTo>
                  <a:pt x="717049" y="196233"/>
                </a:lnTo>
                <a:lnTo>
                  <a:pt x="717049" y="198515"/>
                </a:lnTo>
                <a:lnTo>
                  <a:pt x="719333" y="198515"/>
                </a:lnTo>
                <a:lnTo>
                  <a:pt x="717049" y="198515"/>
                </a:lnTo>
                <a:lnTo>
                  <a:pt x="717049" y="200797"/>
                </a:lnTo>
                <a:lnTo>
                  <a:pt x="717049" y="198515"/>
                </a:lnTo>
                <a:lnTo>
                  <a:pt x="719333" y="198515"/>
                </a:lnTo>
                <a:lnTo>
                  <a:pt x="719333" y="200797"/>
                </a:lnTo>
                <a:lnTo>
                  <a:pt x="717049" y="200797"/>
                </a:lnTo>
                <a:lnTo>
                  <a:pt x="719333" y="203079"/>
                </a:lnTo>
                <a:lnTo>
                  <a:pt x="721626" y="203079"/>
                </a:lnTo>
                <a:lnTo>
                  <a:pt x="721626" y="200797"/>
                </a:lnTo>
                <a:lnTo>
                  <a:pt x="723909" y="200797"/>
                </a:lnTo>
                <a:lnTo>
                  <a:pt x="723909" y="203079"/>
                </a:lnTo>
                <a:lnTo>
                  <a:pt x="726193" y="203079"/>
                </a:lnTo>
                <a:lnTo>
                  <a:pt x="726193" y="205361"/>
                </a:lnTo>
                <a:lnTo>
                  <a:pt x="723909" y="205361"/>
                </a:lnTo>
                <a:lnTo>
                  <a:pt x="723909" y="207643"/>
                </a:lnTo>
                <a:lnTo>
                  <a:pt x="726193" y="207643"/>
                </a:lnTo>
                <a:lnTo>
                  <a:pt x="728467" y="207643"/>
                </a:lnTo>
                <a:lnTo>
                  <a:pt x="730751" y="207643"/>
                </a:lnTo>
                <a:lnTo>
                  <a:pt x="730751" y="205361"/>
                </a:lnTo>
                <a:lnTo>
                  <a:pt x="733044" y="205361"/>
                </a:lnTo>
                <a:lnTo>
                  <a:pt x="735328" y="205361"/>
                </a:lnTo>
                <a:lnTo>
                  <a:pt x="735328" y="203079"/>
                </a:lnTo>
                <a:lnTo>
                  <a:pt x="735328" y="200797"/>
                </a:lnTo>
                <a:lnTo>
                  <a:pt x="737611" y="200797"/>
                </a:lnTo>
                <a:lnTo>
                  <a:pt x="737611" y="203079"/>
                </a:lnTo>
                <a:lnTo>
                  <a:pt x="737611" y="200797"/>
                </a:lnTo>
                <a:lnTo>
                  <a:pt x="739895" y="200797"/>
                </a:lnTo>
                <a:lnTo>
                  <a:pt x="739895" y="198515"/>
                </a:lnTo>
                <a:lnTo>
                  <a:pt x="739895" y="196233"/>
                </a:lnTo>
                <a:lnTo>
                  <a:pt x="737611" y="196233"/>
                </a:lnTo>
                <a:lnTo>
                  <a:pt x="739895" y="196233"/>
                </a:lnTo>
                <a:lnTo>
                  <a:pt x="739895" y="193952"/>
                </a:lnTo>
                <a:lnTo>
                  <a:pt x="739895" y="191670"/>
                </a:lnTo>
                <a:lnTo>
                  <a:pt x="742169" y="191670"/>
                </a:lnTo>
                <a:lnTo>
                  <a:pt x="744452" y="191670"/>
                </a:lnTo>
                <a:lnTo>
                  <a:pt x="746746" y="191670"/>
                </a:lnTo>
                <a:lnTo>
                  <a:pt x="746746" y="189388"/>
                </a:lnTo>
                <a:lnTo>
                  <a:pt x="746746" y="191670"/>
                </a:lnTo>
                <a:lnTo>
                  <a:pt x="749029" y="191670"/>
                </a:lnTo>
                <a:lnTo>
                  <a:pt x="751313" y="191670"/>
                </a:lnTo>
                <a:lnTo>
                  <a:pt x="751313" y="189388"/>
                </a:lnTo>
                <a:lnTo>
                  <a:pt x="753596" y="189388"/>
                </a:lnTo>
                <a:lnTo>
                  <a:pt x="755870" y="189388"/>
                </a:lnTo>
                <a:lnTo>
                  <a:pt x="755870" y="191670"/>
                </a:lnTo>
                <a:lnTo>
                  <a:pt x="755870" y="189388"/>
                </a:lnTo>
                <a:lnTo>
                  <a:pt x="758163" y="189388"/>
                </a:lnTo>
                <a:lnTo>
                  <a:pt x="760447" y="189388"/>
                </a:lnTo>
                <a:lnTo>
                  <a:pt x="760447" y="191670"/>
                </a:lnTo>
                <a:lnTo>
                  <a:pt x="760447" y="193952"/>
                </a:lnTo>
                <a:lnTo>
                  <a:pt x="760447" y="196233"/>
                </a:lnTo>
                <a:lnTo>
                  <a:pt x="760447" y="198515"/>
                </a:lnTo>
                <a:lnTo>
                  <a:pt x="760447" y="200797"/>
                </a:lnTo>
                <a:lnTo>
                  <a:pt x="762731" y="200797"/>
                </a:lnTo>
                <a:lnTo>
                  <a:pt x="762731" y="203079"/>
                </a:lnTo>
                <a:lnTo>
                  <a:pt x="762731" y="205361"/>
                </a:lnTo>
                <a:lnTo>
                  <a:pt x="765014" y="205361"/>
                </a:lnTo>
                <a:lnTo>
                  <a:pt x="767298" y="207643"/>
                </a:lnTo>
                <a:lnTo>
                  <a:pt x="765014" y="207643"/>
                </a:lnTo>
                <a:lnTo>
                  <a:pt x="765014" y="209925"/>
                </a:lnTo>
                <a:lnTo>
                  <a:pt x="765014" y="212207"/>
                </a:lnTo>
                <a:lnTo>
                  <a:pt x="767298" y="212207"/>
                </a:lnTo>
                <a:lnTo>
                  <a:pt x="767298" y="214489"/>
                </a:lnTo>
                <a:lnTo>
                  <a:pt x="769581" y="214489"/>
                </a:lnTo>
                <a:lnTo>
                  <a:pt x="769581" y="212207"/>
                </a:lnTo>
                <a:lnTo>
                  <a:pt x="771865" y="212207"/>
                </a:lnTo>
                <a:lnTo>
                  <a:pt x="774148" y="212207"/>
                </a:lnTo>
                <a:lnTo>
                  <a:pt x="774148" y="214489"/>
                </a:lnTo>
                <a:lnTo>
                  <a:pt x="776432" y="214489"/>
                </a:lnTo>
                <a:lnTo>
                  <a:pt x="778716" y="214489"/>
                </a:lnTo>
                <a:lnTo>
                  <a:pt x="778716" y="212207"/>
                </a:lnTo>
                <a:lnTo>
                  <a:pt x="780999" y="212207"/>
                </a:lnTo>
                <a:lnTo>
                  <a:pt x="783283" y="212207"/>
                </a:lnTo>
                <a:lnTo>
                  <a:pt x="785566" y="212207"/>
                </a:lnTo>
                <a:lnTo>
                  <a:pt x="787850" y="212207"/>
                </a:lnTo>
                <a:lnTo>
                  <a:pt x="790134" y="212207"/>
                </a:lnTo>
                <a:lnTo>
                  <a:pt x="790134" y="209925"/>
                </a:lnTo>
                <a:lnTo>
                  <a:pt x="790134" y="207643"/>
                </a:lnTo>
                <a:lnTo>
                  <a:pt x="792417" y="207643"/>
                </a:lnTo>
                <a:lnTo>
                  <a:pt x="792417" y="209925"/>
                </a:lnTo>
                <a:lnTo>
                  <a:pt x="794701" y="212207"/>
                </a:lnTo>
                <a:lnTo>
                  <a:pt x="794701" y="214489"/>
                </a:lnTo>
                <a:lnTo>
                  <a:pt x="796984" y="214489"/>
                </a:lnTo>
                <a:lnTo>
                  <a:pt x="796984" y="212207"/>
                </a:lnTo>
                <a:lnTo>
                  <a:pt x="796984" y="209925"/>
                </a:lnTo>
                <a:lnTo>
                  <a:pt x="799268" y="209925"/>
                </a:lnTo>
                <a:lnTo>
                  <a:pt x="799268" y="207643"/>
                </a:lnTo>
                <a:lnTo>
                  <a:pt x="801552" y="207643"/>
                </a:lnTo>
                <a:lnTo>
                  <a:pt x="801552" y="209925"/>
                </a:lnTo>
                <a:lnTo>
                  <a:pt x="803836" y="209925"/>
                </a:lnTo>
                <a:lnTo>
                  <a:pt x="806119" y="209925"/>
                </a:lnTo>
                <a:lnTo>
                  <a:pt x="806119" y="207643"/>
                </a:lnTo>
                <a:lnTo>
                  <a:pt x="808403" y="207643"/>
                </a:lnTo>
                <a:lnTo>
                  <a:pt x="808403" y="205361"/>
                </a:lnTo>
                <a:lnTo>
                  <a:pt x="810686" y="205361"/>
                </a:lnTo>
                <a:lnTo>
                  <a:pt x="812960" y="205361"/>
                </a:lnTo>
                <a:lnTo>
                  <a:pt x="815244" y="205361"/>
                </a:lnTo>
                <a:lnTo>
                  <a:pt x="815244" y="207643"/>
                </a:lnTo>
                <a:lnTo>
                  <a:pt x="817537" y="207643"/>
                </a:lnTo>
                <a:lnTo>
                  <a:pt x="817537" y="205361"/>
                </a:lnTo>
                <a:lnTo>
                  <a:pt x="819821" y="205361"/>
                </a:lnTo>
                <a:lnTo>
                  <a:pt x="819821" y="203079"/>
                </a:lnTo>
                <a:lnTo>
                  <a:pt x="822104" y="203079"/>
                </a:lnTo>
                <a:lnTo>
                  <a:pt x="824388" y="203079"/>
                </a:lnTo>
                <a:lnTo>
                  <a:pt x="824388" y="200797"/>
                </a:lnTo>
                <a:lnTo>
                  <a:pt x="824388" y="203079"/>
                </a:lnTo>
                <a:lnTo>
                  <a:pt x="826671" y="203079"/>
                </a:lnTo>
                <a:lnTo>
                  <a:pt x="826671" y="205361"/>
                </a:lnTo>
                <a:lnTo>
                  <a:pt x="828955" y="205361"/>
                </a:lnTo>
                <a:lnTo>
                  <a:pt x="828955" y="207643"/>
                </a:lnTo>
                <a:lnTo>
                  <a:pt x="831238" y="207643"/>
                </a:lnTo>
                <a:lnTo>
                  <a:pt x="831238" y="209925"/>
                </a:lnTo>
                <a:lnTo>
                  <a:pt x="833522" y="209925"/>
                </a:lnTo>
                <a:lnTo>
                  <a:pt x="835806" y="212207"/>
                </a:lnTo>
                <a:lnTo>
                  <a:pt x="838089" y="214489"/>
                </a:lnTo>
                <a:lnTo>
                  <a:pt x="840373" y="216771"/>
                </a:lnTo>
                <a:lnTo>
                  <a:pt x="844940" y="216771"/>
                </a:lnTo>
                <a:lnTo>
                  <a:pt x="849507" y="219052"/>
                </a:lnTo>
                <a:lnTo>
                  <a:pt x="849507" y="216771"/>
                </a:lnTo>
                <a:lnTo>
                  <a:pt x="851791" y="216771"/>
                </a:lnTo>
                <a:lnTo>
                  <a:pt x="851791" y="214489"/>
                </a:lnTo>
                <a:lnTo>
                  <a:pt x="854074" y="212207"/>
                </a:lnTo>
                <a:lnTo>
                  <a:pt x="854074" y="209925"/>
                </a:lnTo>
                <a:lnTo>
                  <a:pt x="856358" y="207643"/>
                </a:lnTo>
                <a:lnTo>
                  <a:pt x="858641" y="205361"/>
                </a:lnTo>
                <a:lnTo>
                  <a:pt x="860925" y="203079"/>
                </a:lnTo>
                <a:lnTo>
                  <a:pt x="860925" y="200797"/>
                </a:lnTo>
                <a:lnTo>
                  <a:pt x="863209" y="200797"/>
                </a:lnTo>
                <a:lnTo>
                  <a:pt x="863209" y="198515"/>
                </a:lnTo>
                <a:lnTo>
                  <a:pt x="872343" y="189388"/>
                </a:lnTo>
                <a:lnTo>
                  <a:pt x="874627" y="187106"/>
                </a:lnTo>
                <a:lnTo>
                  <a:pt x="876911" y="182542"/>
                </a:lnTo>
                <a:lnTo>
                  <a:pt x="879194" y="182542"/>
                </a:lnTo>
                <a:lnTo>
                  <a:pt x="879194" y="180260"/>
                </a:lnTo>
                <a:lnTo>
                  <a:pt x="881478" y="180260"/>
                </a:lnTo>
                <a:lnTo>
                  <a:pt x="881478" y="177978"/>
                </a:lnTo>
                <a:lnTo>
                  <a:pt x="883761" y="175696"/>
                </a:lnTo>
                <a:lnTo>
                  <a:pt x="886045" y="173415"/>
                </a:lnTo>
                <a:lnTo>
                  <a:pt x="888328" y="171133"/>
                </a:lnTo>
                <a:lnTo>
                  <a:pt x="890612" y="168851"/>
                </a:lnTo>
                <a:lnTo>
                  <a:pt x="892896" y="166569"/>
                </a:lnTo>
                <a:lnTo>
                  <a:pt x="897463" y="168851"/>
                </a:lnTo>
                <a:lnTo>
                  <a:pt x="897463" y="171133"/>
                </a:lnTo>
                <a:lnTo>
                  <a:pt x="899746" y="171133"/>
                </a:lnTo>
                <a:lnTo>
                  <a:pt x="902030" y="171133"/>
                </a:lnTo>
                <a:lnTo>
                  <a:pt x="906597" y="173415"/>
                </a:lnTo>
                <a:lnTo>
                  <a:pt x="911164" y="175696"/>
                </a:lnTo>
                <a:lnTo>
                  <a:pt x="915731" y="177978"/>
                </a:lnTo>
                <a:lnTo>
                  <a:pt x="918015" y="177978"/>
                </a:lnTo>
                <a:lnTo>
                  <a:pt x="924866" y="180260"/>
                </a:lnTo>
                <a:lnTo>
                  <a:pt x="927149" y="182542"/>
                </a:lnTo>
                <a:lnTo>
                  <a:pt x="931717" y="182542"/>
                </a:lnTo>
                <a:lnTo>
                  <a:pt x="934001" y="184824"/>
                </a:lnTo>
                <a:lnTo>
                  <a:pt x="936284" y="184824"/>
                </a:lnTo>
                <a:lnTo>
                  <a:pt x="940851" y="187106"/>
                </a:lnTo>
                <a:lnTo>
                  <a:pt x="952269" y="191670"/>
                </a:lnTo>
                <a:lnTo>
                  <a:pt x="959120" y="193952"/>
                </a:lnTo>
                <a:lnTo>
                  <a:pt x="961404" y="196233"/>
                </a:lnTo>
                <a:lnTo>
                  <a:pt x="963687" y="196233"/>
                </a:lnTo>
                <a:lnTo>
                  <a:pt x="965971" y="198515"/>
                </a:lnTo>
                <a:lnTo>
                  <a:pt x="968254" y="198515"/>
                </a:lnTo>
                <a:lnTo>
                  <a:pt x="970538" y="198515"/>
                </a:lnTo>
                <a:lnTo>
                  <a:pt x="972821" y="200797"/>
                </a:lnTo>
                <a:lnTo>
                  <a:pt x="981956" y="200797"/>
                </a:lnTo>
                <a:lnTo>
                  <a:pt x="986523" y="200797"/>
                </a:lnTo>
                <a:lnTo>
                  <a:pt x="993374" y="200797"/>
                </a:lnTo>
                <a:lnTo>
                  <a:pt x="995657" y="200797"/>
                </a:lnTo>
                <a:lnTo>
                  <a:pt x="1004792" y="203079"/>
                </a:lnTo>
                <a:lnTo>
                  <a:pt x="1009359" y="203079"/>
                </a:lnTo>
                <a:lnTo>
                  <a:pt x="1011643" y="203079"/>
                </a:lnTo>
                <a:lnTo>
                  <a:pt x="1013926" y="203079"/>
                </a:lnTo>
                <a:lnTo>
                  <a:pt x="1016210" y="203079"/>
                </a:lnTo>
                <a:lnTo>
                  <a:pt x="1018494" y="203079"/>
                </a:lnTo>
                <a:lnTo>
                  <a:pt x="1025344" y="203079"/>
                </a:lnTo>
                <a:lnTo>
                  <a:pt x="1029911" y="203079"/>
                </a:lnTo>
                <a:lnTo>
                  <a:pt x="1032195" y="203079"/>
                </a:lnTo>
                <a:lnTo>
                  <a:pt x="1034479" y="203079"/>
                </a:lnTo>
                <a:lnTo>
                  <a:pt x="1039046" y="203079"/>
                </a:lnTo>
                <a:lnTo>
                  <a:pt x="1041329" y="203079"/>
                </a:lnTo>
                <a:lnTo>
                  <a:pt x="1043613" y="203079"/>
                </a:lnTo>
                <a:lnTo>
                  <a:pt x="1048180" y="203079"/>
                </a:lnTo>
                <a:lnTo>
                  <a:pt x="1052747" y="205361"/>
                </a:lnTo>
                <a:lnTo>
                  <a:pt x="1075584" y="205361"/>
                </a:lnTo>
                <a:lnTo>
                  <a:pt x="1077867" y="205361"/>
                </a:lnTo>
                <a:lnTo>
                  <a:pt x="1087001" y="205361"/>
                </a:lnTo>
                <a:lnTo>
                  <a:pt x="1091569" y="205361"/>
                </a:lnTo>
                <a:lnTo>
                  <a:pt x="1093852" y="205361"/>
                </a:lnTo>
                <a:lnTo>
                  <a:pt x="1096136" y="205361"/>
                </a:lnTo>
                <a:lnTo>
                  <a:pt x="1118972" y="207643"/>
                </a:lnTo>
                <a:lnTo>
                  <a:pt x="1134957" y="207643"/>
                </a:lnTo>
                <a:lnTo>
                  <a:pt x="1146375" y="207643"/>
                </a:lnTo>
                <a:lnTo>
                  <a:pt x="1146375" y="203079"/>
                </a:lnTo>
                <a:lnTo>
                  <a:pt x="1148659" y="198515"/>
                </a:lnTo>
                <a:lnTo>
                  <a:pt x="1148659" y="196233"/>
                </a:lnTo>
                <a:lnTo>
                  <a:pt x="1148659" y="189388"/>
                </a:lnTo>
                <a:lnTo>
                  <a:pt x="1148659" y="184824"/>
                </a:lnTo>
                <a:lnTo>
                  <a:pt x="1148659" y="182542"/>
                </a:lnTo>
                <a:lnTo>
                  <a:pt x="1148659" y="177978"/>
                </a:lnTo>
                <a:lnTo>
                  <a:pt x="1150942" y="168851"/>
                </a:lnTo>
                <a:lnTo>
                  <a:pt x="1150942" y="152877"/>
                </a:lnTo>
                <a:lnTo>
                  <a:pt x="1150942" y="146041"/>
                </a:lnTo>
                <a:lnTo>
                  <a:pt x="1153226" y="132350"/>
                </a:lnTo>
                <a:lnTo>
                  <a:pt x="1153226" y="127786"/>
                </a:lnTo>
                <a:lnTo>
                  <a:pt x="1153226" y="125504"/>
                </a:lnTo>
                <a:lnTo>
                  <a:pt x="1153226" y="120940"/>
                </a:lnTo>
                <a:lnTo>
                  <a:pt x="1155509" y="107249"/>
                </a:lnTo>
                <a:lnTo>
                  <a:pt x="1155509" y="104967"/>
                </a:lnTo>
                <a:lnTo>
                  <a:pt x="1153226" y="102685"/>
                </a:lnTo>
                <a:lnTo>
                  <a:pt x="1155509" y="93558"/>
                </a:lnTo>
                <a:lnTo>
                  <a:pt x="1155509" y="91276"/>
                </a:lnTo>
                <a:lnTo>
                  <a:pt x="1155509" y="86712"/>
                </a:lnTo>
                <a:lnTo>
                  <a:pt x="1157793" y="73021"/>
                </a:lnTo>
                <a:lnTo>
                  <a:pt x="1157793" y="70739"/>
                </a:lnTo>
                <a:lnTo>
                  <a:pt x="1157793" y="68457"/>
                </a:lnTo>
                <a:lnTo>
                  <a:pt x="1160077" y="66175"/>
                </a:lnTo>
                <a:lnTo>
                  <a:pt x="1160077" y="63893"/>
                </a:lnTo>
                <a:lnTo>
                  <a:pt x="1160077" y="57047"/>
                </a:lnTo>
                <a:lnTo>
                  <a:pt x="1162360" y="50202"/>
                </a:lnTo>
                <a:lnTo>
                  <a:pt x="1162360" y="47920"/>
                </a:lnTo>
                <a:lnTo>
                  <a:pt x="1162360" y="45638"/>
                </a:lnTo>
                <a:lnTo>
                  <a:pt x="1162360" y="43356"/>
                </a:lnTo>
                <a:lnTo>
                  <a:pt x="1164644" y="36510"/>
                </a:lnTo>
                <a:lnTo>
                  <a:pt x="1164644" y="34228"/>
                </a:lnTo>
                <a:lnTo>
                  <a:pt x="1166927" y="22819"/>
                </a:lnTo>
                <a:lnTo>
                  <a:pt x="1166927" y="18255"/>
                </a:lnTo>
                <a:lnTo>
                  <a:pt x="1166927" y="13691"/>
                </a:lnTo>
                <a:lnTo>
                  <a:pt x="1169211" y="9128"/>
                </a:lnTo>
                <a:lnTo>
                  <a:pt x="1169211" y="6846"/>
                </a:lnTo>
                <a:lnTo>
                  <a:pt x="1169211" y="2282"/>
                </a:lnTo>
                <a:lnTo>
                  <a:pt x="1169211" y="0"/>
                </a:lnTo>
                <a:lnTo>
                  <a:pt x="1171494" y="0"/>
                </a:lnTo>
                <a:lnTo>
                  <a:pt x="1178345" y="0"/>
                </a:lnTo>
                <a:lnTo>
                  <a:pt x="1182912" y="2282"/>
                </a:lnTo>
                <a:lnTo>
                  <a:pt x="1185196" y="2282"/>
                </a:lnTo>
                <a:lnTo>
                  <a:pt x="1187479" y="2282"/>
                </a:lnTo>
                <a:lnTo>
                  <a:pt x="1189763" y="2282"/>
                </a:lnTo>
                <a:lnTo>
                  <a:pt x="1192047" y="2282"/>
                </a:lnTo>
                <a:lnTo>
                  <a:pt x="1194330" y="2282"/>
                </a:lnTo>
                <a:lnTo>
                  <a:pt x="1201181" y="0"/>
                </a:lnTo>
                <a:lnTo>
                  <a:pt x="1203465" y="2282"/>
                </a:lnTo>
                <a:lnTo>
                  <a:pt x="1205748" y="2282"/>
                </a:lnTo>
                <a:lnTo>
                  <a:pt x="1205748" y="6846"/>
                </a:lnTo>
                <a:lnTo>
                  <a:pt x="1208032" y="9128"/>
                </a:lnTo>
                <a:lnTo>
                  <a:pt x="1210315" y="11409"/>
                </a:lnTo>
                <a:lnTo>
                  <a:pt x="1212599" y="11409"/>
                </a:lnTo>
                <a:lnTo>
                  <a:pt x="1214882" y="13691"/>
                </a:lnTo>
                <a:lnTo>
                  <a:pt x="1217167" y="13691"/>
                </a:lnTo>
                <a:lnTo>
                  <a:pt x="1219450" y="15973"/>
                </a:lnTo>
                <a:lnTo>
                  <a:pt x="1221734" y="18255"/>
                </a:lnTo>
                <a:lnTo>
                  <a:pt x="1226301" y="20537"/>
                </a:lnTo>
                <a:lnTo>
                  <a:pt x="1230868" y="22819"/>
                </a:lnTo>
                <a:lnTo>
                  <a:pt x="1233152" y="22819"/>
                </a:lnTo>
                <a:lnTo>
                  <a:pt x="1235435" y="22819"/>
                </a:lnTo>
                <a:lnTo>
                  <a:pt x="1237719" y="20537"/>
                </a:lnTo>
                <a:lnTo>
                  <a:pt x="1240002" y="18255"/>
                </a:lnTo>
                <a:lnTo>
                  <a:pt x="1240002" y="15973"/>
                </a:lnTo>
                <a:lnTo>
                  <a:pt x="1242286" y="15973"/>
                </a:lnTo>
                <a:lnTo>
                  <a:pt x="1244569" y="13691"/>
                </a:lnTo>
                <a:lnTo>
                  <a:pt x="1246853" y="13691"/>
                </a:lnTo>
                <a:lnTo>
                  <a:pt x="1249137" y="13691"/>
                </a:lnTo>
                <a:lnTo>
                  <a:pt x="1251420" y="13691"/>
                </a:lnTo>
                <a:lnTo>
                  <a:pt x="1253704" y="15973"/>
                </a:lnTo>
                <a:lnTo>
                  <a:pt x="1255987" y="15973"/>
                </a:lnTo>
                <a:lnTo>
                  <a:pt x="1260555" y="18255"/>
                </a:lnTo>
                <a:lnTo>
                  <a:pt x="1262838" y="18255"/>
                </a:lnTo>
                <a:lnTo>
                  <a:pt x="1267405" y="20537"/>
                </a:lnTo>
                <a:lnTo>
                  <a:pt x="1269689" y="20537"/>
                </a:lnTo>
                <a:lnTo>
                  <a:pt x="1278823" y="22819"/>
                </a:lnTo>
                <a:lnTo>
                  <a:pt x="1283390" y="22819"/>
                </a:lnTo>
                <a:lnTo>
                  <a:pt x="1285674" y="22819"/>
                </a:lnTo>
                <a:lnTo>
                  <a:pt x="1287957" y="22819"/>
                </a:lnTo>
                <a:lnTo>
                  <a:pt x="1290242" y="25101"/>
                </a:lnTo>
                <a:lnTo>
                  <a:pt x="1292525" y="25101"/>
                </a:lnTo>
                <a:lnTo>
                  <a:pt x="1294809" y="27383"/>
                </a:lnTo>
                <a:lnTo>
                  <a:pt x="1306227" y="27383"/>
                </a:lnTo>
                <a:lnTo>
                  <a:pt x="1317645" y="27383"/>
                </a:lnTo>
                <a:lnTo>
                  <a:pt x="1342764" y="29665"/>
                </a:lnTo>
                <a:lnTo>
                  <a:pt x="1347331" y="29665"/>
                </a:lnTo>
                <a:lnTo>
                  <a:pt x="1390720" y="31947"/>
                </a:lnTo>
                <a:lnTo>
                  <a:pt x="1399854" y="31947"/>
                </a:lnTo>
                <a:lnTo>
                  <a:pt x="1402137" y="31947"/>
                </a:lnTo>
                <a:lnTo>
                  <a:pt x="1406705" y="31947"/>
                </a:lnTo>
                <a:lnTo>
                  <a:pt x="1413555" y="34228"/>
                </a:lnTo>
                <a:lnTo>
                  <a:pt x="1415839" y="34228"/>
                </a:lnTo>
                <a:lnTo>
                  <a:pt x="1431825" y="34228"/>
                </a:lnTo>
                <a:lnTo>
                  <a:pt x="1436392" y="34228"/>
                </a:lnTo>
                <a:lnTo>
                  <a:pt x="1450093" y="36510"/>
                </a:lnTo>
                <a:lnTo>
                  <a:pt x="1461511" y="36510"/>
                </a:lnTo>
                <a:lnTo>
                  <a:pt x="1466078" y="36510"/>
                </a:lnTo>
                <a:lnTo>
                  <a:pt x="1477496" y="36510"/>
                </a:lnTo>
                <a:lnTo>
                  <a:pt x="1482063" y="36510"/>
                </a:lnTo>
                <a:lnTo>
                  <a:pt x="1484347" y="36510"/>
                </a:lnTo>
                <a:lnTo>
                  <a:pt x="1486630" y="36510"/>
                </a:lnTo>
                <a:lnTo>
                  <a:pt x="1493481" y="34228"/>
                </a:lnTo>
                <a:lnTo>
                  <a:pt x="1493481" y="36510"/>
                </a:lnTo>
                <a:lnTo>
                  <a:pt x="1491198" y="36510"/>
                </a:lnTo>
                <a:lnTo>
                  <a:pt x="1491198" y="38792"/>
                </a:lnTo>
                <a:lnTo>
                  <a:pt x="1491198" y="41074"/>
                </a:lnTo>
                <a:lnTo>
                  <a:pt x="1488914" y="43356"/>
                </a:lnTo>
                <a:lnTo>
                  <a:pt x="1488914" y="45638"/>
                </a:lnTo>
                <a:lnTo>
                  <a:pt x="1488914" y="47920"/>
                </a:lnTo>
                <a:lnTo>
                  <a:pt x="1488914" y="50202"/>
                </a:lnTo>
                <a:lnTo>
                  <a:pt x="1488914" y="52484"/>
                </a:lnTo>
                <a:lnTo>
                  <a:pt x="1488914" y="54765"/>
                </a:lnTo>
                <a:lnTo>
                  <a:pt x="1486630" y="57047"/>
                </a:lnTo>
                <a:lnTo>
                  <a:pt x="1486630" y="59329"/>
                </a:lnTo>
                <a:lnTo>
                  <a:pt x="1486630" y="61611"/>
                </a:lnTo>
                <a:lnTo>
                  <a:pt x="1486630" y="63893"/>
                </a:lnTo>
                <a:lnTo>
                  <a:pt x="1486630" y="66175"/>
                </a:lnTo>
                <a:lnTo>
                  <a:pt x="1486630" y="68457"/>
                </a:lnTo>
                <a:lnTo>
                  <a:pt x="1484347" y="68457"/>
                </a:lnTo>
                <a:lnTo>
                  <a:pt x="1484347" y="70739"/>
                </a:lnTo>
                <a:lnTo>
                  <a:pt x="1484347" y="73021"/>
                </a:lnTo>
                <a:lnTo>
                  <a:pt x="1484347" y="75303"/>
                </a:lnTo>
                <a:lnTo>
                  <a:pt x="1484347" y="77584"/>
                </a:lnTo>
                <a:lnTo>
                  <a:pt x="1486630" y="77584"/>
                </a:lnTo>
                <a:lnTo>
                  <a:pt x="1484347" y="77584"/>
                </a:lnTo>
                <a:lnTo>
                  <a:pt x="1484347" y="79866"/>
                </a:lnTo>
                <a:lnTo>
                  <a:pt x="1484347" y="82148"/>
                </a:lnTo>
                <a:lnTo>
                  <a:pt x="1484347" y="84430"/>
                </a:lnTo>
                <a:lnTo>
                  <a:pt x="1484347" y="86712"/>
                </a:lnTo>
                <a:lnTo>
                  <a:pt x="1482063" y="86712"/>
                </a:lnTo>
                <a:lnTo>
                  <a:pt x="1482063" y="88994"/>
                </a:lnTo>
                <a:lnTo>
                  <a:pt x="1482063" y="91276"/>
                </a:lnTo>
                <a:lnTo>
                  <a:pt x="1479780" y="91276"/>
                </a:lnTo>
                <a:lnTo>
                  <a:pt x="1479780" y="93558"/>
                </a:lnTo>
                <a:lnTo>
                  <a:pt x="1479780" y="95840"/>
                </a:lnTo>
                <a:lnTo>
                  <a:pt x="1482063" y="95840"/>
                </a:lnTo>
                <a:lnTo>
                  <a:pt x="1482063" y="98121"/>
                </a:lnTo>
                <a:lnTo>
                  <a:pt x="1479780" y="98121"/>
                </a:lnTo>
                <a:lnTo>
                  <a:pt x="1479780" y="100403"/>
                </a:lnTo>
                <a:lnTo>
                  <a:pt x="1479780" y="102685"/>
                </a:lnTo>
                <a:lnTo>
                  <a:pt x="1479780" y="104967"/>
                </a:lnTo>
                <a:lnTo>
                  <a:pt x="1477496" y="104967"/>
                </a:lnTo>
                <a:lnTo>
                  <a:pt x="1477496" y="107249"/>
                </a:lnTo>
                <a:lnTo>
                  <a:pt x="1477496" y="109531"/>
                </a:lnTo>
                <a:lnTo>
                  <a:pt x="1477496" y="111813"/>
                </a:lnTo>
                <a:lnTo>
                  <a:pt x="1475213" y="111813"/>
                </a:lnTo>
                <a:lnTo>
                  <a:pt x="1475213" y="114095"/>
                </a:lnTo>
                <a:lnTo>
                  <a:pt x="1475213" y="116377"/>
                </a:lnTo>
                <a:lnTo>
                  <a:pt x="1472929" y="116377"/>
                </a:lnTo>
                <a:lnTo>
                  <a:pt x="1472929" y="118659"/>
                </a:lnTo>
                <a:lnTo>
                  <a:pt x="1472929" y="120940"/>
                </a:lnTo>
                <a:lnTo>
                  <a:pt x="1472929" y="123222"/>
                </a:lnTo>
                <a:lnTo>
                  <a:pt x="1472929" y="125504"/>
                </a:lnTo>
                <a:lnTo>
                  <a:pt x="1472929" y="127786"/>
                </a:lnTo>
                <a:lnTo>
                  <a:pt x="1470645" y="127786"/>
                </a:lnTo>
                <a:lnTo>
                  <a:pt x="1470645" y="130068"/>
                </a:lnTo>
                <a:lnTo>
                  <a:pt x="1470645" y="132350"/>
                </a:lnTo>
                <a:lnTo>
                  <a:pt x="1470645" y="134632"/>
                </a:lnTo>
                <a:lnTo>
                  <a:pt x="1470645" y="136914"/>
                </a:lnTo>
                <a:lnTo>
                  <a:pt x="1468362" y="136914"/>
                </a:lnTo>
                <a:lnTo>
                  <a:pt x="1468362" y="139196"/>
                </a:lnTo>
                <a:lnTo>
                  <a:pt x="1466078" y="141477"/>
                </a:lnTo>
                <a:lnTo>
                  <a:pt x="1466078" y="143750"/>
                </a:lnTo>
                <a:lnTo>
                  <a:pt x="1466078" y="146041"/>
                </a:lnTo>
                <a:lnTo>
                  <a:pt x="1463795" y="146041"/>
                </a:lnTo>
                <a:lnTo>
                  <a:pt x="1466078" y="146041"/>
                </a:lnTo>
                <a:lnTo>
                  <a:pt x="1466078" y="148314"/>
                </a:lnTo>
                <a:lnTo>
                  <a:pt x="1463795" y="148314"/>
                </a:lnTo>
                <a:lnTo>
                  <a:pt x="1463795" y="150596"/>
                </a:lnTo>
                <a:lnTo>
                  <a:pt x="1461511" y="150596"/>
                </a:lnTo>
                <a:lnTo>
                  <a:pt x="1461511" y="152877"/>
                </a:lnTo>
                <a:lnTo>
                  <a:pt x="1461511" y="155159"/>
                </a:lnTo>
                <a:lnTo>
                  <a:pt x="1459227" y="155159"/>
                </a:lnTo>
                <a:lnTo>
                  <a:pt x="1459227" y="157441"/>
                </a:lnTo>
                <a:lnTo>
                  <a:pt x="1456944" y="157441"/>
                </a:lnTo>
                <a:lnTo>
                  <a:pt x="1456944" y="159723"/>
                </a:lnTo>
                <a:lnTo>
                  <a:pt x="1456944" y="162005"/>
                </a:lnTo>
                <a:lnTo>
                  <a:pt x="1454660" y="164287"/>
                </a:lnTo>
                <a:lnTo>
                  <a:pt x="1456944" y="164287"/>
                </a:lnTo>
                <a:lnTo>
                  <a:pt x="1454660" y="164287"/>
                </a:lnTo>
                <a:lnTo>
                  <a:pt x="1454660" y="166569"/>
                </a:lnTo>
                <a:lnTo>
                  <a:pt x="1456944" y="166569"/>
                </a:lnTo>
                <a:lnTo>
                  <a:pt x="1456944" y="168851"/>
                </a:lnTo>
                <a:lnTo>
                  <a:pt x="1454660" y="168851"/>
                </a:lnTo>
                <a:lnTo>
                  <a:pt x="1454660" y="171133"/>
                </a:lnTo>
                <a:lnTo>
                  <a:pt x="1454660" y="173415"/>
                </a:lnTo>
                <a:lnTo>
                  <a:pt x="1452377" y="173415"/>
                </a:lnTo>
                <a:lnTo>
                  <a:pt x="1452377" y="175696"/>
                </a:lnTo>
                <a:lnTo>
                  <a:pt x="1452377" y="177978"/>
                </a:lnTo>
                <a:lnTo>
                  <a:pt x="1450093" y="177978"/>
                </a:lnTo>
                <a:lnTo>
                  <a:pt x="1450093" y="180260"/>
                </a:lnTo>
                <a:lnTo>
                  <a:pt x="1450093" y="182542"/>
                </a:lnTo>
                <a:lnTo>
                  <a:pt x="1450093" y="184824"/>
                </a:lnTo>
                <a:lnTo>
                  <a:pt x="1450093" y="187106"/>
                </a:lnTo>
                <a:lnTo>
                  <a:pt x="1447810" y="187106"/>
                </a:lnTo>
                <a:lnTo>
                  <a:pt x="1447810" y="189388"/>
                </a:lnTo>
                <a:lnTo>
                  <a:pt x="1447810" y="191670"/>
                </a:lnTo>
                <a:lnTo>
                  <a:pt x="1445526" y="191670"/>
                </a:lnTo>
                <a:lnTo>
                  <a:pt x="1445526" y="193952"/>
                </a:lnTo>
                <a:lnTo>
                  <a:pt x="1443242" y="193952"/>
                </a:lnTo>
                <a:lnTo>
                  <a:pt x="1443242" y="196233"/>
                </a:lnTo>
                <a:lnTo>
                  <a:pt x="1443242" y="198515"/>
                </a:lnTo>
                <a:lnTo>
                  <a:pt x="1443242" y="200797"/>
                </a:lnTo>
                <a:lnTo>
                  <a:pt x="1440959" y="200797"/>
                </a:lnTo>
                <a:lnTo>
                  <a:pt x="1440959" y="203079"/>
                </a:lnTo>
                <a:lnTo>
                  <a:pt x="1440959" y="205361"/>
                </a:lnTo>
                <a:lnTo>
                  <a:pt x="1440959" y="207643"/>
                </a:lnTo>
                <a:lnTo>
                  <a:pt x="1440959" y="209925"/>
                </a:lnTo>
                <a:lnTo>
                  <a:pt x="1438675" y="209925"/>
                </a:lnTo>
                <a:lnTo>
                  <a:pt x="1440959" y="209925"/>
                </a:lnTo>
                <a:lnTo>
                  <a:pt x="1438675" y="209925"/>
                </a:lnTo>
                <a:lnTo>
                  <a:pt x="1438675" y="212207"/>
                </a:lnTo>
                <a:lnTo>
                  <a:pt x="1438675" y="214489"/>
                </a:lnTo>
                <a:lnTo>
                  <a:pt x="1436392" y="214489"/>
                </a:lnTo>
                <a:lnTo>
                  <a:pt x="1436392" y="216771"/>
                </a:lnTo>
                <a:lnTo>
                  <a:pt x="1436392" y="219052"/>
                </a:lnTo>
                <a:lnTo>
                  <a:pt x="1434108" y="219052"/>
                </a:lnTo>
                <a:lnTo>
                  <a:pt x="1434108" y="221334"/>
                </a:lnTo>
                <a:lnTo>
                  <a:pt x="1434108" y="223616"/>
                </a:lnTo>
                <a:lnTo>
                  <a:pt x="1431825" y="223616"/>
                </a:lnTo>
                <a:lnTo>
                  <a:pt x="1431825" y="225898"/>
                </a:lnTo>
                <a:lnTo>
                  <a:pt x="1431825" y="228180"/>
                </a:lnTo>
                <a:lnTo>
                  <a:pt x="1431825" y="230462"/>
                </a:lnTo>
                <a:lnTo>
                  <a:pt x="1429540" y="230462"/>
                </a:lnTo>
                <a:lnTo>
                  <a:pt x="1429540" y="232744"/>
                </a:lnTo>
                <a:lnTo>
                  <a:pt x="1429540" y="235026"/>
                </a:lnTo>
                <a:lnTo>
                  <a:pt x="1427257" y="235026"/>
                </a:lnTo>
                <a:lnTo>
                  <a:pt x="1427257" y="237308"/>
                </a:lnTo>
                <a:lnTo>
                  <a:pt x="1427257" y="239589"/>
                </a:lnTo>
                <a:lnTo>
                  <a:pt x="1427257" y="241871"/>
                </a:lnTo>
                <a:lnTo>
                  <a:pt x="1424973" y="241871"/>
                </a:lnTo>
                <a:lnTo>
                  <a:pt x="1424973" y="244153"/>
                </a:lnTo>
                <a:lnTo>
                  <a:pt x="1424973" y="246435"/>
                </a:lnTo>
                <a:lnTo>
                  <a:pt x="1424973" y="248717"/>
                </a:lnTo>
                <a:lnTo>
                  <a:pt x="1422690" y="248717"/>
                </a:lnTo>
                <a:lnTo>
                  <a:pt x="1422690" y="250999"/>
                </a:lnTo>
                <a:lnTo>
                  <a:pt x="1422690" y="253281"/>
                </a:lnTo>
                <a:lnTo>
                  <a:pt x="1420406" y="253281"/>
                </a:lnTo>
                <a:lnTo>
                  <a:pt x="1420406" y="255563"/>
                </a:lnTo>
                <a:lnTo>
                  <a:pt x="1420406" y="257845"/>
                </a:lnTo>
                <a:lnTo>
                  <a:pt x="1418123" y="257845"/>
                </a:lnTo>
                <a:lnTo>
                  <a:pt x="1418123" y="260127"/>
                </a:lnTo>
                <a:lnTo>
                  <a:pt x="1418123" y="262409"/>
                </a:lnTo>
                <a:lnTo>
                  <a:pt x="1418123" y="264690"/>
                </a:lnTo>
                <a:lnTo>
                  <a:pt x="1418123" y="266972"/>
                </a:lnTo>
                <a:lnTo>
                  <a:pt x="1415839" y="266972"/>
                </a:lnTo>
                <a:lnTo>
                  <a:pt x="1415839" y="269254"/>
                </a:lnTo>
                <a:lnTo>
                  <a:pt x="1413555" y="269254"/>
                </a:lnTo>
                <a:lnTo>
                  <a:pt x="1413555" y="271536"/>
                </a:lnTo>
                <a:lnTo>
                  <a:pt x="1411272" y="271536"/>
                </a:lnTo>
                <a:lnTo>
                  <a:pt x="1411272" y="273818"/>
                </a:lnTo>
                <a:lnTo>
                  <a:pt x="1411272" y="276100"/>
                </a:lnTo>
                <a:lnTo>
                  <a:pt x="1408988" y="276100"/>
                </a:lnTo>
                <a:lnTo>
                  <a:pt x="1408988" y="278382"/>
                </a:lnTo>
                <a:lnTo>
                  <a:pt x="1408988" y="280664"/>
                </a:lnTo>
                <a:lnTo>
                  <a:pt x="1406705" y="282945"/>
                </a:lnTo>
                <a:lnTo>
                  <a:pt x="1406705" y="285227"/>
                </a:lnTo>
                <a:lnTo>
                  <a:pt x="1406705" y="287509"/>
                </a:lnTo>
                <a:lnTo>
                  <a:pt x="1404421" y="287509"/>
                </a:lnTo>
                <a:lnTo>
                  <a:pt x="1404421" y="289791"/>
                </a:lnTo>
                <a:lnTo>
                  <a:pt x="1404421" y="292073"/>
                </a:lnTo>
                <a:lnTo>
                  <a:pt x="1402137" y="292073"/>
                </a:lnTo>
                <a:lnTo>
                  <a:pt x="1402137" y="294355"/>
                </a:lnTo>
                <a:lnTo>
                  <a:pt x="1402137" y="296637"/>
                </a:lnTo>
                <a:lnTo>
                  <a:pt x="1402137" y="298919"/>
                </a:lnTo>
                <a:lnTo>
                  <a:pt x="1399854" y="301201"/>
                </a:lnTo>
                <a:lnTo>
                  <a:pt x="1399854" y="303473"/>
                </a:lnTo>
                <a:lnTo>
                  <a:pt x="1399854" y="305755"/>
                </a:lnTo>
                <a:lnTo>
                  <a:pt x="1399854" y="308037"/>
                </a:lnTo>
                <a:lnTo>
                  <a:pt x="1399854" y="310319"/>
                </a:lnTo>
                <a:lnTo>
                  <a:pt x="1402137" y="310319"/>
                </a:lnTo>
                <a:lnTo>
                  <a:pt x="1402137" y="312601"/>
                </a:lnTo>
                <a:lnTo>
                  <a:pt x="1402137" y="314883"/>
                </a:lnTo>
                <a:lnTo>
                  <a:pt x="1399854" y="314883"/>
                </a:lnTo>
                <a:lnTo>
                  <a:pt x="1399854" y="317164"/>
                </a:lnTo>
                <a:lnTo>
                  <a:pt x="1399854" y="319446"/>
                </a:lnTo>
                <a:lnTo>
                  <a:pt x="1399854" y="321728"/>
                </a:lnTo>
                <a:lnTo>
                  <a:pt x="1397570" y="321728"/>
                </a:lnTo>
                <a:lnTo>
                  <a:pt x="1397570" y="324010"/>
                </a:lnTo>
                <a:lnTo>
                  <a:pt x="1397570" y="326292"/>
                </a:lnTo>
                <a:lnTo>
                  <a:pt x="1397570" y="328574"/>
                </a:lnTo>
                <a:lnTo>
                  <a:pt x="1395287" y="328574"/>
                </a:lnTo>
                <a:lnTo>
                  <a:pt x="1395287" y="330856"/>
                </a:lnTo>
                <a:lnTo>
                  <a:pt x="1395287" y="333138"/>
                </a:lnTo>
                <a:lnTo>
                  <a:pt x="1393003" y="333138"/>
                </a:lnTo>
                <a:lnTo>
                  <a:pt x="1393003" y="335420"/>
                </a:lnTo>
                <a:lnTo>
                  <a:pt x="1393003" y="337701"/>
                </a:lnTo>
                <a:lnTo>
                  <a:pt x="1393003" y="339983"/>
                </a:lnTo>
                <a:lnTo>
                  <a:pt x="1393003" y="342265"/>
                </a:lnTo>
                <a:lnTo>
                  <a:pt x="1393003" y="344547"/>
                </a:lnTo>
                <a:lnTo>
                  <a:pt x="1393003" y="346829"/>
                </a:lnTo>
                <a:lnTo>
                  <a:pt x="1390720" y="346829"/>
                </a:lnTo>
                <a:lnTo>
                  <a:pt x="1390720" y="349111"/>
                </a:lnTo>
                <a:lnTo>
                  <a:pt x="1390720" y="351393"/>
                </a:lnTo>
                <a:lnTo>
                  <a:pt x="1390720" y="353675"/>
                </a:lnTo>
                <a:lnTo>
                  <a:pt x="1388436" y="353675"/>
                </a:lnTo>
                <a:lnTo>
                  <a:pt x="1388436" y="355957"/>
                </a:lnTo>
                <a:lnTo>
                  <a:pt x="1388436" y="358239"/>
                </a:lnTo>
                <a:lnTo>
                  <a:pt x="1388436" y="360521"/>
                </a:lnTo>
                <a:lnTo>
                  <a:pt x="1388436" y="362802"/>
                </a:lnTo>
                <a:lnTo>
                  <a:pt x="1386152" y="362802"/>
                </a:lnTo>
                <a:lnTo>
                  <a:pt x="1386152" y="365084"/>
                </a:lnTo>
                <a:lnTo>
                  <a:pt x="1386152" y="367366"/>
                </a:lnTo>
                <a:lnTo>
                  <a:pt x="1386152" y="369648"/>
                </a:lnTo>
                <a:lnTo>
                  <a:pt x="1383869" y="371930"/>
                </a:lnTo>
                <a:lnTo>
                  <a:pt x="1383869" y="374212"/>
                </a:lnTo>
                <a:lnTo>
                  <a:pt x="1383869" y="376494"/>
                </a:lnTo>
                <a:lnTo>
                  <a:pt x="1381585" y="376494"/>
                </a:lnTo>
                <a:lnTo>
                  <a:pt x="1381585" y="378776"/>
                </a:lnTo>
                <a:lnTo>
                  <a:pt x="1381585" y="381057"/>
                </a:lnTo>
                <a:lnTo>
                  <a:pt x="1379302" y="381057"/>
                </a:lnTo>
                <a:lnTo>
                  <a:pt x="1379302" y="383339"/>
                </a:lnTo>
                <a:lnTo>
                  <a:pt x="1379302" y="385621"/>
                </a:lnTo>
                <a:lnTo>
                  <a:pt x="1379302" y="387903"/>
                </a:lnTo>
                <a:lnTo>
                  <a:pt x="1377018" y="387903"/>
                </a:lnTo>
                <a:lnTo>
                  <a:pt x="1377018" y="390185"/>
                </a:lnTo>
                <a:lnTo>
                  <a:pt x="1377018" y="392467"/>
                </a:lnTo>
                <a:lnTo>
                  <a:pt x="1377018" y="394749"/>
                </a:lnTo>
                <a:lnTo>
                  <a:pt x="1377018" y="397031"/>
                </a:lnTo>
                <a:lnTo>
                  <a:pt x="1374735" y="397031"/>
                </a:lnTo>
                <a:lnTo>
                  <a:pt x="1374735" y="399313"/>
                </a:lnTo>
                <a:lnTo>
                  <a:pt x="1374735" y="401595"/>
                </a:lnTo>
                <a:lnTo>
                  <a:pt x="1372451" y="401595"/>
                </a:lnTo>
                <a:lnTo>
                  <a:pt x="1372451" y="403877"/>
                </a:lnTo>
                <a:lnTo>
                  <a:pt x="1372451" y="406158"/>
                </a:lnTo>
                <a:lnTo>
                  <a:pt x="1372451" y="408440"/>
                </a:lnTo>
                <a:lnTo>
                  <a:pt x="1372451" y="410722"/>
                </a:lnTo>
                <a:lnTo>
                  <a:pt x="1370167" y="410722"/>
                </a:lnTo>
                <a:lnTo>
                  <a:pt x="1370167" y="413004"/>
                </a:lnTo>
                <a:lnTo>
                  <a:pt x="1370167" y="415286"/>
                </a:lnTo>
                <a:lnTo>
                  <a:pt x="1370167" y="417568"/>
                </a:lnTo>
                <a:lnTo>
                  <a:pt x="1370167" y="419850"/>
                </a:lnTo>
                <a:lnTo>
                  <a:pt x="1367884" y="422132"/>
                </a:lnTo>
                <a:lnTo>
                  <a:pt x="1367884" y="424414"/>
                </a:lnTo>
                <a:lnTo>
                  <a:pt x="1367884" y="426695"/>
                </a:lnTo>
                <a:lnTo>
                  <a:pt x="1367884" y="428977"/>
                </a:lnTo>
                <a:lnTo>
                  <a:pt x="1367884" y="431259"/>
                </a:lnTo>
                <a:lnTo>
                  <a:pt x="1367884" y="433541"/>
                </a:lnTo>
                <a:lnTo>
                  <a:pt x="1365600" y="433541"/>
                </a:lnTo>
                <a:lnTo>
                  <a:pt x="1365600" y="435823"/>
                </a:lnTo>
                <a:lnTo>
                  <a:pt x="1365600" y="438105"/>
                </a:lnTo>
                <a:lnTo>
                  <a:pt x="1365600" y="440387"/>
                </a:lnTo>
                <a:lnTo>
                  <a:pt x="1365600" y="442669"/>
                </a:lnTo>
                <a:lnTo>
                  <a:pt x="1365600" y="444951"/>
                </a:lnTo>
                <a:lnTo>
                  <a:pt x="1363317" y="447233"/>
                </a:lnTo>
                <a:lnTo>
                  <a:pt x="1363317" y="449514"/>
                </a:lnTo>
                <a:lnTo>
                  <a:pt x="1363317" y="451796"/>
                </a:lnTo>
                <a:lnTo>
                  <a:pt x="1363317" y="454069"/>
                </a:lnTo>
                <a:lnTo>
                  <a:pt x="1363317" y="456360"/>
                </a:lnTo>
                <a:lnTo>
                  <a:pt x="1363317" y="458633"/>
                </a:lnTo>
                <a:lnTo>
                  <a:pt x="1363317" y="460914"/>
                </a:lnTo>
                <a:lnTo>
                  <a:pt x="1363317" y="463196"/>
                </a:lnTo>
                <a:lnTo>
                  <a:pt x="1363317" y="465478"/>
                </a:lnTo>
                <a:lnTo>
                  <a:pt x="1363317" y="467760"/>
                </a:lnTo>
                <a:lnTo>
                  <a:pt x="1363317" y="470042"/>
                </a:lnTo>
                <a:lnTo>
                  <a:pt x="1363317" y="472324"/>
                </a:lnTo>
                <a:lnTo>
                  <a:pt x="1363317" y="474606"/>
                </a:lnTo>
                <a:lnTo>
                  <a:pt x="1363317" y="476888"/>
                </a:lnTo>
                <a:lnTo>
                  <a:pt x="1363317" y="479170"/>
                </a:lnTo>
                <a:lnTo>
                  <a:pt x="1361033" y="479170"/>
                </a:lnTo>
                <a:lnTo>
                  <a:pt x="1361033" y="481451"/>
                </a:lnTo>
                <a:lnTo>
                  <a:pt x="1361033" y="483733"/>
                </a:lnTo>
                <a:lnTo>
                  <a:pt x="1361033" y="486015"/>
                </a:lnTo>
                <a:lnTo>
                  <a:pt x="1361033" y="488297"/>
                </a:lnTo>
                <a:lnTo>
                  <a:pt x="1358749" y="488297"/>
                </a:lnTo>
                <a:lnTo>
                  <a:pt x="1358749" y="490579"/>
                </a:lnTo>
                <a:lnTo>
                  <a:pt x="1358749" y="492861"/>
                </a:lnTo>
                <a:lnTo>
                  <a:pt x="1358749" y="495143"/>
                </a:lnTo>
                <a:lnTo>
                  <a:pt x="1358749" y="497425"/>
                </a:lnTo>
                <a:lnTo>
                  <a:pt x="1356465" y="497425"/>
                </a:lnTo>
                <a:lnTo>
                  <a:pt x="1356465" y="499707"/>
                </a:lnTo>
                <a:lnTo>
                  <a:pt x="1356465" y="501988"/>
                </a:lnTo>
                <a:lnTo>
                  <a:pt x="1356465" y="504271"/>
                </a:lnTo>
                <a:lnTo>
                  <a:pt x="1354182" y="504271"/>
                </a:lnTo>
                <a:lnTo>
                  <a:pt x="1354182" y="506552"/>
                </a:lnTo>
                <a:lnTo>
                  <a:pt x="1354182" y="508834"/>
                </a:lnTo>
                <a:lnTo>
                  <a:pt x="1354182" y="511116"/>
                </a:lnTo>
                <a:lnTo>
                  <a:pt x="1354182" y="513398"/>
                </a:lnTo>
                <a:lnTo>
                  <a:pt x="1351898" y="515680"/>
                </a:lnTo>
                <a:lnTo>
                  <a:pt x="1351898" y="517962"/>
                </a:lnTo>
                <a:lnTo>
                  <a:pt x="1351898" y="520244"/>
                </a:lnTo>
                <a:lnTo>
                  <a:pt x="1351898" y="522526"/>
                </a:lnTo>
                <a:lnTo>
                  <a:pt x="1351898" y="524808"/>
                </a:lnTo>
                <a:lnTo>
                  <a:pt x="1349615" y="524808"/>
                </a:lnTo>
                <a:lnTo>
                  <a:pt x="1349615" y="527089"/>
                </a:lnTo>
                <a:lnTo>
                  <a:pt x="1349615" y="529371"/>
                </a:lnTo>
                <a:lnTo>
                  <a:pt x="1349615" y="531653"/>
                </a:lnTo>
                <a:lnTo>
                  <a:pt x="1349615" y="533935"/>
                </a:lnTo>
                <a:lnTo>
                  <a:pt x="1347331" y="533935"/>
                </a:lnTo>
                <a:lnTo>
                  <a:pt x="1347331" y="536217"/>
                </a:lnTo>
                <a:lnTo>
                  <a:pt x="1347331" y="538499"/>
                </a:lnTo>
                <a:lnTo>
                  <a:pt x="1347331" y="540781"/>
                </a:lnTo>
                <a:lnTo>
                  <a:pt x="1347331" y="543063"/>
                </a:lnTo>
                <a:lnTo>
                  <a:pt x="1347331" y="545344"/>
                </a:lnTo>
                <a:lnTo>
                  <a:pt x="1347331" y="547627"/>
                </a:lnTo>
                <a:lnTo>
                  <a:pt x="1347331" y="549908"/>
                </a:lnTo>
                <a:lnTo>
                  <a:pt x="1347331" y="552190"/>
                </a:lnTo>
                <a:lnTo>
                  <a:pt x="1347331" y="554472"/>
                </a:lnTo>
                <a:lnTo>
                  <a:pt x="1345047" y="554472"/>
                </a:lnTo>
                <a:lnTo>
                  <a:pt x="1345047" y="556754"/>
                </a:lnTo>
                <a:lnTo>
                  <a:pt x="1345047" y="559036"/>
                </a:lnTo>
                <a:lnTo>
                  <a:pt x="1345047" y="561318"/>
                </a:lnTo>
                <a:lnTo>
                  <a:pt x="1342764" y="561318"/>
                </a:lnTo>
                <a:lnTo>
                  <a:pt x="1342764" y="563600"/>
                </a:lnTo>
                <a:lnTo>
                  <a:pt x="1342764" y="565882"/>
                </a:lnTo>
                <a:lnTo>
                  <a:pt x="1340480" y="568164"/>
                </a:lnTo>
                <a:lnTo>
                  <a:pt x="1340480" y="570445"/>
                </a:lnTo>
                <a:lnTo>
                  <a:pt x="1340480" y="572727"/>
                </a:lnTo>
                <a:lnTo>
                  <a:pt x="1338197" y="572727"/>
                </a:lnTo>
                <a:lnTo>
                  <a:pt x="1338197" y="575009"/>
                </a:lnTo>
                <a:lnTo>
                  <a:pt x="1338197" y="577291"/>
                </a:lnTo>
                <a:lnTo>
                  <a:pt x="1335913" y="577291"/>
                </a:lnTo>
                <a:lnTo>
                  <a:pt x="1335913" y="579573"/>
                </a:lnTo>
                <a:lnTo>
                  <a:pt x="1333630" y="581855"/>
                </a:lnTo>
                <a:lnTo>
                  <a:pt x="1333630" y="584137"/>
                </a:lnTo>
                <a:lnTo>
                  <a:pt x="1331346" y="584137"/>
                </a:lnTo>
                <a:lnTo>
                  <a:pt x="1331346" y="586419"/>
                </a:lnTo>
                <a:lnTo>
                  <a:pt x="1331346" y="588701"/>
                </a:lnTo>
                <a:lnTo>
                  <a:pt x="1329062" y="588701"/>
                </a:lnTo>
                <a:lnTo>
                  <a:pt x="1329062" y="590983"/>
                </a:lnTo>
                <a:lnTo>
                  <a:pt x="1329062" y="593264"/>
                </a:lnTo>
                <a:lnTo>
                  <a:pt x="1326779" y="593264"/>
                </a:lnTo>
                <a:lnTo>
                  <a:pt x="1326779" y="595546"/>
                </a:lnTo>
                <a:lnTo>
                  <a:pt x="1326779" y="597828"/>
                </a:lnTo>
                <a:lnTo>
                  <a:pt x="1324495" y="597828"/>
                </a:lnTo>
                <a:lnTo>
                  <a:pt x="1324495" y="600110"/>
                </a:lnTo>
                <a:lnTo>
                  <a:pt x="1322212" y="600110"/>
                </a:lnTo>
                <a:lnTo>
                  <a:pt x="1322212" y="602392"/>
                </a:lnTo>
                <a:lnTo>
                  <a:pt x="1322212" y="604674"/>
                </a:lnTo>
                <a:lnTo>
                  <a:pt x="1319928" y="606956"/>
                </a:lnTo>
                <a:lnTo>
                  <a:pt x="1319928" y="609238"/>
                </a:lnTo>
                <a:lnTo>
                  <a:pt x="1317645" y="609238"/>
                </a:lnTo>
                <a:lnTo>
                  <a:pt x="1317645" y="611510"/>
                </a:lnTo>
                <a:lnTo>
                  <a:pt x="1317645" y="613792"/>
                </a:lnTo>
                <a:lnTo>
                  <a:pt x="1315361" y="613792"/>
                </a:lnTo>
                <a:lnTo>
                  <a:pt x="1315361" y="616074"/>
                </a:lnTo>
                <a:lnTo>
                  <a:pt x="1315361" y="613792"/>
                </a:lnTo>
                <a:lnTo>
                  <a:pt x="1315361" y="616074"/>
                </a:lnTo>
                <a:lnTo>
                  <a:pt x="1315361" y="618356"/>
                </a:lnTo>
                <a:lnTo>
                  <a:pt x="1313077" y="618356"/>
                </a:lnTo>
                <a:lnTo>
                  <a:pt x="1313077" y="620638"/>
                </a:lnTo>
                <a:lnTo>
                  <a:pt x="1310794" y="620638"/>
                </a:lnTo>
                <a:lnTo>
                  <a:pt x="1310794" y="622920"/>
                </a:lnTo>
                <a:lnTo>
                  <a:pt x="1310794" y="625201"/>
                </a:lnTo>
                <a:lnTo>
                  <a:pt x="1308510" y="625201"/>
                </a:lnTo>
                <a:lnTo>
                  <a:pt x="1308510" y="627483"/>
                </a:lnTo>
                <a:lnTo>
                  <a:pt x="1306227" y="629765"/>
                </a:lnTo>
                <a:lnTo>
                  <a:pt x="1306227" y="632047"/>
                </a:lnTo>
                <a:lnTo>
                  <a:pt x="1303943" y="632047"/>
                </a:lnTo>
                <a:lnTo>
                  <a:pt x="1303943" y="634329"/>
                </a:lnTo>
                <a:lnTo>
                  <a:pt x="1301659" y="636611"/>
                </a:lnTo>
                <a:lnTo>
                  <a:pt x="1301659" y="638893"/>
                </a:lnTo>
                <a:lnTo>
                  <a:pt x="1299376" y="638893"/>
                </a:lnTo>
                <a:lnTo>
                  <a:pt x="1299376" y="641175"/>
                </a:lnTo>
                <a:lnTo>
                  <a:pt x="1299376" y="643456"/>
                </a:lnTo>
                <a:lnTo>
                  <a:pt x="1297092" y="643456"/>
                </a:lnTo>
                <a:lnTo>
                  <a:pt x="1297092" y="645739"/>
                </a:lnTo>
                <a:lnTo>
                  <a:pt x="1297092" y="648020"/>
                </a:lnTo>
                <a:lnTo>
                  <a:pt x="1294809" y="648020"/>
                </a:lnTo>
                <a:lnTo>
                  <a:pt x="1294809" y="650302"/>
                </a:lnTo>
                <a:lnTo>
                  <a:pt x="1294809" y="652584"/>
                </a:lnTo>
                <a:lnTo>
                  <a:pt x="1294809" y="654866"/>
                </a:lnTo>
                <a:lnTo>
                  <a:pt x="1292525" y="654866"/>
                </a:lnTo>
                <a:lnTo>
                  <a:pt x="1292525" y="657148"/>
                </a:lnTo>
                <a:lnTo>
                  <a:pt x="1292525" y="659430"/>
                </a:lnTo>
                <a:lnTo>
                  <a:pt x="1292525" y="661712"/>
                </a:lnTo>
                <a:lnTo>
                  <a:pt x="1292525" y="663994"/>
                </a:lnTo>
                <a:lnTo>
                  <a:pt x="1294809" y="666276"/>
                </a:lnTo>
                <a:lnTo>
                  <a:pt x="1292525" y="666276"/>
                </a:lnTo>
                <a:lnTo>
                  <a:pt x="1292525" y="668557"/>
                </a:lnTo>
                <a:lnTo>
                  <a:pt x="1292525" y="670839"/>
                </a:lnTo>
                <a:lnTo>
                  <a:pt x="1292525" y="673121"/>
                </a:lnTo>
                <a:lnTo>
                  <a:pt x="1292525" y="675403"/>
                </a:lnTo>
                <a:lnTo>
                  <a:pt x="1290242" y="675403"/>
                </a:lnTo>
                <a:lnTo>
                  <a:pt x="1290242" y="677685"/>
                </a:lnTo>
                <a:lnTo>
                  <a:pt x="1290242" y="679967"/>
                </a:lnTo>
                <a:lnTo>
                  <a:pt x="1290242" y="682249"/>
                </a:lnTo>
                <a:lnTo>
                  <a:pt x="1290242" y="684531"/>
                </a:lnTo>
                <a:lnTo>
                  <a:pt x="1290242" y="686813"/>
                </a:lnTo>
                <a:lnTo>
                  <a:pt x="1287957" y="686813"/>
                </a:lnTo>
                <a:lnTo>
                  <a:pt x="1287957" y="689095"/>
                </a:lnTo>
                <a:lnTo>
                  <a:pt x="1287957" y="691376"/>
                </a:lnTo>
                <a:lnTo>
                  <a:pt x="1287957" y="693658"/>
                </a:lnTo>
                <a:lnTo>
                  <a:pt x="1287957" y="695940"/>
                </a:lnTo>
                <a:lnTo>
                  <a:pt x="1285674" y="695940"/>
                </a:lnTo>
                <a:lnTo>
                  <a:pt x="1285674" y="698222"/>
                </a:lnTo>
                <a:lnTo>
                  <a:pt x="1285674" y="700504"/>
                </a:lnTo>
                <a:lnTo>
                  <a:pt x="1285674" y="702786"/>
                </a:lnTo>
                <a:lnTo>
                  <a:pt x="1283390" y="702786"/>
                </a:lnTo>
                <a:lnTo>
                  <a:pt x="1283390" y="705068"/>
                </a:lnTo>
                <a:lnTo>
                  <a:pt x="1283390" y="707350"/>
                </a:lnTo>
                <a:lnTo>
                  <a:pt x="1281107" y="709632"/>
                </a:lnTo>
                <a:lnTo>
                  <a:pt x="1281107" y="711913"/>
                </a:lnTo>
                <a:lnTo>
                  <a:pt x="1281107" y="714195"/>
                </a:lnTo>
                <a:lnTo>
                  <a:pt x="1278823" y="714195"/>
                </a:lnTo>
                <a:lnTo>
                  <a:pt x="1278823" y="716477"/>
                </a:lnTo>
                <a:lnTo>
                  <a:pt x="1276540" y="716477"/>
                </a:lnTo>
                <a:lnTo>
                  <a:pt x="1276540" y="718759"/>
                </a:lnTo>
                <a:lnTo>
                  <a:pt x="1276540" y="721041"/>
                </a:lnTo>
                <a:lnTo>
                  <a:pt x="1274256" y="721041"/>
                </a:lnTo>
                <a:lnTo>
                  <a:pt x="1274256" y="723323"/>
                </a:lnTo>
                <a:lnTo>
                  <a:pt x="1271972" y="723323"/>
                </a:lnTo>
                <a:lnTo>
                  <a:pt x="1271972" y="725605"/>
                </a:lnTo>
                <a:lnTo>
                  <a:pt x="1269689" y="727887"/>
                </a:lnTo>
                <a:lnTo>
                  <a:pt x="1269689" y="730169"/>
                </a:lnTo>
                <a:lnTo>
                  <a:pt x="1267405" y="730169"/>
                </a:lnTo>
                <a:lnTo>
                  <a:pt x="1267405" y="732451"/>
                </a:lnTo>
                <a:lnTo>
                  <a:pt x="1265122" y="732451"/>
                </a:lnTo>
                <a:lnTo>
                  <a:pt x="1265122" y="734732"/>
                </a:lnTo>
                <a:lnTo>
                  <a:pt x="1262838" y="734732"/>
                </a:lnTo>
                <a:lnTo>
                  <a:pt x="1262838" y="737014"/>
                </a:lnTo>
                <a:lnTo>
                  <a:pt x="1260555" y="737014"/>
                </a:lnTo>
                <a:lnTo>
                  <a:pt x="1260555" y="739296"/>
                </a:lnTo>
                <a:lnTo>
                  <a:pt x="1258271" y="739296"/>
                </a:lnTo>
                <a:lnTo>
                  <a:pt x="1255987" y="741578"/>
                </a:lnTo>
                <a:lnTo>
                  <a:pt x="1253704" y="741578"/>
                </a:lnTo>
                <a:lnTo>
                  <a:pt x="1253704" y="743860"/>
                </a:lnTo>
                <a:lnTo>
                  <a:pt x="1251420" y="743860"/>
                </a:lnTo>
                <a:lnTo>
                  <a:pt x="1249137" y="746142"/>
                </a:lnTo>
                <a:lnTo>
                  <a:pt x="1246853" y="746142"/>
                </a:lnTo>
                <a:lnTo>
                  <a:pt x="1246853" y="748424"/>
                </a:lnTo>
                <a:lnTo>
                  <a:pt x="1244569" y="750706"/>
                </a:lnTo>
                <a:lnTo>
                  <a:pt x="1244569" y="752988"/>
                </a:lnTo>
                <a:lnTo>
                  <a:pt x="1242286" y="752988"/>
                </a:lnTo>
                <a:lnTo>
                  <a:pt x="1242286" y="755269"/>
                </a:lnTo>
                <a:lnTo>
                  <a:pt x="1240002" y="755269"/>
                </a:lnTo>
                <a:lnTo>
                  <a:pt x="1240002" y="757551"/>
                </a:lnTo>
                <a:lnTo>
                  <a:pt x="1237719" y="757551"/>
                </a:lnTo>
                <a:lnTo>
                  <a:pt x="1237719" y="759824"/>
                </a:lnTo>
                <a:lnTo>
                  <a:pt x="1235435" y="759824"/>
                </a:lnTo>
                <a:lnTo>
                  <a:pt x="1233152" y="762106"/>
                </a:lnTo>
                <a:lnTo>
                  <a:pt x="1230868" y="762106"/>
                </a:lnTo>
                <a:lnTo>
                  <a:pt x="1230868" y="764388"/>
                </a:lnTo>
                <a:lnTo>
                  <a:pt x="1228584" y="764388"/>
                </a:lnTo>
                <a:lnTo>
                  <a:pt x="1226301" y="766669"/>
                </a:lnTo>
                <a:lnTo>
                  <a:pt x="1224017" y="766669"/>
                </a:lnTo>
                <a:lnTo>
                  <a:pt x="1224017" y="768951"/>
                </a:lnTo>
                <a:lnTo>
                  <a:pt x="1221734" y="768951"/>
                </a:lnTo>
                <a:lnTo>
                  <a:pt x="1219450" y="771233"/>
                </a:lnTo>
                <a:lnTo>
                  <a:pt x="1217167" y="771233"/>
                </a:lnTo>
                <a:lnTo>
                  <a:pt x="1217167" y="773515"/>
                </a:lnTo>
                <a:lnTo>
                  <a:pt x="1214882" y="775797"/>
                </a:lnTo>
                <a:lnTo>
                  <a:pt x="1212599" y="775797"/>
                </a:lnTo>
                <a:lnTo>
                  <a:pt x="1212599" y="778079"/>
                </a:lnTo>
                <a:lnTo>
                  <a:pt x="1210315" y="778079"/>
                </a:lnTo>
                <a:lnTo>
                  <a:pt x="1210315" y="780361"/>
                </a:lnTo>
                <a:lnTo>
                  <a:pt x="1208032" y="782643"/>
                </a:lnTo>
                <a:lnTo>
                  <a:pt x="1205748" y="784925"/>
                </a:lnTo>
                <a:lnTo>
                  <a:pt x="1205748" y="787207"/>
                </a:lnTo>
                <a:lnTo>
                  <a:pt x="1203465" y="787207"/>
                </a:lnTo>
                <a:lnTo>
                  <a:pt x="1201181" y="789488"/>
                </a:lnTo>
                <a:lnTo>
                  <a:pt x="1198897" y="791770"/>
                </a:lnTo>
                <a:lnTo>
                  <a:pt x="1196614" y="794052"/>
                </a:lnTo>
                <a:lnTo>
                  <a:pt x="1194330" y="794052"/>
                </a:lnTo>
                <a:lnTo>
                  <a:pt x="1194330" y="796334"/>
                </a:lnTo>
                <a:lnTo>
                  <a:pt x="1192047" y="796334"/>
                </a:lnTo>
                <a:lnTo>
                  <a:pt x="1192047" y="798616"/>
                </a:lnTo>
                <a:lnTo>
                  <a:pt x="1189763" y="798616"/>
                </a:lnTo>
                <a:lnTo>
                  <a:pt x="1189763" y="800898"/>
                </a:lnTo>
                <a:lnTo>
                  <a:pt x="1187479" y="800898"/>
                </a:lnTo>
                <a:lnTo>
                  <a:pt x="1187479" y="803180"/>
                </a:lnTo>
                <a:lnTo>
                  <a:pt x="1185196" y="803180"/>
                </a:lnTo>
                <a:lnTo>
                  <a:pt x="1185196" y="805462"/>
                </a:lnTo>
                <a:lnTo>
                  <a:pt x="1182912" y="805462"/>
                </a:lnTo>
                <a:lnTo>
                  <a:pt x="1182912" y="807744"/>
                </a:lnTo>
                <a:lnTo>
                  <a:pt x="1180629" y="807744"/>
                </a:lnTo>
                <a:lnTo>
                  <a:pt x="1180629" y="810025"/>
                </a:lnTo>
                <a:lnTo>
                  <a:pt x="1178345" y="810025"/>
                </a:lnTo>
                <a:lnTo>
                  <a:pt x="1178345" y="812307"/>
                </a:lnTo>
                <a:lnTo>
                  <a:pt x="1176062" y="812307"/>
                </a:lnTo>
                <a:lnTo>
                  <a:pt x="1176062" y="814589"/>
                </a:lnTo>
                <a:lnTo>
                  <a:pt x="1173778" y="814589"/>
                </a:lnTo>
                <a:lnTo>
                  <a:pt x="1173778" y="816871"/>
                </a:lnTo>
                <a:lnTo>
                  <a:pt x="1171494" y="816871"/>
                </a:lnTo>
                <a:lnTo>
                  <a:pt x="1169211" y="816871"/>
                </a:lnTo>
                <a:lnTo>
                  <a:pt x="1169211" y="819153"/>
                </a:lnTo>
                <a:lnTo>
                  <a:pt x="1166927" y="819153"/>
                </a:lnTo>
                <a:lnTo>
                  <a:pt x="1166927" y="821435"/>
                </a:lnTo>
                <a:lnTo>
                  <a:pt x="1164644" y="821435"/>
                </a:lnTo>
                <a:lnTo>
                  <a:pt x="1164644" y="819153"/>
                </a:lnTo>
                <a:lnTo>
                  <a:pt x="1162360" y="819153"/>
                </a:lnTo>
                <a:lnTo>
                  <a:pt x="1164644" y="819153"/>
                </a:lnTo>
                <a:lnTo>
                  <a:pt x="1162360" y="819153"/>
                </a:lnTo>
                <a:lnTo>
                  <a:pt x="1162360" y="816871"/>
                </a:lnTo>
                <a:lnTo>
                  <a:pt x="1162360" y="819153"/>
                </a:lnTo>
                <a:lnTo>
                  <a:pt x="1164644" y="819153"/>
                </a:lnTo>
                <a:lnTo>
                  <a:pt x="1164644" y="816871"/>
                </a:lnTo>
                <a:lnTo>
                  <a:pt x="1162360" y="816871"/>
                </a:lnTo>
                <a:lnTo>
                  <a:pt x="1162360" y="814589"/>
                </a:lnTo>
                <a:lnTo>
                  <a:pt x="1160077" y="814589"/>
                </a:lnTo>
                <a:lnTo>
                  <a:pt x="1160077" y="816871"/>
                </a:lnTo>
                <a:lnTo>
                  <a:pt x="1162360" y="816871"/>
                </a:lnTo>
                <a:lnTo>
                  <a:pt x="1160077" y="816871"/>
                </a:lnTo>
                <a:lnTo>
                  <a:pt x="1162360" y="819153"/>
                </a:lnTo>
                <a:lnTo>
                  <a:pt x="1160077" y="819153"/>
                </a:lnTo>
                <a:lnTo>
                  <a:pt x="1160077" y="821435"/>
                </a:lnTo>
                <a:lnTo>
                  <a:pt x="1160077" y="819153"/>
                </a:lnTo>
                <a:lnTo>
                  <a:pt x="1160077" y="816871"/>
                </a:lnTo>
                <a:lnTo>
                  <a:pt x="1160077" y="819153"/>
                </a:lnTo>
                <a:lnTo>
                  <a:pt x="1157793" y="816871"/>
                </a:lnTo>
                <a:lnTo>
                  <a:pt x="1157793" y="814589"/>
                </a:lnTo>
                <a:lnTo>
                  <a:pt x="1157793" y="816871"/>
                </a:lnTo>
                <a:lnTo>
                  <a:pt x="1155509" y="816871"/>
                </a:lnTo>
                <a:lnTo>
                  <a:pt x="1157793" y="816871"/>
                </a:lnTo>
                <a:lnTo>
                  <a:pt x="1155509" y="816871"/>
                </a:lnTo>
                <a:lnTo>
                  <a:pt x="1155509" y="819153"/>
                </a:lnTo>
                <a:lnTo>
                  <a:pt x="1155509" y="816871"/>
                </a:lnTo>
                <a:lnTo>
                  <a:pt x="1157793" y="816871"/>
                </a:lnTo>
                <a:lnTo>
                  <a:pt x="1155509" y="819153"/>
                </a:lnTo>
                <a:lnTo>
                  <a:pt x="1153226" y="819153"/>
                </a:lnTo>
                <a:lnTo>
                  <a:pt x="1153226" y="816871"/>
                </a:lnTo>
                <a:lnTo>
                  <a:pt x="1150942" y="816871"/>
                </a:lnTo>
                <a:lnTo>
                  <a:pt x="1153226" y="814589"/>
                </a:lnTo>
                <a:lnTo>
                  <a:pt x="1150942" y="814589"/>
                </a:lnTo>
                <a:lnTo>
                  <a:pt x="1148659" y="814589"/>
                </a:lnTo>
                <a:lnTo>
                  <a:pt x="1148659" y="816871"/>
                </a:lnTo>
                <a:lnTo>
                  <a:pt x="1148659" y="814589"/>
                </a:lnTo>
                <a:lnTo>
                  <a:pt x="1144091" y="814589"/>
                </a:lnTo>
                <a:lnTo>
                  <a:pt x="1144091" y="816871"/>
                </a:lnTo>
                <a:lnTo>
                  <a:pt x="1141807" y="814589"/>
                </a:lnTo>
                <a:lnTo>
                  <a:pt x="1141807" y="816871"/>
                </a:lnTo>
                <a:lnTo>
                  <a:pt x="1141807" y="814589"/>
                </a:lnTo>
                <a:lnTo>
                  <a:pt x="1141807" y="816871"/>
                </a:lnTo>
                <a:lnTo>
                  <a:pt x="1139524" y="816871"/>
                </a:lnTo>
                <a:lnTo>
                  <a:pt x="1139524" y="819153"/>
                </a:lnTo>
                <a:lnTo>
                  <a:pt x="1139524" y="821435"/>
                </a:lnTo>
                <a:lnTo>
                  <a:pt x="1141807" y="823717"/>
                </a:lnTo>
                <a:lnTo>
                  <a:pt x="1141807" y="825999"/>
                </a:lnTo>
                <a:lnTo>
                  <a:pt x="1144091" y="825999"/>
                </a:lnTo>
                <a:lnTo>
                  <a:pt x="1144091" y="828281"/>
                </a:lnTo>
                <a:lnTo>
                  <a:pt x="1144091" y="830563"/>
                </a:lnTo>
                <a:lnTo>
                  <a:pt x="1146375" y="830563"/>
                </a:lnTo>
                <a:lnTo>
                  <a:pt x="1146375" y="832844"/>
                </a:lnTo>
                <a:lnTo>
                  <a:pt x="1148659" y="832844"/>
                </a:lnTo>
                <a:lnTo>
                  <a:pt x="1148659" y="830563"/>
                </a:lnTo>
                <a:lnTo>
                  <a:pt x="1146375" y="830563"/>
                </a:lnTo>
                <a:lnTo>
                  <a:pt x="1146375" y="828281"/>
                </a:lnTo>
                <a:lnTo>
                  <a:pt x="1148659" y="828281"/>
                </a:lnTo>
                <a:lnTo>
                  <a:pt x="1146375" y="828281"/>
                </a:lnTo>
                <a:lnTo>
                  <a:pt x="1150942" y="821435"/>
                </a:lnTo>
                <a:lnTo>
                  <a:pt x="1150942" y="823717"/>
                </a:lnTo>
                <a:lnTo>
                  <a:pt x="1150942" y="821435"/>
                </a:lnTo>
                <a:lnTo>
                  <a:pt x="1150942" y="823717"/>
                </a:lnTo>
                <a:lnTo>
                  <a:pt x="1150942" y="821435"/>
                </a:lnTo>
                <a:lnTo>
                  <a:pt x="1153226" y="821435"/>
                </a:lnTo>
                <a:lnTo>
                  <a:pt x="1155509" y="821435"/>
                </a:lnTo>
                <a:lnTo>
                  <a:pt x="1157793" y="821435"/>
                </a:lnTo>
                <a:lnTo>
                  <a:pt x="1157793" y="823717"/>
                </a:lnTo>
                <a:lnTo>
                  <a:pt x="1157793" y="821435"/>
                </a:lnTo>
                <a:lnTo>
                  <a:pt x="1157793" y="823717"/>
                </a:lnTo>
                <a:lnTo>
                  <a:pt x="1160077" y="823717"/>
                </a:lnTo>
                <a:lnTo>
                  <a:pt x="1162360" y="823717"/>
                </a:lnTo>
                <a:lnTo>
                  <a:pt x="1162360" y="825999"/>
                </a:lnTo>
                <a:lnTo>
                  <a:pt x="1164644" y="825999"/>
                </a:lnTo>
                <a:lnTo>
                  <a:pt x="1166927" y="825999"/>
                </a:lnTo>
                <a:lnTo>
                  <a:pt x="1164644" y="825999"/>
                </a:lnTo>
                <a:lnTo>
                  <a:pt x="1162360" y="825999"/>
                </a:lnTo>
                <a:lnTo>
                  <a:pt x="1160077" y="828281"/>
                </a:lnTo>
                <a:lnTo>
                  <a:pt x="1157793" y="828281"/>
                </a:lnTo>
                <a:lnTo>
                  <a:pt x="1157793" y="830563"/>
                </a:lnTo>
                <a:lnTo>
                  <a:pt x="1155509" y="830563"/>
                </a:lnTo>
                <a:lnTo>
                  <a:pt x="1155509" y="832844"/>
                </a:lnTo>
                <a:lnTo>
                  <a:pt x="1153226" y="832844"/>
                </a:lnTo>
                <a:lnTo>
                  <a:pt x="1153226" y="835126"/>
                </a:lnTo>
                <a:lnTo>
                  <a:pt x="1150942" y="835126"/>
                </a:lnTo>
                <a:lnTo>
                  <a:pt x="1150942" y="837408"/>
                </a:lnTo>
                <a:lnTo>
                  <a:pt x="1148659" y="837408"/>
                </a:lnTo>
                <a:lnTo>
                  <a:pt x="1148659" y="839690"/>
                </a:lnTo>
                <a:lnTo>
                  <a:pt x="1146375" y="839690"/>
                </a:lnTo>
                <a:lnTo>
                  <a:pt x="1146375" y="841972"/>
                </a:lnTo>
                <a:lnTo>
                  <a:pt x="1144091" y="841972"/>
                </a:lnTo>
                <a:lnTo>
                  <a:pt x="1144091" y="844254"/>
                </a:lnTo>
                <a:lnTo>
                  <a:pt x="1141807" y="844254"/>
                </a:lnTo>
                <a:lnTo>
                  <a:pt x="1141807" y="846536"/>
                </a:lnTo>
                <a:lnTo>
                  <a:pt x="1139524" y="846536"/>
                </a:lnTo>
                <a:lnTo>
                  <a:pt x="1139524" y="844254"/>
                </a:lnTo>
                <a:lnTo>
                  <a:pt x="1139524" y="846536"/>
                </a:lnTo>
                <a:lnTo>
                  <a:pt x="1134957" y="851100"/>
                </a:lnTo>
                <a:lnTo>
                  <a:pt x="1130389" y="851100"/>
                </a:lnTo>
                <a:lnTo>
                  <a:pt x="1128106" y="853381"/>
                </a:lnTo>
                <a:lnTo>
                  <a:pt x="1114404" y="857945"/>
                </a:lnTo>
                <a:lnTo>
                  <a:pt x="1109837" y="860227"/>
                </a:lnTo>
                <a:lnTo>
                  <a:pt x="1107554" y="860227"/>
                </a:lnTo>
                <a:lnTo>
                  <a:pt x="1105270" y="862509"/>
                </a:lnTo>
                <a:lnTo>
                  <a:pt x="1102987" y="864791"/>
                </a:lnTo>
                <a:lnTo>
                  <a:pt x="1100703" y="864791"/>
                </a:lnTo>
                <a:lnTo>
                  <a:pt x="1096136" y="867073"/>
                </a:lnTo>
                <a:lnTo>
                  <a:pt x="1091569" y="867073"/>
                </a:lnTo>
                <a:lnTo>
                  <a:pt x="1087001" y="869355"/>
                </a:lnTo>
                <a:lnTo>
                  <a:pt x="1084718" y="869355"/>
                </a:lnTo>
                <a:lnTo>
                  <a:pt x="1082434" y="869355"/>
                </a:lnTo>
                <a:lnTo>
                  <a:pt x="1080151" y="871637"/>
                </a:lnTo>
                <a:lnTo>
                  <a:pt x="1077867" y="871637"/>
                </a:lnTo>
                <a:lnTo>
                  <a:pt x="1075584" y="873919"/>
                </a:lnTo>
                <a:lnTo>
                  <a:pt x="1073299" y="873919"/>
                </a:lnTo>
                <a:lnTo>
                  <a:pt x="1071016" y="873919"/>
                </a:lnTo>
                <a:lnTo>
                  <a:pt x="1068732" y="873919"/>
                </a:lnTo>
                <a:lnTo>
                  <a:pt x="1066449" y="873919"/>
                </a:lnTo>
                <a:lnTo>
                  <a:pt x="1064165" y="873919"/>
                </a:lnTo>
                <a:lnTo>
                  <a:pt x="1061882" y="876200"/>
                </a:lnTo>
                <a:lnTo>
                  <a:pt x="1059598" y="876200"/>
                </a:lnTo>
                <a:lnTo>
                  <a:pt x="1057314" y="876200"/>
                </a:lnTo>
                <a:lnTo>
                  <a:pt x="1055031" y="876200"/>
                </a:lnTo>
                <a:lnTo>
                  <a:pt x="1055031" y="878482"/>
                </a:lnTo>
                <a:lnTo>
                  <a:pt x="1052747" y="878482"/>
                </a:lnTo>
                <a:lnTo>
                  <a:pt x="1050464" y="878482"/>
                </a:lnTo>
                <a:lnTo>
                  <a:pt x="1050464" y="880764"/>
                </a:lnTo>
                <a:lnTo>
                  <a:pt x="1048180" y="880764"/>
                </a:lnTo>
                <a:lnTo>
                  <a:pt x="1045897" y="880764"/>
                </a:lnTo>
                <a:lnTo>
                  <a:pt x="1045897" y="883046"/>
                </a:lnTo>
                <a:lnTo>
                  <a:pt x="1043613" y="883046"/>
                </a:lnTo>
                <a:lnTo>
                  <a:pt x="1041329" y="883046"/>
                </a:lnTo>
                <a:lnTo>
                  <a:pt x="1041329" y="885328"/>
                </a:lnTo>
                <a:lnTo>
                  <a:pt x="1039046" y="885328"/>
                </a:lnTo>
                <a:lnTo>
                  <a:pt x="1039046" y="887610"/>
                </a:lnTo>
                <a:lnTo>
                  <a:pt x="1036762" y="887610"/>
                </a:lnTo>
                <a:lnTo>
                  <a:pt x="1036762" y="889892"/>
                </a:lnTo>
                <a:lnTo>
                  <a:pt x="1034479" y="889892"/>
                </a:lnTo>
                <a:lnTo>
                  <a:pt x="1034479" y="892174"/>
                </a:lnTo>
                <a:lnTo>
                  <a:pt x="1032195" y="892174"/>
                </a:lnTo>
                <a:lnTo>
                  <a:pt x="1032195" y="894456"/>
                </a:lnTo>
                <a:lnTo>
                  <a:pt x="1029911" y="894456"/>
                </a:lnTo>
                <a:lnTo>
                  <a:pt x="1029911" y="896737"/>
                </a:lnTo>
                <a:lnTo>
                  <a:pt x="1029911" y="899020"/>
                </a:lnTo>
                <a:lnTo>
                  <a:pt x="1027628" y="899020"/>
                </a:lnTo>
                <a:lnTo>
                  <a:pt x="1027628" y="901301"/>
                </a:lnTo>
                <a:lnTo>
                  <a:pt x="1025344" y="901301"/>
                </a:lnTo>
                <a:lnTo>
                  <a:pt x="1025344" y="903583"/>
                </a:lnTo>
                <a:lnTo>
                  <a:pt x="1023061" y="903583"/>
                </a:lnTo>
                <a:lnTo>
                  <a:pt x="1023061" y="905865"/>
                </a:lnTo>
                <a:lnTo>
                  <a:pt x="1020777" y="905865"/>
                </a:lnTo>
                <a:lnTo>
                  <a:pt x="1020777" y="908147"/>
                </a:lnTo>
                <a:lnTo>
                  <a:pt x="1018494" y="908147"/>
                </a:lnTo>
                <a:lnTo>
                  <a:pt x="1018494" y="910429"/>
                </a:lnTo>
                <a:lnTo>
                  <a:pt x="1016210" y="910429"/>
                </a:lnTo>
                <a:lnTo>
                  <a:pt x="1016210" y="912711"/>
                </a:lnTo>
                <a:lnTo>
                  <a:pt x="1013926" y="912711"/>
                </a:lnTo>
                <a:lnTo>
                  <a:pt x="1013926" y="914983"/>
                </a:lnTo>
                <a:lnTo>
                  <a:pt x="1011643" y="914983"/>
                </a:lnTo>
                <a:lnTo>
                  <a:pt x="1011643" y="917275"/>
                </a:lnTo>
                <a:lnTo>
                  <a:pt x="1009359" y="917275"/>
                </a:lnTo>
                <a:lnTo>
                  <a:pt x="1009359" y="919547"/>
                </a:lnTo>
                <a:lnTo>
                  <a:pt x="1007076" y="919547"/>
                </a:lnTo>
                <a:lnTo>
                  <a:pt x="1007076" y="921829"/>
                </a:lnTo>
                <a:lnTo>
                  <a:pt x="1004792" y="921829"/>
                </a:lnTo>
                <a:lnTo>
                  <a:pt x="1004792" y="924111"/>
                </a:lnTo>
                <a:lnTo>
                  <a:pt x="1002508" y="924111"/>
                </a:lnTo>
                <a:lnTo>
                  <a:pt x="1002508" y="926393"/>
                </a:lnTo>
                <a:lnTo>
                  <a:pt x="1000224" y="926393"/>
                </a:lnTo>
                <a:lnTo>
                  <a:pt x="1000224" y="928675"/>
                </a:lnTo>
                <a:lnTo>
                  <a:pt x="997941" y="928675"/>
                </a:lnTo>
                <a:lnTo>
                  <a:pt x="997941" y="930956"/>
                </a:lnTo>
                <a:lnTo>
                  <a:pt x="995657" y="930956"/>
                </a:lnTo>
                <a:lnTo>
                  <a:pt x="995657" y="933238"/>
                </a:lnTo>
                <a:lnTo>
                  <a:pt x="993374" y="933238"/>
                </a:lnTo>
                <a:lnTo>
                  <a:pt x="993374" y="935520"/>
                </a:lnTo>
                <a:lnTo>
                  <a:pt x="991090" y="935520"/>
                </a:lnTo>
                <a:lnTo>
                  <a:pt x="991090" y="937802"/>
                </a:lnTo>
                <a:lnTo>
                  <a:pt x="991090" y="940084"/>
                </a:lnTo>
                <a:lnTo>
                  <a:pt x="988807" y="940084"/>
                </a:lnTo>
                <a:lnTo>
                  <a:pt x="988807" y="942366"/>
                </a:lnTo>
                <a:lnTo>
                  <a:pt x="986523" y="942366"/>
                </a:lnTo>
                <a:lnTo>
                  <a:pt x="986523" y="944648"/>
                </a:lnTo>
                <a:lnTo>
                  <a:pt x="984239" y="944648"/>
                </a:lnTo>
                <a:lnTo>
                  <a:pt x="984239" y="946930"/>
                </a:lnTo>
                <a:lnTo>
                  <a:pt x="981956" y="946930"/>
                </a:lnTo>
                <a:lnTo>
                  <a:pt x="981956" y="949212"/>
                </a:lnTo>
                <a:lnTo>
                  <a:pt x="981956" y="951493"/>
                </a:lnTo>
                <a:lnTo>
                  <a:pt x="979672" y="951493"/>
                </a:lnTo>
                <a:lnTo>
                  <a:pt x="979672" y="953775"/>
                </a:lnTo>
                <a:lnTo>
                  <a:pt x="977389" y="953775"/>
                </a:lnTo>
                <a:lnTo>
                  <a:pt x="977389" y="956057"/>
                </a:lnTo>
                <a:lnTo>
                  <a:pt x="975105" y="956057"/>
                </a:lnTo>
                <a:lnTo>
                  <a:pt x="975105" y="958339"/>
                </a:lnTo>
                <a:lnTo>
                  <a:pt x="972821" y="958339"/>
                </a:lnTo>
                <a:lnTo>
                  <a:pt x="972821" y="960621"/>
                </a:lnTo>
                <a:lnTo>
                  <a:pt x="970538" y="960621"/>
                </a:lnTo>
                <a:lnTo>
                  <a:pt x="970538" y="962903"/>
                </a:lnTo>
                <a:lnTo>
                  <a:pt x="968254" y="962903"/>
                </a:lnTo>
                <a:lnTo>
                  <a:pt x="968254" y="965185"/>
                </a:lnTo>
                <a:lnTo>
                  <a:pt x="965971" y="965185"/>
                </a:lnTo>
                <a:lnTo>
                  <a:pt x="965971" y="967467"/>
                </a:lnTo>
                <a:lnTo>
                  <a:pt x="963687" y="967467"/>
                </a:lnTo>
                <a:lnTo>
                  <a:pt x="963687" y="969749"/>
                </a:lnTo>
                <a:lnTo>
                  <a:pt x="961404" y="969749"/>
                </a:lnTo>
                <a:lnTo>
                  <a:pt x="961404" y="972031"/>
                </a:lnTo>
                <a:lnTo>
                  <a:pt x="959120" y="972031"/>
                </a:lnTo>
                <a:lnTo>
                  <a:pt x="959120" y="974312"/>
                </a:lnTo>
                <a:lnTo>
                  <a:pt x="956836" y="974312"/>
                </a:lnTo>
                <a:lnTo>
                  <a:pt x="956836" y="976594"/>
                </a:lnTo>
                <a:lnTo>
                  <a:pt x="954553" y="976594"/>
                </a:lnTo>
                <a:lnTo>
                  <a:pt x="954553" y="978876"/>
                </a:lnTo>
                <a:lnTo>
                  <a:pt x="952269" y="978876"/>
                </a:lnTo>
                <a:lnTo>
                  <a:pt x="952269" y="981158"/>
                </a:lnTo>
                <a:lnTo>
                  <a:pt x="949986" y="981158"/>
                </a:lnTo>
                <a:lnTo>
                  <a:pt x="949986" y="983440"/>
                </a:lnTo>
                <a:lnTo>
                  <a:pt x="947702" y="983440"/>
                </a:lnTo>
                <a:lnTo>
                  <a:pt x="945418" y="983440"/>
                </a:lnTo>
                <a:lnTo>
                  <a:pt x="945418" y="985722"/>
                </a:lnTo>
                <a:lnTo>
                  <a:pt x="943135" y="985722"/>
                </a:lnTo>
                <a:lnTo>
                  <a:pt x="943135" y="988004"/>
                </a:lnTo>
                <a:lnTo>
                  <a:pt x="940851" y="988004"/>
                </a:lnTo>
                <a:lnTo>
                  <a:pt x="940851" y="990286"/>
                </a:lnTo>
                <a:lnTo>
                  <a:pt x="938568" y="990286"/>
                </a:lnTo>
                <a:lnTo>
                  <a:pt x="938568" y="992568"/>
                </a:lnTo>
                <a:lnTo>
                  <a:pt x="936284" y="992568"/>
                </a:lnTo>
                <a:lnTo>
                  <a:pt x="936284" y="994849"/>
                </a:lnTo>
                <a:lnTo>
                  <a:pt x="934001" y="994849"/>
                </a:lnTo>
                <a:lnTo>
                  <a:pt x="934001" y="997132"/>
                </a:lnTo>
                <a:lnTo>
                  <a:pt x="931717" y="997132"/>
                </a:lnTo>
                <a:lnTo>
                  <a:pt x="931717" y="999413"/>
                </a:lnTo>
                <a:lnTo>
                  <a:pt x="929433" y="999413"/>
                </a:lnTo>
                <a:lnTo>
                  <a:pt x="929433" y="1001695"/>
                </a:lnTo>
                <a:lnTo>
                  <a:pt x="927149" y="1001695"/>
                </a:lnTo>
                <a:lnTo>
                  <a:pt x="924866" y="1001695"/>
                </a:lnTo>
                <a:lnTo>
                  <a:pt x="924866" y="1003977"/>
                </a:lnTo>
                <a:lnTo>
                  <a:pt x="924866" y="1006259"/>
                </a:lnTo>
                <a:lnTo>
                  <a:pt x="922582" y="1006259"/>
                </a:lnTo>
                <a:lnTo>
                  <a:pt x="922582" y="1008541"/>
                </a:lnTo>
                <a:lnTo>
                  <a:pt x="922582" y="1010823"/>
                </a:lnTo>
                <a:lnTo>
                  <a:pt x="920299" y="1010823"/>
                </a:lnTo>
                <a:lnTo>
                  <a:pt x="920299" y="1013105"/>
                </a:lnTo>
                <a:lnTo>
                  <a:pt x="918015" y="1013105"/>
                </a:lnTo>
                <a:lnTo>
                  <a:pt x="918015" y="1015387"/>
                </a:lnTo>
                <a:lnTo>
                  <a:pt x="918015" y="1013105"/>
                </a:lnTo>
                <a:lnTo>
                  <a:pt x="918015" y="1015387"/>
                </a:lnTo>
                <a:lnTo>
                  <a:pt x="915731" y="1015387"/>
                </a:lnTo>
                <a:lnTo>
                  <a:pt x="915731" y="1017668"/>
                </a:lnTo>
                <a:lnTo>
                  <a:pt x="913448" y="1017668"/>
                </a:lnTo>
                <a:lnTo>
                  <a:pt x="913448" y="1019950"/>
                </a:lnTo>
                <a:lnTo>
                  <a:pt x="911164" y="1019950"/>
                </a:lnTo>
                <a:lnTo>
                  <a:pt x="911164" y="1022232"/>
                </a:lnTo>
                <a:lnTo>
                  <a:pt x="908881" y="1022232"/>
                </a:lnTo>
                <a:lnTo>
                  <a:pt x="908881" y="1024514"/>
                </a:lnTo>
                <a:lnTo>
                  <a:pt x="906597" y="1024514"/>
                </a:lnTo>
                <a:lnTo>
                  <a:pt x="906597" y="1026796"/>
                </a:lnTo>
                <a:lnTo>
                  <a:pt x="904314" y="1026796"/>
                </a:lnTo>
                <a:lnTo>
                  <a:pt x="904314" y="1029078"/>
                </a:lnTo>
                <a:lnTo>
                  <a:pt x="902030" y="1029078"/>
                </a:lnTo>
                <a:lnTo>
                  <a:pt x="902030" y="1031360"/>
                </a:lnTo>
                <a:lnTo>
                  <a:pt x="899746" y="1031360"/>
                </a:lnTo>
                <a:lnTo>
                  <a:pt x="899746" y="1033642"/>
                </a:lnTo>
                <a:lnTo>
                  <a:pt x="897463" y="1033642"/>
                </a:lnTo>
                <a:lnTo>
                  <a:pt x="897463" y="1035924"/>
                </a:lnTo>
                <a:lnTo>
                  <a:pt x="895179" y="1035924"/>
                </a:lnTo>
                <a:lnTo>
                  <a:pt x="895179" y="1038205"/>
                </a:lnTo>
                <a:lnTo>
                  <a:pt x="892896" y="1038205"/>
                </a:lnTo>
                <a:lnTo>
                  <a:pt x="892896" y="1040488"/>
                </a:lnTo>
                <a:lnTo>
                  <a:pt x="890612" y="1040488"/>
                </a:lnTo>
                <a:lnTo>
                  <a:pt x="890612" y="1042769"/>
                </a:lnTo>
                <a:lnTo>
                  <a:pt x="888328" y="1042769"/>
                </a:lnTo>
                <a:lnTo>
                  <a:pt x="888328" y="1045051"/>
                </a:lnTo>
                <a:lnTo>
                  <a:pt x="886045" y="1045051"/>
                </a:lnTo>
                <a:lnTo>
                  <a:pt x="886045" y="1047333"/>
                </a:lnTo>
                <a:lnTo>
                  <a:pt x="883761" y="1047333"/>
                </a:lnTo>
                <a:lnTo>
                  <a:pt x="883761" y="1049615"/>
                </a:lnTo>
                <a:lnTo>
                  <a:pt x="881478" y="1049615"/>
                </a:lnTo>
                <a:lnTo>
                  <a:pt x="881478" y="1051897"/>
                </a:lnTo>
                <a:lnTo>
                  <a:pt x="881478" y="1054179"/>
                </a:lnTo>
                <a:lnTo>
                  <a:pt x="879194" y="1054179"/>
                </a:lnTo>
                <a:lnTo>
                  <a:pt x="879194" y="1056461"/>
                </a:lnTo>
                <a:lnTo>
                  <a:pt x="876911" y="1056461"/>
                </a:lnTo>
                <a:lnTo>
                  <a:pt x="876911" y="1058743"/>
                </a:lnTo>
                <a:lnTo>
                  <a:pt x="874627" y="1058743"/>
                </a:lnTo>
                <a:lnTo>
                  <a:pt x="874627" y="1061024"/>
                </a:lnTo>
                <a:lnTo>
                  <a:pt x="872343" y="1061024"/>
                </a:lnTo>
                <a:lnTo>
                  <a:pt x="872343" y="1063306"/>
                </a:lnTo>
                <a:lnTo>
                  <a:pt x="872343" y="1065588"/>
                </a:lnTo>
                <a:lnTo>
                  <a:pt x="870060" y="1065588"/>
                </a:lnTo>
                <a:lnTo>
                  <a:pt x="870060" y="1067870"/>
                </a:lnTo>
                <a:lnTo>
                  <a:pt x="867776" y="1067870"/>
                </a:lnTo>
                <a:lnTo>
                  <a:pt x="870060" y="1067870"/>
                </a:lnTo>
                <a:lnTo>
                  <a:pt x="867776" y="1067870"/>
                </a:lnTo>
                <a:lnTo>
                  <a:pt x="867776" y="1070143"/>
                </a:lnTo>
                <a:lnTo>
                  <a:pt x="865492" y="1070143"/>
                </a:lnTo>
                <a:lnTo>
                  <a:pt x="865492" y="1072434"/>
                </a:lnTo>
                <a:lnTo>
                  <a:pt x="865492" y="1074707"/>
                </a:lnTo>
                <a:lnTo>
                  <a:pt x="863209" y="1074707"/>
                </a:lnTo>
                <a:lnTo>
                  <a:pt x="865492" y="1074707"/>
                </a:lnTo>
                <a:lnTo>
                  <a:pt x="863209" y="1074707"/>
                </a:lnTo>
                <a:lnTo>
                  <a:pt x="863209" y="1076988"/>
                </a:lnTo>
                <a:lnTo>
                  <a:pt x="860925" y="1076988"/>
                </a:lnTo>
                <a:lnTo>
                  <a:pt x="860925" y="1079270"/>
                </a:lnTo>
                <a:lnTo>
                  <a:pt x="858641" y="1079270"/>
                </a:lnTo>
                <a:lnTo>
                  <a:pt x="858641" y="1081552"/>
                </a:lnTo>
                <a:lnTo>
                  <a:pt x="858641" y="1083834"/>
                </a:lnTo>
                <a:lnTo>
                  <a:pt x="856358" y="1083834"/>
                </a:lnTo>
                <a:lnTo>
                  <a:pt x="856358" y="1086116"/>
                </a:lnTo>
                <a:lnTo>
                  <a:pt x="854074" y="1086116"/>
                </a:lnTo>
                <a:lnTo>
                  <a:pt x="854074" y="1088398"/>
                </a:lnTo>
                <a:lnTo>
                  <a:pt x="851791" y="1088398"/>
                </a:lnTo>
                <a:lnTo>
                  <a:pt x="854074" y="1088398"/>
                </a:lnTo>
                <a:lnTo>
                  <a:pt x="851791" y="1088398"/>
                </a:lnTo>
                <a:lnTo>
                  <a:pt x="851791" y="1090680"/>
                </a:lnTo>
                <a:lnTo>
                  <a:pt x="849507" y="1090680"/>
                </a:lnTo>
                <a:lnTo>
                  <a:pt x="849507" y="1092962"/>
                </a:lnTo>
                <a:lnTo>
                  <a:pt x="847224" y="1092962"/>
                </a:lnTo>
                <a:lnTo>
                  <a:pt x="847224" y="1095244"/>
                </a:lnTo>
                <a:lnTo>
                  <a:pt x="844940" y="1095244"/>
                </a:lnTo>
                <a:lnTo>
                  <a:pt x="844940" y="1097525"/>
                </a:lnTo>
                <a:lnTo>
                  <a:pt x="842656" y="1097525"/>
                </a:lnTo>
                <a:lnTo>
                  <a:pt x="842656" y="1099807"/>
                </a:lnTo>
                <a:lnTo>
                  <a:pt x="842656" y="1102089"/>
                </a:lnTo>
                <a:lnTo>
                  <a:pt x="840373" y="1102089"/>
                </a:lnTo>
                <a:lnTo>
                  <a:pt x="840373" y="1104371"/>
                </a:lnTo>
                <a:lnTo>
                  <a:pt x="840373" y="1106653"/>
                </a:lnTo>
                <a:lnTo>
                  <a:pt x="840373" y="1108935"/>
                </a:lnTo>
                <a:lnTo>
                  <a:pt x="838089" y="1108935"/>
                </a:lnTo>
                <a:lnTo>
                  <a:pt x="838089" y="1111217"/>
                </a:lnTo>
                <a:lnTo>
                  <a:pt x="835806" y="1111217"/>
                </a:lnTo>
                <a:lnTo>
                  <a:pt x="835806" y="1113499"/>
                </a:lnTo>
                <a:lnTo>
                  <a:pt x="833522" y="1113499"/>
                </a:lnTo>
                <a:lnTo>
                  <a:pt x="833522" y="1115780"/>
                </a:lnTo>
                <a:lnTo>
                  <a:pt x="831238" y="1115780"/>
                </a:lnTo>
                <a:lnTo>
                  <a:pt x="831238" y="1118063"/>
                </a:lnTo>
                <a:lnTo>
                  <a:pt x="828955" y="1118063"/>
                </a:lnTo>
                <a:lnTo>
                  <a:pt x="828955" y="1120344"/>
                </a:lnTo>
                <a:lnTo>
                  <a:pt x="826671" y="1120344"/>
                </a:lnTo>
                <a:lnTo>
                  <a:pt x="826671" y="1122626"/>
                </a:lnTo>
                <a:lnTo>
                  <a:pt x="824388" y="1122626"/>
                </a:lnTo>
                <a:lnTo>
                  <a:pt x="824388" y="1124908"/>
                </a:lnTo>
                <a:lnTo>
                  <a:pt x="824388" y="1127190"/>
                </a:lnTo>
                <a:lnTo>
                  <a:pt x="822104" y="1127190"/>
                </a:lnTo>
                <a:lnTo>
                  <a:pt x="822104" y="1129472"/>
                </a:lnTo>
                <a:lnTo>
                  <a:pt x="819821" y="1129472"/>
                </a:lnTo>
                <a:lnTo>
                  <a:pt x="819821" y="1131754"/>
                </a:lnTo>
                <a:lnTo>
                  <a:pt x="819821" y="1134036"/>
                </a:lnTo>
                <a:lnTo>
                  <a:pt x="817537" y="1134036"/>
                </a:lnTo>
                <a:lnTo>
                  <a:pt x="817537" y="1136318"/>
                </a:lnTo>
                <a:lnTo>
                  <a:pt x="817537" y="1138600"/>
                </a:lnTo>
                <a:lnTo>
                  <a:pt x="815253" y="1138600"/>
                </a:lnTo>
                <a:lnTo>
                  <a:pt x="815253" y="1140881"/>
                </a:lnTo>
                <a:lnTo>
                  <a:pt x="812970" y="1140881"/>
                </a:lnTo>
                <a:lnTo>
                  <a:pt x="812970" y="1143163"/>
                </a:lnTo>
                <a:lnTo>
                  <a:pt x="810686" y="1143163"/>
                </a:lnTo>
                <a:lnTo>
                  <a:pt x="810686" y="1145445"/>
                </a:lnTo>
                <a:lnTo>
                  <a:pt x="810686" y="1147727"/>
                </a:lnTo>
                <a:lnTo>
                  <a:pt x="808403" y="1147727"/>
                </a:lnTo>
                <a:lnTo>
                  <a:pt x="808403" y="1150009"/>
                </a:lnTo>
                <a:lnTo>
                  <a:pt x="806119" y="1150009"/>
                </a:lnTo>
                <a:lnTo>
                  <a:pt x="806119" y="1152291"/>
                </a:lnTo>
                <a:lnTo>
                  <a:pt x="806119" y="1154573"/>
                </a:lnTo>
                <a:lnTo>
                  <a:pt x="803836" y="1154573"/>
                </a:lnTo>
                <a:lnTo>
                  <a:pt x="803836" y="1156855"/>
                </a:lnTo>
                <a:lnTo>
                  <a:pt x="801552" y="1156855"/>
                </a:lnTo>
                <a:lnTo>
                  <a:pt x="801552" y="1159136"/>
                </a:lnTo>
                <a:lnTo>
                  <a:pt x="801552" y="1161419"/>
                </a:lnTo>
                <a:lnTo>
                  <a:pt x="799268" y="1161419"/>
                </a:lnTo>
                <a:lnTo>
                  <a:pt x="799268" y="1163700"/>
                </a:lnTo>
                <a:lnTo>
                  <a:pt x="799268" y="1165982"/>
                </a:lnTo>
                <a:lnTo>
                  <a:pt x="796984" y="1168264"/>
                </a:lnTo>
                <a:lnTo>
                  <a:pt x="796984" y="1170546"/>
                </a:lnTo>
                <a:lnTo>
                  <a:pt x="794701" y="1170546"/>
                </a:lnTo>
                <a:lnTo>
                  <a:pt x="794701" y="1172828"/>
                </a:lnTo>
                <a:lnTo>
                  <a:pt x="794701" y="1175110"/>
                </a:lnTo>
                <a:lnTo>
                  <a:pt x="792417" y="1175110"/>
                </a:lnTo>
                <a:lnTo>
                  <a:pt x="792417" y="1177392"/>
                </a:lnTo>
                <a:lnTo>
                  <a:pt x="792417" y="1179674"/>
                </a:lnTo>
                <a:lnTo>
                  <a:pt x="790134" y="1179674"/>
                </a:lnTo>
                <a:lnTo>
                  <a:pt x="790134" y="1181956"/>
                </a:lnTo>
                <a:lnTo>
                  <a:pt x="790134" y="1184237"/>
                </a:lnTo>
                <a:lnTo>
                  <a:pt x="787850" y="1184237"/>
                </a:lnTo>
                <a:lnTo>
                  <a:pt x="787850" y="1186519"/>
                </a:lnTo>
                <a:lnTo>
                  <a:pt x="787850" y="1188801"/>
                </a:lnTo>
                <a:lnTo>
                  <a:pt x="785566" y="1188801"/>
                </a:lnTo>
                <a:lnTo>
                  <a:pt x="785566" y="1191083"/>
                </a:lnTo>
                <a:lnTo>
                  <a:pt x="785566" y="1193365"/>
                </a:lnTo>
                <a:lnTo>
                  <a:pt x="783283" y="1193365"/>
                </a:lnTo>
                <a:lnTo>
                  <a:pt x="783283" y="1195647"/>
                </a:lnTo>
                <a:lnTo>
                  <a:pt x="780999" y="1195647"/>
                </a:lnTo>
                <a:lnTo>
                  <a:pt x="780999" y="1197929"/>
                </a:lnTo>
                <a:lnTo>
                  <a:pt x="780999" y="1200211"/>
                </a:lnTo>
                <a:lnTo>
                  <a:pt x="778716" y="1200211"/>
                </a:lnTo>
                <a:lnTo>
                  <a:pt x="778716" y="1202493"/>
                </a:lnTo>
                <a:lnTo>
                  <a:pt x="776432" y="1202493"/>
                </a:lnTo>
                <a:lnTo>
                  <a:pt x="776432" y="1204775"/>
                </a:lnTo>
                <a:lnTo>
                  <a:pt x="776432" y="1207056"/>
                </a:lnTo>
                <a:lnTo>
                  <a:pt x="774148" y="1207056"/>
                </a:lnTo>
                <a:lnTo>
                  <a:pt x="774148" y="1209338"/>
                </a:lnTo>
                <a:lnTo>
                  <a:pt x="771865" y="1211620"/>
                </a:lnTo>
                <a:lnTo>
                  <a:pt x="771865" y="1213902"/>
                </a:lnTo>
                <a:lnTo>
                  <a:pt x="771865" y="1216184"/>
                </a:lnTo>
                <a:lnTo>
                  <a:pt x="769581" y="1218466"/>
                </a:lnTo>
                <a:lnTo>
                  <a:pt x="769581" y="1220748"/>
                </a:lnTo>
                <a:lnTo>
                  <a:pt x="769581" y="1223020"/>
                </a:lnTo>
                <a:lnTo>
                  <a:pt x="769581" y="1225302"/>
                </a:lnTo>
                <a:lnTo>
                  <a:pt x="767298" y="1225302"/>
                </a:lnTo>
                <a:lnTo>
                  <a:pt x="767298" y="1227584"/>
                </a:lnTo>
                <a:lnTo>
                  <a:pt x="767298" y="1229866"/>
                </a:lnTo>
                <a:lnTo>
                  <a:pt x="767298" y="1232148"/>
                </a:lnTo>
                <a:lnTo>
                  <a:pt x="767298" y="1234430"/>
                </a:lnTo>
                <a:lnTo>
                  <a:pt x="767298" y="1236712"/>
                </a:lnTo>
                <a:lnTo>
                  <a:pt x="769581" y="1236712"/>
                </a:lnTo>
                <a:lnTo>
                  <a:pt x="769581" y="1238993"/>
                </a:lnTo>
                <a:lnTo>
                  <a:pt x="769581" y="1241275"/>
                </a:lnTo>
                <a:lnTo>
                  <a:pt x="769581" y="1243557"/>
                </a:lnTo>
                <a:lnTo>
                  <a:pt x="771865" y="1243557"/>
                </a:lnTo>
                <a:lnTo>
                  <a:pt x="771865" y="1245839"/>
                </a:lnTo>
                <a:lnTo>
                  <a:pt x="774148" y="1245839"/>
                </a:lnTo>
                <a:lnTo>
                  <a:pt x="774148" y="1243557"/>
                </a:lnTo>
                <a:lnTo>
                  <a:pt x="771865" y="1245839"/>
                </a:lnTo>
                <a:lnTo>
                  <a:pt x="769581" y="1245839"/>
                </a:lnTo>
                <a:lnTo>
                  <a:pt x="767298" y="1243557"/>
                </a:lnTo>
                <a:lnTo>
                  <a:pt x="765014" y="1245839"/>
                </a:lnTo>
                <a:lnTo>
                  <a:pt x="765014" y="1243557"/>
                </a:lnTo>
                <a:lnTo>
                  <a:pt x="765014" y="1241275"/>
                </a:lnTo>
                <a:lnTo>
                  <a:pt x="762731" y="1241275"/>
                </a:lnTo>
                <a:lnTo>
                  <a:pt x="760447" y="1241275"/>
                </a:lnTo>
                <a:lnTo>
                  <a:pt x="762731" y="1241275"/>
                </a:lnTo>
                <a:lnTo>
                  <a:pt x="762731" y="1243557"/>
                </a:lnTo>
                <a:lnTo>
                  <a:pt x="762731" y="1241275"/>
                </a:lnTo>
                <a:lnTo>
                  <a:pt x="760447" y="1241275"/>
                </a:lnTo>
                <a:lnTo>
                  <a:pt x="760447" y="1243557"/>
                </a:lnTo>
                <a:lnTo>
                  <a:pt x="758163" y="1243557"/>
                </a:lnTo>
                <a:lnTo>
                  <a:pt x="755880" y="1245839"/>
                </a:lnTo>
                <a:lnTo>
                  <a:pt x="755880" y="1250403"/>
                </a:lnTo>
                <a:lnTo>
                  <a:pt x="753596" y="1250403"/>
                </a:lnTo>
                <a:lnTo>
                  <a:pt x="751313" y="1250403"/>
                </a:lnTo>
                <a:lnTo>
                  <a:pt x="753596" y="1250403"/>
                </a:lnTo>
                <a:lnTo>
                  <a:pt x="753596" y="1252685"/>
                </a:lnTo>
                <a:lnTo>
                  <a:pt x="753596" y="1250403"/>
                </a:lnTo>
                <a:lnTo>
                  <a:pt x="753596" y="1252685"/>
                </a:lnTo>
                <a:lnTo>
                  <a:pt x="753596" y="1250403"/>
                </a:lnTo>
                <a:lnTo>
                  <a:pt x="753596" y="1252685"/>
                </a:lnTo>
                <a:lnTo>
                  <a:pt x="753596" y="1250403"/>
                </a:lnTo>
                <a:lnTo>
                  <a:pt x="755880" y="1252685"/>
                </a:lnTo>
                <a:lnTo>
                  <a:pt x="755880" y="1254967"/>
                </a:lnTo>
                <a:lnTo>
                  <a:pt x="753596" y="1254967"/>
                </a:lnTo>
                <a:lnTo>
                  <a:pt x="753596" y="1257248"/>
                </a:lnTo>
                <a:lnTo>
                  <a:pt x="755880" y="1257248"/>
                </a:lnTo>
                <a:lnTo>
                  <a:pt x="755880" y="1259531"/>
                </a:lnTo>
                <a:lnTo>
                  <a:pt x="755880" y="1257248"/>
                </a:lnTo>
                <a:lnTo>
                  <a:pt x="755880" y="1254967"/>
                </a:lnTo>
                <a:lnTo>
                  <a:pt x="755880" y="1252685"/>
                </a:lnTo>
                <a:lnTo>
                  <a:pt x="758163" y="1252685"/>
                </a:lnTo>
                <a:lnTo>
                  <a:pt x="755880" y="1252685"/>
                </a:lnTo>
                <a:lnTo>
                  <a:pt x="758163" y="1254967"/>
                </a:lnTo>
                <a:lnTo>
                  <a:pt x="758163" y="1252685"/>
                </a:lnTo>
                <a:lnTo>
                  <a:pt x="758163" y="1250403"/>
                </a:lnTo>
                <a:lnTo>
                  <a:pt x="758163" y="1248121"/>
                </a:lnTo>
                <a:lnTo>
                  <a:pt x="762731" y="1248121"/>
                </a:lnTo>
                <a:lnTo>
                  <a:pt x="760447" y="1250403"/>
                </a:lnTo>
                <a:lnTo>
                  <a:pt x="762731" y="1250403"/>
                </a:lnTo>
                <a:lnTo>
                  <a:pt x="765014" y="1248121"/>
                </a:lnTo>
                <a:lnTo>
                  <a:pt x="765014" y="1250403"/>
                </a:lnTo>
                <a:lnTo>
                  <a:pt x="765014" y="1248121"/>
                </a:lnTo>
                <a:lnTo>
                  <a:pt x="767298" y="1248121"/>
                </a:lnTo>
                <a:lnTo>
                  <a:pt x="765014" y="1250403"/>
                </a:lnTo>
                <a:lnTo>
                  <a:pt x="767298" y="1250403"/>
                </a:lnTo>
                <a:lnTo>
                  <a:pt x="767298" y="1248121"/>
                </a:lnTo>
                <a:lnTo>
                  <a:pt x="767298" y="1250403"/>
                </a:lnTo>
                <a:lnTo>
                  <a:pt x="767298" y="1248121"/>
                </a:lnTo>
                <a:lnTo>
                  <a:pt x="767298" y="1250403"/>
                </a:lnTo>
                <a:lnTo>
                  <a:pt x="767298" y="1248121"/>
                </a:lnTo>
                <a:lnTo>
                  <a:pt x="769581" y="1250403"/>
                </a:lnTo>
                <a:lnTo>
                  <a:pt x="767298" y="1250403"/>
                </a:lnTo>
                <a:lnTo>
                  <a:pt x="765014" y="1250403"/>
                </a:lnTo>
                <a:lnTo>
                  <a:pt x="762731" y="1252685"/>
                </a:lnTo>
                <a:lnTo>
                  <a:pt x="765014" y="1252685"/>
                </a:lnTo>
                <a:lnTo>
                  <a:pt x="767298" y="1252685"/>
                </a:lnTo>
                <a:lnTo>
                  <a:pt x="767298" y="1250403"/>
                </a:lnTo>
                <a:lnTo>
                  <a:pt x="769581" y="1250403"/>
                </a:lnTo>
                <a:lnTo>
                  <a:pt x="771865" y="1250403"/>
                </a:lnTo>
                <a:lnTo>
                  <a:pt x="771865" y="1248121"/>
                </a:lnTo>
                <a:lnTo>
                  <a:pt x="774148" y="1248121"/>
                </a:lnTo>
                <a:lnTo>
                  <a:pt x="774148" y="1245839"/>
                </a:lnTo>
                <a:lnTo>
                  <a:pt x="776432" y="1243557"/>
                </a:lnTo>
                <a:lnTo>
                  <a:pt x="776432" y="1245839"/>
                </a:lnTo>
                <a:lnTo>
                  <a:pt x="776432" y="1248121"/>
                </a:lnTo>
                <a:lnTo>
                  <a:pt x="774148" y="1248121"/>
                </a:lnTo>
                <a:lnTo>
                  <a:pt x="774148" y="1250403"/>
                </a:lnTo>
                <a:lnTo>
                  <a:pt x="771865" y="1250403"/>
                </a:lnTo>
                <a:lnTo>
                  <a:pt x="771865" y="1252685"/>
                </a:lnTo>
                <a:lnTo>
                  <a:pt x="771865" y="1254967"/>
                </a:lnTo>
                <a:lnTo>
                  <a:pt x="769581" y="1254967"/>
                </a:lnTo>
                <a:lnTo>
                  <a:pt x="769581" y="1257248"/>
                </a:lnTo>
                <a:lnTo>
                  <a:pt x="767298" y="1257248"/>
                </a:lnTo>
                <a:lnTo>
                  <a:pt x="767298" y="1259531"/>
                </a:lnTo>
                <a:lnTo>
                  <a:pt x="765014" y="1259531"/>
                </a:lnTo>
                <a:lnTo>
                  <a:pt x="765014" y="1261812"/>
                </a:lnTo>
                <a:lnTo>
                  <a:pt x="765014" y="1264094"/>
                </a:lnTo>
                <a:lnTo>
                  <a:pt x="762731" y="1264094"/>
                </a:lnTo>
                <a:lnTo>
                  <a:pt x="760447" y="1264094"/>
                </a:lnTo>
                <a:lnTo>
                  <a:pt x="760447" y="1266376"/>
                </a:lnTo>
                <a:lnTo>
                  <a:pt x="760447" y="1268658"/>
                </a:lnTo>
                <a:lnTo>
                  <a:pt x="758163" y="1268658"/>
                </a:lnTo>
                <a:lnTo>
                  <a:pt x="758163" y="1270940"/>
                </a:lnTo>
                <a:lnTo>
                  <a:pt x="755880" y="1270940"/>
                </a:lnTo>
                <a:lnTo>
                  <a:pt x="755880" y="1273222"/>
                </a:lnTo>
                <a:lnTo>
                  <a:pt x="753596" y="1273222"/>
                </a:lnTo>
                <a:lnTo>
                  <a:pt x="753596" y="1275504"/>
                </a:lnTo>
                <a:lnTo>
                  <a:pt x="751313" y="1275504"/>
                </a:lnTo>
                <a:lnTo>
                  <a:pt x="751313" y="1277786"/>
                </a:lnTo>
                <a:lnTo>
                  <a:pt x="749029" y="1277786"/>
                </a:lnTo>
                <a:lnTo>
                  <a:pt x="749029" y="1280068"/>
                </a:lnTo>
                <a:lnTo>
                  <a:pt x="749029" y="1282349"/>
                </a:lnTo>
                <a:lnTo>
                  <a:pt x="746746" y="1282349"/>
                </a:lnTo>
                <a:lnTo>
                  <a:pt x="746746" y="1284631"/>
                </a:lnTo>
                <a:lnTo>
                  <a:pt x="744462" y="1284631"/>
                </a:lnTo>
                <a:lnTo>
                  <a:pt x="744462" y="1286913"/>
                </a:lnTo>
                <a:lnTo>
                  <a:pt x="742178" y="1286913"/>
                </a:lnTo>
                <a:lnTo>
                  <a:pt x="742178" y="1289195"/>
                </a:lnTo>
                <a:lnTo>
                  <a:pt x="739895" y="1289195"/>
                </a:lnTo>
                <a:lnTo>
                  <a:pt x="739895" y="1291477"/>
                </a:lnTo>
                <a:lnTo>
                  <a:pt x="737611" y="1291477"/>
                </a:lnTo>
                <a:lnTo>
                  <a:pt x="737611" y="1293759"/>
                </a:lnTo>
                <a:lnTo>
                  <a:pt x="735328" y="1293759"/>
                </a:lnTo>
                <a:lnTo>
                  <a:pt x="735328" y="1296041"/>
                </a:lnTo>
                <a:lnTo>
                  <a:pt x="733044" y="1296041"/>
                </a:lnTo>
                <a:lnTo>
                  <a:pt x="733044" y="1298323"/>
                </a:lnTo>
                <a:lnTo>
                  <a:pt x="730760" y="1298323"/>
                </a:lnTo>
                <a:lnTo>
                  <a:pt x="730760" y="1300605"/>
                </a:lnTo>
                <a:lnTo>
                  <a:pt x="728476" y="1300605"/>
                </a:lnTo>
                <a:lnTo>
                  <a:pt x="728476" y="1302887"/>
                </a:lnTo>
                <a:lnTo>
                  <a:pt x="726193" y="1302887"/>
                </a:lnTo>
                <a:lnTo>
                  <a:pt x="726193" y="1305168"/>
                </a:lnTo>
                <a:lnTo>
                  <a:pt x="723909" y="1305168"/>
                </a:lnTo>
                <a:lnTo>
                  <a:pt x="723909" y="1307450"/>
                </a:lnTo>
                <a:lnTo>
                  <a:pt x="721626" y="1307450"/>
                </a:lnTo>
                <a:lnTo>
                  <a:pt x="721626" y="1309732"/>
                </a:lnTo>
                <a:lnTo>
                  <a:pt x="719342" y="1309732"/>
                </a:lnTo>
                <a:lnTo>
                  <a:pt x="717058" y="1309732"/>
                </a:lnTo>
                <a:lnTo>
                  <a:pt x="717058" y="1312014"/>
                </a:lnTo>
                <a:lnTo>
                  <a:pt x="714775" y="1312014"/>
                </a:lnTo>
                <a:lnTo>
                  <a:pt x="714775" y="1314296"/>
                </a:lnTo>
                <a:lnTo>
                  <a:pt x="712491" y="1314296"/>
                </a:lnTo>
                <a:lnTo>
                  <a:pt x="712491" y="1316578"/>
                </a:lnTo>
                <a:lnTo>
                  <a:pt x="712491" y="1318860"/>
                </a:lnTo>
                <a:lnTo>
                  <a:pt x="710208" y="1318860"/>
                </a:lnTo>
                <a:lnTo>
                  <a:pt x="710208" y="1321142"/>
                </a:lnTo>
                <a:lnTo>
                  <a:pt x="710208" y="1323424"/>
                </a:lnTo>
                <a:lnTo>
                  <a:pt x="707924" y="1323424"/>
                </a:lnTo>
                <a:lnTo>
                  <a:pt x="707924" y="1325705"/>
                </a:lnTo>
                <a:lnTo>
                  <a:pt x="705641" y="1325705"/>
                </a:lnTo>
                <a:lnTo>
                  <a:pt x="705641" y="1327987"/>
                </a:lnTo>
                <a:lnTo>
                  <a:pt x="705641" y="1330269"/>
                </a:lnTo>
                <a:lnTo>
                  <a:pt x="703357" y="1330269"/>
                </a:lnTo>
                <a:lnTo>
                  <a:pt x="703357" y="1332551"/>
                </a:lnTo>
                <a:lnTo>
                  <a:pt x="701073" y="1332551"/>
                </a:lnTo>
                <a:lnTo>
                  <a:pt x="701073" y="1334833"/>
                </a:lnTo>
                <a:lnTo>
                  <a:pt x="701073" y="1337115"/>
                </a:lnTo>
                <a:lnTo>
                  <a:pt x="701073" y="1339397"/>
                </a:lnTo>
                <a:lnTo>
                  <a:pt x="698790" y="1339397"/>
                </a:lnTo>
                <a:lnTo>
                  <a:pt x="698790" y="1341679"/>
                </a:lnTo>
                <a:lnTo>
                  <a:pt x="698790" y="1343961"/>
                </a:lnTo>
                <a:lnTo>
                  <a:pt x="696506" y="1343961"/>
                </a:lnTo>
                <a:lnTo>
                  <a:pt x="696506" y="1346243"/>
                </a:lnTo>
                <a:lnTo>
                  <a:pt x="696506" y="1348524"/>
                </a:lnTo>
                <a:lnTo>
                  <a:pt x="696506" y="1350806"/>
                </a:lnTo>
                <a:lnTo>
                  <a:pt x="694223" y="1350806"/>
                </a:lnTo>
                <a:lnTo>
                  <a:pt x="691939" y="1353088"/>
                </a:lnTo>
                <a:lnTo>
                  <a:pt x="691939" y="1355370"/>
                </a:lnTo>
                <a:lnTo>
                  <a:pt x="689656" y="1357652"/>
                </a:lnTo>
                <a:lnTo>
                  <a:pt x="689656" y="1359934"/>
                </a:lnTo>
                <a:lnTo>
                  <a:pt x="687372" y="1359934"/>
                </a:lnTo>
                <a:lnTo>
                  <a:pt x="687372" y="1362216"/>
                </a:lnTo>
                <a:lnTo>
                  <a:pt x="685088" y="1364498"/>
                </a:lnTo>
                <a:lnTo>
                  <a:pt x="685088" y="1366780"/>
                </a:lnTo>
                <a:lnTo>
                  <a:pt x="685088" y="1369061"/>
                </a:lnTo>
                <a:lnTo>
                  <a:pt x="682805" y="1369061"/>
                </a:lnTo>
                <a:lnTo>
                  <a:pt x="682805" y="1371343"/>
                </a:lnTo>
                <a:lnTo>
                  <a:pt x="682805" y="1373625"/>
                </a:lnTo>
                <a:lnTo>
                  <a:pt x="680521" y="1373625"/>
                </a:lnTo>
                <a:lnTo>
                  <a:pt x="680521" y="1375907"/>
                </a:lnTo>
                <a:lnTo>
                  <a:pt x="680521" y="1378189"/>
                </a:lnTo>
                <a:lnTo>
                  <a:pt x="678238" y="1378189"/>
                </a:lnTo>
                <a:lnTo>
                  <a:pt x="678238" y="1380461"/>
                </a:lnTo>
                <a:lnTo>
                  <a:pt x="678238" y="1382743"/>
                </a:lnTo>
                <a:lnTo>
                  <a:pt x="675954" y="1382743"/>
                </a:lnTo>
                <a:lnTo>
                  <a:pt x="675954" y="1385025"/>
                </a:lnTo>
                <a:lnTo>
                  <a:pt x="675954" y="1387307"/>
                </a:lnTo>
                <a:lnTo>
                  <a:pt x="673670" y="1387307"/>
                </a:lnTo>
                <a:lnTo>
                  <a:pt x="673670" y="1389589"/>
                </a:lnTo>
                <a:lnTo>
                  <a:pt x="673670" y="1391871"/>
                </a:lnTo>
                <a:lnTo>
                  <a:pt x="671387" y="1391871"/>
                </a:lnTo>
                <a:lnTo>
                  <a:pt x="673670" y="1391871"/>
                </a:lnTo>
                <a:lnTo>
                  <a:pt x="671387" y="1391871"/>
                </a:lnTo>
                <a:lnTo>
                  <a:pt x="671387" y="1394153"/>
                </a:lnTo>
                <a:lnTo>
                  <a:pt x="671387" y="1391871"/>
                </a:lnTo>
                <a:lnTo>
                  <a:pt x="671387" y="1394153"/>
                </a:lnTo>
                <a:lnTo>
                  <a:pt x="671387" y="1396435"/>
                </a:lnTo>
                <a:lnTo>
                  <a:pt x="669103" y="1396435"/>
                </a:lnTo>
                <a:lnTo>
                  <a:pt x="671387" y="1396435"/>
                </a:lnTo>
                <a:lnTo>
                  <a:pt x="671387" y="1398717"/>
                </a:lnTo>
                <a:lnTo>
                  <a:pt x="669103" y="1398717"/>
                </a:lnTo>
                <a:lnTo>
                  <a:pt x="669103" y="1400999"/>
                </a:lnTo>
                <a:lnTo>
                  <a:pt x="666820" y="1400999"/>
                </a:lnTo>
                <a:lnTo>
                  <a:pt x="666820" y="1403280"/>
                </a:lnTo>
                <a:lnTo>
                  <a:pt x="664536" y="1403280"/>
                </a:lnTo>
                <a:lnTo>
                  <a:pt x="664536" y="1405562"/>
                </a:lnTo>
                <a:lnTo>
                  <a:pt x="662253" y="1405562"/>
                </a:lnTo>
                <a:lnTo>
                  <a:pt x="662253" y="1407844"/>
                </a:lnTo>
                <a:lnTo>
                  <a:pt x="662253" y="1410126"/>
                </a:lnTo>
                <a:lnTo>
                  <a:pt x="662253" y="1412408"/>
                </a:lnTo>
                <a:lnTo>
                  <a:pt x="662253" y="1414690"/>
                </a:lnTo>
                <a:lnTo>
                  <a:pt x="659968" y="1414690"/>
                </a:lnTo>
                <a:lnTo>
                  <a:pt x="659968" y="1416972"/>
                </a:lnTo>
                <a:lnTo>
                  <a:pt x="657685" y="1416972"/>
                </a:lnTo>
                <a:lnTo>
                  <a:pt x="657685" y="1419254"/>
                </a:lnTo>
                <a:lnTo>
                  <a:pt x="657685" y="1421536"/>
                </a:lnTo>
                <a:lnTo>
                  <a:pt x="655401" y="1421536"/>
                </a:lnTo>
                <a:lnTo>
                  <a:pt x="655401" y="1423817"/>
                </a:lnTo>
                <a:lnTo>
                  <a:pt x="655401" y="1426099"/>
                </a:lnTo>
                <a:lnTo>
                  <a:pt x="655401" y="1428381"/>
                </a:lnTo>
                <a:lnTo>
                  <a:pt x="653118" y="1428381"/>
                </a:lnTo>
                <a:lnTo>
                  <a:pt x="653118" y="1430663"/>
                </a:lnTo>
                <a:lnTo>
                  <a:pt x="653118" y="1432945"/>
                </a:lnTo>
                <a:lnTo>
                  <a:pt x="653118" y="1435227"/>
                </a:lnTo>
                <a:lnTo>
                  <a:pt x="650834" y="1435227"/>
                </a:lnTo>
                <a:lnTo>
                  <a:pt x="650834" y="1437509"/>
                </a:lnTo>
                <a:lnTo>
                  <a:pt x="648551" y="1437509"/>
                </a:lnTo>
                <a:lnTo>
                  <a:pt x="648551" y="1439791"/>
                </a:lnTo>
                <a:lnTo>
                  <a:pt x="646267" y="1439791"/>
                </a:lnTo>
                <a:lnTo>
                  <a:pt x="646267" y="1442073"/>
                </a:lnTo>
                <a:lnTo>
                  <a:pt x="646267" y="1444355"/>
                </a:lnTo>
                <a:lnTo>
                  <a:pt x="643983" y="1444355"/>
                </a:lnTo>
                <a:lnTo>
                  <a:pt x="643983" y="1446636"/>
                </a:lnTo>
                <a:lnTo>
                  <a:pt x="641700" y="1446636"/>
                </a:lnTo>
                <a:lnTo>
                  <a:pt x="641700" y="1448918"/>
                </a:lnTo>
                <a:lnTo>
                  <a:pt x="639416" y="1448918"/>
                </a:lnTo>
                <a:lnTo>
                  <a:pt x="639416" y="1451200"/>
                </a:lnTo>
                <a:lnTo>
                  <a:pt x="639416" y="1453482"/>
                </a:lnTo>
                <a:lnTo>
                  <a:pt x="637133" y="1453482"/>
                </a:lnTo>
                <a:lnTo>
                  <a:pt x="637133" y="1455764"/>
                </a:lnTo>
                <a:lnTo>
                  <a:pt x="637133" y="1458046"/>
                </a:lnTo>
                <a:lnTo>
                  <a:pt x="637133" y="1455764"/>
                </a:lnTo>
                <a:lnTo>
                  <a:pt x="637133" y="1458046"/>
                </a:lnTo>
                <a:lnTo>
                  <a:pt x="634849" y="1458046"/>
                </a:lnTo>
                <a:lnTo>
                  <a:pt x="637133" y="1458046"/>
                </a:lnTo>
                <a:lnTo>
                  <a:pt x="634849" y="1458046"/>
                </a:lnTo>
                <a:lnTo>
                  <a:pt x="634849" y="1460328"/>
                </a:lnTo>
                <a:lnTo>
                  <a:pt x="632566" y="1460328"/>
                </a:lnTo>
                <a:lnTo>
                  <a:pt x="632566" y="1462610"/>
                </a:lnTo>
                <a:lnTo>
                  <a:pt x="632566" y="1464892"/>
                </a:lnTo>
                <a:lnTo>
                  <a:pt x="630282" y="1464892"/>
                </a:lnTo>
                <a:lnTo>
                  <a:pt x="630282" y="1467173"/>
                </a:lnTo>
                <a:lnTo>
                  <a:pt x="627998" y="1467173"/>
                </a:lnTo>
                <a:lnTo>
                  <a:pt x="627998" y="1469455"/>
                </a:lnTo>
                <a:lnTo>
                  <a:pt x="630282" y="1469455"/>
                </a:lnTo>
                <a:lnTo>
                  <a:pt x="627998" y="1469455"/>
                </a:lnTo>
                <a:lnTo>
                  <a:pt x="627998" y="1471737"/>
                </a:lnTo>
                <a:lnTo>
                  <a:pt x="627998" y="1469455"/>
                </a:lnTo>
                <a:lnTo>
                  <a:pt x="627998" y="1471737"/>
                </a:lnTo>
                <a:lnTo>
                  <a:pt x="627998" y="1474019"/>
                </a:lnTo>
                <a:lnTo>
                  <a:pt x="625715" y="1474019"/>
                </a:lnTo>
                <a:lnTo>
                  <a:pt x="625715" y="1476301"/>
                </a:lnTo>
                <a:lnTo>
                  <a:pt x="623431" y="1476301"/>
                </a:lnTo>
                <a:lnTo>
                  <a:pt x="625715" y="1476301"/>
                </a:lnTo>
                <a:lnTo>
                  <a:pt x="623431" y="1476301"/>
                </a:lnTo>
                <a:lnTo>
                  <a:pt x="625715" y="1476301"/>
                </a:lnTo>
                <a:lnTo>
                  <a:pt x="623431" y="1476301"/>
                </a:lnTo>
                <a:lnTo>
                  <a:pt x="623431" y="1478583"/>
                </a:lnTo>
                <a:lnTo>
                  <a:pt x="623431" y="1480865"/>
                </a:lnTo>
                <a:lnTo>
                  <a:pt x="621148" y="1480865"/>
                </a:lnTo>
                <a:lnTo>
                  <a:pt x="621148" y="1483147"/>
                </a:lnTo>
                <a:lnTo>
                  <a:pt x="621148" y="1485429"/>
                </a:lnTo>
                <a:lnTo>
                  <a:pt x="621148" y="1483147"/>
                </a:lnTo>
                <a:lnTo>
                  <a:pt x="621148" y="1485429"/>
                </a:lnTo>
                <a:lnTo>
                  <a:pt x="618864" y="1485429"/>
                </a:lnTo>
                <a:lnTo>
                  <a:pt x="618864" y="1487711"/>
                </a:lnTo>
                <a:lnTo>
                  <a:pt x="616580" y="1487711"/>
                </a:lnTo>
                <a:lnTo>
                  <a:pt x="616580" y="1489992"/>
                </a:lnTo>
                <a:lnTo>
                  <a:pt x="616580" y="1492274"/>
                </a:lnTo>
                <a:lnTo>
                  <a:pt x="614297" y="1492274"/>
                </a:lnTo>
                <a:lnTo>
                  <a:pt x="614297" y="1494556"/>
                </a:lnTo>
                <a:lnTo>
                  <a:pt x="614297" y="1496838"/>
                </a:lnTo>
                <a:lnTo>
                  <a:pt x="614297" y="1499120"/>
                </a:lnTo>
                <a:lnTo>
                  <a:pt x="612013" y="1499120"/>
                </a:lnTo>
                <a:lnTo>
                  <a:pt x="612013" y="1501402"/>
                </a:lnTo>
                <a:lnTo>
                  <a:pt x="612013" y="1503684"/>
                </a:lnTo>
                <a:lnTo>
                  <a:pt x="609730" y="1503684"/>
                </a:lnTo>
                <a:lnTo>
                  <a:pt x="612013" y="1503684"/>
                </a:lnTo>
                <a:lnTo>
                  <a:pt x="609730" y="1503684"/>
                </a:lnTo>
                <a:lnTo>
                  <a:pt x="612013" y="1503684"/>
                </a:lnTo>
                <a:lnTo>
                  <a:pt x="609730" y="1503684"/>
                </a:lnTo>
                <a:lnTo>
                  <a:pt x="609730" y="1505966"/>
                </a:lnTo>
                <a:lnTo>
                  <a:pt x="607446" y="1505966"/>
                </a:lnTo>
                <a:lnTo>
                  <a:pt x="607446" y="1508248"/>
                </a:lnTo>
                <a:lnTo>
                  <a:pt x="605163" y="1508248"/>
                </a:lnTo>
                <a:lnTo>
                  <a:pt x="605163" y="1510529"/>
                </a:lnTo>
                <a:lnTo>
                  <a:pt x="605163" y="1512812"/>
                </a:lnTo>
                <a:lnTo>
                  <a:pt x="605163" y="1515093"/>
                </a:lnTo>
                <a:lnTo>
                  <a:pt x="602879" y="1515093"/>
                </a:lnTo>
                <a:lnTo>
                  <a:pt x="600595" y="1515093"/>
                </a:lnTo>
                <a:lnTo>
                  <a:pt x="600595" y="1517375"/>
                </a:lnTo>
                <a:lnTo>
                  <a:pt x="598312" y="1517375"/>
                </a:lnTo>
                <a:lnTo>
                  <a:pt x="598312" y="1519657"/>
                </a:lnTo>
                <a:lnTo>
                  <a:pt x="598312" y="1521939"/>
                </a:lnTo>
                <a:lnTo>
                  <a:pt x="598312" y="1519657"/>
                </a:lnTo>
                <a:lnTo>
                  <a:pt x="598312" y="1521939"/>
                </a:lnTo>
                <a:lnTo>
                  <a:pt x="598312" y="1519657"/>
                </a:lnTo>
                <a:lnTo>
                  <a:pt x="598312" y="1521939"/>
                </a:lnTo>
                <a:lnTo>
                  <a:pt x="596028" y="1521939"/>
                </a:lnTo>
                <a:lnTo>
                  <a:pt x="596028" y="1524221"/>
                </a:lnTo>
                <a:lnTo>
                  <a:pt x="593745" y="1524221"/>
                </a:lnTo>
                <a:lnTo>
                  <a:pt x="593745" y="1526503"/>
                </a:lnTo>
                <a:lnTo>
                  <a:pt x="593745" y="1528785"/>
                </a:lnTo>
                <a:lnTo>
                  <a:pt x="591461" y="1528785"/>
                </a:lnTo>
                <a:lnTo>
                  <a:pt x="591461" y="1531067"/>
                </a:lnTo>
                <a:lnTo>
                  <a:pt x="591461" y="1533339"/>
                </a:lnTo>
                <a:lnTo>
                  <a:pt x="591461" y="1535621"/>
                </a:lnTo>
                <a:lnTo>
                  <a:pt x="589178" y="1535621"/>
                </a:lnTo>
                <a:lnTo>
                  <a:pt x="589178" y="1537903"/>
                </a:lnTo>
                <a:lnTo>
                  <a:pt x="589178" y="1535621"/>
                </a:lnTo>
                <a:lnTo>
                  <a:pt x="589178" y="1537903"/>
                </a:lnTo>
                <a:lnTo>
                  <a:pt x="586893" y="1537903"/>
                </a:lnTo>
                <a:lnTo>
                  <a:pt x="586893" y="1540185"/>
                </a:lnTo>
                <a:lnTo>
                  <a:pt x="584610" y="1540185"/>
                </a:lnTo>
                <a:lnTo>
                  <a:pt x="584610" y="1542467"/>
                </a:lnTo>
                <a:lnTo>
                  <a:pt x="582326" y="1542467"/>
                </a:lnTo>
                <a:lnTo>
                  <a:pt x="582326" y="1544748"/>
                </a:lnTo>
                <a:lnTo>
                  <a:pt x="582326" y="1547030"/>
                </a:lnTo>
                <a:lnTo>
                  <a:pt x="580043" y="1547030"/>
                </a:lnTo>
                <a:lnTo>
                  <a:pt x="580043" y="1549312"/>
                </a:lnTo>
                <a:lnTo>
                  <a:pt x="582326" y="1549312"/>
                </a:lnTo>
                <a:lnTo>
                  <a:pt x="582326" y="1551594"/>
                </a:lnTo>
                <a:lnTo>
                  <a:pt x="582326" y="1549312"/>
                </a:lnTo>
                <a:lnTo>
                  <a:pt x="580043" y="1549312"/>
                </a:lnTo>
                <a:lnTo>
                  <a:pt x="580043" y="1551594"/>
                </a:lnTo>
                <a:lnTo>
                  <a:pt x="577759" y="1551594"/>
                </a:lnTo>
                <a:lnTo>
                  <a:pt x="577759" y="1553876"/>
                </a:lnTo>
                <a:lnTo>
                  <a:pt x="577759" y="1556158"/>
                </a:lnTo>
                <a:lnTo>
                  <a:pt x="575476" y="1556158"/>
                </a:lnTo>
                <a:lnTo>
                  <a:pt x="575476" y="1558440"/>
                </a:lnTo>
                <a:lnTo>
                  <a:pt x="573192" y="1558440"/>
                </a:lnTo>
                <a:lnTo>
                  <a:pt x="573192" y="1560722"/>
                </a:lnTo>
                <a:lnTo>
                  <a:pt x="570908" y="1560722"/>
                </a:lnTo>
                <a:lnTo>
                  <a:pt x="570908" y="1563004"/>
                </a:lnTo>
                <a:lnTo>
                  <a:pt x="570908" y="1565285"/>
                </a:lnTo>
                <a:lnTo>
                  <a:pt x="568625" y="1565285"/>
                </a:lnTo>
                <a:lnTo>
                  <a:pt x="568625" y="1567567"/>
                </a:lnTo>
                <a:lnTo>
                  <a:pt x="568625" y="1569849"/>
                </a:lnTo>
                <a:lnTo>
                  <a:pt x="566341" y="1569849"/>
                </a:lnTo>
                <a:lnTo>
                  <a:pt x="566341" y="1572131"/>
                </a:lnTo>
                <a:lnTo>
                  <a:pt x="564058" y="1572131"/>
                </a:lnTo>
                <a:lnTo>
                  <a:pt x="564058" y="1574413"/>
                </a:lnTo>
                <a:lnTo>
                  <a:pt x="564058" y="1576695"/>
                </a:lnTo>
                <a:lnTo>
                  <a:pt x="561774" y="1576695"/>
                </a:lnTo>
                <a:lnTo>
                  <a:pt x="561774" y="1578977"/>
                </a:lnTo>
                <a:lnTo>
                  <a:pt x="561774" y="1581259"/>
                </a:lnTo>
                <a:lnTo>
                  <a:pt x="559490" y="1581259"/>
                </a:lnTo>
                <a:lnTo>
                  <a:pt x="557207" y="1581259"/>
                </a:lnTo>
                <a:lnTo>
                  <a:pt x="557207" y="1583541"/>
                </a:lnTo>
                <a:lnTo>
                  <a:pt x="557207" y="1585823"/>
                </a:lnTo>
                <a:lnTo>
                  <a:pt x="554923" y="1585823"/>
                </a:lnTo>
                <a:lnTo>
                  <a:pt x="554923" y="1588104"/>
                </a:lnTo>
                <a:lnTo>
                  <a:pt x="552640" y="1588104"/>
                </a:lnTo>
                <a:lnTo>
                  <a:pt x="552640" y="1590386"/>
                </a:lnTo>
                <a:lnTo>
                  <a:pt x="550356" y="1590386"/>
                </a:lnTo>
                <a:lnTo>
                  <a:pt x="550356" y="1592668"/>
                </a:lnTo>
                <a:lnTo>
                  <a:pt x="550356" y="1594950"/>
                </a:lnTo>
                <a:lnTo>
                  <a:pt x="548073" y="1594950"/>
                </a:lnTo>
                <a:lnTo>
                  <a:pt x="550356" y="1594950"/>
                </a:lnTo>
                <a:lnTo>
                  <a:pt x="550356" y="1597232"/>
                </a:lnTo>
                <a:lnTo>
                  <a:pt x="548073" y="1597232"/>
                </a:lnTo>
                <a:lnTo>
                  <a:pt x="548073" y="1599514"/>
                </a:lnTo>
                <a:lnTo>
                  <a:pt x="545789" y="1599514"/>
                </a:lnTo>
                <a:lnTo>
                  <a:pt x="545789" y="1601796"/>
                </a:lnTo>
                <a:lnTo>
                  <a:pt x="545789" y="1604078"/>
                </a:lnTo>
                <a:lnTo>
                  <a:pt x="545789" y="1601796"/>
                </a:lnTo>
                <a:lnTo>
                  <a:pt x="545789" y="1604078"/>
                </a:lnTo>
                <a:lnTo>
                  <a:pt x="543505" y="1604078"/>
                </a:lnTo>
                <a:lnTo>
                  <a:pt x="543505" y="1606360"/>
                </a:lnTo>
                <a:lnTo>
                  <a:pt x="541222" y="1606360"/>
                </a:lnTo>
                <a:lnTo>
                  <a:pt x="541222" y="1608641"/>
                </a:lnTo>
                <a:lnTo>
                  <a:pt x="538938" y="1608641"/>
                </a:lnTo>
                <a:lnTo>
                  <a:pt x="538938" y="1610924"/>
                </a:lnTo>
                <a:lnTo>
                  <a:pt x="538938" y="1613205"/>
                </a:lnTo>
                <a:lnTo>
                  <a:pt x="536655" y="1613205"/>
                </a:lnTo>
                <a:lnTo>
                  <a:pt x="536655" y="1615487"/>
                </a:lnTo>
                <a:lnTo>
                  <a:pt x="534371" y="1615487"/>
                </a:lnTo>
                <a:lnTo>
                  <a:pt x="534371" y="1617769"/>
                </a:lnTo>
                <a:lnTo>
                  <a:pt x="534371" y="1620051"/>
                </a:lnTo>
                <a:lnTo>
                  <a:pt x="532088" y="1620051"/>
                </a:lnTo>
                <a:lnTo>
                  <a:pt x="532088" y="1622333"/>
                </a:lnTo>
                <a:lnTo>
                  <a:pt x="532088" y="1624615"/>
                </a:lnTo>
                <a:lnTo>
                  <a:pt x="529804" y="1624615"/>
                </a:lnTo>
                <a:lnTo>
                  <a:pt x="529804" y="1626897"/>
                </a:lnTo>
                <a:lnTo>
                  <a:pt x="529804" y="1629179"/>
                </a:lnTo>
                <a:lnTo>
                  <a:pt x="529804" y="1631460"/>
                </a:lnTo>
                <a:lnTo>
                  <a:pt x="527520" y="1631460"/>
                </a:lnTo>
                <a:lnTo>
                  <a:pt x="529804" y="1631460"/>
                </a:lnTo>
                <a:lnTo>
                  <a:pt x="527520" y="1631460"/>
                </a:lnTo>
                <a:lnTo>
                  <a:pt x="527520" y="1633742"/>
                </a:lnTo>
                <a:lnTo>
                  <a:pt x="525237" y="1633742"/>
                </a:lnTo>
                <a:lnTo>
                  <a:pt x="525237" y="1636024"/>
                </a:lnTo>
                <a:lnTo>
                  <a:pt x="525237" y="1638306"/>
                </a:lnTo>
                <a:lnTo>
                  <a:pt x="525237" y="1636024"/>
                </a:lnTo>
                <a:lnTo>
                  <a:pt x="525237" y="1638306"/>
                </a:lnTo>
                <a:lnTo>
                  <a:pt x="522953" y="1638306"/>
                </a:lnTo>
                <a:lnTo>
                  <a:pt x="522953" y="1640588"/>
                </a:lnTo>
                <a:lnTo>
                  <a:pt x="520670" y="1640588"/>
                </a:lnTo>
                <a:lnTo>
                  <a:pt x="522953" y="1640588"/>
                </a:lnTo>
                <a:lnTo>
                  <a:pt x="520670" y="1640588"/>
                </a:lnTo>
                <a:lnTo>
                  <a:pt x="520670" y="1642870"/>
                </a:lnTo>
                <a:lnTo>
                  <a:pt x="518386" y="1642870"/>
                </a:lnTo>
                <a:lnTo>
                  <a:pt x="516102" y="1642870"/>
                </a:lnTo>
                <a:lnTo>
                  <a:pt x="516102" y="1645152"/>
                </a:lnTo>
                <a:lnTo>
                  <a:pt x="516102" y="1647434"/>
                </a:lnTo>
                <a:lnTo>
                  <a:pt x="516102" y="1649716"/>
                </a:lnTo>
                <a:lnTo>
                  <a:pt x="513818" y="1649716"/>
                </a:lnTo>
                <a:lnTo>
                  <a:pt x="511535" y="1649716"/>
                </a:lnTo>
                <a:lnTo>
                  <a:pt x="511535" y="1651997"/>
                </a:lnTo>
                <a:lnTo>
                  <a:pt x="511535" y="1654280"/>
                </a:lnTo>
                <a:lnTo>
                  <a:pt x="509251" y="1654280"/>
                </a:lnTo>
                <a:lnTo>
                  <a:pt x="509251" y="1656561"/>
                </a:lnTo>
                <a:lnTo>
                  <a:pt x="506968" y="1656561"/>
                </a:lnTo>
                <a:lnTo>
                  <a:pt x="509251" y="1656561"/>
                </a:lnTo>
                <a:lnTo>
                  <a:pt x="506968" y="1656561"/>
                </a:lnTo>
                <a:lnTo>
                  <a:pt x="506968" y="1658843"/>
                </a:lnTo>
                <a:lnTo>
                  <a:pt x="506968" y="1661125"/>
                </a:lnTo>
                <a:lnTo>
                  <a:pt x="504684" y="1661125"/>
                </a:lnTo>
                <a:lnTo>
                  <a:pt x="504684" y="1663407"/>
                </a:lnTo>
                <a:lnTo>
                  <a:pt x="502400" y="1663407"/>
                </a:lnTo>
                <a:lnTo>
                  <a:pt x="502400" y="1665689"/>
                </a:lnTo>
                <a:lnTo>
                  <a:pt x="500117" y="1665689"/>
                </a:lnTo>
                <a:lnTo>
                  <a:pt x="500117" y="1667971"/>
                </a:lnTo>
                <a:lnTo>
                  <a:pt x="497833" y="1667971"/>
                </a:lnTo>
                <a:lnTo>
                  <a:pt x="497833" y="1670253"/>
                </a:lnTo>
                <a:lnTo>
                  <a:pt x="495550" y="1670253"/>
                </a:lnTo>
                <a:lnTo>
                  <a:pt x="495550" y="1672535"/>
                </a:lnTo>
                <a:lnTo>
                  <a:pt x="493266" y="1672535"/>
                </a:lnTo>
                <a:lnTo>
                  <a:pt x="493266" y="1674816"/>
                </a:lnTo>
                <a:lnTo>
                  <a:pt x="493266" y="1677098"/>
                </a:lnTo>
                <a:lnTo>
                  <a:pt x="490983" y="1677098"/>
                </a:lnTo>
                <a:lnTo>
                  <a:pt x="490983" y="1679380"/>
                </a:lnTo>
                <a:lnTo>
                  <a:pt x="490983" y="1681662"/>
                </a:lnTo>
                <a:lnTo>
                  <a:pt x="490983" y="1683944"/>
                </a:lnTo>
                <a:lnTo>
                  <a:pt x="488699" y="1683944"/>
                </a:lnTo>
                <a:lnTo>
                  <a:pt x="490983" y="1683944"/>
                </a:lnTo>
                <a:lnTo>
                  <a:pt x="488699" y="1683944"/>
                </a:lnTo>
                <a:lnTo>
                  <a:pt x="488699" y="1686226"/>
                </a:lnTo>
                <a:lnTo>
                  <a:pt x="488699" y="1683944"/>
                </a:lnTo>
                <a:lnTo>
                  <a:pt x="488699" y="1686226"/>
                </a:lnTo>
                <a:lnTo>
                  <a:pt x="486415" y="1686226"/>
                </a:lnTo>
                <a:lnTo>
                  <a:pt x="488699" y="1686226"/>
                </a:lnTo>
                <a:lnTo>
                  <a:pt x="486415" y="1686226"/>
                </a:lnTo>
                <a:lnTo>
                  <a:pt x="486415" y="1688498"/>
                </a:lnTo>
                <a:lnTo>
                  <a:pt x="486415" y="1686226"/>
                </a:lnTo>
                <a:lnTo>
                  <a:pt x="486415" y="1688498"/>
                </a:lnTo>
                <a:lnTo>
                  <a:pt x="484132" y="1688498"/>
                </a:lnTo>
                <a:lnTo>
                  <a:pt x="484132" y="1690780"/>
                </a:lnTo>
                <a:lnTo>
                  <a:pt x="481848" y="1690780"/>
                </a:lnTo>
                <a:lnTo>
                  <a:pt x="481848" y="1693062"/>
                </a:lnTo>
                <a:lnTo>
                  <a:pt x="481848" y="1695344"/>
                </a:lnTo>
                <a:lnTo>
                  <a:pt x="479565" y="1695344"/>
                </a:lnTo>
                <a:lnTo>
                  <a:pt x="479565" y="1697626"/>
                </a:lnTo>
                <a:lnTo>
                  <a:pt x="481848" y="1697626"/>
                </a:lnTo>
                <a:lnTo>
                  <a:pt x="479565" y="1697626"/>
                </a:lnTo>
                <a:lnTo>
                  <a:pt x="477281" y="1697626"/>
                </a:lnTo>
                <a:lnTo>
                  <a:pt x="477281" y="1699908"/>
                </a:lnTo>
                <a:lnTo>
                  <a:pt x="479565" y="1699908"/>
                </a:lnTo>
                <a:lnTo>
                  <a:pt x="477281" y="1699908"/>
                </a:lnTo>
                <a:lnTo>
                  <a:pt x="477281" y="1702190"/>
                </a:lnTo>
                <a:lnTo>
                  <a:pt x="474998" y="1702190"/>
                </a:lnTo>
                <a:lnTo>
                  <a:pt x="474998" y="1704472"/>
                </a:lnTo>
                <a:lnTo>
                  <a:pt x="474998" y="1706753"/>
                </a:lnTo>
                <a:lnTo>
                  <a:pt x="472714" y="1706753"/>
                </a:lnTo>
                <a:lnTo>
                  <a:pt x="472714" y="1709036"/>
                </a:lnTo>
                <a:lnTo>
                  <a:pt x="470421" y="1709036"/>
                </a:lnTo>
                <a:lnTo>
                  <a:pt x="470421" y="1711317"/>
                </a:lnTo>
                <a:lnTo>
                  <a:pt x="468147" y="1711317"/>
                </a:lnTo>
                <a:lnTo>
                  <a:pt x="468147" y="1713599"/>
                </a:lnTo>
                <a:lnTo>
                  <a:pt x="468147" y="1711317"/>
                </a:lnTo>
                <a:lnTo>
                  <a:pt x="468147" y="1713599"/>
                </a:lnTo>
                <a:lnTo>
                  <a:pt x="468147" y="1711317"/>
                </a:lnTo>
                <a:lnTo>
                  <a:pt x="468147" y="1713599"/>
                </a:lnTo>
                <a:lnTo>
                  <a:pt x="465863" y="1713599"/>
                </a:lnTo>
                <a:lnTo>
                  <a:pt x="465863" y="1715881"/>
                </a:lnTo>
                <a:lnTo>
                  <a:pt x="463580" y="1715881"/>
                </a:lnTo>
                <a:lnTo>
                  <a:pt x="463580" y="1718163"/>
                </a:lnTo>
                <a:lnTo>
                  <a:pt x="463580" y="1720445"/>
                </a:lnTo>
                <a:lnTo>
                  <a:pt x="463580" y="1722727"/>
                </a:lnTo>
                <a:lnTo>
                  <a:pt x="463580" y="1725009"/>
                </a:lnTo>
                <a:lnTo>
                  <a:pt x="461296" y="1725009"/>
                </a:lnTo>
                <a:lnTo>
                  <a:pt x="461296" y="1727291"/>
                </a:lnTo>
                <a:lnTo>
                  <a:pt x="459003" y="1727291"/>
                </a:lnTo>
                <a:lnTo>
                  <a:pt x="456719" y="1727291"/>
                </a:lnTo>
                <a:lnTo>
                  <a:pt x="456719" y="1729572"/>
                </a:lnTo>
                <a:lnTo>
                  <a:pt x="456719" y="1731854"/>
                </a:lnTo>
                <a:lnTo>
                  <a:pt x="454445" y="1729572"/>
                </a:lnTo>
                <a:lnTo>
                  <a:pt x="454445" y="1731854"/>
                </a:lnTo>
                <a:lnTo>
                  <a:pt x="452162" y="1731854"/>
                </a:lnTo>
                <a:lnTo>
                  <a:pt x="452162" y="1734136"/>
                </a:lnTo>
                <a:lnTo>
                  <a:pt x="449878" y="1734136"/>
                </a:lnTo>
                <a:lnTo>
                  <a:pt x="449878" y="1731854"/>
                </a:lnTo>
                <a:lnTo>
                  <a:pt x="449868" y="1731854"/>
                </a:lnTo>
                <a:close/>
              </a:path>
            </a:pathLst>
          </a:custGeom>
          <a:solidFill>
            <a:srgbClr val="99FFCC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6" name="Freeform 8">
            <a:extLst>
              <a:ext uri="{FF2B5EF4-FFF2-40B4-BE49-F238E27FC236}">
                <a16:creationId xmlns:a16="http://schemas.microsoft.com/office/drawing/2014/main" id="{83F9160D-94FD-4665-83CA-B88F28169398}"/>
              </a:ext>
            </a:extLst>
          </p:cNvPr>
          <p:cNvSpPr/>
          <p:nvPr/>
        </p:nvSpPr>
        <p:spPr>
          <a:xfrm>
            <a:off x="6977244" y="1371601"/>
            <a:ext cx="1992034" cy="1155515"/>
          </a:xfrm>
          <a:custGeom>
            <a:avLst/>
            <a:gdLst>
              <a:gd name="connsiteX0" fmla="*/ 1244569 w 2066673"/>
              <a:gd name="connsiteY0" fmla="*/ 4563 h 1353078"/>
              <a:gd name="connsiteX1" fmla="*/ 1246853 w 2066673"/>
              <a:gd name="connsiteY1" fmla="*/ 4563 h 1353078"/>
              <a:gd name="connsiteX2" fmla="*/ 1249136 w 2066673"/>
              <a:gd name="connsiteY2" fmla="*/ 4563 h 1353078"/>
              <a:gd name="connsiteX3" fmla="*/ 1253704 w 2066673"/>
              <a:gd name="connsiteY3" fmla="*/ 4563 h 1353078"/>
              <a:gd name="connsiteX4" fmla="*/ 1258271 w 2066673"/>
              <a:gd name="connsiteY4" fmla="*/ 6845 h 1353078"/>
              <a:gd name="connsiteX5" fmla="*/ 1260555 w 2066673"/>
              <a:gd name="connsiteY5" fmla="*/ 6845 h 1353078"/>
              <a:gd name="connsiteX6" fmla="*/ 1265122 w 2066673"/>
              <a:gd name="connsiteY6" fmla="*/ 6845 h 1353078"/>
              <a:gd name="connsiteX7" fmla="*/ 1269689 w 2066673"/>
              <a:gd name="connsiteY7" fmla="*/ 6845 h 1353078"/>
              <a:gd name="connsiteX8" fmla="*/ 1271973 w 2066673"/>
              <a:gd name="connsiteY8" fmla="*/ 6845 h 1353078"/>
              <a:gd name="connsiteX9" fmla="*/ 1281107 w 2066673"/>
              <a:gd name="connsiteY9" fmla="*/ 6845 h 1353078"/>
              <a:gd name="connsiteX10" fmla="*/ 1283391 w 2066673"/>
              <a:gd name="connsiteY10" fmla="*/ 6845 h 1353078"/>
              <a:gd name="connsiteX11" fmla="*/ 1283391 w 2066673"/>
              <a:gd name="connsiteY11" fmla="*/ 9127 h 1353078"/>
              <a:gd name="connsiteX12" fmla="*/ 1294808 w 2066673"/>
              <a:gd name="connsiteY12" fmla="*/ 15971 h 1353078"/>
              <a:gd name="connsiteX13" fmla="*/ 1303943 w 2066673"/>
              <a:gd name="connsiteY13" fmla="*/ 20536 h 1353078"/>
              <a:gd name="connsiteX14" fmla="*/ 1306226 w 2066673"/>
              <a:gd name="connsiteY14" fmla="*/ 20536 h 1353078"/>
              <a:gd name="connsiteX15" fmla="*/ 1310793 w 2066673"/>
              <a:gd name="connsiteY15" fmla="*/ 20536 h 1353078"/>
              <a:gd name="connsiteX16" fmla="*/ 1313077 w 2066673"/>
              <a:gd name="connsiteY16" fmla="*/ 20536 h 1353078"/>
              <a:gd name="connsiteX17" fmla="*/ 1315361 w 2066673"/>
              <a:gd name="connsiteY17" fmla="*/ 20536 h 1353078"/>
              <a:gd name="connsiteX18" fmla="*/ 1317644 w 2066673"/>
              <a:gd name="connsiteY18" fmla="*/ 22817 h 1353078"/>
              <a:gd name="connsiteX19" fmla="*/ 1322211 w 2066673"/>
              <a:gd name="connsiteY19" fmla="*/ 27381 h 1353078"/>
              <a:gd name="connsiteX20" fmla="*/ 1324495 w 2066673"/>
              <a:gd name="connsiteY20" fmla="*/ 27381 h 1353078"/>
              <a:gd name="connsiteX21" fmla="*/ 1326779 w 2066673"/>
              <a:gd name="connsiteY21" fmla="*/ 27381 h 1353078"/>
              <a:gd name="connsiteX22" fmla="*/ 1331346 w 2066673"/>
              <a:gd name="connsiteY22" fmla="*/ 27381 h 1353078"/>
              <a:gd name="connsiteX23" fmla="*/ 1335913 w 2066673"/>
              <a:gd name="connsiteY23" fmla="*/ 27381 h 1353078"/>
              <a:gd name="connsiteX24" fmla="*/ 1340481 w 2066673"/>
              <a:gd name="connsiteY24" fmla="*/ 29662 h 1353078"/>
              <a:gd name="connsiteX25" fmla="*/ 1345048 w 2066673"/>
              <a:gd name="connsiteY25" fmla="*/ 31945 h 1353078"/>
              <a:gd name="connsiteX26" fmla="*/ 1349615 w 2066673"/>
              <a:gd name="connsiteY26" fmla="*/ 36508 h 1353078"/>
              <a:gd name="connsiteX27" fmla="*/ 1354182 w 2066673"/>
              <a:gd name="connsiteY27" fmla="*/ 38789 h 1353078"/>
              <a:gd name="connsiteX28" fmla="*/ 1356466 w 2066673"/>
              <a:gd name="connsiteY28" fmla="*/ 41071 h 1353078"/>
              <a:gd name="connsiteX29" fmla="*/ 1358749 w 2066673"/>
              <a:gd name="connsiteY29" fmla="*/ 41071 h 1353078"/>
              <a:gd name="connsiteX30" fmla="*/ 1367883 w 2066673"/>
              <a:gd name="connsiteY30" fmla="*/ 43353 h 1353078"/>
              <a:gd name="connsiteX31" fmla="*/ 1370167 w 2066673"/>
              <a:gd name="connsiteY31" fmla="*/ 43353 h 1353078"/>
              <a:gd name="connsiteX32" fmla="*/ 1374734 w 2066673"/>
              <a:gd name="connsiteY32" fmla="*/ 45634 h 1353078"/>
              <a:gd name="connsiteX33" fmla="*/ 1374734 w 2066673"/>
              <a:gd name="connsiteY33" fmla="*/ 47917 h 1353078"/>
              <a:gd name="connsiteX34" fmla="*/ 1374734 w 2066673"/>
              <a:gd name="connsiteY34" fmla="*/ 50198 h 1353078"/>
              <a:gd name="connsiteX35" fmla="*/ 1377018 w 2066673"/>
              <a:gd name="connsiteY35" fmla="*/ 54762 h 1353078"/>
              <a:gd name="connsiteX36" fmla="*/ 1379301 w 2066673"/>
              <a:gd name="connsiteY36" fmla="*/ 54762 h 1353078"/>
              <a:gd name="connsiteX37" fmla="*/ 1381585 w 2066673"/>
              <a:gd name="connsiteY37" fmla="*/ 54762 h 1353078"/>
              <a:gd name="connsiteX38" fmla="*/ 1386152 w 2066673"/>
              <a:gd name="connsiteY38" fmla="*/ 54762 h 1353078"/>
              <a:gd name="connsiteX39" fmla="*/ 1388436 w 2066673"/>
              <a:gd name="connsiteY39" fmla="*/ 57043 h 1353078"/>
              <a:gd name="connsiteX40" fmla="*/ 1390719 w 2066673"/>
              <a:gd name="connsiteY40" fmla="*/ 57043 h 1353078"/>
              <a:gd name="connsiteX41" fmla="*/ 1393003 w 2066673"/>
              <a:gd name="connsiteY41" fmla="*/ 59325 h 1353078"/>
              <a:gd name="connsiteX42" fmla="*/ 1395286 w 2066673"/>
              <a:gd name="connsiteY42" fmla="*/ 61607 h 1353078"/>
              <a:gd name="connsiteX43" fmla="*/ 1397571 w 2066673"/>
              <a:gd name="connsiteY43" fmla="*/ 63889 h 1353078"/>
              <a:gd name="connsiteX44" fmla="*/ 1399854 w 2066673"/>
              <a:gd name="connsiteY44" fmla="*/ 63889 h 1353078"/>
              <a:gd name="connsiteX45" fmla="*/ 1402138 w 2066673"/>
              <a:gd name="connsiteY45" fmla="*/ 66171 h 1353078"/>
              <a:gd name="connsiteX46" fmla="*/ 1406705 w 2066673"/>
              <a:gd name="connsiteY46" fmla="*/ 68452 h 1353078"/>
              <a:gd name="connsiteX47" fmla="*/ 1408988 w 2066673"/>
              <a:gd name="connsiteY47" fmla="*/ 70734 h 1353078"/>
              <a:gd name="connsiteX48" fmla="*/ 1411272 w 2066673"/>
              <a:gd name="connsiteY48" fmla="*/ 73016 h 1353078"/>
              <a:gd name="connsiteX49" fmla="*/ 1413556 w 2066673"/>
              <a:gd name="connsiteY49" fmla="*/ 75298 h 1353078"/>
              <a:gd name="connsiteX50" fmla="*/ 1415839 w 2066673"/>
              <a:gd name="connsiteY50" fmla="*/ 77580 h 1353078"/>
              <a:gd name="connsiteX51" fmla="*/ 1418123 w 2066673"/>
              <a:gd name="connsiteY51" fmla="*/ 77580 h 1353078"/>
              <a:gd name="connsiteX52" fmla="*/ 1420406 w 2066673"/>
              <a:gd name="connsiteY52" fmla="*/ 79861 h 1353078"/>
              <a:gd name="connsiteX53" fmla="*/ 1424973 w 2066673"/>
              <a:gd name="connsiteY53" fmla="*/ 75298 h 1353078"/>
              <a:gd name="connsiteX54" fmla="*/ 1431824 w 2066673"/>
              <a:gd name="connsiteY54" fmla="*/ 73016 h 1353078"/>
              <a:gd name="connsiteX55" fmla="*/ 1438675 w 2066673"/>
              <a:gd name="connsiteY55" fmla="*/ 75298 h 1353078"/>
              <a:gd name="connsiteX56" fmla="*/ 1445526 w 2066673"/>
              <a:gd name="connsiteY56" fmla="*/ 73016 h 1353078"/>
              <a:gd name="connsiteX57" fmla="*/ 1450103 w 2066673"/>
              <a:gd name="connsiteY57" fmla="*/ 73016 h 1353078"/>
              <a:gd name="connsiteX58" fmla="*/ 1452376 w 2066673"/>
              <a:gd name="connsiteY58" fmla="*/ 73016 h 1353078"/>
              <a:gd name="connsiteX59" fmla="*/ 1454660 w 2066673"/>
              <a:gd name="connsiteY59" fmla="*/ 73016 h 1353078"/>
              <a:gd name="connsiteX60" fmla="*/ 1456944 w 2066673"/>
              <a:gd name="connsiteY60" fmla="*/ 75298 h 1353078"/>
              <a:gd name="connsiteX61" fmla="*/ 1459227 w 2066673"/>
              <a:gd name="connsiteY61" fmla="*/ 77580 h 1353078"/>
              <a:gd name="connsiteX62" fmla="*/ 1461520 w 2066673"/>
              <a:gd name="connsiteY62" fmla="*/ 79861 h 1353078"/>
              <a:gd name="connsiteX63" fmla="*/ 1463804 w 2066673"/>
              <a:gd name="connsiteY63" fmla="*/ 82143 h 1353078"/>
              <a:gd name="connsiteX64" fmla="*/ 1468362 w 2066673"/>
              <a:gd name="connsiteY64" fmla="*/ 86707 h 1353078"/>
              <a:gd name="connsiteX65" fmla="*/ 1470655 w 2066673"/>
              <a:gd name="connsiteY65" fmla="*/ 88989 h 1353078"/>
              <a:gd name="connsiteX66" fmla="*/ 1470655 w 2066673"/>
              <a:gd name="connsiteY66" fmla="*/ 91270 h 1353078"/>
              <a:gd name="connsiteX67" fmla="*/ 1472929 w 2066673"/>
              <a:gd name="connsiteY67" fmla="*/ 95833 h 1353078"/>
              <a:gd name="connsiteX68" fmla="*/ 1479789 w 2066673"/>
              <a:gd name="connsiteY68" fmla="*/ 98115 h 1353078"/>
              <a:gd name="connsiteX69" fmla="*/ 1482073 w 2066673"/>
              <a:gd name="connsiteY69" fmla="*/ 98115 h 1353078"/>
              <a:gd name="connsiteX70" fmla="*/ 1486631 w 2066673"/>
              <a:gd name="connsiteY70" fmla="*/ 95833 h 1353078"/>
              <a:gd name="connsiteX71" fmla="*/ 1500342 w 2066673"/>
              <a:gd name="connsiteY71" fmla="*/ 95833 h 1353078"/>
              <a:gd name="connsiteX72" fmla="*/ 1502616 w 2066673"/>
              <a:gd name="connsiteY72" fmla="*/ 95833 h 1353078"/>
              <a:gd name="connsiteX73" fmla="*/ 1514043 w 2066673"/>
              <a:gd name="connsiteY73" fmla="*/ 95833 h 1353078"/>
              <a:gd name="connsiteX74" fmla="*/ 1523178 w 2066673"/>
              <a:gd name="connsiteY74" fmla="*/ 93552 h 1353078"/>
              <a:gd name="connsiteX75" fmla="*/ 1525461 w 2066673"/>
              <a:gd name="connsiteY75" fmla="*/ 93552 h 1353078"/>
              <a:gd name="connsiteX76" fmla="*/ 1532312 w 2066673"/>
              <a:gd name="connsiteY76" fmla="*/ 91270 h 1353078"/>
              <a:gd name="connsiteX77" fmla="*/ 1539163 w 2066673"/>
              <a:gd name="connsiteY77" fmla="*/ 88989 h 1353078"/>
              <a:gd name="connsiteX78" fmla="*/ 1546013 w 2066673"/>
              <a:gd name="connsiteY78" fmla="*/ 86707 h 1353078"/>
              <a:gd name="connsiteX79" fmla="*/ 1548297 w 2066673"/>
              <a:gd name="connsiteY79" fmla="*/ 84425 h 1353078"/>
              <a:gd name="connsiteX80" fmla="*/ 1552864 w 2066673"/>
              <a:gd name="connsiteY80" fmla="*/ 84425 h 1353078"/>
              <a:gd name="connsiteX81" fmla="*/ 1557431 w 2066673"/>
              <a:gd name="connsiteY81" fmla="*/ 84425 h 1353078"/>
              <a:gd name="connsiteX82" fmla="*/ 1559715 w 2066673"/>
              <a:gd name="connsiteY82" fmla="*/ 84425 h 1353078"/>
              <a:gd name="connsiteX83" fmla="*/ 1561998 w 2066673"/>
              <a:gd name="connsiteY83" fmla="*/ 84425 h 1353078"/>
              <a:gd name="connsiteX84" fmla="*/ 1564283 w 2066673"/>
              <a:gd name="connsiteY84" fmla="*/ 84425 h 1353078"/>
              <a:gd name="connsiteX85" fmla="*/ 1564283 w 2066673"/>
              <a:gd name="connsiteY85" fmla="*/ 86707 h 1353078"/>
              <a:gd name="connsiteX86" fmla="*/ 1568850 w 2066673"/>
              <a:gd name="connsiteY86" fmla="*/ 86707 h 1353078"/>
              <a:gd name="connsiteX87" fmla="*/ 1573417 w 2066673"/>
              <a:gd name="connsiteY87" fmla="*/ 88989 h 1353078"/>
              <a:gd name="connsiteX88" fmla="*/ 1577984 w 2066673"/>
              <a:gd name="connsiteY88" fmla="*/ 88989 h 1353078"/>
              <a:gd name="connsiteX89" fmla="*/ 1580268 w 2066673"/>
              <a:gd name="connsiteY89" fmla="*/ 88989 h 1353078"/>
              <a:gd name="connsiteX90" fmla="*/ 1582551 w 2066673"/>
              <a:gd name="connsiteY90" fmla="*/ 86707 h 1353078"/>
              <a:gd name="connsiteX91" fmla="*/ 1584835 w 2066673"/>
              <a:gd name="connsiteY91" fmla="*/ 86707 h 1353078"/>
              <a:gd name="connsiteX92" fmla="*/ 1587118 w 2066673"/>
              <a:gd name="connsiteY92" fmla="*/ 86707 h 1353078"/>
              <a:gd name="connsiteX93" fmla="*/ 1589402 w 2066673"/>
              <a:gd name="connsiteY93" fmla="*/ 86707 h 1353078"/>
              <a:gd name="connsiteX94" fmla="*/ 1591686 w 2066673"/>
              <a:gd name="connsiteY94" fmla="*/ 86707 h 1353078"/>
              <a:gd name="connsiteX95" fmla="*/ 1596253 w 2066673"/>
              <a:gd name="connsiteY95" fmla="*/ 86707 h 1353078"/>
              <a:gd name="connsiteX96" fmla="*/ 1598536 w 2066673"/>
              <a:gd name="connsiteY96" fmla="*/ 86707 h 1353078"/>
              <a:gd name="connsiteX97" fmla="*/ 1600820 w 2066673"/>
              <a:gd name="connsiteY97" fmla="*/ 88989 h 1353078"/>
              <a:gd name="connsiteX98" fmla="*/ 1603103 w 2066673"/>
              <a:gd name="connsiteY98" fmla="*/ 88989 h 1353078"/>
              <a:gd name="connsiteX99" fmla="*/ 1607671 w 2066673"/>
              <a:gd name="connsiteY99" fmla="*/ 91270 h 1353078"/>
              <a:gd name="connsiteX100" fmla="*/ 1609954 w 2066673"/>
              <a:gd name="connsiteY100" fmla="*/ 91270 h 1353078"/>
              <a:gd name="connsiteX101" fmla="*/ 1612238 w 2066673"/>
              <a:gd name="connsiteY101" fmla="*/ 91270 h 1353078"/>
              <a:gd name="connsiteX102" fmla="*/ 1612238 w 2066673"/>
              <a:gd name="connsiteY102" fmla="*/ 88989 h 1353078"/>
              <a:gd name="connsiteX103" fmla="*/ 1614521 w 2066673"/>
              <a:gd name="connsiteY103" fmla="*/ 88989 h 1353078"/>
              <a:gd name="connsiteX104" fmla="*/ 1616805 w 2066673"/>
              <a:gd name="connsiteY104" fmla="*/ 86707 h 1353078"/>
              <a:gd name="connsiteX105" fmla="*/ 1616805 w 2066673"/>
              <a:gd name="connsiteY105" fmla="*/ 84425 h 1353078"/>
              <a:gd name="connsiteX106" fmla="*/ 1619088 w 2066673"/>
              <a:gd name="connsiteY106" fmla="*/ 84425 h 1353078"/>
              <a:gd name="connsiteX107" fmla="*/ 1621372 w 2066673"/>
              <a:gd name="connsiteY107" fmla="*/ 82143 h 1353078"/>
              <a:gd name="connsiteX108" fmla="*/ 1623656 w 2066673"/>
              <a:gd name="connsiteY108" fmla="*/ 82143 h 1353078"/>
              <a:gd name="connsiteX109" fmla="*/ 1625939 w 2066673"/>
              <a:gd name="connsiteY109" fmla="*/ 84425 h 1353078"/>
              <a:gd name="connsiteX110" fmla="*/ 1628223 w 2066673"/>
              <a:gd name="connsiteY110" fmla="*/ 84425 h 1353078"/>
              <a:gd name="connsiteX111" fmla="*/ 1630506 w 2066673"/>
              <a:gd name="connsiteY111" fmla="*/ 84425 h 1353078"/>
              <a:gd name="connsiteX112" fmla="*/ 1635074 w 2066673"/>
              <a:gd name="connsiteY112" fmla="*/ 86707 h 1353078"/>
              <a:gd name="connsiteX113" fmla="*/ 1637358 w 2066673"/>
              <a:gd name="connsiteY113" fmla="*/ 86707 h 1353078"/>
              <a:gd name="connsiteX114" fmla="*/ 1641925 w 2066673"/>
              <a:gd name="connsiteY114" fmla="*/ 86707 h 1353078"/>
              <a:gd name="connsiteX115" fmla="*/ 1641925 w 2066673"/>
              <a:gd name="connsiteY115" fmla="*/ 84425 h 1353078"/>
              <a:gd name="connsiteX116" fmla="*/ 1648776 w 2066673"/>
              <a:gd name="connsiteY116" fmla="*/ 82143 h 1353078"/>
              <a:gd name="connsiteX117" fmla="*/ 1653343 w 2066673"/>
              <a:gd name="connsiteY117" fmla="*/ 82143 h 1353078"/>
              <a:gd name="connsiteX118" fmla="*/ 1662477 w 2066673"/>
              <a:gd name="connsiteY118" fmla="*/ 82143 h 1353078"/>
              <a:gd name="connsiteX119" fmla="*/ 1664761 w 2066673"/>
              <a:gd name="connsiteY119" fmla="*/ 79861 h 1353078"/>
              <a:gd name="connsiteX120" fmla="*/ 1669328 w 2066673"/>
              <a:gd name="connsiteY120" fmla="*/ 82143 h 1353078"/>
              <a:gd name="connsiteX121" fmla="*/ 1671611 w 2066673"/>
              <a:gd name="connsiteY121" fmla="*/ 79861 h 1353078"/>
              <a:gd name="connsiteX122" fmla="*/ 1678462 w 2066673"/>
              <a:gd name="connsiteY122" fmla="*/ 77580 h 1353078"/>
              <a:gd name="connsiteX123" fmla="*/ 1683029 w 2066673"/>
              <a:gd name="connsiteY123" fmla="*/ 77580 h 1353078"/>
              <a:gd name="connsiteX124" fmla="*/ 1685313 w 2066673"/>
              <a:gd name="connsiteY124" fmla="*/ 77580 h 1353078"/>
              <a:gd name="connsiteX125" fmla="*/ 1687596 w 2066673"/>
              <a:gd name="connsiteY125" fmla="*/ 77580 h 1353078"/>
              <a:gd name="connsiteX126" fmla="*/ 1692164 w 2066673"/>
              <a:gd name="connsiteY126" fmla="*/ 77580 h 1353078"/>
              <a:gd name="connsiteX127" fmla="*/ 1694447 w 2066673"/>
              <a:gd name="connsiteY127" fmla="*/ 77580 h 1353078"/>
              <a:gd name="connsiteX128" fmla="*/ 1696731 w 2066673"/>
              <a:gd name="connsiteY128" fmla="*/ 79861 h 1353078"/>
              <a:gd name="connsiteX129" fmla="*/ 1699014 w 2066673"/>
              <a:gd name="connsiteY129" fmla="*/ 79861 h 1353078"/>
              <a:gd name="connsiteX130" fmla="*/ 1705866 w 2066673"/>
              <a:gd name="connsiteY130" fmla="*/ 82143 h 1353078"/>
              <a:gd name="connsiteX131" fmla="*/ 1712716 w 2066673"/>
              <a:gd name="connsiteY131" fmla="*/ 79861 h 1353078"/>
              <a:gd name="connsiteX132" fmla="*/ 1717283 w 2066673"/>
              <a:gd name="connsiteY132" fmla="*/ 79861 h 1353078"/>
              <a:gd name="connsiteX133" fmla="*/ 1717283 w 2066673"/>
              <a:gd name="connsiteY133" fmla="*/ 82143 h 1353078"/>
              <a:gd name="connsiteX134" fmla="*/ 1719567 w 2066673"/>
              <a:gd name="connsiteY134" fmla="*/ 82143 h 1353078"/>
              <a:gd name="connsiteX135" fmla="*/ 1724134 w 2066673"/>
              <a:gd name="connsiteY135" fmla="*/ 82143 h 1353078"/>
              <a:gd name="connsiteX136" fmla="*/ 1730985 w 2066673"/>
              <a:gd name="connsiteY136" fmla="*/ 86707 h 1353078"/>
              <a:gd name="connsiteX137" fmla="*/ 1733268 w 2066673"/>
              <a:gd name="connsiteY137" fmla="*/ 86707 h 1353078"/>
              <a:gd name="connsiteX138" fmla="*/ 1735552 w 2066673"/>
              <a:gd name="connsiteY138" fmla="*/ 88989 h 1353078"/>
              <a:gd name="connsiteX139" fmla="*/ 1737836 w 2066673"/>
              <a:gd name="connsiteY139" fmla="*/ 88989 h 1353078"/>
              <a:gd name="connsiteX140" fmla="*/ 1740119 w 2066673"/>
              <a:gd name="connsiteY140" fmla="*/ 91270 h 1353078"/>
              <a:gd name="connsiteX141" fmla="*/ 1744686 w 2066673"/>
              <a:gd name="connsiteY141" fmla="*/ 93552 h 1353078"/>
              <a:gd name="connsiteX142" fmla="*/ 1746970 w 2066673"/>
              <a:gd name="connsiteY142" fmla="*/ 93552 h 1353078"/>
              <a:gd name="connsiteX143" fmla="*/ 1749254 w 2066673"/>
              <a:gd name="connsiteY143" fmla="*/ 93552 h 1353078"/>
              <a:gd name="connsiteX144" fmla="*/ 1751537 w 2066673"/>
              <a:gd name="connsiteY144" fmla="*/ 93552 h 1353078"/>
              <a:gd name="connsiteX145" fmla="*/ 1753821 w 2066673"/>
              <a:gd name="connsiteY145" fmla="*/ 93552 h 1353078"/>
              <a:gd name="connsiteX146" fmla="*/ 1760671 w 2066673"/>
              <a:gd name="connsiteY146" fmla="*/ 95833 h 1353078"/>
              <a:gd name="connsiteX147" fmla="*/ 1765239 w 2066673"/>
              <a:gd name="connsiteY147" fmla="*/ 95833 h 1353078"/>
              <a:gd name="connsiteX148" fmla="*/ 1767522 w 2066673"/>
              <a:gd name="connsiteY148" fmla="*/ 98115 h 1353078"/>
              <a:gd name="connsiteX149" fmla="*/ 1769806 w 2066673"/>
              <a:gd name="connsiteY149" fmla="*/ 98115 h 1353078"/>
              <a:gd name="connsiteX150" fmla="*/ 1772090 w 2066673"/>
              <a:gd name="connsiteY150" fmla="*/ 98115 h 1353078"/>
              <a:gd name="connsiteX151" fmla="*/ 1772090 w 2066673"/>
              <a:gd name="connsiteY151" fmla="*/ 100397 h 1353078"/>
              <a:gd name="connsiteX152" fmla="*/ 1774373 w 2066673"/>
              <a:gd name="connsiteY152" fmla="*/ 100397 h 1353078"/>
              <a:gd name="connsiteX153" fmla="*/ 1776657 w 2066673"/>
              <a:gd name="connsiteY153" fmla="*/ 100397 h 1353078"/>
              <a:gd name="connsiteX154" fmla="*/ 1778941 w 2066673"/>
              <a:gd name="connsiteY154" fmla="*/ 102679 h 1353078"/>
              <a:gd name="connsiteX155" fmla="*/ 1783508 w 2066673"/>
              <a:gd name="connsiteY155" fmla="*/ 102679 h 1353078"/>
              <a:gd name="connsiteX156" fmla="*/ 1794926 w 2066673"/>
              <a:gd name="connsiteY156" fmla="*/ 98115 h 1353078"/>
              <a:gd name="connsiteX157" fmla="*/ 1804060 w 2066673"/>
              <a:gd name="connsiteY157" fmla="*/ 95833 h 1353078"/>
              <a:gd name="connsiteX158" fmla="*/ 1808627 w 2066673"/>
              <a:gd name="connsiteY158" fmla="*/ 95833 h 1353078"/>
              <a:gd name="connsiteX159" fmla="*/ 1810911 w 2066673"/>
              <a:gd name="connsiteY159" fmla="*/ 95833 h 1353078"/>
              <a:gd name="connsiteX160" fmla="*/ 1813194 w 2066673"/>
              <a:gd name="connsiteY160" fmla="*/ 95833 h 1353078"/>
              <a:gd name="connsiteX161" fmla="*/ 1815478 w 2066673"/>
              <a:gd name="connsiteY161" fmla="*/ 95833 h 1353078"/>
              <a:gd name="connsiteX162" fmla="*/ 1820045 w 2066673"/>
              <a:gd name="connsiteY162" fmla="*/ 100397 h 1353078"/>
              <a:gd name="connsiteX163" fmla="*/ 1826896 w 2066673"/>
              <a:gd name="connsiteY163" fmla="*/ 107242 h 1353078"/>
              <a:gd name="connsiteX164" fmla="*/ 1826896 w 2066673"/>
              <a:gd name="connsiteY164" fmla="*/ 109523 h 1353078"/>
              <a:gd name="connsiteX165" fmla="*/ 1831463 w 2066673"/>
              <a:gd name="connsiteY165" fmla="*/ 111805 h 1353078"/>
              <a:gd name="connsiteX166" fmla="*/ 1833747 w 2066673"/>
              <a:gd name="connsiteY166" fmla="*/ 111805 h 1353078"/>
              <a:gd name="connsiteX167" fmla="*/ 1836031 w 2066673"/>
              <a:gd name="connsiteY167" fmla="*/ 111805 h 1353078"/>
              <a:gd name="connsiteX168" fmla="*/ 1840598 w 2066673"/>
              <a:gd name="connsiteY168" fmla="*/ 109523 h 1353078"/>
              <a:gd name="connsiteX169" fmla="*/ 1847448 w 2066673"/>
              <a:gd name="connsiteY169" fmla="*/ 109523 h 1353078"/>
              <a:gd name="connsiteX170" fmla="*/ 1849732 w 2066673"/>
              <a:gd name="connsiteY170" fmla="*/ 109523 h 1353078"/>
              <a:gd name="connsiteX171" fmla="*/ 1852016 w 2066673"/>
              <a:gd name="connsiteY171" fmla="*/ 111805 h 1353078"/>
              <a:gd name="connsiteX172" fmla="*/ 1854299 w 2066673"/>
              <a:gd name="connsiteY172" fmla="*/ 114087 h 1353078"/>
              <a:gd name="connsiteX173" fmla="*/ 1856583 w 2066673"/>
              <a:gd name="connsiteY173" fmla="*/ 118651 h 1353078"/>
              <a:gd name="connsiteX174" fmla="*/ 1858866 w 2066673"/>
              <a:gd name="connsiteY174" fmla="*/ 123214 h 1353078"/>
              <a:gd name="connsiteX175" fmla="*/ 1863434 w 2066673"/>
              <a:gd name="connsiteY175" fmla="*/ 130060 h 1353078"/>
              <a:gd name="connsiteX176" fmla="*/ 1865717 w 2066673"/>
              <a:gd name="connsiteY176" fmla="*/ 132341 h 1353078"/>
              <a:gd name="connsiteX177" fmla="*/ 1870284 w 2066673"/>
              <a:gd name="connsiteY177" fmla="*/ 134623 h 1353078"/>
              <a:gd name="connsiteX178" fmla="*/ 1868001 w 2066673"/>
              <a:gd name="connsiteY178" fmla="*/ 134623 h 1353078"/>
              <a:gd name="connsiteX179" fmla="*/ 1868001 w 2066673"/>
              <a:gd name="connsiteY179" fmla="*/ 136904 h 1353078"/>
              <a:gd name="connsiteX180" fmla="*/ 1868001 w 2066673"/>
              <a:gd name="connsiteY180" fmla="*/ 141469 h 1353078"/>
              <a:gd name="connsiteX181" fmla="*/ 1872568 w 2066673"/>
              <a:gd name="connsiteY181" fmla="*/ 155159 h 1353078"/>
              <a:gd name="connsiteX182" fmla="*/ 1874851 w 2066673"/>
              <a:gd name="connsiteY182" fmla="*/ 162004 h 1353078"/>
              <a:gd name="connsiteX183" fmla="*/ 1874851 w 2066673"/>
              <a:gd name="connsiteY183" fmla="*/ 164286 h 1353078"/>
              <a:gd name="connsiteX184" fmla="*/ 1877135 w 2066673"/>
              <a:gd name="connsiteY184" fmla="*/ 168850 h 1353078"/>
              <a:gd name="connsiteX185" fmla="*/ 1877135 w 2066673"/>
              <a:gd name="connsiteY185" fmla="*/ 175696 h 1353078"/>
              <a:gd name="connsiteX186" fmla="*/ 1879419 w 2066673"/>
              <a:gd name="connsiteY186" fmla="*/ 182540 h 1353078"/>
              <a:gd name="connsiteX187" fmla="*/ 1883986 w 2066673"/>
              <a:gd name="connsiteY187" fmla="*/ 196231 h 1353078"/>
              <a:gd name="connsiteX188" fmla="*/ 1886269 w 2066673"/>
              <a:gd name="connsiteY188" fmla="*/ 203076 h 1353078"/>
              <a:gd name="connsiteX189" fmla="*/ 1886269 w 2066673"/>
              <a:gd name="connsiteY189" fmla="*/ 207639 h 1353078"/>
              <a:gd name="connsiteX190" fmla="*/ 1888553 w 2066673"/>
              <a:gd name="connsiteY190" fmla="*/ 212203 h 1353078"/>
              <a:gd name="connsiteX191" fmla="*/ 1902254 w 2066673"/>
              <a:gd name="connsiteY191" fmla="*/ 266966 h 1353078"/>
              <a:gd name="connsiteX192" fmla="*/ 1904538 w 2066673"/>
              <a:gd name="connsiteY192" fmla="*/ 266966 h 1353078"/>
              <a:gd name="connsiteX193" fmla="*/ 1904538 w 2066673"/>
              <a:gd name="connsiteY193" fmla="*/ 273810 h 1353078"/>
              <a:gd name="connsiteX194" fmla="*/ 1909106 w 2066673"/>
              <a:gd name="connsiteY194" fmla="*/ 287501 h 1353078"/>
              <a:gd name="connsiteX195" fmla="*/ 1915956 w 2066673"/>
              <a:gd name="connsiteY195" fmla="*/ 310319 h 1353078"/>
              <a:gd name="connsiteX196" fmla="*/ 1915956 w 2066673"/>
              <a:gd name="connsiteY196" fmla="*/ 312601 h 1353078"/>
              <a:gd name="connsiteX197" fmla="*/ 1915956 w 2066673"/>
              <a:gd name="connsiteY197" fmla="*/ 317165 h 1353078"/>
              <a:gd name="connsiteX198" fmla="*/ 1920524 w 2066673"/>
              <a:gd name="connsiteY198" fmla="*/ 326290 h 1353078"/>
              <a:gd name="connsiteX199" fmla="*/ 1922807 w 2066673"/>
              <a:gd name="connsiteY199" fmla="*/ 335418 h 1353078"/>
              <a:gd name="connsiteX200" fmla="*/ 1925091 w 2066673"/>
              <a:gd name="connsiteY200" fmla="*/ 344545 h 1353078"/>
              <a:gd name="connsiteX201" fmla="*/ 1925091 w 2066673"/>
              <a:gd name="connsiteY201" fmla="*/ 349108 h 1353078"/>
              <a:gd name="connsiteX202" fmla="*/ 1929658 w 2066673"/>
              <a:gd name="connsiteY202" fmla="*/ 358236 h 1353078"/>
              <a:gd name="connsiteX203" fmla="*/ 1931941 w 2066673"/>
              <a:gd name="connsiteY203" fmla="*/ 369644 h 1353078"/>
              <a:gd name="connsiteX204" fmla="*/ 1934225 w 2066673"/>
              <a:gd name="connsiteY204" fmla="*/ 376489 h 1353078"/>
              <a:gd name="connsiteX205" fmla="*/ 1936509 w 2066673"/>
              <a:gd name="connsiteY205" fmla="*/ 383335 h 1353078"/>
              <a:gd name="connsiteX206" fmla="*/ 1938792 w 2066673"/>
              <a:gd name="connsiteY206" fmla="*/ 392461 h 1353078"/>
              <a:gd name="connsiteX207" fmla="*/ 1938792 w 2066673"/>
              <a:gd name="connsiteY207" fmla="*/ 397026 h 1353078"/>
              <a:gd name="connsiteX208" fmla="*/ 1941076 w 2066673"/>
              <a:gd name="connsiteY208" fmla="*/ 399307 h 1353078"/>
              <a:gd name="connsiteX209" fmla="*/ 1941076 w 2066673"/>
              <a:gd name="connsiteY209" fmla="*/ 401589 h 1353078"/>
              <a:gd name="connsiteX210" fmla="*/ 1943359 w 2066673"/>
              <a:gd name="connsiteY210" fmla="*/ 408434 h 1353078"/>
              <a:gd name="connsiteX211" fmla="*/ 1943359 w 2066673"/>
              <a:gd name="connsiteY211" fmla="*/ 412998 h 1353078"/>
              <a:gd name="connsiteX212" fmla="*/ 1947927 w 2066673"/>
              <a:gd name="connsiteY212" fmla="*/ 428970 h 1353078"/>
              <a:gd name="connsiteX213" fmla="*/ 1947927 w 2066673"/>
              <a:gd name="connsiteY213" fmla="*/ 431252 h 1353078"/>
              <a:gd name="connsiteX214" fmla="*/ 1947927 w 2066673"/>
              <a:gd name="connsiteY214" fmla="*/ 433534 h 1353078"/>
              <a:gd name="connsiteX215" fmla="*/ 1950210 w 2066673"/>
              <a:gd name="connsiteY215" fmla="*/ 435815 h 1353078"/>
              <a:gd name="connsiteX216" fmla="*/ 1950210 w 2066673"/>
              <a:gd name="connsiteY216" fmla="*/ 440378 h 1353078"/>
              <a:gd name="connsiteX217" fmla="*/ 1952494 w 2066673"/>
              <a:gd name="connsiteY217" fmla="*/ 442660 h 1353078"/>
              <a:gd name="connsiteX218" fmla="*/ 1952494 w 2066673"/>
              <a:gd name="connsiteY218" fmla="*/ 444942 h 1353078"/>
              <a:gd name="connsiteX219" fmla="*/ 1954777 w 2066673"/>
              <a:gd name="connsiteY219" fmla="*/ 449505 h 1353078"/>
              <a:gd name="connsiteX220" fmla="*/ 1954777 w 2066673"/>
              <a:gd name="connsiteY220" fmla="*/ 451788 h 1353078"/>
              <a:gd name="connsiteX221" fmla="*/ 1952494 w 2066673"/>
              <a:gd name="connsiteY221" fmla="*/ 456352 h 1353078"/>
              <a:gd name="connsiteX222" fmla="*/ 1952494 w 2066673"/>
              <a:gd name="connsiteY222" fmla="*/ 458633 h 1353078"/>
              <a:gd name="connsiteX223" fmla="*/ 1952494 w 2066673"/>
              <a:gd name="connsiteY223" fmla="*/ 467760 h 1353078"/>
              <a:gd name="connsiteX224" fmla="*/ 1950210 w 2066673"/>
              <a:gd name="connsiteY224" fmla="*/ 486013 h 1353078"/>
              <a:gd name="connsiteX225" fmla="*/ 1950210 w 2066673"/>
              <a:gd name="connsiteY225" fmla="*/ 490577 h 1353078"/>
              <a:gd name="connsiteX226" fmla="*/ 1950210 w 2066673"/>
              <a:gd name="connsiteY226" fmla="*/ 492859 h 1353078"/>
              <a:gd name="connsiteX227" fmla="*/ 1950210 w 2066673"/>
              <a:gd name="connsiteY227" fmla="*/ 495141 h 1353078"/>
              <a:gd name="connsiteX228" fmla="*/ 1950210 w 2066673"/>
              <a:gd name="connsiteY228" fmla="*/ 508831 h 1353078"/>
              <a:gd name="connsiteX229" fmla="*/ 1947927 w 2066673"/>
              <a:gd name="connsiteY229" fmla="*/ 520240 h 1353078"/>
              <a:gd name="connsiteX230" fmla="*/ 1947927 w 2066673"/>
              <a:gd name="connsiteY230" fmla="*/ 529368 h 1353078"/>
              <a:gd name="connsiteX231" fmla="*/ 1945643 w 2066673"/>
              <a:gd name="connsiteY231" fmla="*/ 543058 h 1353078"/>
              <a:gd name="connsiteX232" fmla="*/ 1945643 w 2066673"/>
              <a:gd name="connsiteY232" fmla="*/ 547621 h 1353078"/>
              <a:gd name="connsiteX233" fmla="*/ 1945643 w 2066673"/>
              <a:gd name="connsiteY233" fmla="*/ 549903 h 1353078"/>
              <a:gd name="connsiteX234" fmla="*/ 1950210 w 2066673"/>
              <a:gd name="connsiteY234" fmla="*/ 570439 h 1353078"/>
              <a:gd name="connsiteX235" fmla="*/ 1950210 w 2066673"/>
              <a:gd name="connsiteY235" fmla="*/ 572721 h 1353078"/>
              <a:gd name="connsiteX236" fmla="*/ 1952494 w 2066673"/>
              <a:gd name="connsiteY236" fmla="*/ 575003 h 1353078"/>
              <a:gd name="connsiteX237" fmla="*/ 1957061 w 2066673"/>
              <a:gd name="connsiteY237" fmla="*/ 581847 h 1353078"/>
              <a:gd name="connsiteX238" fmla="*/ 1959344 w 2066673"/>
              <a:gd name="connsiteY238" fmla="*/ 584129 h 1353078"/>
              <a:gd name="connsiteX239" fmla="*/ 1959344 w 2066673"/>
              <a:gd name="connsiteY239" fmla="*/ 586411 h 1353078"/>
              <a:gd name="connsiteX240" fmla="*/ 1963912 w 2066673"/>
              <a:gd name="connsiteY240" fmla="*/ 590975 h 1353078"/>
              <a:gd name="connsiteX241" fmla="*/ 1977614 w 2066673"/>
              <a:gd name="connsiteY241" fmla="*/ 606946 h 1353078"/>
              <a:gd name="connsiteX242" fmla="*/ 1982181 w 2066673"/>
              <a:gd name="connsiteY242" fmla="*/ 613792 h 1353078"/>
              <a:gd name="connsiteX243" fmla="*/ 1986748 w 2066673"/>
              <a:gd name="connsiteY243" fmla="*/ 618356 h 1353078"/>
              <a:gd name="connsiteX244" fmla="*/ 1989031 w 2066673"/>
              <a:gd name="connsiteY244" fmla="*/ 620637 h 1353078"/>
              <a:gd name="connsiteX245" fmla="*/ 1989031 w 2066673"/>
              <a:gd name="connsiteY245" fmla="*/ 622919 h 1353078"/>
              <a:gd name="connsiteX246" fmla="*/ 1991315 w 2066673"/>
              <a:gd name="connsiteY246" fmla="*/ 625201 h 1353078"/>
              <a:gd name="connsiteX247" fmla="*/ 1993599 w 2066673"/>
              <a:gd name="connsiteY247" fmla="*/ 627483 h 1353078"/>
              <a:gd name="connsiteX248" fmla="*/ 1998166 w 2066673"/>
              <a:gd name="connsiteY248" fmla="*/ 632047 h 1353078"/>
              <a:gd name="connsiteX249" fmla="*/ 1998166 w 2066673"/>
              <a:gd name="connsiteY249" fmla="*/ 636610 h 1353078"/>
              <a:gd name="connsiteX250" fmla="*/ 1998166 w 2066673"/>
              <a:gd name="connsiteY250" fmla="*/ 641174 h 1353078"/>
              <a:gd name="connsiteX251" fmla="*/ 1998166 w 2066673"/>
              <a:gd name="connsiteY251" fmla="*/ 666273 h 1353078"/>
              <a:gd name="connsiteX252" fmla="*/ 1998166 w 2066673"/>
              <a:gd name="connsiteY252" fmla="*/ 668555 h 1353078"/>
              <a:gd name="connsiteX253" fmla="*/ 1998166 w 2066673"/>
              <a:gd name="connsiteY253" fmla="*/ 670837 h 1353078"/>
              <a:gd name="connsiteX254" fmla="*/ 1998166 w 2066673"/>
              <a:gd name="connsiteY254" fmla="*/ 675399 h 1353078"/>
              <a:gd name="connsiteX255" fmla="*/ 2000449 w 2066673"/>
              <a:gd name="connsiteY255" fmla="*/ 682245 h 1353078"/>
              <a:gd name="connsiteX256" fmla="*/ 2007300 w 2066673"/>
              <a:gd name="connsiteY256" fmla="*/ 698217 h 1353078"/>
              <a:gd name="connsiteX257" fmla="*/ 2016434 w 2066673"/>
              <a:gd name="connsiteY257" fmla="*/ 727880 h 1353078"/>
              <a:gd name="connsiteX258" fmla="*/ 2018718 w 2066673"/>
              <a:gd name="connsiteY258" fmla="*/ 730162 h 1353078"/>
              <a:gd name="connsiteX259" fmla="*/ 2018718 w 2066673"/>
              <a:gd name="connsiteY259" fmla="*/ 732444 h 1353078"/>
              <a:gd name="connsiteX260" fmla="*/ 2021002 w 2066673"/>
              <a:gd name="connsiteY260" fmla="*/ 741571 h 1353078"/>
              <a:gd name="connsiteX261" fmla="*/ 2023285 w 2066673"/>
              <a:gd name="connsiteY261" fmla="*/ 741571 h 1353078"/>
              <a:gd name="connsiteX262" fmla="*/ 2030136 w 2066673"/>
              <a:gd name="connsiteY262" fmla="*/ 746134 h 1353078"/>
              <a:gd name="connsiteX263" fmla="*/ 2036987 w 2066673"/>
              <a:gd name="connsiteY263" fmla="*/ 752979 h 1353078"/>
              <a:gd name="connsiteX264" fmla="*/ 2052972 w 2066673"/>
              <a:gd name="connsiteY264" fmla="*/ 764389 h 1353078"/>
              <a:gd name="connsiteX265" fmla="*/ 2057539 w 2066673"/>
              <a:gd name="connsiteY265" fmla="*/ 766670 h 1353078"/>
              <a:gd name="connsiteX266" fmla="*/ 2059823 w 2066673"/>
              <a:gd name="connsiteY266" fmla="*/ 766670 h 1353078"/>
              <a:gd name="connsiteX267" fmla="*/ 2064390 w 2066673"/>
              <a:gd name="connsiteY267" fmla="*/ 771233 h 1353078"/>
              <a:gd name="connsiteX268" fmla="*/ 2064390 w 2066673"/>
              <a:gd name="connsiteY268" fmla="*/ 775797 h 1353078"/>
              <a:gd name="connsiteX269" fmla="*/ 2064390 w 2066673"/>
              <a:gd name="connsiteY269" fmla="*/ 778079 h 1353078"/>
              <a:gd name="connsiteX270" fmla="*/ 2064390 w 2066673"/>
              <a:gd name="connsiteY270" fmla="*/ 780361 h 1353078"/>
              <a:gd name="connsiteX271" fmla="*/ 2064390 w 2066673"/>
              <a:gd name="connsiteY271" fmla="*/ 782642 h 1353078"/>
              <a:gd name="connsiteX272" fmla="*/ 2066674 w 2066673"/>
              <a:gd name="connsiteY272" fmla="*/ 784924 h 1353078"/>
              <a:gd name="connsiteX273" fmla="*/ 2055256 w 2066673"/>
              <a:gd name="connsiteY273" fmla="*/ 784924 h 1353078"/>
              <a:gd name="connsiteX274" fmla="*/ 2052972 w 2066673"/>
              <a:gd name="connsiteY274" fmla="*/ 784924 h 1353078"/>
              <a:gd name="connsiteX275" fmla="*/ 2050689 w 2066673"/>
              <a:gd name="connsiteY275" fmla="*/ 784924 h 1353078"/>
              <a:gd name="connsiteX276" fmla="*/ 2046121 w 2066673"/>
              <a:gd name="connsiteY276" fmla="*/ 784924 h 1353078"/>
              <a:gd name="connsiteX277" fmla="*/ 2043837 w 2066673"/>
              <a:gd name="connsiteY277" fmla="*/ 784924 h 1353078"/>
              <a:gd name="connsiteX278" fmla="*/ 2043837 w 2066673"/>
              <a:gd name="connsiteY278" fmla="*/ 787206 h 1353078"/>
              <a:gd name="connsiteX279" fmla="*/ 2043837 w 2066673"/>
              <a:gd name="connsiteY279" fmla="*/ 789487 h 1353078"/>
              <a:gd name="connsiteX280" fmla="*/ 2041554 w 2066673"/>
              <a:gd name="connsiteY280" fmla="*/ 789487 h 1353078"/>
              <a:gd name="connsiteX281" fmla="*/ 2039270 w 2066673"/>
              <a:gd name="connsiteY281" fmla="*/ 789487 h 1353078"/>
              <a:gd name="connsiteX282" fmla="*/ 2036987 w 2066673"/>
              <a:gd name="connsiteY282" fmla="*/ 789487 h 1353078"/>
              <a:gd name="connsiteX283" fmla="*/ 2034703 w 2066673"/>
              <a:gd name="connsiteY283" fmla="*/ 787206 h 1353078"/>
              <a:gd name="connsiteX284" fmla="*/ 2032419 w 2066673"/>
              <a:gd name="connsiteY284" fmla="*/ 787206 h 1353078"/>
              <a:gd name="connsiteX285" fmla="*/ 2032419 w 2066673"/>
              <a:gd name="connsiteY285" fmla="*/ 784924 h 1353078"/>
              <a:gd name="connsiteX286" fmla="*/ 2030136 w 2066673"/>
              <a:gd name="connsiteY286" fmla="*/ 784924 h 1353078"/>
              <a:gd name="connsiteX287" fmla="*/ 2027852 w 2066673"/>
              <a:gd name="connsiteY287" fmla="*/ 782642 h 1353078"/>
              <a:gd name="connsiteX288" fmla="*/ 2025569 w 2066673"/>
              <a:gd name="connsiteY288" fmla="*/ 782642 h 1353078"/>
              <a:gd name="connsiteX289" fmla="*/ 2023285 w 2066673"/>
              <a:gd name="connsiteY289" fmla="*/ 782642 h 1353078"/>
              <a:gd name="connsiteX290" fmla="*/ 2023285 w 2066673"/>
              <a:gd name="connsiteY290" fmla="*/ 784924 h 1353078"/>
              <a:gd name="connsiteX291" fmla="*/ 2021002 w 2066673"/>
              <a:gd name="connsiteY291" fmla="*/ 784924 h 1353078"/>
              <a:gd name="connsiteX292" fmla="*/ 2018718 w 2066673"/>
              <a:gd name="connsiteY292" fmla="*/ 787206 h 1353078"/>
              <a:gd name="connsiteX293" fmla="*/ 2016434 w 2066673"/>
              <a:gd name="connsiteY293" fmla="*/ 787206 h 1353078"/>
              <a:gd name="connsiteX294" fmla="*/ 2016434 w 2066673"/>
              <a:gd name="connsiteY294" fmla="*/ 789487 h 1353078"/>
              <a:gd name="connsiteX295" fmla="*/ 2014151 w 2066673"/>
              <a:gd name="connsiteY295" fmla="*/ 789487 h 1353078"/>
              <a:gd name="connsiteX296" fmla="*/ 2014151 w 2066673"/>
              <a:gd name="connsiteY296" fmla="*/ 791769 h 1353078"/>
              <a:gd name="connsiteX297" fmla="*/ 2011867 w 2066673"/>
              <a:gd name="connsiteY297" fmla="*/ 791769 h 1353078"/>
              <a:gd name="connsiteX298" fmla="*/ 2009584 w 2066673"/>
              <a:gd name="connsiteY298" fmla="*/ 794050 h 1353078"/>
              <a:gd name="connsiteX299" fmla="*/ 2009584 w 2066673"/>
              <a:gd name="connsiteY299" fmla="*/ 796333 h 1353078"/>
              <a:gd name="connsiteX300" fmla="*/ 2009584 w 2066673"/>
              <a:gd name="connsiteY300" fmla="*/ 800896 h 1353078"/>
              <a:gd name="connsiteX301" fmla="*/ 2009584 w 2066673"/>
              <a:gd name="connsiteY301" fmla="*/ 803178 h 1353078"/>
              <a:gd name="connsiteX302" fmla="*/ 2009584 w 2066673"/>
              <a:gd name="connsiteY302" fmla="*/ 805460 h 1353078"/>
              <a:gd name="connsiteX303" fmla="*/ 2009584 w 2066673"/>
              <a:gd name="connsiteY303" fmla="*/ 807742 h 1353078"/>
              <a:gd name="connsiteX304" fmla="*/ 2007300 w 2066673"/>
              <a:gd name="connsiteY304" fmla="*/ 810024 h 1353078"/>
              <a:gd name="connsiteX305" fmla="*/ 2005017 w 2066673"/>
              <a:gd name="connsiteY305" fmla="*/ 812305 h 1353078"/>
              <a:gd name="connsiteX306" fmla="*/ 2002733 w 2066673"/>
              <a:gd name="connsiteY306" fmla="*/ 812305 h 1353078"/>
              <a:gd name="connsiteX307" fmla="*/ 1998166 w 2066673"/>
              <a:gd name="connsiteY307" fmla="*/ 814586 h 1353078"/>
              <a:gd name="connsiteX308" fmla="*/ 1995882 w 2066673"/>
              <a:gd name="connsiteY308" fmla="*/ 814586 h 1353078"/>
              <a:gd name="connsiteX309" fmla="*/ 1991315 w 2066673"/>
              <a:gd name="connsiteY309" fmla="*/ 814586 h 1353078"/>
              <a:gd name="connsiteX310" fmla="*/ 1989031 w 2066673"/>
              <a:gd name="connsiteY310" fmla="*/ 814586 h 1353078"/>
              <a:gd name="connsiteX311" fmla="*/ 1989031 w 2066673"/>
              <a:gd name="connsiteY311" fmla="*/ 812305 h 1353078"/>
              <a:gd name="connsiteX312" fmla="*/ 1986748 w 2066673"/>
              <a:gd name="connsiteY312" fmla="*/ 810024 h 1353078"/>
              <a:gd name="connsiteX313" fmla="*/ 1986748 w 2066673"/>
              <a:gd name="connsiteY313" fmla="*/ 807742 h 1353078"/>
              <a:gd name="connsiteX314" fmla="*/ 1986748 w 2066673"/>
              <a:gd name="connsiteY314" fmla="*/ 805460 h 1353078"/>
              <a:gd name="connsiteX315" fmla="*/ 1986748 w 2066673"/>
              <a:gd name="connsiteY315" fmla="*/ 803178 h 1353078"/>
              <a:gd name="connsiteX316" fmla="*/ 1984464 w 2066673"/>
              <a:gd name="connsiteY316" fmla="*/ 800896 h 1353078"/>
              <a:gd name="connsiteX317" fmla="*/ 1984464 w 2066673"/>
              <a:gd name="connsiteY317" fmla="*/ 798614 h 1353078"/>
              <a:gd name="connsiteX318" fmla="*/ 1984464 w 2066673"/>
              <a:gd name="connsiteY318" fmla="*/ 796333 h 1353078"/>
              <a:gd name="connsiteX319" fmla="*/ 1982181 w 2066673"/>
              <a:gd name="connsiteY319" fmla="*/ 794050 h 1353078"/>
              <a:gd name="connsiteX320" fmla="*/ 1977614 w 2066673"/>
              <a:gd name="connsiteY320" fmla="*/ 794050 h 1353078"/>
              <a:gd name="connsiteX321" fmla="*/ 1973046 w 2066673"/>
              <a:gd name="connsiteY321" fmla="*/ 796333 h 1353078"/>
              <a:gd name="connsiteX322" fmla="*/ 1970762 w 2066673"/>
              <a:gd name="connsiteY322" fmla="*/ 796333 h 1353078"/>
              <a:gd name="connsiteX323" fmla="*/ 1968479 w 2066673"/>
              <a:gd name="connsiteY323" fmla="*/ 796333 h 1353078"/>
              <a:gd name="connsiteX324" fmla="*/ 1966195 w 2066673"/>
              <a:gd name="connsiteY324" fmla="*/ 798614 h 1353078"/>
              <a:gd name="connsiteX325" fmla="*/ 1963912 w 2066673"/>
              <a:gd name="connsiteY325" fmla="*/ 800896 h 1353078"/>
              <a:gd name="connsiteX326" fmla="*/ 1963912 w 2066673"/>
              <a:gd name="connsiteY326" fmla="*/ 803178 h 1353078"/>
              <a:gd name="connsiteX327" fmla="*/ 1961628 w 2066673"/>
              <a:gd name="connsiteY327" fmla="*/ 803178 h 1353078"/>
              <a:gd name="connsiteX328" fmla="*/ 1961628 w 2066673"/>
              <a:gd name="connsiteY328" fmla="*/ 805460 h 1353078"/>
              <a:gd name="connsiteX329" fmla="*/ 1961628 w 2066673"/>
              <a:gd name="connsiteY329" fmla="*/ 807742 h 1353078"/>
              <a:gd name="connsiteX330" fmla="*/ 1959344 w 2066673"/>
              <a:gd name="connsiteY330" fmla="*/ 810024 h 1353078"/>
              <a:gd name="connsiteX331" fmla="*/ 1957061 w 2066673"/>
              <a:gd name="connsiteY331" fmla="*/ 812305 h 1353078"/>
              <a:gd name="connsiteX332" fmla="*/ 1952494 w 2066673"/>
              <a:gd name="connsiteY332" fmla="*/ 810024 h 1353078"/>
              <a:gd name="connsiteX333" fmla="*/ 1950210 w 2066673"/>
              <a:gd name="connsiteY333" fmla="*/ 807742 h 1353078"/>
              <a:gd name="connsiteX334" fmla="*/ 1950210 w 2066673"/>
              <a:gd name="connsiteY334" fmla="*/ 805460 h 1353078"/>
              <a:gd name="connsiteX335" fmla="*/ 1947927 w 2066673"/>
              <a:gd name="connsiteY335" fmla="*/ 803178 h 1353078"/>
              <a:gd name="connsiteX336" fmla="*/ 1947927 w 2066673"/>
              <a:gd name="connsiteY336" fmla="*/ 800896 h 1353078"/>
              <a:gd name="connsiteX337" fmla="*/ 1945643 w 2066673"/>
              <a:gd name="connsiteY337" fmla="*/ 800896 h 1353078"/>
              <a:gd name="connsiteX338" fmla="*/ 1943359 w 2066673"/>
              <a:gd name="connsiteY338" fmla="*/ 800896 h 1353078"/>
              <a:gd name="connsiteX339" fmla="*/ 1941076 w 2066673"/>
              <a:gd name="connsiteY339" fmla="*/ 803178 h 1353078"/>
              <a:gd name="connsiteX340" fmla="*/ 1938792 w 2066673"/>
              <a:gd name="connsiteY340" fmla="*/ 803178 h 1353078"/>
              <a:gd name="connsiteX341" fmla="*/ 1936509 w 2066673"/>
              <a:gd name="connsiteY341" fmla="*/ 805460 h 1353078"/>
              <a:gd name="connsiteX342" fmla="*/ 1936509 w 2066673"/>
              <a:gd name="connsiteY342" fmla="*/ 807742 h 1353078"/>
              <a:gd name="connsiteX343" fmla="*/ 1936509 w 2066673"/>
              <a:gd name="connsiteY343" fmla="*/ 810024 h 1353078"/>
              <a:gd name="connsiteX344" fmla="*/ 1934225 w 2066673"/>
              <a:gd name="connsiteY344" fmla="*/ 810024 h 1353078"/>
              <a:gd name="connsiteX345" fmla="*/ 1931941 w 2066673"/>
              <a:gd name="connsiteY345" fmla="*/ 810024 h 1353078"/>
              <a:gd name="connsiteX346" fmla="*/ 1927374 w 2066673"/>
              <a:gd name="connsiteY346" fmla="*/ 810024 h 1353078"/>
              <a:gd name="connsiteX347" fmla="*/ 1927374 w 2066673"/>
              <a:gd name="connsiteY347" fmla="*/ 807742 h 1353078"/>
              <a:gd name="connsiteX348" fmla="*/ 1925091 w 2066673"/>
              <a:gd name="connsiteY348" fmla="*/ 805460 h 1353078"/>
              <a:gd name="connsiteX349" fmla="*/ 1922807 w 2066673"/>
              <a:gd name="connsiteY349" fmla="*/ 803178 h 1353078"/>
              <a:gd name="connsiteX350" fmla="*/ 1920524 w 2066673"/>
              <a:gd name="connsiteY350" fmla="*/ 803178 h 1353078"/>
              <a:gd name="connsiteX351" fmla="*/ 1918240 w 2066673"/>
              <a:gd name="connsiteY351" fmla="*/ 800896 h 1353078"/>
              <a:gd name="connsiteX352" fmla="*/ 1913673 w 2066673"/>
              <a:gd name="connsiteY352" fmla="*/ 798614 h 1353078"/>
              <a:gd name="connsiteX353" fmla="*/ 1909106 w 2066673"/>
              <a:gd name="connsiteY353" fmla="*/ 798614 h 1353078"/>
              <a:gd name="connsiteX354" fmla="*/ 1906822 w 2066673"/>
              <a:gd name="connsiteY354" fmla="*/ 798614 h 1353078"/>
              <a:gd name="connsiteX355" fmla="*/ 1904538 w 2066673"/>
              <a:gd name="connsiteY355" fmla="*/ 798614 h 1353078"/>
              <a:gd name="connsiteX356" fmla="*/ 1902254 w 2066673"/>
              <a:gd name="connsiteY356" fmla="*/ 796333 h 1353078"/>
              <a:gd name="connsiteX357" fmla="*/ 1902254 w 2066673"/>
              <a:gd name="connsiteY357" fmla="*/ 794050 h 1353078"/>
              <a:gd name="connsiteX358" fmla="*/ 1899971 w 2066673"/>
              <a:gd name="connsiteY358" fmla="*/ 794050 h 1353078"/>
              <a:gd name="connsiteX359" fmla="*/ 1897687 w 2066673"/>
              <a:gd name="connsiteY359" fmla="*/ 794050 h 1353078"/>
              <a:gd name="connsiteX360" fmla="*/ 1897687 w 2066673"/>
              <a:gd name="connsiteY360" fmla="*/ 796333 h 1353078"/>
              <a:gd name="connsiteX361" fmla="*/ 1897687 w 2066673"/>
              <a:gd name="connsiteY361" fmla="*/ 798614 h 1353078"/>
              <a:gd name="connsiteX362" fmla="*/ 1897687 w 2066673"/>
              <a:gd name="connsiteY362" fmla="*/ 800896 h 1353078"/>
              <a:gd name="connsiteX363" fmla="*/ 1897687 w 2066673"/>
              <a:gd name="connsiteY363" fmla="*/ 803178 h 1353078"/>
              <a:gd name="connsiteX364" fmla="*/ 1895404 w 2066673"/>
              <a:gd name="connsiteY364" fmla="*/ 805460 h 1353078"/>
              <a:gd name="connsiteX365" fmla="*/ 1895404 w 2066673"/>
              <a:gd name="connsiteY365" fmla="*/ 807742 h 1353078"/>
              <a:gd name="connsiteX366" fmla="*/ 1893120 w 2066673"/>
              <a:gd name="connsiteY366" fmla="*/ 807742 h 1353078"/>
              <a:gd name="connsiteX367" fmla="*/ 1890837 w 2066673"/>
              <a:gd name="connsiteY367" fmla="*/ 810024 h 1353078"/>
              <a:gd name="connsiteX368" fmla="*/ 1888553 w 2066673"/>
              <a:gd name="connsiteY368" fmla="*/ 810024 h 1353078"/>
              <a:gd name="connsiteX369" fmla="*/ 1886269 w 2066673"/>
              <a:gd name="connsiteY369" fmla="*/ 812305 h 1353078"/>
              <a:gd name="connsiteX370" fmla="*/ 1881702 w 2066673"/>
              <a:gd name="connsiteY370" fmla="*/ 814586 h 1353078"/>
              <a:gd name="connsiteX371" fmla="*/ 1881702 w 2066673"/>
              <a:gd name="connsiteY371" fmla="*/ 812305 h 1353078"/>
              <a:gd name="connsiteX372" fmla="*/ 1879419 w 2066673"/>
              <a:gd name="connsiteY372" fmla="*/ 812305 h 1353078"/>
              <a:gd name="connsiteX373" fmla="*/ 1879419 w 2066673"/>
              <a:gd name="connsiteY373" fmla="*/ 810024 h 1353078"/>
              <a:gd name="connsiteX374" fmla="*/ 1877135 w 2066673"/>
              <a:gd name="connsiteY374" fmla="*/ 807742 h 1353078"/>
              <a:gd name="connsiteX375" fmla="*/ 1877135 w 2066673"/>
              <a:gd name="connsiteY375" fmla="*/ 805460 h 1353078"/>
              <a:gd name="connsiteX376" fmla="*/ 1874851 w 2066673"/>
              <a:gd name="connsiteY376" fmla="*/ 807742 h 1353078"/>
              <a:gd name="connsiteX377" fmla="*/ 1872568 w 2066673"/>
              <a:gd name="connsiteY377" fmla="*/ 810024 h 1353078"/>
              <a:gd name="connsiteX378" fmla="*/ 1870284 w 2066673"/>
              <a:gd name="connsiteY378" fmla="*/ 812305 h 1353078"/>
              <a:gd name="connsiteX379" fmla="*/ 1868001 w 2066673"/>
              <a:gd name="connsiteY379" fmla="*/ 814586 h 1353078"/>
              <a:gd name="connsiteX380" fmla="*/ 1863434 w 2066673"/>
              <a:gd name="connsiteY380" fmla="*/ 814586 h 1353078"/>
              <a:gd name="connsiteX381" fmla="*/ 1861150 w 2066673"/>
              <a:gd name="connsiteY381" fmla="*/ 816868 h 1353078"/>
              <a:gd name="connsiteX382" fmla="*/ 1858866 w 2066673"/>
              <a:gd name="connsiteY382" fmla="*/ 816868 h 1353078"/>
              <a:gd name="connsiteX383" fmla="*/ 1856583 w 2066673"/>
              <a:gd name="connsiteY383" fmla="*/ 816868 h 1353078"/>
              <a:gd name="connsiteX384" fmla="*/ 1854299 w 2066673"/>
              <a:gd name="connsiteY384" fmla="*/ 816868 h 1353078"/>
              <a:gd name="connsiteX385" fmla="*/ 1852016 w 2066673"/>
              <a:gd name="connsiteY385" fmla="*/ 819150 h 1353078"/>
              <a:gd name="connsiteX386" fmla="*/ 1849732 w 2066673"/>
              <a:gd name="connsiteY386" fmla="*/ 819150 h 1353078"/>
              <a:gd name="connsiteX387" fmla="*/ 1847448 w 2066673"/>
              <a:gd name="connsiteY387" fmla="*/ 816868 h 1353078"/>
              <a:gd name="connsiteX388" fmla="*/ 1847448 w 2066673"/>
              <a:gd name="connsiteY388" fmla="*/ 814586 h 1353078"/>
              <a:gd name="connsiteX389" fmla="*/ 1845165 w 2066673"/>
              <a:gd name="connsiteY389" fmla="*/ 814586 h 1353078"/>
              <a:gd name="connsiteX390" fmla="*/ 1842881 w 2066673"/>
              <a:gd name="connsiteY390" fmla="*/ 814586 h 1353078"/>
              <a:gd name="connsiteX391" fmla="*/ 1840598 w 2066673"/>
              <a:gd name="connsiteY391" fmla="*/ 816868 h 1353078"/>
              <a:gd name="connsiteX392" fmla="*/ 1838314 w 2066673"/>
              <a:gd name="connsiteY392" fmla="*/ 819150 h 1353078"/>
              <a:gd name="connsiteX393" fmla="*/ 1836031 w 2066673"/>
              <a:gd name="connsiteY393" fmla="*/ 823714 h 1353078"/>
              <a:gd name="connsiteX394" fmla="*/ 1833747 w 2066673"/>
              <a:gd name="connsiteY394" fmla="*/ 823714 h 1353078"/>
              <a:gd name="connsiteX395" fmla="*/ 1831463 w 2066673"/>
              <a:gd name="connsiteY395" fmla="*/ 825996 h 1353078"/>
              <a:gd name="connsiteX396" fmla="*/ 1829179 w 2066673"/>
              <a:gd name="connsiteY396" fmla="*/ 825996 h 1353078"/>
              <a:gd name="connsiteX397" fmla="*/ 1826896 w 2066673"/>
              <a:gd name="connsiteY397" fmla="*/ 825996 h 1353078"/>
              <a:gd name="connsiteX398" fmla="*/ 1826896 w 2066673"/>
              <a:gd name="connsiteY398" fmla="*/ 823714 h 1353078"/>
              <a:gd name="connsiteX399" fmla="*/ 1824612 w 2066673"/>
              <a:gd name="connsiteY399" fmla="*/ 821432 h 1353078"/>
              <a:gd name="connsiteX400" fmla="*/ 1824612 w 2066673"/>
              <a:gd name="connsiteY400" fmla="*/ 816868 h 1353078"/>
              <a:gd name="connsiteX401" fmla="*/ 1824612 w 2066673"/>
              <a:gd name="connsiteY401" fmla="*/ 814586 h 1353078"/>
              <a:gd name="connsiteX402" fmla="*/ 1824612 w 2066673"/>
              <a:gd name="connsiteY402" fmla="*/ 812305 h 1353078"/>
              <a:gd name="connsiteX403" fmla="*/ 1822329 w 2066673"/>
              <a:gd name="connsiteY403" fmla="*/ 812305 h 1353078"/>
              <a:gd name="connsiteX404" fmla="*/ 1822329 w 2066673"/>
              <a:gd name="connsiteY404" fmla="*/ 810024 h 1353078"/>
              <a:gd name="connsiteX405" fmla="*/ 1820045 w 2066673"/>
              <a:gd name="connsiteY405" fmla="*/ 807742 h 1353078"/>
              <a:gd name="connsiteX406" fmla="*/ 1817761 w 2066673"/>
              <a:gd name="connsiteY406" fmla="*/ 805460 h 1353078"/>
              <a:gd name="connsiteX407" fmla="*/ 1815478 w 2066673"/>
              <a:gd name="connsiteY407" fmla="*/ 803178 h 1353078"/>
              <a:gd name="connsiteX408" fmla="*/ 1813194 w 2066673"/>
              <a:gd name="connsiteY408" fmla="*/ 800896 h 1353078"/>
              <a:gd name="connsiteX409" fmla="*/ 1810911 w 2066673"/>
              <a:gd name="connsiteY409" fmla="*/ 800896 h 1353078"/>
              <a:gd name="connsiteX410" fmla="*/ 1808627 w 2066673"/>
              <a:gd name="connsiteY410" fmla="*/ 800896 h 1353078"/>
              <a:gd name="connsiteX411" fmla="*/ 1808627 w 2066673"/>
              <a:gd name="connsiteY411" fmla="*/ 798614 h 1353078"/>
              <a:gd name="connsiteX412" fmla="*/ 1806344 w 2066673"/>
              <a:gd name="connsiteY412" fmla="*/ 798614 h 1353078"/>
              <a:gd name="connsiteX413" fmla="*/ 1806344 w 2066673"/>
              <a:gd name="connsiteY413" fmla="*/ 796333 h 1353078"/>
              <a:gd name="connsiteX414" fmla="*/ 1804060 w 2066673"/>
              <a:gd name="connsiteY414" fmla="*/ 796333 h 1353078"/>
              <a:gd name="connsiteX415" fmla="*/ 1801776 w 2066673"/>
              <a:gd name="connsiteY415" fmla="*/ 796333 h 1353078"/>
              <a:gd name="connsiteX416" fmla="*/ 1799493 w 2066673"/>
              <a:gd name="connsiteY416" fmla="*/ 796333 h 1353078"/>
              <a:gd name="connsiteX417" fmla="*/ 1799493 w 2066673"/>
              <a:gd name="connsiteY417" fmla="*/ 798614 h 1353078"/>
              <a:gd name="connsiteX418" fmla="*/ 1797209 w 2066673"/>
              <a:gd name="connsiteY418" fmla="*/ 798614 h 1353078"/>
              <a:gd name="connsiteX419" fmla="*/ 1797209 w 2066673"/>
              <a:gd name="connsiteY419" fmla="*/ 800896 h 1353078"/>
              <a:gd name="connsiteX420" fmla="*/ 1797209 w 2066673"/>
              <a:gd name="connsiteY420" fmla="*/ 803178 h 1353078"/>
              <a:gd name="connsiteX421" fmla="*/ 1794926 w 2066673"/>
              <a:gd name="connsiteY421" fmla="*/ 803178 h 1353078"/>
              <a:gd name="connsiteX422" fmla="*/ 1797209 w 2066673"/>
              <a:gd name="connsiteY422" fmla="*/ 803178 h 1353078"/>
              <a:gd name="connsiteX423" fmla="*/ 1797209 w 2066673"/>
              <a:gd name="connsiteY423" fmla="*/ 805460 h 1353078"/>
              <a:gd name="connsiteX424" fmla="*/ 1794926 w 2066673"/>
              <a:gd name="connsiteY424" fmla="*/ 805460 h 1353078"/>
              <a:gd name="connsiteX425" fmla="*/ 1794926 w 2066673"/>
              <a:gd name="connsiteY425" fmla="*/ 807742 h 1353078"/>
              <a:gd name="connsiteX426" fmla="*/ 1792642 w 2066673"/>
              <a:gd name="connsiteY426" fmla="*/ 807742 h 1353078"/>
              <a:gd name="connsiteX427" fmla="*/ 1790358 w 2066673"/>
              <a:gd name="connsiteY427" fmla="*/ 810024 h 1353078"/>
              <a:gd name="connsiteX428" fmla="*/ 1788075 w 2066673"/>
              <a:gd name="connsiteY428" fmla="*/ 810024 h 1353078"/>
              <a:gd name="connsiteX429" fmla="*/ 1788075 w 2066673"/>
              <a:gd name="connsiteY429" fmla="*/ 812305 h 1353078"/>
              <a:gd name="connsiteX430" fmla="*/ 1785791 w 2066673"/>
              <a:gd name="connsiteY430" fmla="*/ 812305 h 1353078"/>
              <a:gd name="connsiteX431" fmla="*/ 1783508 w 2066673"/>
              <a:gd name="connsiteY431" fmla="*/ 812305 h 1353078"/>
              <a:gd name="connsiteX432" fmla="*/ 1781224 w 2066673"/>
              <a:gd name="connsiteY432" fmla="*/ 812305 h 1353078"/>
              <a:gd name="connsiteX433" fmla="*/ 1778941 w 2066673"/>
              <a:gd name="connsiteY433" fmla="*/ 812305 h 1353078"/>
              <a:gd name="connsiteX434" fmla="*/ 1778941 w 2066673"/>
              <a:gd name="connsiteY434" fmla="*/ 810024 h 1353078"/>
              <a:gd name="connsiteX435" fmla="*/ 1776657 w 2066673"/>
              <a:gd name="connsiteY435" fmla="*/ 810024 h 1353078"/>
              <a:gd name="connsiteX436" fmla="*/ 1774373 w 2066673"/>
              <a:gd name="connsiteY436" fmla="*/ 810024 h 1353078"/>
              <a:gd name="connsiteX437" fmla="*/ 1772090 w 2066673"/>
              <a:gd name="connsiteY437" fmla="*/ 810024 h 1353078"/>
              <a:gd name="connsiteX438" fmla="*/ 1772090 w 2066673"/>
              <a:gd name="connsiteY438" fmla="*/ 812305 h 1353078"/>
              <a:gd name="connsiteX439" fmla="*/ 1769806 w 2066673"/>
              <a:gd name="connsiteY439" fmla="*/ 812305 h 1353078"/>
              <a:gd name="connsiteX440" fmla="*/ 1767522 w 2066673"/>
              <a:gd name="connsiteY440" fmla="*/ 812305 h 1353078"/>
              <a:gd name="connsiteX441" fmla="*/ 1765239 w 2066673"/>
              <a:gd name="connsiteY441" fmla="*/ 812305 h 1353078"/>
              <a:gd name="connsiteX442" fmla="*/ 1765239 w 2066673"/>
              <a:gd name="connsiteY442" fmla="*/ 814586 h 1353078"/>
              <a:gd name="connsiteX443" fmla="*/ 1762955 w 2066673"/>
              <a:gd name="connsiteY443" fmla="*/ 814586 h 1353078"/>
              <a:gd name="connsiteX444" fmla="*/ 1760671 w 2066673"/>
              <a:gd name="connsiteY444" fmla="*/ 814586 h 1353078"/>
              <a:gd name="connsiteX445" fmla="*/ 1758388 w 2066673"/>
              <a:gd name="connsiteY445" fmla="*/ 814586 h 1353078"/>
              <a:gd name="connsiteX446" fmla="*/ 1758388 w 2066673"/>
              <a:gd name="connsiteY446" fmla="*/ 816868 h 1353078"/>
              <a:gd name="connsiteX447" fmla="*/ 1756104 w 2066673"/>
              <a:gd name="connsiteY447" fmla="*/ 816868 h 1353078"/>
              <a:gd name="connsiteX448" fmla="*/ 1756104 w 2066673"/>
              <a:gd name="connsiteY448" fmla="*/ 819150 h 1353078"/>
              <a:gd name="connsiteX449" fmla="*/ 1758388 w 2066673"/>
              <a:gd name="connsiteY449" fmla="*/ 819150 h 1353078"/>
              <a:gd name="connsiteX450" fmla="*/ 1760671 w 2066673"/>
              <a:gd name="connsiteY450" fmla="*/ 821432 h 1353078"/>
              <a:gd name="connsiteX451" fmla="*/ 1762955 w 2066673"/>
              <a:gd name="connsiteY451" fmla="*/ 821432 h 1353078"/>
              <a:gd name="connsiteX452" fmla="*/ 1769806 w 2066673"/>
              <a:gd name="connsiteY452" fmla="*/ 821432 h 1353078"/>
              <a:gd name="connsiteX453" fmla="*/ 1774373 w 2066673"/>
              <a:gd name="connsiteY453" fmla="*/ 819150 h 1353078"/>
              <a:gd name="connsiteX454" fmla="*/ 1776657 w 2066673"/>
              <a:gd name="connsiteY454" fmla="*/ 819150 h 1353078"/>
              <a:gd name="connsiteX455" fmla="*/ 1776657 w 2066673"/>
              <a:gd name="connsiteY455" fmla="*/ 823714 h 1353078"/>
              <a:gd name="connsiteX456" fmla="*/ 1774373 w 2066673"/>
              <a:gd name="connsiteY456" fmla="*/ 825996 h 1353078"/>
              <a:gd name="connsiteX457" fmla="*/ 1774373 w 2066673"/>
              <a:gd name="connsiteY457" fmla="*/ 830559 h 1353078"/>
              <a:gd name="connsiteX458" fmla="*/ 1767522 w 2066673"/>
              <a:gd name="connsiteY458" fmla="*/ 830559 h 1353078"/>
              <a:gd name="connsiteX459" fmla="*/ 1767522 w 2066673"/>
              <a:gd name="connsiteY459" fmla="*/ 832841 h 1353078"/>
              <a:gd name="connsiteX460" fmla="*/ 1772090 w 2066673"/>
              <a:gd name="connsiteY460" fmla="*/ 841968 h 1353078"/>
              <a:gd name="connsiteX461" fmla="*/ 1769806 w 2066673"/>
              <a:gd name="connsiteY461" fmla="*/ 844250 h 1353078"/>
              <a:gd name="connsiteX462" fmla="*/ 1760671 w 2066673"/>
              <a:gd name="connsiteY462" fmla="*/ 851095 h 1353078"/>
              <a:gd name="connsiteX463" fmla="*/ 1749254 w 2066673"/>
              <a:gd name="connsiteY463" fmla="*/ 857940 h 1353078"/>
              <a:gd name="connsiteX464" fmla="*/ 1749254 w 2066673"/>
              <a:gd name="connsiteY464" fmla="*/ 876194 h 1353078"/>
              <a:gd name="connsiteX465" fmla="*/ 1749254 w 2066673"/>
              <a:gd name="connsiteY465" fmla="*/ 878476 h 1353078"/>
              <a:gd name="connsiteX466" fmla="*/ 1749254 w 2066673"/>
              <a:gd name="connsiteY466" fmla="*/ 880758 h 1353078"/>
              <a:gd name="connsiteX467" fmla="*/ 1751537 w 2066673"/>
              <a:gd name="connsiteY467" fmla="*/ 885321 h 1353078"/>
              <a:gd name="connsiteX468" fmla="*/ 1751537 w 2066673"/>
              <a:gd name="connsiteY468" fmla="*/ 887602 h 1353078"/>
              <a:gd name="connsiteX469" fmla="*/ 1751537 w 2066673"/>
              <a:gd name="connsiteY469" fmla="*/ 889885 h 1353078"/>
              <a:gd name="connsiteX470" fmla="*/ 1751537 w 2066673"/>
              <a:gd name="connsiteY470" fmla="*/ 894448 h 1353078"/>
              <a:gd name="connsiteX471" fmla="*/ 1749254 w 2066673"/>
              <a:gd name="connsiteY471" fmla="*/ 910420 h 1353078"/>
              <a:gd name="connsiteX472" fmla="*/ 1749254 w 2066673"/>
              <a:gd name="connsiteY472" fmla="*/ 912702 h 1353078"/>
              <a:gd name="connsiteX473" fmla="*/ 1749254 w 2066673"/>
              <a:gd name="connsiteY473" fmla="*/ 914984 h 1353078"/>
              <a:gd name="connsiteX474" fmla="*/ 1756104 w 2066673"/>
              <a:gd name="connsiteY474" fmla="*/ 914984 h 1353078"/>
              <a:gd name="connsiteX475" fmla="*/ 1767522 w 2066673"/>
              <a:gd name="connsiteY475" fmla="*/ 914984 h 1353078"/>
              <a:gd name="connsiteX476" fmla="*/ 1781224 w 2066673"/>
              <a:gd name="connsiteY476" fmla="*/ 914984 h 1353078"/>
              <a:gd name="connsiteX477" fmla="*/ 1785791 w 2066673"/>
              <a:gd name="connsiteY477" fmla="*/ 912702 h 1353078"/>
              <a:gd name="connsiteX478" fmla="*/ 1790358 w 2066673"/>
              <a:gd name="connsiteY478" fmla="*/ 912702 h 1353078"/>
              <a:gd name="connsiteX479" fmla="*/ 1804060 w 2066673"/>
              <a:gd name="connsiteY479" fmla="*/ 908139 h 1353078"/>
              <a:gd name="connsiteX480" fmla="*/ 1806344 w 2066673"/>
              <a:gd name="connsiteY480" fmla="*/ 912702 h 1353078"/>
              <a:gd name="connsiteX481" fmla="*/ 1810911 w 2066673"/>
              <a:gd name="connsiteY481" fmla="*/ 919548 h 1353078"/>
              <a:gd name="connsiteX482" fmla="*/ 1815478 w 2066673"/>
              <a:gd name="connsiteY482" fmla="*/ 926393 h 1353078"/>
              <a:gd name="connsiteX483" fmla="*/ 1820045 w 2066673"/>
              <a:gd name="connsiteY483" fmla="*/ 933238 h 1353078"/>
              <a:gd name="connsiteX484" fmla="*/ 1801776 w 2066673"/>
              <a:gd name="connsiteY484" fmla="*/ 935520 h 1353078"/>
              <a:gd name="connsiteX485" fmla="*/ 1790358 w 2066673"/>
              <a:gd name="connsiteY485" fmla="*/ 937801 h 1353078"/>
              <a:gd name="connsiteX486" fmla="*/ 1788075 w 2066673"/>
              <a:gd name="connsiteY486" fmla="*/ 937801 h 1353078"/>
              <a:gd name="connsiteX487" fmla="*/ 1788075 w 2066673"/>
              <a:gd name="connsiteY487" fmla="*/ 942365 h 1353078"/>
              <a:gd name="connsiteX488" fmla="*/ 1788075 w 2066673"/>
              <a:gd name="connsiteY488" fmla="*/ 944647 h 1353078"/>
              <a:gd name="connsiteX489" fmla="*/ 1788075 w 2066673"/>
              <a:gd name="connsiteY489" fmla="*/ 946929 h 1353078"/>
              <a:gd name="connsiteX490" fmla="*/ 1788075 w 2066673"/>
              <a:gd name="connsiteY490" fmla="*/ 949211 h 1353078"/>
              <a:gd name="connsiteX491" fmla="*/ 1788075 w 2066673"/>
              <a:gd name="connsiteY491" fmla="*/ 953775 h 1353078"/>
              <a:gd name="connsiteX492" fmla="*/ 1788075 w 2066673"/>
              <a:gd name="connsiteY492" fmla="*/ 956057 h 1353078"/>
              <a:gd name="connsiteX493" fmla="*/ 1788075 w 2066673"/>
              <a:gd name="connsiteY493" fmla="*/ 958339 h 1353078"/>
              <a:gd name="connsiteX494" fmla="*/ 1788075 w 2066673"/>
              <a:gd name="connsiteY494" fmla="*/ 960621 h 1353078"/>
              <a:gd name="connsiteX495" fmla="*/ 1788075 w 2066673"/>
              <a:gd name="connsiteY495" fmla="*/ 962903 h 1353078"/>
              <a:gd name="connsiteX496" fmla="*/ 1804060 w 2066673"/>
              <a:gd name="connsiteY496" fmla="*/ 958339 h 1353078"/>
              <a:gd name="connsiteX497" fmla="*/ 1808627 w 2066673"/>
              <a:gd name="connsiteY497" fmla="*/ 969749 h 1353078"/>
              <a:gd name="connsiteX498" fmla="*/ 1813194 w 2066673"/>
              <a:gd name="connsiteY498" fmla="*/ 972031 h 1353078"/>
              <a:gd name="connsiteX499" fmla="*/ 1822329 w 2066673"/>
              <a:gd name="connsiteY499" fmla="*/ 988004 h 1353078"/>
              <a:gd name="connsiteX500" fmla="*/ 1822329 w 2066673"/>
              <a:gd name="connsiteY500" fmla="*/ 990286 h 1353078"/>
              <a:gd name="connsiteX501" fmla="*/ 1810911 w 2066673"/>
              <a:gd name="connsiteY501" fmla="*/ 1013095 h 1353078"/>
              <a:gd name="connsiteX502" fmla="*/ 1804060 w 2066673"/>
              <a:gd name="connsiteY502" fmla="*/ 1013095 h 1353078"/>
              <a:gd name="connsiteX503" fmla="*/ 1794926 w 2066673"/>
              <a:gd name="connsiteY503" fmla="*/ 1013095 h 1353078"/>
              <a:gd name="connsiteX504" fmla="*/ 1792642 w 2066673"/>
              <a:gd name="connsiteY504" fmla="*/ 1013095 h 1353078"/>
              <a:gd name="connsiteX505" fmla="*/ 1788075 w 2066673"/>
              <a:gd name="connsiteY505" fmla="*/ 1013095 h 1353078"/>
              <a:gd name="connsiteX506" fmla="*/ 1785791 w 2066673"/>
              <a:gd name="connsiteY506" fmla="*/ 1013095 h 1353078"/>
              <a:gd name="connsiteX507" fmla="*/ 1781224 w 2066673"/>
              <a:gd name="connsiteY507" fmla="*/ 1013095 h 1353078"/>
              <a:gd name="connsiteX508" fmla="*/ 1778941 w 2066673"/>
              <a:gd name="connsiteY508" fmla="*/ 1013095 h 1353078"/>
              <a:gd name="connsiteX509" fmla="*/ 1776657 w 2066673"/>
              <a:gd name="connsiteY509" fmla="*/ 1013095 h 1353078"/>
              <a:gd name="connsiteX510" fmla="*/ 1776657 w 2066673"/>
              <a:gd name="connsiteY510" fmla="*/ 1015377 h 1353078"/>
              <a:gd name="connsiteX511" fmla="*/ 1774373 w 2066673"/>
              <a:gd name="connsiteY511" fmla="*/ 1015377 h 1353078"/>
              <a:gd name="connsiteX512" fmla="*/ 1772090 w 2066673"/>
              <a:gd name="connsiteY512" fmla="*/ 1015377 h 1353078"/>
              <a:gd name="connsiteX513" fmla="*/ 1769806 w 2066673"/>
              <a:gd name="connsiteY513" fmla="*/ 1015377 h 1353078"/>
              <a:gd name="connsiteX514" fmla="*/ 1767522 w 2066673"/>
              <a:gd name="connsiteY514" fmla="*/ 1015377 h 1353078"/>
              <a:gd name="connsiteX515" fmla="*/ 1765239 w 2066673"/>
              <a:gd name="connsiteY515" fmla="*/ 1015377 h 1353078"/>
              <a:gd name="connsiteX516" fmla="*/ 1762955 w 2066673"/>
              <a:gd name="connsiteY516" fmla="*/ 1015377 h 1353078"/>
              <a:gd name="connsiteX517" fmla="*/ 1760671 w 2066673"/>
              <a:gd name="connsiteY517" fmla="*/ 1015377 h 1353078"/>
              <a:gd name="connsiteX518" fmla="*/ 1758388 w 2066673"/>
              <a:gd name="connsiteY518" fmla="*/ 1015377 h 1353078"/>
              <a:gd name="connsiteX519" fmla="*/ 1753821 w 2066673"/>
              <a:gd name="connsiteY519" fmla="*/ 1015377 h 1353078"/>
              <a:gd name="connsiteX520" fmla="*/ 1751537 w 2066673"/>
              <a:gd name="connsiteY520" fmla="*/ 1015377 h 1353078"/>
              <a:gd name="connsiteX521" fmla="*/ 1749254 w 2066673"/>
              <a:gd name="connsiteY521" fmla="*/ 1015377 h 1353078"/>
              <a:gd name="connsiteX522" fmla="*/ 1744686 w 2066673"/>
              <a:gd name="connsiteY522" fmla="*/ 1015377 h 1353078"/>
              <a:gd name="connsiteX523" fmla="*/ 1740119 w 2066673"/>
              <a:gd name="connsiteY523" fmla="*/ 1017659 h 1353078"/>
              <a:gd name="connsiteX524" fmla="*/ 1737836 w 2066673"/>
              <a:gd name="connsiteY524" fmla="*/ 1017659 h 1353078"/>
              <a:gd name="connsiteX525" fmla="*/ 1735552 w 2066673"/>
              <a:gd name="connsiteY525" fmla="*/ 1017659 h 1353078"/>
              <a:gd name="connsiteX526" fmla="*/ 1728701 w 2066673"/>
              <a:gd name="connsiteY526" fmla="*/ 1017659 h 1353078"/>
              <a:gd name="connsiteX527" fmla="*/ 1726418 w 2066673"/>
              <a:gd name="connsiteY527" fmla="*/ 1017659 h 1353078"/>
              <a:gd name="connsiteX528" fmla="*/ 1721851 w 2066673"/>
              <a:gd name="connsiteY528" fmla="*/ 1017659 h 1353078"/>
              <a:gd name="connsiteX529" fmla="*/ 1719567 w 2066673"/>
              <a:gd name="connsiteY529" fmla="*/ 1019941 h 1353078"/>
              <a:gd name="connsiteX530" fmla="*/ 1717283 w 2066673"/>
              <a:gd name="connsiteY530" fmla="*/ 1019941 h 1353078"/>
              <a:gd name="connsiteX531" fmla="*/ 1710433 w 2066673"/>
              <a:gd name="connsiteY531" fmla="*/ 1019941 h 1353078"/>
              <a:gd name="connsiteX532" fmla="*/ 1710433 w 2066673"/>
              <a:gd name="connsiteY532" fmla="*/ 1017659 h 1353078"/>
              <a:gd name="connsiteX533" fmla="*/ 1710433 w 2066673"/>
              <a:gd name="connsiteY533" fmla="*/ 1015377 h 1353078"/>
              <a:gd name="connsiteX534" fmla="*/ 1710433 w 2066673"/>
              <a:gd name="connsiteY534" fmla="*/ 1010823 h 1353078"/>
              <a:gd name="connsiteX535" fmla="*/ 1710433 w 2066673"/>
              <a:gd name="connsiteY535" fmla="*/ 1006259 h 1353078"/>
              <a:gd name="connsiteX536" fmla="*/ 1710433 w 2066673"/>
              <a:gd name="connsiteY536" fmla="*/ 1003977 h 1353078"/>
              <a:gd name="connsiteX537" fmla="*/ 1708149 w 2066673"/>
              <a:gd name="connsiteY537" fmla="*/ 1001695 h 1353078"/>
              <a:gd name="connsiteX538" fmla="*/ 1708149 w 2066673"/>
              <a:gd name="connsiteY538" fmla="*/ 999413 h 1353078"/>
              <a:gd name="connsiteX539" fmla="*/ 1708149 w 2066673"/>
              <a:gd name="connsiteY539" fmla="*/ 997131 h 1353078"/>
              <a:gd name="connsiteX540" fmla="*/ 1708149 w 2066673"/>
              <a:gd name="connsiteY540" fmla="*/ 994850 h 1353078"/>
              <a:gd name="connsiteX541" fmla="*/ 1705866 w 2066673"/>
              <a:gd name="connsiteY541" fmla="*/ 994850 h 1353078"/>
              <a:gd name="connsiteX542" fmla="*/ 1703582 w 2066673"/>
              <a:gd name="connsiteY542" fmla="*/ 994850 h 1353078"/>
              <a:gd name="connsiteX543" fmla="*/ 1701298 w 2066673"/>
              <a:gd name="connsiteY543" fmla="*/ 994850 h 1353078"/>
              <a:gd name="connsiteX544" fmla="*/ 1694447 w 2066673"/>
              <a:gd name="connsiteY544" fmla="*/ 994850 h 1353078"/>
              <a:gd name="connsiteX545" fmla="*/ 1692164 w 2066673"/>
              <a:gd name="connsiteY545" fmla="*/ 994850 h 1353078"/>
              <a:gd name="connsiteX546" fmla="*/ 1692164 w 2066673"/>
              <a:gd name="connsiteY546" fmla="*/ 997131 h 1353078"/>
              <a:gd name="connsiteX547" fmla="*/ 1689880 w 2066673"/>
              <a:gd name="connsiteY547" fmla="*/ 997131 h 1353078"/>
              <a:gd name="connsiteX548" fmla="*/ 1687596 w 2066673"/>
              <a:gd name="connsiteY548" fmla="*/ 997131 h 1353078"/>
              <a:gd name="connsiteX549" fmla="*/ 1685313 w 2066673"/>
              <a:gd name="connsiteY549" fmla="*/ 997131 h 1353078"/>
              <a:gd name="connsiteX550" fmla="*/ 1685313 w 2066673"/>
              <a:gd name="connsiteY550" fmla="*/ 999413 h 1353078"/>
              <a:gd name="connsiteX551" fmla="*/ 1683029 w 2066673"/>
              <a:gd name="connsiteY551" fmla="*/ 999413 h 1353078"/>
              <a:gd name="connsiteX552" fmla="*/ 1680746 w 2066673"/>
              <a:gd name="connsiteY552" fmla="*/ 999413 h 1353078"/>
              <a:gd name="connsiteX553" fmla="*/ 1678462 w 2066673"/>
              <a:gd name="connsiteY553" fmla="*/ 999413 h 1353078"/>
              <a:gd name="connsiteX554" fmla="*/ 1678462 w 2066673"/>
              <a:gd name="connsiteY554" fmla="*/ 1001695 h 1353078"/>
              <a:gd name="connsiteX555" fmla="*/ 1676178 w 2066673"/>
              <a:gd name="connsiteY555" fmla="*/ 999413 h 1353078"/>
              <a:gd name="connsiteX556" fmla="*/ 1662477 w 2066673"/>
              <a:gd name="connsiteY556" fmla="*/ 990286 h 1353078"/>
              <a:gd name="connsiteX557" fmla="*/ 1660193 w 2066673"/>
              <a:gd name="connsiteY557" fmla="*/ 990286 h 1353078"/>
              <a:gd name="connsiteX558" fmla="*/ 1657910 w 2066673"/>
              <a:gd name="connsiteY558" fmla="*/ 988004 h 1353078"/>
              <a:gd name="connsiteX559" fmla="*/ 1651059 w 2066673"/>
              <a:gd name="connsiteY559" fmla="*/ 985722 h 1353078"/>
              <a:gd name="connsiteX560" fmla="*/ 1651059 w 2066673"/>
              <a:gd name="connsiteY560" fmla="*/ 983440 h 1353078"/>
              <a:gd name="connsiteX561" fmla="*/ 1646492 w 2066673"/>
              <a:gd name="connsiteY561" fmla="*/ 978876 h 1353078"/>
              <a:gd name="connsiteX562" fmla="*/ 1644208 w 2066673"/>
              <a:gd name="connsiteY562" fmla="*/ 976594 h 1353078"/>
              <a:gd name="connsiteX563" fmla="*/ 1641925 w 2066673"/>
              <a:gd name="connsiteY563" fmla="*/ 974313 h 1353078"/>
              <a:gd name="connsiteX564" fmla="*/ 1641925 w 2066673"/>
              <a:gd name="connsiteY564" fmla="*/ 972031 h 1353078"/>
              <a:gd name="connsiteX565" fmla="*/ 1635074 w 2066673"/>
              <a:gd name="connsiteY565" fmla="*/ 967467 h 1353078"/>
              <a:gd name="connsiteX566" fmla="*/ 1625939 w 2066673"/>
              <a:gd name="connsiteY566" fmla="*/ 983440 h 1353078"/>
              <a:gd name="connsiteX567" fmla="*/ 1625939 w 2066673"/>
              <a:gd name="connsiteY567" fmla="*/ 988004 h 1353078"/>
              <a:gd name="connsiteX568" fmla="*/ 1625939 w 2066673"/>
              <a:gd name="connsiteY568" fmla="*/ 1003977 h 1353078"/>
              <a:gd name="connsiteX569" fmla="*/ 1623656 w 2066673"/>
              <a:gd name="connsiteY569" fmla="*/ 1013095 h 1353078"/>
              <a:gd name="connsiteX570" fmla="*/ 1623656 w 2066673"/>
              <a:gd name="connsiteY570" fmla="*/ 1024505 h 1353078"/>
              <a:gd name="connsiteX571" fmla="*/ 1623656 w 2066673"/>
              <a:gd name="connsiteY571" fmla="*/ 1026787 h 1353078"/>
              <a:gd name="connsiteX572" fmla="*/ 1623656 w 2066673"/>
              <a:gd name="connsiteY572" fmla="*/ 1029069 h 1353078"/>
              <a:gd name="connsiteX573" fmla="*/ 1621372 w 2066673"/>
              <a:gd name="connsiteY573" fmla="*/ 1026787 h 1353078"/>
              <a:gd name="connsiteX574" fmla="*/ 1612238 w 2066673"/>
              <a:gd name="connsiteY574" fmla="*/ 1019941 h 1353078"/>
              <a:gd name="connsiteX575" fmla="*/ 1605387 w 2066673"/>
              <a:gd name="connsiteY575" fmla="*/ 1033632 h 1353078"/>
              <a:gd name="connsiteX576" fmla="*/ 1605387 w 2066673"/>
              <a:gd name="connsiteY576" fmla="*/ 1035914 h 1353078"/>
              <a:gd name="connsiteX577" fmla="*/ 1609954 w 2066673"/>
              <a:gd name="connsiteY577" fmla="*/ 1042760 h 1353078"/>
              <a:gd name="connsiteX578" fmla="*/ 1612238 w 2066673"/>
              <a:gd name="connsiteY578" fmla="*/ 1045042 h 1353078"/>
              <a:gd name="connsiteX579" fmla="*/ 1614521 w 2066673"/>
              <a:gd name="connsiteY579" fmla="*/ 1051888 h 1353078"/>
              <a:gd name="connsiteX580" fmla="*/ 1616805 w 2066673"/>
              <a:gd name="connsiteY580" fmla="*/ 1061015 h 1353078"/>
              <a:gd name="connsiteX581" fmla="*/ 1619088 w 2066673"/>
              <a:gd name="connsiteY581" fmla="*/ 1067861 h 1353078"/>
              <a:gd name="connsiteX582" fmla="*/ 1616805 w 2066673"/>
              <a:gd name="connsiteY582" fmla="*/ 1070143 h 1353078"/>
              <a:gd name="connsiteX583" fmla="*/ 1605387 w 2066673"/>
              <a:gd name="connsiteY583" fmla="*/ 1079270 h 1353078"/>
              <a:gd name="connsiteX584" fmla="*/ 1603103 w 2066673"/>
              <a:gd name="connsiteY584" fmla="*/ 1079270 h 1353078"/>
              <a:gd name="connsiteX585" fmla="*/ 1587118 w 2066673"/>
              <a:gd name="connsiteY585" fmla="*/ 1079270 h 1353078"/>
              <a:gd name="connsiteX586" fmla="*/ 1587118 w 2066673"/>
              <a:gd name="connsiteY586" fmla="*/ 1086116 h 1353078"/>
              <a:gd name="connsiteX587" fmla="*/ 1584835 w 2066673"/>
              <a:gd name="connsiteY587" fmla="*/ 1088398 h 1353078"/>
              <a:gd name="connsiteX588" fmla="*/ 1591686 w 2066673"/>
              <a:gd name="connsiteY588" fmla="*/ 1092962 h 1353078"/>
              <a:gd name="connsiteX589" fmla="*/ 1596253 w 2066673"/>
              <a:gd name="connsiteY589" fmla="*/ 1095244 h 1353078"/>
              <a:gd name="connsiteX590" fmla="*/ 1593969 w 2066673"/>
              <a:gd name="connsiteY590" fmla="*/ 1111217 h 1353078"/>
              <a:gd name="connsiteX591" fmla="*/ 1584835 w 2066673"/>
              <a:gd name="connsiteY591" fmla="*/ 1127190 h 1353078"/>
              <a:gd name="connsiteX592" fmla="*/ 1580268 w 2066673"/>
              <a:gd name="connsiteY592" fmla="*/ 1124908 h 1353078"/>
              <a:gd name="connsiteX593" fmla="*/ 1577984 w 2066673"/>
              <a:gd name="connsiteY593" fmla="*/ 1129472 h 1353078"/>
              <a:gd name="connsiteX594" fmla="*/ 1575700 w 2066673"/>
              <a:gd name="connsiteY594" fmla="*/ 1131754 h 1353078"/>
              <a:gd name="connsiteX595" fmla="*/ 1575700 w 2066673"/>
              <a:gd name="connsiteY595" fmla="*/ 1134036 h 1353078"/>
              <a:gd name="connsiteX596" fmla="*/ 1575700 w 2066673"/>
              <a:gd name="connsiteY596" fmla="*/ 1136318 h 1353078"/>
              <a:gd name="connsiteX597" fmla="*/ 1573417 w 2066673"/>
              <a:gd name="connsiteY597" fmla="*/ 1136318 h 1353078"/>
              <a:gd name="connsiteX598" fmla="*/ 1571133 w 2066673"/>
              <a:gd name="connsiteY598" fmla="*/ 1136318 h 1353078"/>
              <a:gd name="connsiteX599" fmla="*/ 1568850 w 2066673"/>
              <a:gd name="connsiteY599" fmla="*/ 1138600 h 1353078"/>
              <a:gd name="connsiteX600" fmla="*/ 1564283 w 2066673"/>
              <a:gd name="connsiteY600" fmla="*/ 1140881 h 1353078"/>
              <a:gd name="connsiteX601" fmla="*/ 1564283 w 2066673"/>
              <a:gd name="connsiteY601" fmla="*/ 1147727 h 1353078"/>
              <a:gd name="connsiteX602" fmla="*/ 1564283 w 2066673"/>
              <a:gd name="connsiteY602" fmla="*/ 1154573 h 1353078"/>
              <a:gd name="connsiteX603" fmla="*/ 1561998 w 2066673"/>
              <a:gd name="connsiteY603" fmla="*/ 1152291 h 1353078"/>
              <a:gd name="connsiteX604" fmla="*/ 1559715 w 2066673"/>
              <a:gd name="connsiteY604" fmla="*/ 1147727 h 1353078"/>
              <a:gd name="connsiteX605" fmla="*/ 1557431 w 2066673"/>
              <a:gd name="connsiteY605" fmla="*/ 1145445 h 1353078"/>
              <a:gd name="connsiteX606" fmla="*/ 1552864 w 2066673"/>
              <a:gd name="connsiteY606" fmla="*/ 1145445 h 1353078"/>
              <a:gd name="connsiteX607" fmla="*/ 1550581 w 2066673"/>
              <a:gd name="connsiteY607" fmla="*/ 1147727 h 1353078"/>
              <a:gd name="connsiteX608" fmla="*/ 1546013 w 2066673"/>
              <a:gd name="connsiteY608" fmla="*/ 1147727 h 1353078"/>
              <a:gd name="connsiteX609" fmla="*/ 1541446 w 2066673"/>
              <a:gd name="connsiteY609" fmla="*/ 1150009 h 1353078"/>
              <a:gd name="connsiteX610" fmla="*/ 1539163 w 2066673"/>
              <a:gd name="connsiteY610" fmla="*/ 1150009 h 1353078"/>
              <a:gd name="connsiteX611" fmla="*/ 1536879 w 2066673"/>
              <a:gd name="connsiteY611" fmla="*/ 1150009 h 1353078"/>
              <a:gd name="connsiteX612" fmla="*/ 1534596 w 2066673"/>
              <a:gd name="connsiteY612" fmla="*/ 1152291 h 1353078"/>
              <a:gd name="connsiteX613" fmla="*/ 1532312 w 2066673"/>
              <a:gd name="connsiteY613" fmla="*/ 1152291 h 1353078"/>
              <a:gd name="connsiteX614" fmla="*/ 1532312 w 2066673"/>
              <a:gd name="connsiteY614" fmla="*/ 1154573 h 1353078"/>
              <a:gd name="connsiteX615" fmla="*/ 1532312 w 2066673"/>
              <a:gd name="connsiteY615" fmla="*/ 1156855 h 1353078"/>
              <a:gd name="connsiteX616" fmla="*/ 1532312 w 2066673"/>
              <a:gd name="connsiteY616" fmla="*/ 1161419 h 1353078"/>
              <a:gd name="connsiteX617" fmla="*/ 1532312 w 2066673"/>
              <a:gd name="connsiteY617" fmla="*/ 1163700 h 1353078"/>
              <a:gd name="connsiteX618" fmla="*/ 1532312 w 2066673"/>
              <a:gd name="connsiteY618" fmla="*/ 1168255 h 1353078"/>
              <a:gd name="connsiteX619" fmla="*/ 1530028 w 2066673"/>
              <a:gd name="connsiteY619" fmla="*/ 1165973 h 1353078"/>
              <a:gd name="connsiteX620" fmla="*/ 1527745 w 2066673"/>
              <a:gd name="connsiteY620" fmla="*/ 1163700 h 1353078"/>
              <a:gd name="connsiteX621" fmla="*/ 1523178 w 2066673"/>
              <a:gd name="connsiteY621" fmla="*/ 1159137 h 1353078"/>
              <a:gd name="connsiteX622" fmla="*/ 1520894 w 2066673"/>
              <a:gd name="connsiteY622" fmla="*/ 1156855 h 1353078"/>
              <a:gd name="connsiteX623" fmla="*/ 1520894 w 2066673"/>
              <a:gd name="connsiteY623" fmla="*/ 1154573 h 1353078"/>
              <a:gd name="connsiteX624" fmla="*/ 1518610 w 2066673"/>
              <a:gd name="connsiteY624" fmla="*/ 1154573 h 1353078"/>
              <a:gd name="connsiteX625" fmla="*/ 1516327 w 2066673"/>
              <a:gd name="connsiteY625" fmla="*/ 1150009 h 1353078"/>
              <a:gd name="connsiteX626" fmla="*/ 1514043 w 2066673"/>
              <a:gd name="connsiteY626" fmla="*/ 1143163 h 1353078"/>
              <a:gd name="connsiteX627" fmla="*/ 1514043 w 2066673"/>
              <a:gd name="connsiteY627" fmla="*/ 1138600 h 1353078"/>
              <a:gd name="connsiteX628" fmla="*/ 1511760 w 2066673"/>
              <a:gd name="connsiteY628" fmla="*/ 1134036 h 1353078"/>
              <a:gd name="connsiteX629" fmla="*/ 1511760 w 2066673"/>
              <a:gd name="connsiteY629" fmla="*/ 1129472 h 1353078"/>
              <a:gd name="connsiteX630" fmla="*/ 1507193 w 2066673"/>
              <a:gd name="connsiteY630" fmla="*/ 1127190 h 1353078"/>
              <a:gd name="connsiteX631" fmla="*/ 1493491 w 2066673"/>
              <a:gd name="connsiteY631" fmla="*/ 1124908 h 1353078"/>
              <a:gd name="connsiteX632" fmla="*/ 1493491 w 2066673"/>
              <a:gd name="connsiteY632" fmla="*/ 1127190 h 1353078"/>
              <a:gd name="connsiteX633" fmla="*/ 1493491 w 2066673"/>
              <a:gd name="connsiteY633" fmla="*/ 1129472 h 1353078"/>
              <a:gd name="connsiteX634" fmla="*/ 1495775 w 2066673"/>
              <a:gd name="connsiteY634" fmla="*/ 1129472 h 1353078"/>
              <a:gd name="connsiteX635" fmla="*/ 1495775 w 2066673"/>
              <a:gd name="connsiteY635" fmla="*/ 1131754 h 1353078"/>
              <a:gd name="connsiteX636" fmla="*/ 1495775 w 2066673"/>
              <a:gd name="connsiteY636" fmla="*/ 1134036 h 1353078"/>
              <a:gd name="connsiteX637" fmla="*/ 1495775 w 2066673"/>
              <a:gd name="connsiteY637" fmla="*/ 1131754 h 1353078"/>
              <a:gd name="connsiteX638" fmla="*/ 1486631 w 2066673"/>
              <a:gd name="connsiteY638" fmla="*/ 1127190 h 1353078"/>
              <a:gd name="connsiteX639" fmla="*/ 1484356 w 2066673"/>
              <a:gd name="connsiteY639" fmla="*/ 1127190 h 1353078"/>
              <a:gd name="connsiteX640" fmla="*/ 1479789 w 2066673"/>
              <a:gd name="connsiteY640" fmla="*/ 1122626 h 1353078"/>
              <a:gd name="connsiteX641" fmla="*/ 1479789 w 2066673"/>
              <a:gd name="connsiteY641" fmla="*/ 1127190 h 1353078"/>
              <a:gd name="connsiteX642" fmla="*/ 1479789 w 2066673"/>
              <a:gd name="connsiteY642" fmla="*/ 1129472 h 1353078"/>
              <a:gd name="connsiteX643" fmla="*/ 1479789 w 2066673"/>
              <a:gd name="connsiteY643" fmla="*/ 1134036 h 1353078"/>
              <a:gd name="connsiteX644" fmla="*/ 1479789 w 2066673"/>
              <a:gd name="connsiteY644" fmla="*/ 1136318 h 1353078"/>
              <a:gd name="connsiteX645" fmla="*/ 1479789 w 2066673"/>
              <a:gd name="connsiteY645" fmla="*/ 1138600 h 1353078"/>
              <a:gd name="connsiteX646" fmla="*/ 1466078 w 2066673"/>
              <a:gd name="connsiteY646" fmla="*/ 1134036 h 1353078"/>
              <a:gd name="connsiteX647" fmla="*/ 1463804 w 2066673"/>
              <a:gd name="connsiteY647" fmla="*/ 1131754 h 1353078"/>
              <a:gd name="connsiteX648" fmla="*/ 1463804 w 2066673"/>
              <a:gd name="connsiteY648" fmla="*/ 1134036 h 1353078"/>
              <a:gd name="connsiteX649" fmla="*/ 1461520 w 2066673"/>
              <a:gd name="connsiteY649" fmla="*/ 1134036 h 1353078"/>
              <a:gd name="connsiteX650" fmla="*/ 1463804 w 2066673"/>
              <a:gd name="connsiteY650" fmla="*/ 1134036 h 1353078"/>
              <a:gd name="connsiteX651" fmla="*/ 1463804 w 2066673"/>
              <a:gd name="connsiteY651" fmla="*/ 1136318 h 1353078"/>
              <a:gd name="connsiteX652" fmla="*/ 1461520 w 2066673"/>
              <a:gd name="connsiteY652" fmla="*/ 1136318 h 1353078"/>
              <a:gd name="connsiteX653" fmla="*/ 1461520 w 2066673"/>
              <a:gd name="connsiteY653" fmla="*/ 1138600 h 1353078"/>
              <a:gd name="connsiteX654" fmla="*/ 1461520 w 2066673"/>
              <a:gd name="connsiteY654" fmla="*/ 1136318 h 1353078"/>
              <a:gd name="connsiteX655" fmla="*/ 1459227 w 2066673"/>
              <a:gd name="connsiteY655" fmla="*/ 1129472 h 1353078"/>
              <a:gd name="connsiteX656" fmla="*/ 1454660 w 2066673"/>
              <a:gd name="connsiteY656" fmla="*/ 1129472 h 1353078"/>
              <a:gd name="connsiteX657" fmla="*/ 1452376 w 2066673"/>
              <a:gd name="connsiteY657" fmla="*/ 1129472 h 1353078"/>
              <a:gd name="connsiteX658" fmla="*/ 1438675 w 2066673"/>
              <a:gd name="connsiteY658" fmla="*/ 1127190 h 1353078"/>
              <a:gd name="connsiteX659" fmla="*/ 1431824 w 2066673"/>
              <a:gd name="connsiteY659" fmla="*/ 1127190 h 1353078"/>
              <a:gd name="connsiteX660" fmla="*/ 1429541 w 2066673"/>
              <a:gd name="connsiteY660" fmla="*/ 1127190 h 1353078"/>
              <a:gd name="connsiteX661" fmla="*/ 1420406 w 2066673"/>
              <a:gd name="connsiteY661" fmla="*/ 1124908 h 1353078"/>
              <a:gd name="connsiteX662" fmla="*/ 1418123 w 2066673"/>
              <a:gd name="connsiteY662" fmla="*/ 1124908 h 1353078"/>
              <a:gd name="connsiteX663" fmla="*/ 1418123 w 2066673"/>
              <a:gd name="connsiteY663" fmla="*/ 1131754 h 1353078"/>
              <a:gd name="connsiteX664" fmla="*/ 1418123 w 2066673"/>
              <a:gd name="connsiteY664" fmla="*/ 1134036 h 1353078"/>
              <a:gd name="connsiteX665" fmla="*/ 1415839 w 2066673"/>
              <a:gd name="connsiteY665" fmla="*/ 1138600 h 1353078"/>
              <a:gd name="connsiteX666" fmla="*/ 1413556 w 2066673"/>
              <a:gd name="connsiteY666" fmla="*/ 1152291 h 1353078"/>
              <a:gd name="connsiteX667" fmla="*/ 1413556 w 2066673"/>
              <a:gd name="connsiteY667" fmla="*/ 1154573 h 1353078"/>
              <a:gd name="connsiteX668" fmla="*/ 1413556 w 2066673"/>
              <a:gd name="connsiteY668" fmla="*/ 1156855 h 1353078"/>
              <a:gd name="connsiteX669" fmla="*/ 1411272 w 2066673"/>
              <a:gd name="connsiteY669" fmla="*/ 1161419 h 1353078"/>
              <a:gd name="connsiteX670" fmla="*/ 1411272 w 2066673"/>
              <a:gd name="connsiteY670" fmla="*/ 1163700 h 1353078"/>
              <a:gd name="connsiteX671" fmla="*/ 1411272 w 2066673"/>
              <a:gd name="connsiteY671" fmla="*/ 1168255 h 1353078"/>
              <a:gd name="connsiteX672" fmla="*/ 1411272 w 2066673"/>
              <a:gd name="connsiteY672" fmla="*/ 1170537 h 1353078"/>
              <a:gd name="connsiteX673" fmla="*/ 1411272 w 2066673"/>
              <a:gd name="connsiteY673" fmla="*/ 1172818 h 1353078"/>
              <a:gd name="connsiteX674" fmla="*/ 1411272 w 2066673"/>
              <a:gd name="connsiteY674" fmla="*/ 1179664 h 1353078"/>
              <a:gd name="connsiteX675" fmla="*/ 1413556 w 2066673"/>
              <a:gd name="connsiteY675" fmla="*/ 1179664 h 1353078"/>
              <a:gd name="connsiteX676" fmla="*/ 1413556 w 2066673"/>
              <a:gd name="connsiteY676" fmla="*/ 1181946 h 1353078"/>
              <a:gd name="connsiteX677" fmla="*/ 1413556 w 2066673"/>
              <a:gd name="connsiteY677" fmla="*/ 1184228 h 1353078"/>
              <a:gd name="connsiteX678" fmla="*/ 1413556 w 2066673"/>
              <a:gd name="connsiteY678" fmla="*/ 1186510 h 1353078"/>
              <a:gd name="connsiteX679" fmla="*/ 1418123 w 2066673"/>
              <a:gd name="connsiteY679" fmla="*/ 1193356 h 1353078"/>
              <a:gd name="connsiteX680" fmla="*/ 1420406 w 2066673"/>
              <a:gd name="connsiteY680" fmla="*/ 1195637 h 1353078"/>
              <a:gd name="connsiteX681" fmla="*/ 1420406 w 2066673"/>
              <a:gd name="connsiteY681" fmla="*/ 1197919 h 1353078"/>
              <a:gd name="connsiteX682" fmla="*/ 1411272 w 2066673"/>
              <a:gd name="connsiteY682" fmla="*/ 1195637 h 1353078"/>
              <a:gd name="connsiteX683" fmla="*/ 1404421 w 2066673"/>
              <a:gd name="connsiteY683" fmla="*/ 1195637 h 1353078"/>
              <a:gd name="connsiteX684" fmla="*/ 1402138 w 2066673"/>
              <a:gd name="connsiteY684" fmla="*/ 1197919 h 1353078"/>
              <a:gd name="connsiteX685" fmla="*/ 1399854 w 2066673"/>
              <a:gd name="connsiteY685" fmla="*/ 1204765 h 1353078"/>
              <a:gd name="connsiteX686" fmla="*/ 1399854 w 2066673"/>
              <a:gd name="connsiteY686" fmla="*/ 1220738 h 1353078"/>
              <a:gd name="connsiteX687" fmla="*/ 1399854 w 2066673"/>
              <a:gd name="connsiteY687" fmla="*/ 1223020 h 1353078"/>
              <a:gd name="connsiteX688" fmla="*/ 1399854 w 2066673"/>
              <a:gd name="connsiteY688" fmla="*/ 1225302 h 1353078"/>
              <a:gd name="connsiteX689" fmla="*/ 1399854 w 2066673"/>
              <a:gd name="connsiteY689" fmla="*/ 1227584 h 1353078"/>
              <a:gd name="connsiteX690" fmla="*/ 1397571 w 2066673"/>
              <a:gd name="connsiteY690" fmla="*/ 1234430 h 1353078"/>
              <a:gd name="connsiteX691" fmla="*/ 1390719 w 2066673"/>
              <a:gd name="connsiteY691" fmla="*/ 1232148 h 1353078"/>
              <a:gd name="connsiteX692" fmla="*/ 1379301 w 2066673"/>
              <a:gd name="connsiteY692" fmla="*/ 1234430 h 1353078"/>
              <a:gd name="connsiteX693" fmla="*/ 1379301 w 2066673"/>
              <a:gd name="connsiteY693" fmla="*/ 1227584 h 1353078"/>
              <a:gd name="connsiteX694" fmla="*/ 1374734 w 2066673"/>
              <a:gd name="connsiteY694" fmla="*/ 1223020 h 1353078"/>
              <a:gd name="connsiteX695" fmla="*/ 1367883 w 2066673"/>
              <a:gd name="connsiteY695" fmla="*/ 1216175 h 1353078"/>
              <a:gd name="connsiteX696" fmla="*/ 1365600 w 2066673"/>
              <a:gd name="connsiteY696" fmla="*/ 1216175 h 1353078"/>
              <a:gd name="connsiteX697" fmla="*/ 1356466 w 2066673"/>
              <a:gd name="connsiteY697" fmla="*/ 1209329 h 1353078"/>
              <a:gd name="connsiteX698" fmla="*/ 1356466 w 2066673"/>
              <a:gd name="connsiteY698" fmla="*/ 1216175 h 1353078"/>
              <a:gd name="connsiteX699" fmla="*/ 1345048 w 2066673"/>
              <a:gd name="connsiteY699" fmla="*/ 1218456 h 1353078"/>
              <a:gd name="connsiteX700" fmla="*/ 1338197 w 2066673"/>
              <a:gd name="connsiteY700" fmla="*/ 1220738 h 1353078"/>
              <a:gd name="connsiteX701" fmla="*/ 1342764 w 2066673"/>
              <a:gd name="connsiteY701" fmla="*/ 1232148 h 1353078"/>
              <a:gd name="connsiteX702" fmla="*/ 1342764 w 2066673"/>
              <a:gd name="connsiteY702" fmla="*/ 1234430 h 1353078"/>
              <a:gd name="connsiteX703" fmla="*/ 1345048 w 2066673"/>
              <a:gd name="connsiteY703" fmla="*/ 1236712 h 1353078"/>
              <a:gd name="connsiteX704" fmla="*/ 1345048 w 2066673"/>
              <a:gd name="connsiteY704" fmla="*/ 1238993 h 1353078"/>
              <a:gd name="connsiteX705" fmla="*/ 1347331 w 2066673"/>
              <a:gd name="connsiteY705" fmla="*/ 1241275 h 1353078"/>
              <a:gd name="connsiteX706" fmla="*/ 1347331 w 2066673"/>
              <a:gd name="connsiteY706" fmla="*/ 1243557 h 1353078"/>
              <a:gd name="connsiteX707" fmla="*/ 1347331 w 2066673"/>
              <a:gd name="connsiteY707" fmla="*/ 1245839 h 1353078"/>
              <a:gd name="connsiteX708" fmla="*/ 1347331 w 2066673"/>
              <a:gd name="connsiteY708" fmla="*/ 1248121 h 1353078"/>
              <a:gd name="connsiteX709" fmla="*/ 1347331 w 2066673"/>
              <a:gd name="connsiteY709" fmla="*/ 1250403 h 1353078"/>
              <a:gd name="connsiteX710" fmla="*/ 1347331 w 2066673"/>
              <a:gd name="connsiteY710" fmla="*/ 1254967 h 1353078"/>
              <a:gd name="connsiteX711" fmla="*/ 1347331 w 2066673"/>
              <a:gd name="connsiteY711" fmla="*/ 1257249 h 1353078"/>
              <a:gd name="connsiteX712" fmla="*/ 1347331 w 2066673"/>
              <a:gd name="connsiteY712" fmla="*/ 1259531 h 1353078"/>
              <a:gd name="connsiteX713" fmla="*/ 1347331 w 2066673"/>
              <a:gd name="connsiteY713" fmla="*/ 1261812 h 1353078"/>
              <a:gd name="connsiteX714" fmla="*/ 1347331 w 2066673"/>
              <a:gd name="connsiteY714" fmla="*/ 1264094 h 1353078"/>
              <a:gd name="connsiteX715" fmla="*/ 1347331 w 2066673"/>
              <a:gd name="connsiteY715" fmla="*/ 1266376 h 1353078"/>
              <a:gd name="connsiteX716" fmla="*/ 1347331 w 2066673"/>
              <a:gd name="connsiteY716" fmla="*/ 1268658 h 1353078"/>
              <a:gd name="connsiteX717" fmla="*/ 1347331 w 2066673"/>
              <a:gd name="connsiteY717" fmla="*/ 1270940 h 1353078"/>
              <a:gd name="connsiteX718" fmla="*/ 1347331 w 2066673"/>
              <a:gd name="connsiteY718" fmla="*/ 1275504 h 1353078"/>
              <a:gd name="connsiteX719" fmla="*/ 1347331 w 2066673"/>
              <a:gd name="connsiteY719" fmla="*/ 1277786 h 1353078"/>
              <a:gd name="connsiteX720" fmla="*/ 1349615 w 2066673"/>
              <a:gd name="connsiteY720" fmla="*/ 1277786 h 1353078"/>
              <a:gd name="connsiteX721" fmla="*/ 1347331 w 2066673"/>
              <a:gd name="connsiteY721" fmla="*/ 1277786 h 1353078"/>
              <a:gd name="connsiteX722" fmla="*/ 1347331 w 2066673"/>
              <a:gd name="connsiteY722" fmla="*/ 1280068 h 1353078"/>
              <a:gd name="connsiteX723" fmla="*/ 1347331 w 2066673"/>
              <a:gd name="connsiteY723" fmla="*/ 1282349 h 1353078"/>
              <a:gd name="connsiteX724" fmla="*/ 1347331 w 2066673"/>
              <a:gd name="connsiteY724" fmla="*/ 1284631 h 1353078"/>
              <a:gd name="connsiteX725" fmla="*/ 1347331 w 2066673"/>
              <a:gd name="connsiteY725" fmla="*/ 1286913 h 1353078"/>
              <a:gd name="connsiteX726" fmla="*/ 1345048 w 2066673"/>
              <a:gd name="connsiteY726" fmla="*/ 1289195 h 1353078"/>
              <a:gd name="connsiteX727" fmla="*/ 1345048 w 2066673"/>
              <a:gd name="connsiteY727" fmla="*/ 1291477 h 1353078"/>
              <a:gd name="connsiteX728" fmla="*/ 1345048 w 2066673"/>
              <a:gd name="connsiteY728" fmla="*/ 1293759 h 1353078"/>
              <a:gd name="connsiteX729" fmla="*/ 1342764 w 2066673"/>
              <a:gd name="connsiteY729" fmla="*/ 1296041 h 1353078"/>
              <a:gd name="connsiteX730" fmla="*/ 1342764 w 2066673"/>
              <a:gd name="connsiteY730" fmla="*/ 1298323 h 1353078"/>
              <a:gd name="connsiteX731" fmla="*/ 1342764 w 2066673"/>
              <a:gd name="connsiteY731" fmla="*/ 1300605 h 1353078"/>
              <a:gd name="connsiteX732" fmla="*/ 1342764 w 2066673"/>
              <a:gd name="connsiteY732" fmla="*/ 1302887 h 1353078"/>
              <a:gd name="connsiteX733" fmla="*/ 1345048 w 2066673"/>
              <a:gd name="connsiteY733" fmla="*/ 1305168 h 1353078"/>
              <a:gd name="connsiteX734" fmla="*/ 1345048 w 2066673"/>
              <a:gd name="connsiteY734" fmla="*/ 1307450 h 1353078"/>
              <a:gd name="connsiteX735" fmla="*/ 1345048 w 2066673"/>
              <a:gd name="connsiteY735" fmla="*/ 1309732 h 1353078"/>
              <a:gd name="connsiteX736" fmla="*/ 1345048 w 2066673"/>
              <a:gd name="connsiteY736" fmla="*/ 1314296 h 1353078"/>
              <a:gd name="connsiteX737" fmla="*/ 1345048 w 2066673"/>
              <a:gd name="connsiteY737" fmla="*/ 1318860 h 1353078"/>
              <a:gd name="connsiteX738" fmla="*/ 1345048 w 2066673"/>
              <a:gd name="connsiteY738" fmla="*/ 1321132 h 1353078"/>
              <a:gd name="connsiteX739" fmla="*/ 1342764 w 2066673"/>
              <a:gd name="connsiteY739" fmla="*/ 1321132 h 1353078"/>
              <a:gd name="connsiteX740" fmla="*/ 1340481 w 2066673"/>
              <a:gd name="connsiteY740" fmla="*/ 1321132 h 1353078"/>
              <a:gd name="connsiteX741" fmla="*/ 1338197 w 2066673"/>
              <a:gd name="connsiteY741" fmla="*/ 1321132 h 1353078"/>
              <a:gd name="connsiteX742" fmla="*/ 1335913 w 2066673"/>
              <a:gd name="connsiteY742" fmla="*/ 1321132 h 1353078"/>
              <a:gd name="connsiteX743" fmla="*/ 1333630 w 2066673"/>
              <a:gd name="connsiteY743" fmla="*/ 1321132 h 1353078"/>
              <a:gd name="connsiteX744" fmla="*/ 1329063 w 2066673"/>
              <a:gd name="connsiteY744" fmla="*/ 1318860 h 1353078"/>
              <a:gd name="connsiteX745" fmla="*/ 1326779 w 2066673"/>
              <a:gd name="connsiteY745" fmla="*/ 1318860 h 1353078"/>
              <a:gd name="connsiteX746" fmla="*/ 1322211 w 2066673"/>
              <a:gd name="connsiteY746" fmla="*/ 1318860 h 1353078"/>
              <a:gd name="connsiteX747" fmla="*/ 1319928 w 2066673"/>
              <a:gd name="connsiteY747" fmla="*/ 1316568 h 1353078"/>
              <a:gd name="connsiteX748" fmla="*/ 1313077 w 2066673"/>
              <a:gd name="connsiteY748" fmla="*/ 1318860 h 1353078"/>
              <a:gd name="connsiteX749" fmla="*/ 1310793 w 2066673"/>
              <a:gd name="connsiteY749" fmla="*/ 1318860 h 1353078"/>
              <a:gd name="connsiteX750" fmla="*/ 1308510 w 2066673"/>
              <a:gd name="connsiteY750" fmla="*/ 1318860 h 1353078"/>
              <a:gd name="connsiteX751" fmla="*/ 1303943 w 2066673"/>
              <a:gd name="connsiteY751" fmla="*/ 1318860 h 1353078"/>
              <a:gd name="connsiteX752" fmla="*/ 1301659 w 2066673"/>
              <a:gd name="connsiteY752" fmla="*/ 1321132 h 1353078"/>
              <a:gd name="connsiteX753" fmla="*/ 1301659 w 2066673"/>
              <a:gd name="connsiteY753" fmla="*/ 1323414 h 1353078"/>
              <a:gd name="connsiteX754" fmla="*/ 1301659 w 2066673"/>
              <a:gd name="connsiteY754" fmla="*/ 1325696 h 1353078"/>
              <a:gd name="connsiteX755" fmla="*/ 1301659 w 2066673"/>
              <a:gd name="connsiteY755" fmla="*/ 1327978 h 1353078"/>
              <a:gd name="connsiteX756" fmla="*/ 1301659 w 2066673"/>
              <a:gd name="connsiteY756" fmla="*/ 1330260 h 1353078"/>
              <a:gd name="connsiteX757" fmla="*/ 1299376 w 2066673"/>
              <a:gd name="connsiteY757" fmla="*/ 1330260 h 1353078"/>
              <a:gd name="connsiteX758" fmla="*/ 1299376 w 2066673"/>
              <a:gd name="connsiteY758" fmla="*/ 1332542 h 1353078"/>
              <a:gd name="connsiteX759" fmla="*/ 1297092 w 2066673"/>
              <a:gd name="connsiteY759" fmla="*/ 1332542 h 1353078"/>
              <a:gd name="connsiteX760" fmla="*/ 1294808 w 2066673"/>
              <a:gd name="connsiteY760" fmla="*/ 1334824 h 1353078"/>
              <a:gd name="connsiteX761" fmla="*/ 1292525 w 2066673"/>
              <a:gd name="connsiteY761" fmla="*/ 1334824 h 1353078"/>
              <a:gd name="connsiteX762" fmla="*/ 1290241 w 2066673"/>
              <a:gd name="connsiteY762" fmla="*/ 1334824 h 1353078"/>
              <a:gd name="connsiteX763" fmla="*/ 1290241 w 2066673"/>
              <a:gd name="connsiteY763" fmla="*/ 1337105 h 1353078"/>
              <a:gd name="connsiteX764" fmla="*/ 1287958 w 2066673"/>
              <a:gd name="connsiteY764" fmla="*/ 1337105 h 1353078"/>
              <a:gd name="connsiteX765" fmla="*/ 1283391 w 2066673"/>
              <a:gd name="connsiteY765" fmla="*/ 1339387 h 1353078"/>
              <a:gd name="connsiteX766" fmla="*/ 1281107 w 2066673"/>
              <a:gd name="connsiteY766" fmla="*/ 1339387 h 1353078"/>
              <a:gd name="connsiteX767" fmla="*/ 1281107 w 2066673"/>
              <a:gd name="connsiteY767" fmla="*/ 1337105 h 1353078"/>
              <a:gd name="connsiteX768" fmla="*/ 1281107 w 2066673"/>
              <a:gd name="connsiteY768" fmla="*/ 1334824 h 1353078"/>
              <a:gd name="connsiteX769" fmla="*/ 1281107 w 2066673"/>
              <a:gd name="connsiteY769" fmla="*/ 1332542 h 1353078"/>
              <a:gd name="connsiteX770" fmla="*/ 1278823 w 2066673"/>
              <a:gd name="connsiteY770" fmla="*/ 1332542 h 1353078"/>
              <a:gd name="connsiteX771" fmla="*/ 1278823 w 2066673"/>
              <a:gd name="connsiteY771" fmla="*/ 1330260 h 1353078"/>
              <a:gd name="connsiteX772" fmla="*/ 1276540 w 2066673"/>
              <a:gd name="connsiteY772" fmla="*/ 1330260 h 1353078"/>
              <a:gd name="connsiteX773" fmla="*/ 1276540 w 2066673"/>
              <a:gd name="connsiteY773" fmla="*/ 1327978 h 1353078"/>
              <a:gd name="connsiteX774" fmla="*/ 1274256 w 2066673"/>
              <a:gd name="connsiteY774" fmla="*/ 1327978 h 1353078"/>
              <a:gd name="connsiteX775" fmla="*/ 1276540 w 2066673"/>
              <a:gd name="connsiteY775" fmla="*/ 1327978 h 1353078"/>
              <a:gd name="connsiteX776" fmla="*/ 1274256 w 2066673"/>
              <a:gd name="connsiteY776" fmla="*/ 1327978 h 1353078"/>
              <a:gd name="connsiteX777" fmla="*/ 1274256 w 2066673"/>
              <a:gd name="connsiteY777" fmla="*/ 1330260 h 1353078"/>
              <a:gd name="connsiteX778" fmla="*/ 1271973 w 2066673"/>
              <a:gd name="connsiteY778" fmla="*/ 1330260 h 1353078"/>
              <a:gd name="connsiteX779" fmla="*/ 1269689 w 2066673"/>
              <a:gd name="connsiteY779" fmla="*/ 1330260 h 1353078"/>
              <a:gd name="connsiteX780" fmla="*/ 1267405 w 2066673"/>
              <a:gd name="connsiteY780" fmla="*/ 1330260 h 1353078"/>
              <a:gd name="connsiteX781" fmla="*/ 1265122 w 2066673"/>
              <a:gd name="connsiteY781" fmla="*/ 1330260 h 1353078"/>
              <a:gd name="connsiteX782" fmla="*/ 1258271 w 2066673"/>
              <a:gd name="connsiteY782" fmla="*/ 1341669 h 1353078"/>
              <a:gd name="connsiteX783" fmla="*/ 1255987 w 2066673"/>
              <a:gd name="connsiteY783" fmla="*/ 1346233 h 1353078"/>
              <a:gd name="connsiteX784" fmla="*/ 1251420 w 2066673"/>
              <a:gd name="connsiteY784" fmla="*/ 1341669 h 1353078"/>
              <a:gd name="connsiteX785" fmla="*/ 1249136 w 2066673"/>
              <a:gd name="connsiteY785" fmla="*/ 1341669 h 1353078"/>
              <a:gd name="connsiteX786" fmla="*/ 1246853 w 2066673"/>
              <a:gd name="connsiteY786" fmla="*/ 1341669 h 1353078"/>
              <a:gd name="connsiteX787" fmla="*/ 1240002 w 2066673"/>
              <a:gd name="connsiteY787" fmla="*/ 1337105 h 1353078"/>
              <a:gd name="connsiteX788" fmla="*/ 1235435 w 2066673"/>
              <a:gd name="connsiteY788" fmla="*/ 1337105 h 1353078"/>
              <a:gd name="connsiteX789" fmla="*/ 1233151 w 2066673"/>
              <a:gd name="connsiteY789" fmla="*/ 1334824 h 1353078"/>
              <a:gd name="connsiteX790" fmla="*/ 1230868 w 2066673"/>
              <a:gd name="connsiteY790" fmla="*/ 1334824 h 1353078"/>
              <a:gd name="connsiteX791" fmla="*/ 1228584 w 2066673"/>
              <a:gd name="connsiteY791" fmla="*/ 1334824 h 1353078"/>
              <a:gd name="connsiteX792" fmla="*/ 1226301 w 2066673"/>
              <a:gd name="connsiteY792" fmla="*/ 1334824 h 1353078"/>
              <a:gd name="connsiteX793" fmla="*/ 1221734 w 2066673"/>
              <a:gd name="connsiteY793" fmla="*/ 1332542 h 1353078"/>
              <a:gd name="connsiteX794" fmla="*/ 1212599 w 2066673"/>
              <a:gd name="connsiteY794" fmla="*/ 1337105 h 1353078"/>
              <a:gd name="connsiteX795" fmla="*/ 1208032 w 2066673"/>
              <a:gd name="connsiteY795" fmla="*/ 1339387 h 1353078"/>
              <a:gd name="connsiteX796" fmla="*/ 1205748 w 2066673"/>
              <a:gd name="connsiteY796" fmla="*/ 1339387 h 1353078"/>
              <a:gd name="connsiteX797" fmla="*/ 1203465 w 2066673"/>
              <a:gd name="connsiteY797" fmla="*/ 1341669 h 1353078"/>
              <a:gd name="connsiteX798" fmla="*/ 1201181 w 2066673"/>
              <a:gd name="connsiteY798" fmla="*/ 1341669 h 1353078"/>
              <a:gd name="connsiteX799" fmla="*/ 1198897 w 2066673"/>
              <a:gd name="connsiteY799" fmla="*/ 1343951 h 1353078"/>
              <a:gd name="connsiteX800" fmla="*/ 1196614 w 2066673"/>
              <a:gd name="connsiteY800" fmla="*/ 1343951 h 1353078"/>
              <a:gd name="connsiteX801" fmla="*/ 1192047 w 2066673"/>
              <a:gd name="connsiteY801" fmla="*/ 1341669 h 1353078"/>
              <a:gd name="connsiteX802" fmla="*/ 1187480 w 2066673"/>
              <a:gd name="connsiteY802" fmla="*/ 1341669 h 1353078"/>
              <a:gd name="connsiteX803" fmla="*/ 1185196 w 2066673"/>
              <a:gd name="connsiteY803" fmla="*/ 1341669 h 1353078"/>
              <a:gd name="connsiteX804" fmla="*/ 1176061 w 2066673"/>
              <a:gd name="connsiteY804" fmla="*/ 1343951 h 1353078"/>
              <a:gd name="connsiteX805" fmla="*/ 1171494 w 2066673"/>
              <a:gd name="connsiteY805" fmla="*/ 1343951 h 1353078"/>
              <a:gd name="connsiteX806" fmla="*/ 1164644 w 2066673"/>
              <a:gd name="connsiteY806" fmla="*/ 1343951 h 1353078"/>
              <a:gd name="connsiteX807" fmla="*/ 1162360 w 2066673"/>
              <a:gd name="connsiteY807" fmla="*/ 1350797 h 1353078"/>
              <a:gd name="connsiteX808" fmla="*/ 1162360 w 2066673"/>
              <a:gd name="connsiteY808" fmla="*/ 1353079 h 1353078"/>
              <a:gd name="connsiteX809" fmla="*/ 1160076 w 2066673"/>
              <a:gd name="connsiteY809" fmla="*/ 1350797 h 1353078"/>
              <a:gd name="connsiteX810" fmla="*/ 1150942 w 2066673"/>
              <a:gd name="connsiteY810" fmla="*/ 1348515 h 1353078"/>
              <a:gd name="connsiteX811" fmla="*/ 1148658 w 2066673"/>
              <a:gd name="connsiteY811" fmla="*/ 1348515 h 1353078"/>
              <a:gd name="connsiteX812" fmla="*/ 1144091 w 2066673"/>
              <a:gd name="connsiteY812" fmla="*/ 1346233 h 1353078"/>
              <a:gd name="connsiteX813" fmla="*/ 1139524 w 2066673"/>
              <a:gd name="connsiteY813" fmla="*/ 1346233 h 1353078"/>
              <a:gd name="connsiteX814" fmla="*/ 1137240 w 2066673"/>
              <a:gd name="connsiteY814" fmla="*/ 1346233 h 1353078"/>
              <a:gd name="connsiteX815" fmla="*/ 1137240 w 2066673"/>
              <a:gd name="connsiteY815" fmla="*/ 1343951 h 1353078"/>
              <a:gd name="connsiteX816" fmla="*/ 1132673 w 2066673"/>
              <a:gd name="connsiteY816" fmla="*/ 1346233 h 1353078"/>
              <a:gd name="connsiteX817" fmla="*/ 1128106 w 2066673"/>
              <a:gd name="connsiteY817" fmla="*/ 1346233 h 1353078"/>
              <a:gd name="connsiteX818" fmla="*/ 1123539 w 2066673"/>
              <a:gd name="connsiteY818" fmla="*/ 1346233 h 1353078"/>
              <a:gd name="connsiteX819" fmla="*/ 1121255 w 2066673"/>
              <a:gd name="connsiteY819" fmla="*/ 1348515 h 1353078"/>
              <a:gd name="connsiteX820" fmla="*/ 1118972 w 2066673"/>
              <a:gd name="connsiteY820" fmla="*/ 1348515 h 1353078"/>
              <a:gd name="connsiteX821" fmla="*/ 1116688 w 2066673"/>
              <a:gd name="connsiteY821" fmla="*/ 1348515 h 1353078"/>
              <a:gd name="connsiteX822" fmla="*/ 1114404 w 2066673"/>
              <a:gd name="connsiteY822" fmla="*/ 1346233 h 1353078"/>
              <a:gd name="connsiteX823" fmla="*/ 1109837 w 2066673"/>
              <a:gd name="connsiteY823" fmla="*/ 1346233 h 1353078"/>
              <a:gd name="connsiteX824" fmla="*/ 1107554 w 2066673"/>
              <a:gd name="connsiteY824" fmla="*/ 1346233 h 1353078"/>
              <a:gd name="connsiteX825" fmla="*/ 1105270 w 2066673"/>
              <a:gd name="connsiteY825" fmla="*/ 1343951 h 1353078"/>
              <a:gd name="connsiteX826" fmla="*/ 1102986 w 2066673"/>
              <a:gd name="connsiteY826" fmla="*/ 1343951 h 1353078"/>
              <a:gd name="connsiteX827" fmla="*/ 1100703 w 2066673"/>
              <a:gd name="connsiteY827" fmla="*/ 1343951 h 1353078"/>
              <a:gd name="connsiteX828" fmla="*/ 1098419 w 2066673"/>
              <a:gd name="connsiteY828" fmla="*/ 1343951 h 1353078"/>
              <a:gd name="connsiteX829" fmla="*/ 1098419 w 2066673"/>
              <a:gd name="connsiteY829" fmla="*/ 1339387 h 1353078"/>
              <a:gd name="connsiteX830" fmla="*/ 1098419 w 2066673"/>
              <a:gd name="connsiteY830" fmla="*/ 1337105 h 1353078"/>
              <a:gd name="connsiteX831" fmla="*/ 1098419 w 2066673"/>
              <a:gd name="connsiteY831" fmla="*/ 1332542 h 1353078"/>
              <a:gd name="connsiteX832" fmla="*/ 1096136 w 2066673"/>
              <a:gd name="connsiteY832" fmla="*/ 1332542 h 1353078"/>
              <a:gd name="connsiteX833" fmla="*/ 1096136 w 2066673"/>
              <a:gd name="connsiteY833" fmla="*/ 1330260 h 1353078"/>
              <a:gd name="connsiteX834" fmla="*/ 1091568 w 2066673"/>
              <a:gd name="connsiteY834" fmla="*/ 1332542 h 1353078"/>
              <a:gd name="connsiteX835" fmla="*/ 1089285 w 2066673"/>
              <a:gd name="connsiteY835" fmla="*/ 1332542 h 1353078"/>
              <a:gd name="connsiteX836" fmla="*/ 1084718 w 2066673"/>
              <a:gd name="connsiteY836" fmla="*/ 1332542 h 1353078"/>
              <a:gd name="connsiteX837" fmla="*/ 1068732 w 2066673"/>
              <a:gd name="connsiteY837" fmla="*/ 1330260 h 1353078"/>
              <a:gd name="connsiteX838" fmla="*/ 1064165 w 2066673"/>
              <a:gd name="connsiteY838" fmla="*/ 1334824 h 1353078"/>
              <a:gd name="connsiteX839" fmla="*/ 1061882 w 2066673"/>
              <a:gd name="connsiteY839" fmla="*/ 1337105 h 1353078"/>
              <a:gd name="connsiteX840" fmla="*/ 1059598 w 2066673"/>
              <a:gd name="connsiteY840" fmla="*/ 1341669 h 1353078"/>
              <a:gd name="connsiteX841" fmla="*/ 1057314 w 2066673"/>
              <a:gd name="connsiteY841" fmla="*/ 1341669 h 1353078"/>
              <a:gd name="connsiteX842" fmla="*/ 1045897 w 2066673"/>
              <a:gd name="connsiteY842" fmla="*/ 1346233 h 1353078"/>
              <a:gd name="connsiteX843" fmla="*/ 1041329 w 2066673"/>
              <a:gd name="connsiteY843" fmla="*/ 1327978 h 1353078"/>
              <a:gd name="connsiteX844" fmla="*/ 1018493 w 2066673"/>
              <a:gd name="connsiteY844" fmla="*/ 1337105 h 1353078"/>
              <a:gd name="connsiteX845" fmla="*/ 1023061 w 2066673"/>
              <a:gd name="connsiteY845" fmla="*/ 1334824 h 1353078"/>
              <a:gd name="connsiteX846" fmla="*/ 1025344 w 2066673"/>
              <a:gd name="connsiteY846" fmla="*/ 1330260 h 1353078"/>
              <a:gd name="connsiteX847" fmla="*/ 1027628 w 2066673"/>
              <a:gd name="connsiteY847" fmla="*/ 1325696 h 1353078"/>
              <a:gd name="connsiteX848" fmla="*/ 1029911 w 2066673"/>
              <a:gd name="connsiteY848" fmla="*/ 1321132 h 1353078"/>
              <a:gd name="connsiteX849" fmla="*/ 1034478 w 2066673"/>
              <a:gd name="connsiteY849" fmla="*/ 1307450 h 1353078"/>
              <a:gd name="connsiteX850" fmla="*/ 1032195 w 2066673"/>
              <a:gd name="connsiteY850" fmla="*/ 1305168 h 1353078"/>
              <a:gd name="connsiteX851" fmla="*/ 1032195 w 2066673"/>
              <a:gd name="connsiteY851" fmla="*/ 1300605 h 1353078"/>
              <a:gd name="connsiteX852" fmla="*/ 1027628 w 2066673"/>
              <a:gd name="connsiteY852" fmla="*/ 1302887 h 1353078"/>
              <a:gd name="connsiteX853" fmla="*/ 1025344 w 2066673"/>
              <a:gd name="connsiteY853" fmla="*/ 1302887 h 1353078"/>
              <a:gd name="connsiteX854" fmla="*/ 1023061 w 2066673"/>
              <a:gd name="connsiteY854" fmla="*/ 1302887 h 1353078"/>
              <a:gd name="connsiteX855" fmla="*/ 1020777 w 2066673"/>
              <a:gd name="connsiteY855" fmla="*/ 1302887 h 1353078"/>
              <a:gd name="connsiteX856" fmla="*/ 1018493 w 2066673"/>
              <a:gd name="connsiteY856" fmla="*/ 1302887 h 1353078"/>
              <a:gd name="connsiteX857" fmla="*/ 1016210 w 2066673"/>
              <a:gd name="connsiteY857" fmla="*/ 1305168 h 1353078"/>
              <a:gd name="connsiteX858" fmla="*/ 1013926 w 2066673"/>
              <a:gd name="connsiteY858" fmla="*/ 1305168 h 1353078"/>
              <a:gd name="connsiteX859" fmla="*/ 1011643 w 2066673"/>
              <a:gd name="connsiteY859" fmla="*/ 1305168 h 1353078"/>
              <a:gd name="connsiteX860" fmla="*/ 1009359 w 2066673"/>
              <a:gd name="connsiteY860" fmla="*/ 1307450 h 1353078"/>
              <a:gd name="connsiteX861" fmla="*/ 1004792 w 2066673"/>
              <a:gd name="connsiteY861" fmla="*/ 1307450 h 1353078"/>
              <a:gd name="connsiteX862" fmla="*/ 1004792 w 2066673"/>
              <a:gd name="connsiteY862" fmla="*/ 1300605 h 1353078"/>
              <a:gd name="connsiteX863" fmla="*/ 1002508 w 2066673"/>
              <a:gd name="connsiteY863" fmla="*/ 1293759 h 1353078"/>
              <a:gd name="connsiteX864" fmla="*/ 1002508 w 2066673"/>
              <a:gd name="connsiteY864" fmla="*/ 1296041 h 1353078"/>
              <a:gd name="connsiteX865" fmla="*/ 1000224 w 2066673"/>
              <a:gd name="connsiteY865" fmla="*/ 1296041 h 1353078"/>
              <a:gd name="connsiteX866" fmla="*/ 1000224 w 2066673"/>
              <a:gd name="connsiteY866" fmla="*/ 1293759 h 1353078"/>
              <a:gd name="connsiteX867" fmla="*/ 997941 w 2066673"/>
              <a:gd name="connsiteY867" fmla="*/ 1293759 h 1353078"/>
              <a:gd name="connsiteX868" fmla="*/ 997941 w 2066673"/>
              <a:gd name="connsiteY868" fmla="*/ 1291477 h 1353078"/>
              <a:gd name="connsiteX869" fmla="*/ 997941 w 2066673"/>
              <a:gd name="connsiteY869" fmla="*/ 1293759 h 1353078"/>
              <a:gd name="connsiteX870" fmla="*/ 995657 w 2066673"/>
              <a:gd name="connsiteY870" fmla="*/ 1293759 h 1353078"/>
              <a:gd name="connsiteX871" fmla="*/ 993374 w 2066673"/>
              <a:gd name="connsiteY871" fmla="*/ 1291477 h 1353078"/>
              <a:gd name="connsiteX872" fmla="*/ 991090 w 2066673"/>
              <a:gd name="connsiteY872" fmla="*/ 1291477 h 1353078"/>
              <a:gd name="connsiteX873" fmla="*/ 991090 w 2066673"/>
              <a:gd name="connsiteY873" fmla="*/ 1289195 h 1353078"/>
              <a:gd name="connsiteX874" fmla="*/ 988807 w 2066673"/>
              <a:gd name="connsiteY874" fmla="*/ 1291477 h 1353078"/>
              <a:gd name="connsiteX875" fmla="*/ 984239 w 2066673"/>
              <a:gd name="connsiteY875" fmla="*/ 1289195 h 1353078"/>
              <a:gd name="connsiteX876" fmla="*/ 981956 w 2066673"/>
              <a:gd name="connsiteY876" fmla="*/ 1284631 h 1353078"/>
              <a:gd name="connsiteX877" fmla="*/ 984239 w 2066673"/>
              <a:gd name="connsiteY877" fmla="*/ 1284631 h 1353078"/>
              <a:gd name="connsiteX878" fmla="*/ 984239 w 2066673"/>
              <a:gd name="connsiteY878" fmla="*/ 1282349 h 1353078"/>
              <a:gd name="connsiteX879" fmla="*/ 984239 w 2066673"/>
              <a:gd name="connsiteY879" fmla="*/ 1280068 h 1353078"/>
              <a:gd name="connsiteX880" fmla="*/ 981956 w 2066673"/>
              <a:gd name="connsiteY880" fmla="*/ 1280068 h 1353078"/>
              <a:gd name="connsiteX881" fmla="*/ 981956 w 2066673"/>
              <a:gd name="connsiteY881" fmla="*/ 1277786 h 1353078"/>
              <a:gd name="connsiteX882" fmla="*/ 981956 w 2066673"/>
              <a:gd name="connsiteY882" fmla="*/ 1275504 h 1353078"/>
              <a:gd name="connsiteX883" fmla="*/ 984239 w 2066673"/>
              <a:gd name="connsiteY883" fmla="*/ 1273222 h 1353078"/>
              <a:gd name="connsiteX884" fmla="*/ 984239 w 2066673"/>
              <a:gd name="connsiteY884" fmla="*/ 1270940 h 1353078"/>
              <a:gd name="connsiteX885" fmla="*/ 984239 w 2066673"/>
              <a:gd name="connsiteY885" fmla="*/ 1268658 h 1353078"/>
              <a:gd name="connsiteX886" fmla="*/ 984239 w 2066673"/>
              <a:gd name="connsiteY886" fmla="*/ 1266376 h 1353078"/>
              <a:gd name="connsiteX887" fmla="*/ 986523 w 2066673"/>
              <a:gd name="connsiteY887" fmla="*/ 1264094 h 1353078"/>
              <a:gd name="connsiteX888" fmla="*/ 986523 w 2066673"/>
              <a:gd name="connsiteY888" fmla="*/ 1261812 h 1353078"/>
              <a:gd name="connsiteX889" fmla="*/ 986523 w 2066673"/>
              <a:gd name="connsiteY889" fmla="*/ 1259531 h 1353078"/>
              <a:gd name="connsiteX890" fmla="*/ 986523 w 2066673"/>
              <a:gd name="connsiteY890" fmla="*/ 1257249 h 1353078"/>
              <a:gd name="connsiteX891" fmla="*/ 986523 w 2066673"/>
              <a:gd name="connsiteY891" fmla="*/ 1254967 h 1353078"/>
              <a:gd name="connsiteX892" fmla="*/ 986523 w 2066673"/>
              <a:gd name="connsiteY892" fmla="*/ 1252685 h 1353078"/>
              <a:gd name="connsiteX893" fmla="*/ 986523 w 2066673"/>
              <a:gd name="connsiteY893" fmla="*/ 1250403 h 1353078"/>
              <a:gd name="connsiteX894" fmla="*/ 986523 w 2066673"/>
              <a:gd name="connsiteY894" fmla="*/ 1248121 h 1353078"/>
              <a:gd name="connsiteX895" fmla="*/ 986523 w 2066673"/>
              <a:gd name="connsiteY895" fmla="*/ 1245839 h 1353078"/>
              <a:gd name="connsiteX896" fmla="*/ 986523 w 2066673"/>
              <a:gd name="connsiteY896" fmla="*/ 1243557 h 1353078"/>
              <a:gd name="connsiteX897" fmla="*/ 986523 w 2066673"/>
              <a:gd name="connsiteY897" fmla="*/ 1241275 h 1353078"/>
              <a:gd name="connsiteX898" fmla="*/ 986523 w 2066673"/>
              <a:gd name="connsiteY898" fmla="*/ 1238993 h 1353078"/>
              <a:gd name="connsiteX899" fmla="*/ 986523 w 2066673"/>
              <a:gd name="connsiteY899" fmla="*/ 1236712 h 1353078"/>
              <a:gd name="connsiteX900" fmla="*/ 986523 w 2066673"/>
              <a:gd name="connsiteY900" fmla="*/ 1234430 h 1353078"/>
              <a:gd name="connsiteX901" fmla="*/ 986523 w 2066673"/>
              <a:gd name="connsiteY901" fmla="*/ 1232148 h 1353078"/>
              <a:gd name="connsiteX902" fmla="*/ 991090 w 2066673"/>
              <a:gd name="connsiteY902" fmla="*/ 1234430 h 1353078"/>
              <a:gd name="connsiteX903" fmla="*/ 993374 w 2066673"/>
              <a:gd name="connsiteY903" fmla="*/ 1234430 h 1353078"/>
              <a:gd name="connsiteX904" fmla="*/ 997941 w 2066673"/>
              <a:gd name="connsiteY904" fmla="*/ 1234430 h 1353078"/>
              <a:gd name="connsiteX905" fmla="*/ 997941 w 2066673"/>
              <a:gd name="connsiteY905" fmla="*/ 1236712 h 1353078"/>
              <a:gd name="connsiteX906" fmla="*/ 1002508 w 2066673"/>
              <a:gd name="connsiteY906" fmla="*/ 1236712 h 1353078"/>
              <a:gd name="connsiteX907" fmla="*/ 1004792 w 2066673"/>
              <a:gd name="connsiteY907" fmla="*/ 1236712 h 1353078"/>
              <a:gd name="connsiteX908" fmla="*/ 1002508 w 2066673"/>
              <a:gd name="connsiteY908" fmla="*/ 1232148 h 1353078"/>
              <a:gd name="connsiteX909" fmla="*/ 1007075 w 2066673"/>
              <a:gd name="connsiteY909" fmla="*/ 1229866 h 1353078"/>
              <a:gd name="connsiteX910" fmla="*/ 1009359 w 2066673"/>
              <a:gd name="connsiteY910" fmla="*/ 1227584 h 1353078"/>
              <a:gd name="connsiteX911" fmla="*/ 1011643 w 2066673"/>
              <a:gd name="connsiteY911" fmla="*/ 1227584 h 1353078"/>
              <a:gd name="connsiteX912" fmla="*/ 1016210 w 2066673"/>
              <a:gd name="connsiteY912" fmla="*/ 1225302 h 1353078"/>
              <a:gd name="connsiteX913" fmla="*/ 1018493 w 2066673"/>
              <a:gd name="connsiteY913" fmla="*/ 1223020 h 1353078"/>
              <a:gd name="connsiteX914" fmla="*/ 1016210 w 2066673"/>
              <a:gd name="connsiteY914" fmla="*/ 1220738 h 1353078"/>
              <a:gd name="connsiteX915" fmla="*/ 1013926 w 2066673"/>
              <a:gd name="connsiteY915" fmla="*/ 1218456 h 1353078"/>
              <a:gd name="connsiteX916" fmla="*/ 1011643 w 2066673"/>
              <a:gd name="connsiteY916" fmla="*/ 1218456 h 1353078"/>
              <a:gd name="connsiteX917" fmla="*/ 1009359 w 2066673"/>
              <a:gd name="connsiteY917" fmla="*/ 1216175 h 1353078"/>
              <a:gd name="connsiteX918" fmla="*/ 1009359 w 2066673"/>
              <a:gd name="connsiteY918" fmla="*/ 1218456 h 1353078"/>
              <a:gd name="connsiteX919" fmla="*/ 1007075 w 2066673"/>
              <a:gd name="connsiteY919" fmla="*/ 1216175 h 1353078"/>
              <a:gd name="connsiteX920" fmla="*/ 1007075 w 2066673"/>
              <a:gd name="connsiteY920" fmla="*/ 1218456 h 1353078"/>
              <a:gd name="connsiteX921" fmla="*/ 1004792 w 2066673"/>
              <a:gd name="connsiteY921" fmla="*/ 1218456 h 1353078"/>
              <a:gd name="connsiteX922" fmla="*/ 1004792 w 2066673"/>
              <a:gd name="connsiteY922" fmla="*/ 1216175 h 1353078"/>
              <a:gd name="connsiteX923" fmla="*/ 1004792 w 2066673"/>
              <a:gd name="connsiteY923" fmla="*/ 1218456 h 1353078"/>
              <a:gd name="connsiteX924" fmla="*/ 1002508 w 2066673"/>
              <a:gd name="connsiteY924" fmla="*/ 1218456 h 1353078"/>
              <a:gd name="connsiteX925" fmla="*/ 1002508 w 2066673"/>
              <a:gd name="connsiteY925" fmla="*/ 1216175 h 1353078"/>
              <a:gd name="connsiteX926" fmla="*/ 1002508 w 2066673"/>
              <a:gd name="connsiteY926" fmla="*/ 1213893 h 1353078"/>
              <a:gd name="connsiteX927" fmla="*/ 1004792 w 2066673"/>
              <a:gd name="connsiteY927" fmla="*/ 1213893 h 1353078"/>
              <a:gd name="connsiteX928" fmla="*/ 1002508 w 2066673"/>
              <a:gd name="connsiteY928" fmla="*/ 1211611 h 1353078"/>
              <a:gd name="connsiteX929" fmla="*/ 1000224 w 2066673"/>
              <a:gd name="connsiteY929" fmla="*/ 1209329 h 1353078"/>
              <a:gd name="connsiteX930" fmla="*/ 1000224 w 2066673"/>
              <a:gd name="connsiteY930" fmla="*/ 1207047 h 1353078"/>
              <a:gd name="connsiteX931" fmla="*/ 997941 w 2066673"/>
              <a:gd name="connsiteY931" fmla="*/ 1204765 h 1353078"/>
              <a:gd name="connsiteX932" fmla="*/ 997941 w 2066673"/>
              <a:gd name="connsiteY932" fmla="*/ 1202483 h 1353078"/>
              <a:gd name="connsiteX933" fmla="*/ 995657 w 2066673"/>
              <a:gd name="connsiteY933" fmla="*/ 1202483 h 1353078"/>
              <a:gd name="connsiteX934" fmla="*/ 993374 w 2066673"/>
              <a:gd name="connsiteY934" fmla="*/ 1202483 h 1353078"/>
              <a:gd name="connsiteX935" fmla="*/ 991090 w 2066673"/>
              <a:gd name="connsiteY935" fmla="*/ 1202483 h 1353078"/>
              <a:gd name="connsiteX936" fmla="*/ 991090 w 2066673"/>
              <a:gd name="connsiteY936" fmla="*/ 1200201 h 1353078"/>
              <a:gd name="connsiteX937" fmla="*/ 988807 w 2066673"/>
              <a:gd name="connsiteY937" fmla="*/ 1200201 h 1353078"/>
              <a:gd name="connsiteX938" fmla="*/ 986523 w 2066673"/>
              <a:gd name="connsiteY938" fmla="*/ 1200201 h 1353078"/>
              <a:gd name="connsiteX939" fmla="*/ 984239 w 2066673"/>
              <a:gd name="connsiteY939" fmla="*/ 1200201 h 1353078"/>
              <a:gd name="connsiteX940" fmla="*/ 981956 w 2066673"/>
              <a:gd name="connsiteY940" fmla="*/ 1197919 h 1353078"/>
              <a:gd name="connsiteX941" fmla="*/ 979672 w 2066673"/>
              <a:gd name="connsiteY941" fmla="*/ 1197919 h 1353078"/>
              <a:gd name="connsiteX942" fmla="*/ 977389 w 2066673"/>
              <a:gd name="connsiteY942" fmla="*/ 1197919 h 1353078"/>
              <a:gd name="connsiteX943" fmla="*/ 975105 w 2066673"/>
              <a:gd name="connsiteY943" fmla="*/ 1197919 h 1353078"/>
              <a:gd name="connsiteX944" fmla="*/ 975105 w 2066673"/>
              <a:gd name="connsiteY944" fmla="*/ 1200201 h 1353078"/>
              <a:gd name="connsiteX945" fmla="*/ 972822 w 2066673"/>
              <a:gd name="connsiteY945" fmla="*/ 1200201 h 1353078"/>
              <a:gd name="connsiteX946" fmla="*/ 970538 w 2066673"/>
              <a:gd name="connsiteY946" fmla="*/ 1200201 h 1353078"/>
              <a:gd name="connsiteX947" fmla="*/ 968254 w 2066673"/>
              <a:gd name="connsiteY947" fmla="*/ 1202483 h 1353078"/>
              <a:gd name="connsiteX948" fmla="*/ 965971 w 2066673"/>
              <a:gd name="connsiteY948" fmla="*/ 1202483 h 1353078"/>
              <a:gd name="connsiteX949" fmla="*/ 963687 w 2066673"/>
              <a:gd name="connsiteY949" fmla="*/ 1204765 h 1353078"/>
              <a:gd name="connsiteX950" fmla="*/ 961403 w 2066673"/>
              <a:gd name="connsiteY950" fmla="*/ 1204765 h 1353078"/>
              <a:gd name="connsiteX951" fmla="*/ 961403 w 2066673"/>
              <a:gd name="connsiteY951" fmla="*/ 1202483 h 1353078"/>
              <a:gd name="connsiteX952" fmla="*/ 961403 w 2066673"/>
              <a:gd name="connsiteY952" fmla="*/ 1204765 h 1353078"/>
              <a:gd name="connsiteX953" fmla="*/ 959120 w 2066673"/>
              <a:gd name="connsiteY953" fmla="*/ 1202483 h 1353078"/>
              <a:gd name="connsiteX954" fmla="*/ 959120 w 2066673"/>
              <a:gd name="connsiteY954" fmla="*/ 1200201 h 1353078"/>
              <a:gd name="connsiteX955" fmla="*/ 959120 w 2066673"/>
              <a:gd name="connsiteY955" fmla="*/ 1197919 h 1353078"/>
              <a:gd name="connsiteX956" fmla="*/ 956836 w 2066673"/>
              <a:gd name="connsiteY956" fmla="*/ 1197919 h 1353078"/>
              <a:gd name="connsiteX957" fmla="*/ 956836 w 2066673"/>
              <a:gd name="connsiteY957" fmla="*/ 1195637 h 1353078"/>
              <a:gd name="connsiteX958" fmla="*/ 956836 w 2066673"/>
              <a:gd name="connsiteY958" fmla="*/ 1193356 h 1353078"/>
              <a:gd name="connsiteX959" fmla="*/ 954553 w 2066673"/>
              <a:gd name="connsiteY959" fmla="*/ 1193356 h 1353078"/>
              <a:gd name="connsiteX960" fmla="*/ 954553 w 2066673"/>
              <a:gd name="connsiteY960" fmla="*/ 1191074 h 1353078"/>
              <a:gd name="connsiteX961" fmla="*/ 954553 w 2066673"/>
              <a:gd name="connsiteY961" fmla="*/ 1188792 h 1353078"/>
              <a:gd name="connsiteX962" fmla="*/ 952269 w 2066673"/>
              <a:gd name="connsiteY962" fmla="*/ 1186510 h 1353078"/>
              <a:gd name="connsiteX963" fmla="*/ 952269 w 2066673"/>
              <a:gd name="connsiteY963" fmla="*/ 1184228 h 1353078"/>
              <a:gd name="connsiteX964" fmla="*/ 952269 w 2066673"/>
              <a:gd name="connsiteY964" fmla="*/ 1181946 h 1353078"/>
              <a:gd name="connsiteX965" fmla="*/ 947702 w 2066673"/>
              <a:gd name="connsiteY965" fmla="*/ 1175100 h 1353078"/>
              <a:gd name="connsiteX966" fmla="*/ 945418 w 2066673"/>
              <a:gd name="connsiteY966" fmla="*/ 1175100 h 1353078"/>
              <a:gd name="connsiteX967" fmla="*/ 938568 w 2066673"/>
              <a:gd name="connsiteY967" fmla="*/ 1177382 h 1353078"/>
              <a:gd name="connsiteX968" fmla="*/ 936284 w 2066673"/>
              <a:gd name="connsiteY968" fmla="*/ 1172818 h 1353078"/>
              <a:gd name="connsiteX969" fmla="*/ 938568 w 2066673"/>
              <a:gd name="connsiteY969" fmla="*/ 1172818 h 1353078"/>
              <a:gd name="connsiteX970" fmla="*/ 936284 w 2066673"/>
              <a:gd name="connsiteY970" fmla="*/ 1168255 h 1353078"/>
              <a:gd name="connsiteX971" fmla="*/ 931717 w 2066673"/>
              <a:gd name="connsiteY971" fmla="*/ 1156855 h 1353078"/>
              <a:gd name="connsiteX972" fmla="*/ 934000 w 2066673"/>
              <a:gd name="connsiteY972" fmla="*/ 1154573 h 1353078"/>
              <a:gd name="connsiteX973" fmla="*/ 936284 w 2066673"/>
              <a:gd name="connsiteY973" fmla="*/ 1154573 h 1353078"/>
              <a:gd name="connsiteX974" fmla="*/ 938568 w 2066673"/>
              <a:gd name="connsiteY974" fmla="*/ 1152291 h 1353078"/>
              <a:gd name="connsiteX975" fmla="*/ 940851 w 2066673"/>
              <a:gd name="connsiteY975" fmla="*/ 1152291 h 1353078"/>
              <a:gd name="connsiteX976" fmla="*/ 943135 w 2066673"/>
              <a:gd name="connsiteY976" fmla="*/ 1152291 h 1353078"/>
              <a:gd name="connsiteX977" fmla="*/ 945418 w 2066673"/>
              <a:gd name="connsiteY977" fmla="*/ 1150009 h 1353078"/>
              <a:gd name="connsiteX978" fmla="*/ 947702 w 2066673"/>
              <a:gd name="connsiteY978" fmla="*/ 1147727 h 1353078"/>
              <a:gd name="connsiteX979" fmla="*/ 949985 w 2066673"/>
              <a:gd name="connsiteY979" fmla="*/ 1147727 h 1353078"/>
              <a:gd name="connsiteX980" fmla="*/ 947702 w 2066673"/>
              <a:gd name="connsiteY980" fmla="*/ 1143163 h 1353078"/>
              <a:gd name="connsiteX981" fmla="*/ 945418 w 2066673"/>
              <a:gd name="connsiteY981" fmla="*/ 1136318 h 1353078"/>
              <a:gd name="connsiteX982" fmla="*/ 943135 w 2066673"/>
              <a:gd name="connsiteY982" fmla="*/ 1134036 h 1353078"/>
              <a:gd name="connsiteX983" fmla="*/ 940851 w 2066673"/>
              <a:gd name="connsiteY983" fmla="*/ 1136318 h 1353078"/>
              <a:gd name="connsiteX984" fmla="*/ 936284 w 2066673"/>
              <a:gd name="connsiteY984" fmla="*/ 1138600 h 1353078"/>
              <a:gd name="connsiteX985" fmla="*/ 934000 w 2066673"/>
              <a:gd name="connsiteY985" fmla="*/ 1138600 h 1353078"/>
              <a:gd name="connsiteX986" fmla="*/ 927149 w 2066673"/>
              <a:gd name="connsiteY986" fmla="*/ 1140881 h 1353078"/>
              <a:gd name="connsiteX987" fmla="*/ 915732 w 2066673"/>
              <a:gd name="connsiteY987" fmla="*/ 1147727 h 1353078"/>
              <a:gd name="connsiteX988" fmla="*/ 913448 w 2066673"/>
              <a:gd name="connsiteY988" fmla="*/ 1147727 h 1353078"/>
              <a:gd name="connsiteX989" fmla="*/ 911164 w 2066673"/>
              <a:gd name="connsiteY989" fmla="*/ 1140881 h 1353078"/>
              <a:gd name="connsiteX990" fmla="*/ 904314 w 2066673"/>
              <a:gd name="connsiteY990" fmla="*/ 1138600 h 1353078"/>
              <a:gd name="connsiteX991" fmla="*/ 902030 w 2066673"/>
              <a:gd name="connsiteY991" fmla="*/ 1138600 h 1353078"/>
              <a:gd name="connsiteX992" fmla="*/ 890612 w 2066673"/>
              <a:gd name="connsiteY992" fmla="*/ 1138600 h 1353078"/>
              <a:gd name="connsiteX993" fmla="*/ 883761 w 2066673"/>
              <a:gd name="connsiteY993" fmla="*/ 1138600 h 1353078"/>
              <a:gd name="connsiteX994" fmla="*/ 881478 w 2066673"/>
              <a:gd name="connsiteY994" fmla="*/ 1138600 h 1353078"/>
              <a:gd name="connsiteX995" fmla="*/ 879194 w 2066673"/>
              <a:gd name="connsiteY995" fmla="*/ 1140881 h 1353078"/>
              <a:gd name="connsiteX996" fmla="*/ 872343 w 2066673"/>
              <a:gd name="connsiteY996" fmla="*/ 1147727 h 1353078"/>
              <a:gd name="connsiteX997" fmla="*/ 867776 w 2066673"/>
              <a:gd name="connsiteY997" fmla="*/ 1152291 h 1353078"/>
              <a:gd name="connsiteX998" fmla="*/ 865492 w 2066673"/>
              <a:gd name="connsiteY998" fmla="*/ 1154573 h 1353078"/>
              <a:gd name="connsiteX999" fmla="*/ 860925 w 2066673"/>
              <a:gd name="connsiteY999" fmla="*/ 1156855 h 1353078"/>
              <a:gd name="connsiteX1000" fmla="*/ 858642 w 2066673"/>
              <a:gd name="connsiteY1000" fmla="*/ 1156855 h 1353078"/>
              <a:gd name="connsiteX1001" fmla="*/ 854074 w 2066673"/>
              <a:gd name="connsiteY1001" fmla="*/ 1159137 h 1353078"/>
              <a:gd name="connsiteX1002" fmla="*/ 851791 w 2066673"/>
              <a:gd name="connsiteY1002" fmla="*/ 1159137 h 1353078"/>
              <a:gd name="connsiteX1003" fmla="*/ 847224 w 2066673"/>
              <a:gd name="connsiteY1003" fmla="*/ 1161419 h 1353078"/>
              <a:gd name="connsiteX1004" fmla="*/ 844940 w 2066673"/>
              <a:gd name="connsiteY1004" fmla="*/ 1161419 h 1353078"/>
              <a:gd name="connsiteX1005" fmla="*/ 840373 w 2066673"/>
              <a:gd name="connsiteY1005" fmla="*/ 1163700 h 1353078"/>
              <a:gd name="connsiteX1006" fmla="*/ 838089 w 2066673"/>
              <a:gd name="connsiteY1006" fmla="*/ 1163700 h 1353078"/>
              <a:gd name="connsiteX1007" fmla="*/ 835806 w 2066673"/>
              <a:gd name="connsiteY1007" fmla="*/ 1165973 h 1353078"/>
              <a:gd name="connsiteX1008" fmla="*/ 833522 w 2066673"/>
              <a:gd name="connsiteY1008" fmla="*/ 1168255 h 1353078"/>
              <a:gd name="connsiteX1009" fmla="*/ 831238 w 2066673"/>
              <a:gd name="connsiteY1009" fmla="*/ 1168255 h 1353078"/>
              <a:gd name="connsiteX1010" fmla="*/ 828955 w 2066673"/>
              <a:gd name="connsiteY1010" fmla="*/ 1170537 h 1353078"/>
              <a:gd name="connsiteX1011" fmla="*/ 826671 w 2066673"/>
              <a:gd name="connsiteY1011" fmla="*/ 1172818 h 1353078"/>
              <a:gd name="connsiteX1012" fmla="*/ 824388 w 2066673"/>
              <a:gd name="connsiteY1012" fmla="*/ 1175100 h 1353078"/>
              <a:gd name="connsiteX1013" fmla="*/ 824388 w 2066673"/>
              <a:gd name="connsiteY1013" fmla="*/ 1177382 h 1353078"/>
              <a:gd name="connsiteX1014" fmla="*/ 828955 w 2066673"/>
              <a:gd name="connsiteY1014" fmla="*/ 1184228 h 1353078"/>
              <a:gd name="connsiteX1015" fmla="*/ 828955 w 2066673"/>
              <a:gd name="connsiteY1015" fmla="*/ 1186510 h 1353078"/>
              <a:gd name="connsiteX1016" fmla="*/ 831238 w 2066673"/>
              <a:gd name="connsiteY1016" fmla="*/ 1193356 h 1353078"/>
              <a:gd name="connsiteX1017" fmla="*/ 833522 w 2066673"/>
              <a:gd name="connsiteY1017" fmla="*/ 1195637 h 1353078"/>
              <a:gd name="connsiteX1018" fmla="*/ 833522 w 2066673"/>
              <a:gd name="connsiteY1018" fmla="*/ 1197919 h 1353078"/>
              <a:gd name="connsiteX1019" fmla="*/ 824388 w 2066673"/>
              <a:gd name="connsiteY1019" fmla="*/ 1197919 h 1353078"/>
              <a:gd name="connsiteX1020" fmla="*/ 824388 w 2066673"/>
              <a:gd name="connsiteY1020" fmla="*/ 1202483 h 1353078"/>
              <a:gd name="connsiteX1021" fmla="*/ 819820 w 2066673"/>
              <a:gd name="connsiteY1021" fmla="*/ 1202483 h 1353078"/>
              <a:gd name="connsiteX1022" fmla="*/ 815253 w 2066673"/>
              <a:gd name="connsiteY1022" fmla="*/ 1202483 h 1353078"/>
              <a:gd name="connsiteX1023" fmla="*/ 808403 w 2066673"/>
              <a:gd name="connsiteY1023" fmla="*/ 1204765 h 1353078"/>
              <a:gd name="connsiteX1024" fmla="*/ 806119 w 2066673"/>
              <a:gd name="connsiteY1024" fmla="*/ 1204765 h 1353078"/>
              <a:gd name="connsiteX1025" fmla="*/ 803835 w 2066673"/>
              <a:gd name="connsiteY1025" fmla="*/ 1204765 h 1353078"/>
              <a:gd name="connsiteX1026" fmla="*/ 794701 w 2066673"/>
              <a:gd name="connsiteY1026" fmla="*/ 1207047 h 1353078"/>
              <a:gd name="connsiteX1027" fmla="*/ 790134 w 2066673"/>
              <a:gd name="connsiteY1027" fmla="*/ 1207047 h 1353078"/>
              <a:gd name="connsiteX1028" fmla="*/ 787850 w 2066673"/>
              <a:gd name="connsiteY1028" fmla="*/ 1207047 h 1353078"/>
              <a:gd name="connsiteX1029" fmla="*/ 785566 w 2066673"/>
              <a:gd name="connsiteY1029" fmla="*/ 1207047 h 1353078"/>
              <a:gd name="connsiteX1030" fmla="*/ 783283 w 2066673"/>
              <a:gd name="connsiteY1030" fmla="*/ 1209329 h 1353078"/>
              <a:gd name="connsiteX1031" fmla="*/ 778716 w 2066673"/>
              <a:gd name="connsiteY1031" fmla="*/ 1209329 h 1353078"/>
              <a:gd name="connsiteX1032" fmla="*/ 774149 w 2066673"/>
              <a:gd name="connsiteY1032" fmla="*/ 1209329 h 1353078"/>
              <a:gd name="connsiteX1033" fmla="*/ 780999 w 2066673"/>
              <a:gd name="connsiteY1033" fmla="*/ 1225302 h 1353078"/>
              <a:gd name="connsiteX1034" fmla="*/ 780999 w 2066673"/>
              <a:gd name="connsiteY1034" fmla="*/ 1227584 h 1353078"/>
              <a:gd name="connsiteX1035" fmla="*/ 778716 w 2066673"/>
              <a:gd name="connsiteY1035" fmla="*/ 1227584 h 1353078"/>
              <a:gd name="connsiteX1036" fmla="*/ 771865 w 2066673"/>
              <a:gd name="connsiteY1036" fmla="*/ 1227584 h 1353078"/>
              <a:gd name="connsiteX1037" fmla="*/ 767298 w 2066673"/>
              <a:gd name="connsiteY1037" fmla="*/ 1227584 h 1353078"/>
              <a:gd name="connsiteX1038" fmla="*/ 765014 w 2066673"/>
              <a:gd name="connsiteY1038" fmla="*/ 1227584 h 1353078"/>
              <a:gd name="connsiteX1039" fmla="*/ 762730 w 2066673"/>
              <a:gd name="connsiteY1039" fmla="*/ 1227584 h 1353078"/>
              <a:gd name="connsiteX1040" fmla="*/ 762730 w 2066673"/>
              <a:gd name="connsiteY1040" fmla="*/ 1225302 h 1353078"/>
              <a:gd name="connsiteX1041" fmla="*/ 760447 w 2066673"/>
              <a:gd name="connsiteY1041" fmla="*/ 1227584 h 1353078"/>
              <a:gd name="connsiteX1042" fmla="*/ 758163 w 2066673"/>
              <a:gd name="connsiteY1042" fmla="*/ 1227584 h 1353078"/>
              <a:gd name="connsiteX1043" fmla="*/ 755880 w 2066673"/>
              <a:gd name="connsiteY1043" fmla="*/ 1227584 h 1353078"/>
              <a:gd name="connsiteX1044" fmla="*/ 753596 w 2066673"/>
              <a:gd name="connsiteY1044" fmla="*/ 1229866 h 1353078"/>
              <a:gd name="connsiteX1045" fmla="*/ 751313 w 2066673"/>
              <a:gd name="connsiteY1045" fmla="*/ 1229866 h 1353078"/>
              <a:gd name="connsiteX1046" fmla="*/ 751313 w 2066673"/>
              <a:gd name="connsiteY1046" fmla="*/ 1232148 h 1353078"/>
              <a:gd name="connsiteX1047" fmla="*/ 749029 w 2066673"/>
              <a:gd name="connsiteY1047" fmla="*/ 1232148 h 1353078"/>
              <a:gd name="connsiteX1048" fmla="*/ 746745 w 2066673"/>
              <a:gd name="connsiteY1048" fmla="*/ 1232148 h 1353078"/>
              <a:gd name="connsiteX1049" fmla="*/ 744462 w 2066673"/>
              <a:gd name="connsiteY1049" fmla="*/ 1234430 h 1353078"/>
              <a:gd name="connsiteX1050" fmla="*/ 742178 w 2066673"/>
              <a:gd name="connsiteY1050" fmla="*/ 1234430 h 1353078"/>
              <a:gd name="connsiteX1051" fmla="*/ 737611 w 2066673"/>
              <a:gd name="connsiteY1051" fmla="*/ 1236712 h 1353078"/>
              <a:gd name="connsiteX1052" fmla="*/ 742178 w 2066673"/>
              <a:gd name="connsiteY1052" fmla="*/ 1238993 h 1353078"/>
              <a:gd name="connsiteX1053" fmla="*/ 744462 w 2066673"/>
              <a:gd name="connsiteY1053" fmla="*/ 1245839 h 1353078"/>
              <a:gd name="connsiteX1054" fmla="*/ 746745 w 2066673"/>
              <a:gd name="connsiteY1054" fmla="*/ 1245839 h 1353078"/>
              <a:gd name="connsiteX1055" fmla="*/ 746745 w 2066673"/>
              <a:gd name="connsiteY1055" fmla="*/ 1248121 h 1353078"/>
              <a:gd name="connsiteX1056" fmla="*/ 749029 w 2066673"/>
              <a:gd name="connsiteY1056" fmla="*/ 1254967 h 1353078"/>
              <a:gd name="connsiteX1057" fmla="*/ 751313 w 2066673"/>
              <a:gd name="connsiteY1057" fmla="*/ 1257249 h 1353078"/>
              <a:gd name="connsiteX1058" fmla="*/ 749029 w 2066673"/>
              <a:gd name="connsiteY1058" fmla="*/ 1257249 h 1353078"/>
              <a:gd name="connsiteX1059" fmla="*/ 746745 w 2066673"/>
              <a:gd name="connsiteY1059" fmla="*/ 1257249 h 1353078"/>
              <a:gd name="connsiteX1060" fmla="*/ 744462 w 2066673"/>
              <a:gd name="connsiteY1060" fmla="*/ 1259531 h 1353078"/>
              <a:gd name="connsiteX1061" fmla="*/ 742178 w 2066673"/>
              <a:gd name="connsiteY1061" fmla="*/ 1259531 h 1353078"/>
              <a:gd name="connsiteX1062" fmla="*/ 749029 w 2066673"/>
              <a:gd name="connsiteY1062" fmla="*/ 1259531 h 1353078"/>
              <a:gd name="connsiteX1063" fmla="*/ 758163 w 2066673"/>
              <a:gd name="connsiteY1063" fmla="*/ 1257249 h 1353078"/>
              <a:gd name="connsiteX1064" fmla="*/ 765014 w 2066673"/>
              <a:gd name="connsiteY1064" fmla="*/ 1257249 h 1353078"/>
              <a:gd name="connsiteX1065" fmla="*/ 769581 w 2066673"/>
              <a:gd name="connsiteY1065" fmla="*/ 1254967 h 1353078"/>
              <a:gd name="connsiteX1066" fmla="*/ 774149 w 2066673"/>
              <a:gd name="connsiteY1066" fmla="*/ 1252685 h 1353078"/>
              <a:gd name="connsiteX1067" fmla="*/ 783283 w 2066673"/>
              <a:gd name="connsiteY1067" fmla="*/ 1248121 h 1353078"/>
              <a:gd name="connsiteX1068" fmla="*/ 785566 w 2066673"/>
              <a:gd name="connsiteY1068" fmla="*/ 1245839 h 1353078"/>
              <a:gd name="connsiteX1069" fmla="*/ 787850 w 2066673"/>
              <a:gd name="connsiteY1069" fmla="*/ 1245839 h 1353078"/>
              <a:gd name="connsiteX1070" fmla="*/ 790134 w 2066673"/>
              <a:gd name="connsiteY1070" fmla="*/ 1245839 h 1353078"/>
              <a:gd name="connsiteX1071" fmla="*/ 792417 w 2066673"/>
              <a:gd name="connsiteY1071" fmla="*/ 1243557 h 1353078"/>
              <a:gd name="connsiteX1072" fmla="*/ 794701 w 2066673"/>
              <a:gd name="connsiteY1072" fmla="*/ 1243557 h 1353078"/>
              <a:gd name="connsiteX1073" fmla="*/ 796984 w 2066673"/>
              <a:gd name="connsiteY1073" fmla="*/ 1236712 h 1353078"/>
              <a:gd name="connsiteX1074" fmla="*/ 796984 w 2066673"/>
              <a:gd name="connsiteY1074" fmla="*/ 1234430 h 1353078"/>
              <a:gd name="connsiteX1075" fmla="*/ 806119 w 2066673"/>
              <a:gd name="connsiteY1075" fmla="*/ 1234430 h 1353078"/>
              <a:gd name="connsiteX1076" fmla="*/ 810686 w 2066673"/>
              <a:gd name="connsiteY1076" fmla="*/ 1234430 h 1353078"/>
              <a:gd name="connsiteX1077" fmla="*/ 810686 w 2066673"/>
              <a:gd name="connsiteY1077" fmla="*/ 1232148 h 1353078"/>
              <a:gd name="connsiteX1078" fmla="*/ 812970 w 2066673"/>
              <a:gd name="connsiteY1078" fmla="*/ 1232148 h 1353078"/>
              <a:gd name="connsiteX1079" fmla="*/ 815253 w 2066673"/>
              <a:gd name="connsiteY1079" fmla="*/ 1232148 h 1353078"/>
              <a:gd name="connsiteX1080" fmla="*/ 817537 w 2066673"/>
              <a:gd name="connsiteY1080" fmla="*/ 1232148 h 1353078"/>
              <a:gd name="connsiteX1081" fmla="*/ 819820 w 2066673"/>
              <a:gd name="connsiteY1081" fmla="*/ 1232148 h 1353078"/>
              <a:gd name="connsiteX1082" fmla="*/ 819820 w 2066673"/>
              <a:gd name="connsiteY1082" fmla="*/ 1229866 h 1353078"/>
              <a:gd name="connsiteX1083" fmla="*/ 833522 w 2066673"/>
              <a:gd name="connsiteY1083" fmla="*/ 1225302 h 1353078"/>
              <a:gd name="connsiteX1084" fmla="*/ 833522 w 2066673"/>
              <a:gd name="connsiteY1084" fmla="*/ 1223020 h 1353078"/>
              <a:gd name="connsiteX1085" fmla="*/ 835806 w 2066673"/>
              <a:gd name="connsiteY1085" fmla="*/ 1223020 h 1353078"/>
              <a:gd name="connsiteX1086" fmla="*/ 835806 w 2066673"/>
              <a:gd name="connsiteY1086" fmla="*/ 1220738 h 1353078"/>
              <a:gd name="connsiteX1087" fmla="*/ 838089 w 2066673"/>
              <a:gd name="connsiteY1087" fmla="*/ 1220738 h 1353078"/>
              <a:gd name="connsiteX1088" fmla="*/ 840373 w 2066673"/>
              <a:gd name="connsiteY1088" fmla="*/ 1220738 h 1353078"/>
              <a:gd name="connsiteX1089" fmla="*/ 840373 w 2066673"/>
              <a:gd name="connsiteY1089" fmla="*/ 1225302 h 1353078"/>
              <a:gd name="connsiteX1090" fmla="*/ 840373 w 2066673"/>
              <a:gd name="connsiteY1090" fmla="*/ 1232148 h 1353078"/>
              <a:gd name="connsiteX1091" fmla="*/ 833522 w 2066673"/>
              <a:gd name="connsiteY1091" fmla="*/ 1234430 h 1353078"/>
              <a:gd name="connsiteX1092" fmla="*/ 831238 w 2066673"/>
              <a:gd name="connsiteY1092" fmla="*/ 1234430 h 1353078"/>
              <a:gd name="connsiteX1093" fmla="*/ 828955 w 2066673"/>
              <a:gd name="connsiteY1093" fmla="*/ 1234430 h 1353078"/>
              <a:gd name="connsiteX1094" fmla="*/ 826671 w 2066673"/>
              <a:gd name="connsiteY1094" fmla="*/ 1234430 h 1353078"/>
              <a:gd name="connsiteX1095" fmla="*/ 826671 w 2066673"/>
              <a:gd name="connsiteY1095" fmla="*/ 1236712 h 1353078"/>
              <a:gd name="connsiteX1096" fmla="*/ 831238 w 2066673"/>
              <a:gd name="connsiteY1096" fmla="*/ 1241275 h 1353078"/>
              <a:gd name="connsiteX1097" fmla="*/ 833522 w 2066673"/>
              <a:gd name="connsiteY1097" fmla="*/ 1245839 h 1353078"/>
              <a:gd name="connsiteX1098" fmla="*/ 835806 w 2066673"/>
              <a:gd name="connsiteY1098" fmla="*/ 1248121 h 1353078"/>
              <a:gd name="connsiteX1099" fmla="*/ 835806 w 2066673"/>
              <a:gd name="connsiteY1099" fmla="*/ 1250403 h 1353078"/>
              <a:gd name="connsiteX1100" fmla="*/ 835806 w 2066673"/>
              <a:gd name="connsiteY1100" fmla="*/ 1252685 h 1353078"/>
              <a:gd name="connsiteX1101" fmla="*/ 838089 w 2066673"/>
              <a:gd name="connsiteY1101" fmla="*/ 1257249 h 1353078"/>
              <a:gd name="connsiteX1102" fmla="*/ 840373 w 2066673"/>
              <a:gd name="connsiteY1102" fmla="*/ 1257249 h 1353078"/>
              <a:gd name="connsiteX1103" fmla="*/ 840373 w 2066673"/>
              <a:gd name="connsiteY1103" fmla="*/ 1261812 h 1353078"/>
              <a:gd name="connsiteX1104" fmla="*/ 844940 w 2066673"/>
              <a:gd name="connsiteY1104" fmla="*/ 1261812 h 1353078"/>
              <a:gd name="connsiteX1105" fmla="*/ 849507 w 2066673"/>
              <a:gd name="connsiteY1105" fmla="*/ 1259531 h 1353078"/>
              <a:gd name="connsiteX1106" fmla="*/ 849507 w 2066673"/>
              <a:gd name="connsiteY1106" fmla="*/ 1261812 h 1353078"/>
              <a:gd name="connsiteX1107" fmla="*/ 849507 w 2066673"/>
              <a:gd name="connsiteY1107" fmla="*/ 1264094 h 1353078"/>
              <a:gd name="connsiteX1108" fmla="*/ 849507 w 2066673"/>
              <a:gd name="connsiteY1108" fmla="*/ 1266376 h 1353078"/>
              <a:gd name="connsiteX1109" fmla="*/ 849507 w 2066673"/>
              <a:gd name="connsiteY1109" fmla="*/ 1268658 h 1353078"/>
              <a:gd name="connsiteX1110" fmla="*/ 849507 w 2066673"/>
              <a:gd name="connsiteY1110" fmla="*/ 1270940 h 1353078"/>
              <a:gd name="connsiteX1111" fmla="*/ 847224 w 2066673"/>
              <a:gd name="connsiteY1111" fmla="*/ 1270940 h 1353078"/>
              <a:gd name="connsiteX1112" fmla="*/ 847224 w 2066673"/>
              <a:gd name="connsiteY1112" fmla="*/ 1273222 h 1353078"/>
              <a:gd name="connsiteX1113" fmla="*/ 847224 w 2066673"/>
              <a:gd name="connsiteY1113" fmla="*/ 1275504 h 1353078"/>
              <a:gd name="connsiteX1114" fmla="*/ 844940 w 2066673"/>
              <a:gd name="connsiteY1114" fmla="*/ 1277786 h 1353078"/>
              <a:gd name="connsiteX1115" fmla="*/ 842656 w 2066673"/>
              <a:gd name="connsiteY1115" fmla="*/ 1273222 h 1353078"/>
              <a:gd name="connsiteX1116" fmla="*/ 842656 w 2066673"/>
              <a:gd name="connsiteY1116" fmla="*/ 1270940 h 1353078"/>
              <a:gd name="connsiteX1117" fmla="*/ 842656 w 2066673"/>
              <a:gd name="connsiteY1117" fmla="*/ 1273222 h 1353078"/>
              <a:gd name="connsiteX1118" fmla="*/ 840373 w 2066673"/>
              <a:gd name="connsiteY1118" fmla="*/ 1275504 h 1353078"/>
              <a:gd name="connsiteX1119" fmla="*/ 838089 w 2066673"/>
              <a:gd name="connsiteY1119" fmla="*/ 1277786 h 1353078"/>
              <a:gd name="connsiteX1120" fmla="*/ 838089 w 2066673"/>
              <a:gd name="connsiteY1120" fmla="*/ 1280068 h 1353078"/>
              <a:gd name="connsiteX1121" fmla="*/ 835806 w 2066673"/>
              <a:gd name="connsiteY1121" fmla="*/ 1282349 h 1353078"/>
              <a:gd name="connsiteX1122" fmla="*/ 835806 w 2066673"/>
              <a:gd name="connsiteY1122" fmla="*/ 1284631 h 1353078"/>
              <a:gd name="connsiteX1123" fmla="*/ 833522 w 2066673"/>
              <a:gd name="connsiteY1123" fmla="*/ 1284631 h 1353078"/>
              <a:gd name="connsiteX1124" fmla="*/ 833522 w 2066673"/>
              <a:gd name="connsiteY1124" fmla="*/ 1286913 h 1353078"/>
              <a:gd name="connsiteX1125" fmla="*/ 833522 w 2066673"/>
              <a:gd name="connsiteY1125" fmla="*/ 1289195 h 1353078"/>
              <a:gd name="connsiteX1126" fmla="*/ 831238 w 2066673"/>
              <a:gd name="connsiteY1126" fmla="*/ 1289195 h 1353078"/>
              <a:gd name="connsiteX1127" fmla="*/ 826671 w 2066673"/>
              <a:gd name="connsiteY1127" fmla="*/ 1282349 h 1353078"/>
              <a:gd name="connsiteX1128" fmla="*/ 824388 w 2066673"/>
              <a:gd name="connsiteY1128" fmla="*/ 1280068 h 1353078"/>
              <a:gd name="connsiteX1129" fmla="*/ 822104 w 2066673"/>
              <a:gd name="connsiteY1129" fmla="*/ 1277786 h 1353078"/>
              <a:gd name="connsiteX1130" fmla="*/ 819820 w 2066673"/>
              <a:gd name="connsiteY1130" fmla="*/ 1277786 h 1353078"/>
              <a:gd name="connsiteX1131" fmla="*/ 817537 w 2066673"/>
              <a:gd name="connsiteY1131" fmla="*/ 1275504 h 1353078"/>
              <a:gd name="connsiteX1132" fmla="*/ 815253 w 2066673"/>
              <a:gd name="connsiteY1132" fmla="*/ 1275504 h 1353078"/>
              <a:gd name="connsiteX1133" fmla="*/ 810686 w 2066673"/>
              <a:gd name="connsiteY1133" fmla="*/ 1275504 h 1353078"/>
              <a:gd name="connsiteX1134" fmla="*/ 806119 w 2066673"/>
              <a:gd name="connsiteY1134" fmla="*/ 1275504 h 1353078"/>
              <a:gd name="connsiteX1135" fmla="*/ 806119 w 2066673"/>
              <a:gd name="connsiteY1135" fmla="*/ 1277786 h 1353078"/>
              <a:gd name="connsiteX1136" fmla="*/ 803835 w 2066673"/>
              <a:gd name="connsiteY1136" fmla="*/ 1277786 h 1353078"/>
              <a:gd name="connsiteX1137" fmla="*/ 801552 w 2066673"/>
              <a:gd name="connsiteY1137" fmla="*/ 1277786 h 1353078"/>
              <a:gd name="connsiteX1138" fmla="*/ 796984 w 2066673"/>
              <a:gd name="connsiteY1138" fmla="*/ 1277786 h 1353078"/>
              <a:gd name="connsiteX1139" fmla="*/ 794701 w 2066673"/>
              <a:gd name="connsiteY1139" fmla="*/ 1277786 h 1353078"/>
              <a:gd name="connsiteX1140" fmla="*/ 787850 w 2066673"/>
              <a:gd name="connsiteY1140" fmla="*/ 1277786 h 1353078"/>
              <a:gd name="connsiteX1141" fmla="*/ 785566 w 2066673"/>
              <a:gd name="connsiteY1141" fmla="*/ 1280068 h 1353078"/>
              <a:gd name="connsiteX1142" fmla="*/ 783283 w 2066673"/>
              <a:gd name="connsiteY1142" fmla="*/ 1282349 h 1353078"/>
              <a:gd name="connsiteX1143" fmla="*/ 783283 w 2066673"/>
              <a:gd name="connsiteY1143" fmla="*/ 1284631 h 1353078"/>
              <a:gd name="connsiteX1144" fmla="*/ 783283 w 2066673"/>
              <a:gd name="connsiteY1144" fmla="*/ 1286913 h 1353078"/>
              <a:gd name="connsiteX1145" fmla="*/ 783283 w 2066673"/>
              <a:gd name="connsiteY1145" fmla="*/ 1289195 h 1353078"/>
              <a:gd name="connsiteX1146" fmla="*/ 783283 w 2066673"/>
              <a:gd name="connsiteY1146" fmla="*/ 1291477 h 1353078"/>
              <a:gd name="connsiteX1147" fmla="*/ 783283 w 2066673"/>
              <a:gd name="connsiteY1147" fmla="*/ 1296041 h 1353078"/>
              <a:gd name="connsiteX1148" fmla="*/ 783283 w 2066673"/>
              <a:gd name="connsiteY1148" fmla="*/ 1300605 h 1353078"/>
              <a:gd name="connsiteX1149" fmla="*/ 771865 w 2066673"/>
              <a:gd name="connsiteY1149" fmla="*/ 1300605 h 1353078"/>
              <a:gd name="connsiteX1150" fmla="*/ 769581 w 2066673"/>
              <a:gd name="connsiteY1150" fmla="*/ 1300605 h 1353078"/>
              <a:gd name="connsiteX1151" fmla="*/ 762730 w 2066673"/>
              <a:gd name="connsiteY1151" fmla="*/ 1300605 h 1353078"/>
              <a:gd name="connsiteX1152" fmla="*/ 760447 w 2066673"/>
              <a:gd name="connsiteY1152" fmla="*/ 1300605 h 1353078"/>
              <a:gd name="connsiteX1153" fmla="*/ 758163 w 2066673"/>
              <a:gd name="connsiteY1153" fmla="*/ 1305168 h 1353078"/>
              <a:gd name="connsiteX1154" fmla="*/ 753596 w 2066673"/>
              <a:gd name="connsiteY1154" fmla="*/ 1305168 h 1353078"/>
              <a:gd name="connsiteX1155" fmla="*/ 749029 w 2066673"/>
              <a:gd name="connsiteY1155" fmla="*/ 1305168 h 1353078"/>
              <a:gd name="connsiteX1156" fmla="*/ 744462 w 2066673"/>
              <a:gd name="connsiteY1156" fmla="*/ 1305168 h 1353078"/>
              <a:gd name="connsiteX1157" fmla="*/ 742178 w 2066673"/>
              <a:gd name="connsiteY1157" fmla="*/ 1305168 h 1353078"/>
              <a:gd name="connsiteX1158" fmla="*/ 739895 w 2066673"/>
              <a:gd name="connsiteY1158" fmla="*/ 1305168 h 1353078"/>
              <a:gd name="connsiteX1159" fmla="*/ 739895 w 2066673"/>
              <a:gd name="connsiteY1159" fmla="*/ 1302887 h 1353078"/>
              <a:gd name="connsiteX1160" fmla="*/ 737611 w 2066673"/>
              <a:gd name="connsiteY1160" fmla="*/ 1300605 h 1353078"/>
              <a:gd name="connsiteX1161" fmla="*/ 737611 w 2066673"/>
              <a:gd name="connsiteY1161" fmla="*/ 1298323 h 1353078"/>
              <a:gd name="connsiteX1162" fmla="*/ 737611 w 2066673"/>
              <a:gd name="connsiteY1162" fmla="*/ 1296041 h 1353078"/>
              <a:gd name="connsiteX1163" fmla="*/ 737611 w 2066673"/>
              <a:gd name="connsiteY1163" fmla="*/ 1293759 h 1353078"/>
              <a:gd name="connsiteX1164" fmla="*/ 737611 w 2066673"/>
              <a:gd name="connsiteY1164" fmla="*/ 1291477 h 1353078"/>
              <a:gd name="connsiteX1165" fmla="*/ 721626 w 2066673"/>
              <a:gd name="connsiteY1165" fmla="*/ 1296041 h 1353078"/>
              <a:gd name="connsiteX1166" fmla="*/ 719342 w 2066673"/>
              <a:gd name="connsiteY1166" fmla="*/ 1296041 h 1353078"/>
              <a:gd name="connsiteX1167" fmla="*/ 717059 w 2066673"/>
              <a:gd name="connsiteY1167" fmla="*/ 1298323 h 1353078"/>
              <a:gd name="connsiteX1168" fmla="*/ 714775 w 2066673"/>
              <a:gd name="connsiteY1168" fmla="*/ 1298323 h 1353078"/>
              <a:gd name="connsiteX1169" fmla="*/ 707924 w 2066673"/>
              <a:gd name="connsiteY1169" fmla="*/ 1300605 h 1353078"/>
              <a:gd name="connsiteX1170" fmla="*/ 707924 w 2066673"/>
              <a:gd name="connsiteY1170" fmla="*/ 1293759 h 1353078"/>
              <a:gd name="connsiteX1171" fmla="*/ 707924 w 2066673"/>
              <a:gd name="connsiteY1171" fmla="*/ 1291477 h 1353078"/>
              <a:gd name="connsiteX1172" fmla="*/ 705641 w 2066673"/>
              <a:gd name="connsiteY1172" fmla="*/ 1289195 h 1353078"/>
              <a:gd name="connsiteX1173" fmla="*/ 703357 w 2066673"/>
              <a:gd name="connsiteY1173" fmla="*/ 1286913 h 1353078"/>
              <a:gd name="connsiteX1174" fmla="*/ 703357 w 2066673"/>
              <a:gd name="connsiteY1174" fmla="*/ 1284631 h 1353078"/>
              <a:gd name="connsiteX1175" fmla="*/ 701074 w 2066673"/>
              <a:gd name="connsiteY1175" fmla="*/ 1282349 h 1353078"/>
              <a:gd name="connsiteX1176" fmla="*/ 701074 w 2066673"/>
              <a:gd name="connsiteY1176" fmla="*/ 1280068 h 1353078"/>
              <a:gd name="connsiteX1177" fmla="*/ 698790 w 2066673"/>
              <a:gd name="connsiteY1177" fmla="*/ 1277786 h 1353078"/>
              <a:gd name="connsiteX1178" fmla="*/ 698790 w 2066673"/>
              <a:gd name="connsiteY1178" fmla="*/ 1275504 h 1353078"/>
              <a:gd name="connsiteX1179" fmla="*/ 696506 w 2066673"/>
              <a:gd name="connsiteY1179" fmla="*/ 1275504 h 1353078"/>
              <a:gd name="connsiteX1180" fmla="*/ 696506 w 2066673"/>
              <a:gd name="connsiteY1180" fmla="*/ 1273222 h 1353078"/>
              <a:gd name="connsiteX1181" fmla="*/ 694223 w 2066673"/>
              <a:gd name="connsiteY1181" fmla="*/ 1270940 h 1353078"/>
              <a:gd name="connsiteX1182" fmla="*/ 694223 w 2066673"/>
              <a:gd name="connsiteY1182" fmla="*/ 1268658 h 1353078"/>
              <a:gd name="connsiteX1183" fmla="*/ 691939 w 2066673"/>
              <a:gd name="connsiteY1183" fmla="*/ 1268658 h 1353078"/>
              <a:gd name="connsiteX1184" fmla="*/ 691939 w 2066673"/>
              <a:gd name="connsiteY1184" fmla="*/ 1266376 h 1353078"/>
              <a:gd name="connsiteX1185" fmla="*/ 691939 w 2066673"/>
              <a:gd name="connsiteY1185" fmla="*/ 1264094 h 1353078"/>
              <a:gd name="connsiteX1186" fmla="*/ 689655 w 2066673"/>
              <a:gd name="connsiteY1186" fmla="*/ 1264094 h 1353078"/>
              <a:gd name="connsiteX1187" fmla="*/ 689655 w 2066673"/>
              <a:gd name="connsiteY1187" fmla="*/ 1261812 h 1353078"/>
              <a:gd name="connsiteX1188" fmla="*/ 689655 w 2066673"/>
              <a:gd name="connsiteY1188" fmla="*/ 1259531 h 1353078"/>
              <a:gd name="connsiteX1189" fmla="*/ 685088 w 2066673"/>
              <a:gd name="connsiteY1189" fmla="*/ 1257249 h 1353078"/>
              <a:gd name="connsiteX1190" fmla="*/ 682805 w 2066673"/>
              <a:gd name="connsiteY1190" fmla="*/ 1257249 h 1353078"/>
              <a:gd name="connsiteX1191" fmla="*/ 680521 w 2066673"/>
              <a:gd name="connsiteY1191" fmla="*/ 1254967 h 1353078"/>
              <a:gd name="connsiteX1192" fmla="*/ 678237 w 2066673"/>
              <a:gd name="connsiteY1192" fmla="*/ 1254967 h 1353078"/>
              <a:gd name="connsiteX1193" fmla="*/ 675954 w 2066673"/>
              <a:gd name="connsiteY1193" fmla="*/ 1252685 h 1353078"/>
              <a:gd name="connsiteX1194" fmla="*/ 673670 w 2066673"/>
              <a:gd name="connsiteY1194" fmla="*/ 1254967 h 1353078"/>
              <a:gd name="connsiteX1195" fmla="*/ 669103 w 2066673"/>
              <a:gd name="connsiteY1195" fmla="*/ 1254967 h 1353078"/>
              <a:gd name="connsiteX1196" fmla="*/ 666820 w 2066673"/>
              <a:gd name="connsiteY1196" fmla="*/ 1254967 h 1353078"/>
              <a:gd name="connsiteX1197" fmla="*/ 664536 w 2066673"/>
              <a:gd name="connsiteY1197" fmla="*/ 1257249 h 1353078"/>
              <a:gd name="connsiteX1198" fmla="*/ 659969 w 2066673"/>
              <a:gd name="connsiteY1198" fmla="*/ 1257249 h 1353078"/>
              <a:gd name="connsiteX1199" fmla="*/ 657685 w 2066673"/>
              <a:gd name="connsiteY1199" fmla="*/ 1257249 h 1353078"/>
              <a:gd name="connsiteX1200" fmla="*/ 653118 w 2066673"/>
              <a:gd name="connsiteY1200" fmla="*/ 1257249 h 1353078"/>
              <a:gd name="connsiteX1201" fmla="*/ 650834 w 2066673"/>
              <a:gd name="connsiteY1201" fmla="*/ 1257249 h 1353078"/>
              <a:gd name="connsiteX1202" fmla="*/ 648551 w 2066673"/>
              <a:gd name="connsiteY1202" fmla="*/ 1257249 h 1353078"/>
              <a:gd name="connsiteX1203" fmla="*/ 646267 w 2066673"/>
              <a:gd name="connsiteY1203" fmla="*/ 1254967 h 1353078"/>
              <a:gd name="connsiteX1204" fmla="*/ 646267 w 2066673"/>
              <a:gd name="connsiteY1204" fmla="*/ 1252685 h 1353078"/>
              <a:gd name="connsiteX1205" fmla="*/ 646267 w 2066673"/>
              <a:gd name="connsiteY1205" fmla="*/ 1250403 h 1353078"/>
              <a:gd name="connsiteX1206" fmla="*/ 646267 w 2066673"/>
              <a:gd name="connsiteY1206" fmla="*/ 1248121 h 1353078"/>
              <a:gd name="connsiteX1207" fmla="*/ 646267 w 2066673"/>
              <a:gd name="connsiteY1207" fmla="*/ 1245839 h 1353078"/>
              <a:gd name="connsiteX1208" fmla="*/ 646267 w 2066673"/>
              <a:gd name="connsiteY1208" fmla="*/ 1243557 h 1353078"/>
              <a:gd name="connsiteX1209" fmla="*/ 643984 w 2066673"/>
              <a:gd name="connsiteY1209" fmla="*/ 1232148 h 1353078"/>
              <a:gd name="connsiteX1210" fmla="*/ 639416 w 2066673"/>
              <a:gd name="connsiteY1210" fmla="*/ 1232148 h 1353078"/>
              <a:gd name="connsiteX1211" fmla="*/ 632566 w 2066673"/>
              <a:gd name="connsiteY1211" fmla="*/ 1232148 h 1353078"/>
              <a:gd name="connsiteX1212" fmla="*/ 627998 w 2066673"/>
              <a:gd name="connsiteY1212" fmla="*/ 1213893 h 1353078"/>
              <a:gd name="connsiteX1213" fmla="*/ 627998 w 2066673"/>
              <a:gd name="connsiteY1213" fmla="*/ 1211611 h 1353078"/>
              <a:gd name="connsiteX1214" fmla="*/ 634849 w 2066673"/>
              <a:gd name="connsiteY1214" fmla="*/ 1211611 h 1353078"/>
              <a:gd name="connsiteX1215" fmla="*/ 641700 w 2066673"/>
              <a:gd name="connsiteY1215" fmla="*/ 1211611 h 1353078"/>
              <a:gd name="connsiteX1216" fmla="*/ 646267 w 2066673"/>
              <a:gd name="connsiteY1216" fmla="*/ 1211611 h 1353078"/>
              <a:gd name="connsiteX1217" fmla="*/ 648551 w 2066673"/>
              <a:gd name="connsiteY1217" fmla="*/ 1209329 h 1353078"/>
              <a:gd name="connsiteX1218" fmla="*/ 650834 w 2066673"/>
              <a:gd name="connsiteY1218" fmla="*/ 1209329 h 1353078"/>
              <a:gd name="connsiteX1219" fmla="*/ 653118 w 2066673"/>
              <a:gd name="connsiteY1219" fmla="*/ 1209329 h 1353078"/>
              <a:gd name="connsiteX1220" fmla="*/ 655401 w 2066673"/>
              <a:gd name="connsiteY1220" fmla="*/ 1207047 h 1353078"/>
              <a:gd name="connsiteX1221" fmla="*/ 662252 w 2066673"/>
              <a:gd name="connsiteY1221" fmla="*/ 1218456 h 1353078"/>
              <a:gd name="connsiteX1222" fmla="*/ 662252 w 2066673"/>
              <a:gd name="connsiteY1222" fmla="*/ 1220738 h 1353078"/>
              <a:gd name="connsiteX1223" fmla="*/ 671387 w 2066673"/>
              <a:gd name="connsiteY1223" fmla="*/ 1225302 h 1353078"/>
              <a:gd name="connsiteX1224" fmla="*/ 675954 w 2066673"/>
              <a:gd name="connsiteY1224" fmla="*/ 1225302 h 1353078"/>
              <a:gd name="connsiteX1225" fmla="*/ 678237 w 2066673"/>
              <a:gd name="connsiteY1225" fmla="*/ 1225302 h 1353078"/>
              <a:gd name="connsiteX1226" fmla="*/ 678237 w 2066673"/>
              <a:gd name="connsiteY1226" fmla="*/ 1223020 h 1353078"/>
              <a:gd name="connsiteX1227" fmla="*/ 678237 w 2066673"/>
              <a:gd name="connsiteY1227" fmla="*/ 1218456 h 1353078"/>
              <a:gd name="connsiteX1228" fmla="*/ 685088 w 2066673"/>
              <a:gd name="connsiteY1228" fmla="*/ 1207047 h 1353078"/>
              <a:gd name="connsiteX1229" fmla="*/ 687372 w 2066673"/>
              <a:gd name="connsiteY1229" fmla="*/ 1204765 h 1353078"/>
              <a:gd name="connsiteX1230" fmla="*/ 687372 w 2066673"/>
              <a:gd name="connsiteY1230" fmla="*/ 1202483 h 1353078"/>
              <a:gd name="connsiteX1231" fmla="*/ 689655 w 2066673"/>
              <a:gd name="connsiteY1231" fmla="*/ 1202483 h 1353078"/>
              <a:gd name="connsiteX1232" fmla="*/ 689655 w 2066673"/>
              <a:gd name="connsiteY1232" fmla="*/ 1200201 h 1353078"/>
              <a:gd name="connsiteX1233" fmla="*/ 689655 w 2066673"/>
              <a:gd name="connsiteY1233" fmla="*/ 1197919 h 1353078"/>
              <a:gd name="connsiteX1234" fmla="*/ 691939 w 2066673"/>
              <a:gd name="connsiteY1234" fmla="*/ 1197919 h 1353078"/>
              <a:gd name="connsiteX1235" fmla="*/ 691939 w 2066673"/>
              <a:gd name="connsiteY1235" fmla="*/ 1195637 h 1353078"/>
              <a:gd name="connsiteX1236" fmla="*/ 694223 w 2066673"/>
              <a:gd name="connsiteY1236" fmla="*/ 1195637 h 1353078"/>
              <a:gd name="connsiteX1237" fmla="*/ 694223 w 2066673"/>
              <a:gd name="connsiteY1237" fmla="*/ 1193356 h 1353078"/>
              <a:gd name="connsiteX1238" fmla="*/ 689655 w 2066673"/>
              <a:gd name="connsiteY1238" fmla="*/ 1191074 h 1353078"/>
              <a:gd name="connsiteX1239" fmla="*/ 687372 w 2066673"/>
              <a:gd name="connsiteY1239" fmla="*/ 1191074 h 1353078"/>
              <a:gd name="connsiteX1240" fmla="*/ 685088 w 2066673"/>
              <a:gd name="connsiteY1240" fmla="*/ 1188792 h 1353078"/>
              <a:gd name="connsiteX1241" fmla="*/ 682805 w 2066673"/>
              <a:gd name="connsiteY1241" fmla="*/ 1188792 h 1353078"/>
              <a:gd name="connsiteX1242" fmla="*/ 680521 w 2066673"/>
              <a:gd name="connsiteY1242" fmla="*/ 1188792 h 1353078"/>
              <a:gd name="connsiteX1243" fmla="*/ 673670 w 2066673"/>
              <a:gd name="connsiteY1243" fmla="*/ 1186510 h 1353078"/>
              <a:gd name="connsiteX1244" fmla="*/ 671387 w 2066673"/>
              <a:gd name="connsiteY1244" fmla="*/ 1184228 h 1353078"/>
              <a:gd name="connsiteX1245" fmla="*/ 669103 w 2066673"/>
              <a:gd name="connsiteY1245" fmla="*/ 1184228 h 1353078"/>
              <a:gd name="connsiteX1246" fmla="*/ 662252 w 2066673"/>
              <a:gd name="connsiteY1246" fmla="*/ 1181946 h 1353078"/>
              <a:gd name="connsiteX1247" fmla="*/ 657685 w 2066673"/>
              <a:gd name="connsiteY1247" fmla="*/ 1179664 h 1353078"/>
              <a:gd name="connsiteX1248" fmla="*/ 643984 w 2066673"/>
              <a:gd name="connsiteY1248" fmla="*/ 1172818 h 1353078"/>
              <a:gd name="connsiteX1249" fmla="*/ 641700 w 2066673"/>
              <a:gd name="connsiteY1249" fmla="*/ 1163700 h 1353078"/>
              <a:gd name="connsiteX1250" fmla="*/ 637133 w 2066673"/>
              <a:gd name="connsiteY1250" fmla="*/ 1163700 h 1353078"/>
              <a:gd name="connsiteX1251" fmla="*/ 634849 w 2066673"/>
              <a:gd name="connsiteY1251" fmla="*/ 1163700 h 1353078"/>
              <a:gd name="connsiteX1252" fmla="*/ 630282 w 2066673"/>
              <a:gd name="connsiteY1252" fmla="*/ 1163700 h 1353078"/>
              <a:gd name="connsiteX1253" fmla="*/ 627998 w 2066673"/>
              <a:gd name="connsiteY1253" fmla="*/ 1163700 h 1353078"/>
              <a:gd name="connsiteX1254" fmla="*/ 612013 w 2066673"/>
              <a:gd name="connsiteY1254" fmla="*/ 1163700 h 1353078"/>
              <a:gd name="connsiteX1255" fmla="*/ 612013 w 2066673"/>
              <a:gd name="connsiteY1255" fmla="*/ 1165973 h 1353078"/>
              <a:gd name="connsiteX1256" fmla="*/ 605162 w 2066673"/>
              <a:gd name="connsiteY1256" fmla="*/ 1161419 h 1353078"/>
              <a:gd name="connsiteX1257" fmla="*/ 602879 w 2066673"/>
              <a:gd name="connsiteY1257" fmla="*/ 1161419 h 1353078"/>
              <a:gd name="connsiteX1258" fmla="*/ 600595 w 2066673"/>
              <a:gd name="connsiteY1258" fmla="*/ 1161419 h 1353078"/>
              <a:gd name="connsiteX1259" fmla="*/ 598312 w 2066673"/>
              <a:gd name="connsiteY1259" fmla="*/ 1161419 h 1353078"/>
              <a:gd name="connsiteX1260" fmla="*/ 596028 w 2066673"/>
              <a:gd name="connsiteY1260" fmla="*/ 1161419 h 1353078"/>
              <a:gd name="connsiteX1261" fmla="*/ 596028 w 2066673"/>
              <a:gd name="connsiteY1261" fmla="*/ 1159137 h 1353078"/>
              <a:gd name="connsiteX1262" fmla="*/ 593745 w 2066673"/>
              <a:gd name="connsiteY1262" fmla="*/ 1159137 h 1353078"/>
              <a:gd name="connsiteX1263" fmla="*/ 593745 w 2066673"/>
              <a:gd name="connsiteY1263" fmla="*/ 1156855 h 1353078"/>
              <a:gd name="connsiteX1264" fmla="*/ 591461 w 2066673"/>
              <a:gd name="connsiteY1264" fmla="*/ 1154573 h 1353078"/>
              <a:gd name="connsiteX1265" fmla="*/ 589177 w 2066673"/>
              <a:gd name="connsiteY1265" fmla="*/ 1156855 h 1353078"/>
              <a:gd name="connsiteX1266" fmla="*/ 580043 w 2066673"/>
              <a:gd name="connsiteY1266" fmla="*/ 1159137 h 1353078"/>
              <a:gd name="connsiteX1267" fmla="*/ 580043 w 2066673"/>
              <a:gd name="connsiteY1267" fmla="*/ 1163700 h 1353078"/>
              <a:gd name="connsiteX1268" fmla="*/ 577759 w 2066673"/>
              <a:gd name="connsiteY1268" fmla="*/ 1170537 h 1353078"/>
              <a:gd name="connsiteX1269" fmla="*/ 566341 w 2066673"/>
              <a:gd name="connsiteY1269" fmla="*/ 1168255 h 1353078"/>
              <a:gd name="connsiteX1270" fmla="*/ 564058 w 2066673"/>
              <a:gd name="connsiteY1270" fmla="*/ 1168255 h 1353078"/>
              <a:gd name="connsiteX1271" fmla="*/ 559491 w 2066673"/>
              <a:gd name="connsiteY1271" fmla="*/ 1165973 h 1353078"/>
              <a:gd name="connsiteX1272" fmla="*/ 554923 w 2066673"/>
              <a:gd name="connsiteY1272" fmla="*/ 1165973 h 1353078"/>
              <a:gd name="connsiteX1273" fmla="*/ 552640 w 2066673"/>
              <a:gd name="connsiteY1273" fmla="*/ 1165973 h 1353078"/>
              <a:gd name="connsiteX1274" fmla="*/ 550356 w 2066673"/>
              <a:gd name="connsiteY1274" fmla="*/ 1165973 h 1353078"/>
              <a:gd name="connsiteX1275" fmla="*/ 550356 w 2066673"/>
              <a:gd name="connsiteY1275" fmla="*/ 1163700 h 1353078"/>
              <a:gd name="connsiteX1276" fmla="*/ 548072 w 2066673"/>
              <a:gd name="connsiteY1276" fmla="*/ 1163700 h 1353078"/>
              <a:gd name="connsiteX1277" fmla="*/ 545789 w 2066673"/>
              <a:gd name="connsiteY1277" fmla="*/ 1163700 h 1353078"/>
              <a:gd name="connsiteX1278" fmla="*/ 543505 w 2066673"/>
              <a:gd name="connsiteY1278" fmla="*/ 1163700 h 1353078"/>
              <a:gd name="connsiteX1279" fmla="*/ 543505 w 2066673"/>
              <a:gd name="connsiteY1279" fmla="*/ 1161419 h 1353078"/>
              <a:gd name="connsiteX1280" fmla="*/ 541222 w 2066673"/>
              <a:gd name="connsiteY1280" fmla="*/ 1161419 h 1353078"/>
              <a:gd name="connsiteX1281" fmla="*/ 538938 w 2066673"/>
              <a:gd name="connsiteY1281" fmla="*/ 1161419 h 1353078"/>
              <a:gd name="connsiteX1282" fmla="*/ 536655 w 2066673"/>
              <a:gd name="connsiteY1282" fmla="*/ 1161419 h 1353078"/>
              <a:gd name="connsiteX1283" fmla="*/ 534371 w 2066673"/>
              <a:gd name="connsiteY1283" fmla="*/ 1159137 h 1353078"/>
              <a:gd name="connsiteX1284" fmla="*/ 529804 w 2066673"/>
              <a:gd name="connsiteY1284" fmla="*/ 1161419 h 1353078"/>
              <a:gd name="connsiteX1285" fmla="*/ 522953 w 2066673"/>
              <a:gd name="connsiteY1285" fmla="*/ 1159137 h 1353078"/>
              <a:gd name="connsiteX1286" fmla="*/ 520669 w 2066673"/>
              <a:gd name="connsiteY1286" fmla="*/ 1156855 h 1353078"/>
              <a:gd name="connsiteX1287" fmla="*/ 518386 w 2066673"/>
              <a:gd name="connsiteY1287" fmla="*/ 1156855 h 1353078"/>
              <a:gd name="connsiteX1288" fmla="*/ 513818 w 2066673"/>
              <a:gd name="connsiteY1288" fmla="*/ 1156855 h 1353078"/>
              <a:gd name="connsiteX1289" fmla="*/ 511535 w 2066673"/>
              <a:gd name="connsiteY1289" fmla="*/ 1156855 h 1353078"/>
              <a:gd name="connsiteX1290" fmla="*/ 506968 w 2066673"/>
              <a:gd name="connsiteY1290" fmla="*/ 1156855 h 1353078"/>
              <a:gd name="connsiteX1291" fmla="*/ 504684 w 2066673"/>
              <a:gd name="connsiteY1291" fmla="*/ 1159137 h 1353078"/>
              <a:gd name="connsiteX1292" fmla="*/ 500117 w 2066673"/>
              <a:gd name="connsiteY1292" fmla="*/ 1163700 h 1353078"/>
              <a:gd name="connsiteX1293" fmla="*/ 486415 w 2066673"/>
              <a:gd name="connsiteY1293" fmla="*/ 1165973 h 1353078"/>
              <a:gd name="connsiteX1294" fmla="*/ 484132 w 2066673"/>
              <a:gd name="connsiteY1294" fmla="*/ 1168255 h 1353078"/>
              <a:gd name="connsiteX1295" fmla="*/ 479565 w 2066673"/>
              <a:gd name="connsiteY1295" fmla="*/ 1168255 h 1353078"/>
              <a:gd name="connsiteX1296" fmla="*/ 479565 w 2066673"/>
              <a:gd name="connsiteY1296" fmla="*/ 1163700 h 1353078"/>
              <a:gd name="connsiteX1297" fmla="*/ 470430 w 2066673"/>
              <a:gd name="connsiteY1297" fmla="*/ 1163700 h 1353078"/>
              <a:gd name="connsiteX1298" fmla="*/ 463579 w 2066673"/>
              <a:gd name="connsiteY1298" fmla="*/ 1161419 h 1353078"/>
              <a:gd name="connsiteX1299" fmla="*/ 459012 w 2066673"/>
              <a:gd name="connsiteY1299" fmla="*/ 1159137 h 1353078"/>
              <a:gd name="connsiteX1300" fmla="*/ 452162 w 2066673"/>
              <a:gd name="connsiteY1300" fmla="*/ 1161419 h 1353078"/>
              <a:gd name="connsiteX1301" fmla="*/ 449878 w 2066673"/>
              <a:gd name="connsiteY1301" fmla="*/ 1163700 h 1353078"/>
              <a:gd name="connsiteX1302" fmla="*/ 447594 w 2066673"/>
              <a:gd name="connsiteY1302" fmla="*/ 1163700 h 1353078"/>
              <a:gd name="connsiteX1303" fmla="*/ 447594 w 2066673"/>
              <a:gd name="connsiteY1303" fmla="*/ 1165973 h 1353078"/>
              <a:gd name="connsiteX1304" fmla="*/ 445311 w 2066673"/>
              <a:gd name="connsiteY1304" fmla="*/ 1168255 h 1353078"/>
              <a:gd name="connsiteX1305" fmla="*/ 445311 w 2066673"/>
              <a:gd name="connsiteY1305" fmla="*/ 1172818 h 1353078"/>
              <a:gd name="connsiteX1306" fmla="*/ 445311 w 2066673"/>
              <a:gd name="connsiteY1306" fmla="*/ 1177382 h 1353078"/>
              <a:gd name="connsiteX1307" fmla="*/ 445311 w 2066673"/>
              <a:gd name="connsiteY1307" fmla="*/ 1179664 h 1353078"/>
              <a:gd name="connsiteX1308" fmla="*/ 445311 w 2066673"/>
              <a:gd name="connsiteY1308" fmla="*/ 1181946 h 1353078"/>
              <a:gd name="connsiteX1309" fmla="*/ 443027 w 2066673"/>
              <a:gd name="connsiteY1309" fmla="*/ 1184228 h 1353078"/>
              <a:gd name="connsiteX1310" fmla="*/ 436176 w 2066673"/>
              <a:gd name="connsiteY1310" fmla="*/ 1193356 h 1353078"/>
              <a:gd name="connsiteX1311" fmla="*/ 438460 w 2066673"/>
              <a:gd name="connsiteY1311" fmla="*/ 1193356 h 1353078"/>
              <a:gd name="connsiteX1312" fmla="*/ 436176 w 2066673"/>
              <a:gd name="connsiteY1312" fmla="*/ 1193356 h 1353078"/>
              <a:gd name="connsiteX1313" fmla="*/ 436176 w 2066673"/>
              <a:gd name="connsiteY1313" fmla="*/ 1195637 h 1353078"/>
              <a:gd name="connsiteX1314" fmla="*/ 433893 w 2066673"/>
              <a:gd name="connsiteY1314" fmla="*/ 1197919 h 1353078"/>
              <a:gd name="connsiteX1315" fmla="*/ 431609 w 2066673"/>
              <a:gd name="connsiteY1315" fmla="*/ 1202483 h 1353078"/>
              <a:gd name="connsiteX1316" fmla="*/ 433893 w 2066673"/>
              <a:gd name="connsiteY1316" fmla="*/ 1202483 h 1353078"/>
              <a:gd name="connsiteX1317" fmla="*/ 433893 w 2066673"/>
              <a:gd name="connsiteY1317" fmla="*/ 1204765 h 1353078"/>
              <a:gd name="connsiteX1318" fmla="*/ 431609 w 2066673"/>
              <a:gd name="connsiteY1318" fmla="*/ 1207047 h 1353078"/>
              <a:gd name="connsiteX1319" fmla="*/ 427042 w 2066673"/>
              <a:gd name="connsiteY1319" fmla="*/ 1209329 h 1353078"/>
              <a:gd name="connsiteX1320" fmla="*/ 427042 w 2066673"/>
              <a:gd name="connsiteY1320" fmla="*/ 1211611 h 1353078"/>
              <a:gd name="connsiteX1321" fmla="*/ 427042 w 2066673"/>
              <a:gd name="connsiteY1321" fmla="*/ 1209329 h 1353078"/>
              <a:gd name="connsiteX1322" fmla="*/ 424758 w 2066673"/>
              <a:gd name="connsiteY1322" fmla="*/ 1209329 h 1353078"/>
              <a:gd name="connsiteX1323" fmla="*/ 422475 w 2066673"/>
              <a:gd name="connsiteY1323" fmla="*/ 1209329 h 1353078"/>
              <a:gd name="connsiteX1324" fmla="*/ 422475 w 2066673"/>
              <a:gd name="connsiteY1324" fmla="*/ 1207047 h 1353078"/>
              <a:gd name="connsiteX1325" fmla="*/ 422475 w 2066673"/>
              <a:gd name="connsiteY1325" fmla="*/ 1204765 h 1353078"/>
              <a:gd name="connsiteX1326" fmla="*/ 420191 w 2066673"/>
              <a:gd name="connsiteY1326" fmla="*/ 1202483 h 1353078"/>
              <a:gd name="connsiteX1327" fmla="*/ 417908 w 2066673"/>
              <a:gd name="connsiteY1327" fmla="*/ 1202483 h 1353078"/>
              <a:gd name="connsiteX1328" fmla="*/ 408773 w 2066673"/>
              <a:gd name="connsiteY1328" fmla="*/ 1200201 h 1353078"/>
              <a:gd name="connsiteX1329" fmla="*/ 406489 w 2066673"/>
              <a:gd name="connsiteY1329" fmla="*/ 1202483 h 1353078"/>
              <a:gd name="connsiteX1330" fmla="*/ 404206 w 2066673"/>
              <a:gd name="connsiteY1330" fmla="*/ 1202483 h 1353078"/>
              <a:gd name="connsiteX1331" fmla="*/ 404206 w 2066673"/>
              <a:gd name="connsiteY1331" fmla="*/ 1200201 h 1353078"/>
              <a:gd name="connsiteX1332" fmla="*/ 404206 w 2066673"/>
              <a:gd name="connsiteY1332" fmla="*/ 1197919 h 1353078"/>
              <a:gd name="connsiteX1333" fmla="*/ 385937 w 2066673"/>
              <a:gd name="connsiteY1333" fmla="*/ 1202483 h 1353078"/>
              <a:gd name="connsiteX1334" fmla="*/ 383654 w 2066673"/>
              <a:gd name="connsiteY1334" fmla="*/ 1204765 h 1353078"/>
              <a:gd name="connsiteX1335" fmla="*/ 383654 w 2066673"/>
              <a:gd name="connsiteY1335" fmla="*/ 1202483 h 1353078"/>
              <a:gd name="connsiteX1336" fmla="*/ 381370 w 2066673"/>
              <a:gd name="connsiteY1336" fmla="*/ 1197919 h 1353078"/>
              <a:gd name="connsiteX1337" fmla="*/ 369952 w 2066673"/>
              <a:gd name="connsiteY1337" fmla="*/ 1202483 h 1353078"/>
              <a:gd name="connsiteX1338" fmla="*/ 367668 w 2066673"/>
              <a:gd name="connsiteY1338" fmla="*/ 1202483 h 1353078"/>
              <a:gd name="connsiteX1339" fmla="*/ 365375 w 2066673"/>
              <a:gd name="connsiteY1339" fmla="*/ 1202483 h 1353078"/>
              <a:gd name="connsiteX1340" fmla="*/ 351674 w 2066673"/>
              <a:gd name="connsiteY1340" fmla="*/ 1204765 h 1353078"/>
              <a:gd name="connsiteX1341" fmla="*/ 349400 w 2066673"/>
              <a:gd name="connsiteY1341" fmla="*/ 1207047 h 1353078"/>
              <a:gd name="connsiteX1342" fmla="*/ 347116 w 2066673"/>
              <a:gd name="connsiteY1342" fmla="*/ 1200201 h 1353078"/>
              <a:gd name="connsiteX1343" fmla="*/ 342549 w 2066673"/>
              <a:gd name="connsiteY1343" fmla="*/ 1193356 h 1353078"/>
              <a:gd name="connsiteX1344" fmla="*/ 340265 w 2066673"/>
              <a:gd name="connsiteY1344" fmla="*/ 1186510 h 1353078"/>
              <a:gd name="connsiteX1345" fmla="*/ 333414 w 2066673"/>
              <a:gd name="connsiteY1345" fmla="*/ 1186510 h 1353078"/>
              <a:gd name="connsiteX1346" fmla="*/ 324271 w 2066673"/>
              <a:gd name="connsiteY1346" fmla="*/ 1184228 h 1353078"/>
              <a:gd name="connsiteX1347" fmla="*/ 317420 w 2066673"/>
              <a:gd name="connsiteY1347" fmla="*/ 1191074 h 1353078"/>
              <a:gd name="connsiteX1348" fmla="*/ 306002 w 2066673"/>
              <a:gd name="connsiteY1348" fmla="*/ 1197919 h 1353078"/>
              <a:gd name="connsiteX1349" fmla="*/ 308285 w 2066673"/>
              <a:gd name="connsiteY1349" fmla="*/ 1193356 h 1353078"/>
              <a:gd name="connsiteX1350" fmla="*/ 310569 w 2066673"/>
              <a:gd name="connsiteY1350" fmla="*/ 1184228 h 1353078"/>
              <a:gd name="connsiteX1351" fmla="*/ 299151 w 2066673"/>
              <a:gd name="connsiteY1351" fmla="*/ 1184228 h 1353078"/>
              <a:gd name="connsiteX1352" fmla="*/ 301435 w 2066673"/>
              <a:gd name="connsiteY1352" fmla="*/ 1177382 h 1353078"/>
              <a:gd name="connsiteX1353" fmla="*/ 301435 w 2066673"/>
              <a:gd name="connsiteY1353" fmla="*/ 1168255 h 1353078"/>
              <a:gd name="connsiteX1354" fmla="*/ 303718 w 2066673"/>
              <a:gd name="connsiteY1354" fmla="*/ 1161419 h 1353078"/>
              <a:gd name="connsiteX1355" fmla="*/ 308285 w 2066673"/>
              <a:gd name="connsiteY1355" fmla="*/ 1154573 h 1353078"/>
              <a:gd name="connsiteX1356" fmla="*/ 296867 w 2066673"/>
              <a:gd name="connsiteY1356" fmla="*/ 1150009 h 1353078"/>
              <a:gd name="connsiteX1357" fmla="*/ 292300 w 2066673"/>
              <a:gd name="connsiteY1357" fmla="*/ 1147727 h 1353078"/>
              <a:gd name="connsiteX1358" fmla="*/ 290017 w 2066673"/>
              <a:gd name="connsiteY1358" fmla="*/ 1150009 h 1353078"/>
              <a:gd name="connsiteX1359" fmla="*/ 283166 w 2066673"/>
              <a:gd name="connsiteY1359" fmla="*/ 1156855 h 1353078"/>
              <a:gd name="connsiteX1360" fmla="*/ 280882 w 2066673"/>
              <a:gd name="connsiteY1360" fmla="*/ 1161419 h 1353078"/>
              <a:gd name="connsiteX1361" fmla="*/ 278599 w 2066673"/>
              <a:gd name="connsiteY1361" fmla="*/ 1150009 h 1353078"/>
              <a:gd name="connsiteX1362" fmla="*/ 276315 w 2066673"/>
              <a:gd name="connsiteY1362" fmla="*/ 1147727 h 1353078"/>
              <a:gd name="connsiteX1363" fmla="*/ 271748 w 2066673"/>
              <a:gd name="connsiteY1363" fmla="*/ 1140881 h 1353078"/>
              <a:gd name="connsiteX1364" fmla="*/ 262613 w 2066673"/>
              <a:gd name="connsiteY1364" fmla="*/ 1131754 h 1353078"/>
              <a:gd name="connsiteX1365" fmla="*/ 260330 w 2066673"/>
              <a:gd name="connsiteY1365" fmla="*/ 1129472 h 1353078"/>
              <a:gd name="connsiteX1366" fmla="*/ 258046 w 2066673"/>
              <a:gd name="connsiteY1366" fmla="*/ 1129472 h 1353078"/>
              <a:gd name="connsiteX1367" fmla="*/ 255763 w 2066673"/>
              <a:gd name="connsiteY1367" fmla="*/ 1127190 h 1353078"/>
              <a:gd name="connsiteX1368" fmla="*/ 251196 w 2066673"/>
              <a:gd name="connsiteY1368" fmla="*/ 1127190 h 1353078"/>
              <a:gd name="connsiteX1369" fmla="*/ 246628 w 2066673"/>
              <a:gd name="connsiteY1369" fmla="*/ 1124908 h 1353078"/>
              <a:gd name="connsiteX1370" fmla="*/ 239777 w 2066673"/>
              <a:gd name="connsiteY1370" fmla="*/ 1122626 h 1353078"/>
              <a:gd name="connsiteX1371" fmla="*/ 237494 w 2066673"/>
              <a:gd name="connsiteY1371" fmla="*/ 1118063 h 1353078"/>
              <a:gd name="connsiteX1372" fmla="*/ 237494 w 2066673"/>
              <a:gd name="connsiteY1372" fmla="*/ 1111217 h 1353078"/>
              <a:gd name="connsiteX1373" fmla="*/ 237494 w 2066673"/>
              <a:gd name="connsiteY1373" fmla="*/ 1108935 h 1353078"/>
              <a:gd name="connsiteX1374" fmla="*/ 237494 w 2066673"/>
              <a:gd name="connsiteY1374" fmla="*/ 1106653 h 1353078"/>
              <a:gd name="connsiteX1375" fmla="*/ 237494 w 2066673"/>
              <a:gd name="connsiteY1375" fmla="*/ 1097525 h 1353078"/>
              <a:gd name="connsiteX1376" fmla="*/ 235210 w 2066673"/>
              <a:gd name="connsiteY1376" fmla="*/ 1092962 h 1353078"/>
              <a:gd name="connsiteX1377" fmla="*/ 235210 w 2066673"/>
              <a:gd name="connsiteY1377" fmla="*/ 1086116 h 1353078"/>
              <a:gd name="connsiteX1378" fmla="*/ 235210 w 2066673"/>
              <a:gd name="connsiteY1378" fmla="*/ 1076988 h 1353078"/>
              <a:gd name="connsiteX1379" fmla="*/ 235210 w 2066673"/>
              <a:gd name="connsiteY1379" fmla="*/ 1070143 h 1353078"/>
              <a:gd name="connsiteX1380" fmla="*/ 232927 w 2066673"/>
              <a:gd name="connsiteY1380" fmla="*/ 1054169 h 1353078"/>
              <a:gd name="connsiteX1381" fmla="*/ 223792 w 2066673"/>
              <a:gd name="connsiteY1381" fmla="*/ 1054169 h 1353078"/>
              <a:gd name="connsiteX1382" fmla="*/ 221509 w 2066673"/>
              <a:gd name="connsiteY1382" fmla="*/ 1054169 h 1353078"/>
              <a:gd name="connsiteX1383" fmla="*/ 216942 w 2066673"/>
              <a:gd name="connsiteY1383" fmla="*/ 1054169 h 1353078"/>
              <a:gd name="connsiteX1384" fmla="*/ 214658 w 2066673"/>
              <a:gd name="connsiteY1384" fmla="*/ 1054169 h 1353078"/>
              <a:gd name="connsiteX1385" fmla="*/ 214658 w 2066673"/>
              <a:gd name="connsiteY1385" fmla="*/ 1056451 h 1353078"/>
              <a:gd name="connsiteX1386" fmla="*/ 214658 w 2066673"/>
              <a:gd name="connsiteY1386" fmla="*/ 1063297 h 1353078"/>
              <a:gd name="connsiteX1387" fmla="*/ 214658 w 2066673"/>
              <a:gd name="connsiteY1387" fmla="*/ 1067861 h 1353078"/>
              <a:gd name="connsiteX1388" fmla="*/ 214658 w 2066673"/>
              <a:gd name="connsiteY1388" fmla="*/ 1074706 h 1353078"/>
              <a:gd name="connsiteX1389" fmla="*/ 216942 w 2066673"/>
              <a:gd name="connsiteY1389" fmla="*/ 1076988 h 1353078"/>
              <a:gd name="connsiteX1390" fmla="*/ 214658 w 2066673"/>
              <a:gd name="connsiteY1390" fmla="*/ 1076988 h 1353078"/>
              <a:gd name="connsiteX1391" fmla="*/ 210091 w 2066673"/>
              <a:gd name="connsiteY1391" fmla="*/ 1076988 h 1353078"/>
              <a:gd name="connsiteX1392" fmla="*/ 207807 w 2066673"/>
              <a:gd name="connsiteY1392" fmla="*/ 1076988 h 1353078"/>
              <a:gd name="connsiteX1393" fmla="*/ 205523 w 2066673"/>
              <a:gd name="connsiteY1393" fmla="*/ 1076988 h 1353078"/>
              <a:gd name="connsiteX1394" fmla="*/ 200956 w 2066673"/>
              <a:gd name="connsiteY1394" fmla="*/ 1076988 h 1353078"/>
              <a:gd name="connsiteX1395" fmla="*/ 200956 w 2066673"/>
              <a:gd name="connsiteY1395" fmla="*/ 1079270 h 1353078"/>
              <a:gd name="connsiteX1396" fmla="*/ 198673 w 2066673"/>
              <a:gd name="connsiteY1396" fmla="*/ 1081552 h 1353078"/>
              <a:gd name="connsiteX1397" fmla="*/ 194106 w 2066673"/>
              <a:gd name="connsiteY1397" fmla="*/ 1083834 h 1353078"/>
              <a:gd name="connsiteX1398" fmla="*/ 191822 w 2066673"/>
              <a:gd name="connsiteY1398" fmla="*/ 1083834 h 1353078"/>
              <a:gd name="connsiteX1399" fmla="*/ 187255 w 2066673"/>
              <a:gd name="connsiteY1399" fmla="*/ 1086116 h 1353078"/>
              <a:gd name="connsiteX1400" fmla="*/ 171270 w 2066673"/>
              <a:gd name="connsiteY1400" fmla="*/ 1092962 h 1353078"/>
              <a:gd name="connsiteX1401" fmla="*/ 166702 w 2066673"/>
              <a:gd name="connsiteY1401" fmla="*/ 1092962 h 1353078"/>
              <a:gd name="connsiteX1402" fmla="*/ 162135 w 2066673"/>
              <a:gd name="connsiteY1402" fmla="*/ 1095244 h 1353078"/>
              <a:gd name="connsiteX1403" fmla="*/ 159852 w 2066673"/>
              <a:gd name="connsiteY1403" fmla="*/ 1095244 h 1353078"/>
              <a:gd name="connsiteX1404" fmla="*/ 157568 w 2066673"/>
              <a:gd name="connsiteY1404" fmla="*/ 1097525 h 1353078"/>
              <a:gd name="connsiteX1405" fmla="*/ 155284 w 2066673"/>
              <a:gd name="connsiteY1405" fmla="*/ 1097525 h 1353078"/>
              <a:gd name="connsiteX1406" fmla="*/ 146150 w 2066673"/>
              <a:gd name="connsiteY1406" fmla="*/ 1102089 h 1353078"/>
              <a:gd name="connsiteX1407" fmla="*/ 141583 w 2066673"/>
              <a:gd name="connsiteY1407" fmla="*/ 1102089 h 1353078"/>
              <a:gd name="connsiteX1408" fmla="*/ 141583 w 2066673"/>
              <a:gd name="connsiteY1408" fmla="*/ 1104371 h 1353078"/>
              <a:gd name="connsiteX1409" fmla="*/ 137016 w 2066673"/>
              <a:gd name="connsiteY1409" fmla="*/ 1108935 h 1353078"/>
              <a:gd name="connsiteX1410" fmla="*/ 134732 w 2066673"/>
              <a:gd name="connsiteY1410" fmla="*/ 1113499 h 1353078"/>
              <a:gd name="connsiteX1411" fmla="*/ 132448 w 2066673"/>
              <a:gd name="connsiteY1411" fmla="*/ 1118063 h 1353078"/>
              <a:gd name="connsiteX1412" fmla="*/ 130165 w 2066673"/>
              <a:gd name="connsiteY1412" fmla="*/ 1122626 h 1353078"/>
              <a:gd name="connsiteX1413" fmla="*/ 125598 w 2066673"/>
              <a:gd name="connsiteY1413" fmla="*/ 1120344 h 1353078"/>
              <a:gd name="connsiteX1414" fmla="*/ 121031 w 2066673"/>
              <a:gd name="connsiteY1414" fmla="*/ 1115781 h 1353078"/>
              <a:gd name="connsiteX1415" fmla="*/ 116463 w 2066673"/>
              <a:gd name="connsiteY1415" fmla="*/ 1113499 h 1353078"/>
              <a:gd name="connsiteX1416" fmla="*/ 111896 w 2066673"/>
              <a:gd name="connsiteY1416" fmla="*/ 1111217 h 1353078"/>
              <a:gd name="connsiteX1417" fmla="*/ 109613 w 2066673"/>
              <a:gd name="connsiteY1417" fmla="*/ 1115781 h 1353078"/>
              <a:gd name="connsiteX1418" fmla="*/ 95911 w 2066673"/>
              <a:gd name="connsiteY1418" fmla="*/ 1104371 h 1353078"/>
              <a:gd name="connsiteX1419" fmla="*/ 82209 w 2066673"/>
              <a:gd name="connsiteY1419" fmla="*/ 1092962 h 1353078"/>
              <a:gd name="connsiteX1420" fmla="*/ 73075 w 2066673"/>
              <a:gd name="connsiteY1420" fmla="*/ 1095244 h 1353078"/>
              <a:gd name="connsiteX1421" fmla="*/ 61657 w 2066673"/>
              <a:gd name="connsiteY1421" fmla="*/ 1095244 h 1353078"/>
              <a:gd name="connsiteX1422" fmla="*/ 59373 w 2066673"/>
              <a:gd name="connsiteY1422" fmla="*/ 1095244 h 1353078"/>
              <a:gd name="connsiteX1423" fmla="*/ 45672 w 2066673"/>
              <a:gd name="connsiteY1423" fmla="*/ 1092962 h 1353078"/>
              <a:gd name="connsiteX1424" fmla="*/ 38821 w 2066673"/>
              <a:gd name="connsiteY1424" fmla="*/ 1092962 h 1353078"/>
              <a:gd name="connsiteX1425" fmla="*/ 34254 w 2066673"/>
              <a:gd name="connsiteY1425" fmla="*/ 1092962 h 1353078"/>
              <a:gd name="connsiteX1426" fmla="*/ 29687 w 2066673"/>
              <a:gd name="connsiteY1426" fmla="*/ 1092962 h 1353078"/>
              <a:gd name="connsiteX1427" fmla="*/ 20552 w 2066673"/>
              <a:gd name="connsiteY1427" fmla="*/ 1092962 h 1353078"/>
              <a:gd name="connsiteX1428" fmla="*/ 20552 w 2066673"/>
              <a:gd name="connsiteY1428" fmla="*/ 1090680 h 1353078"/>
              <a:gd name="connsiteX1429" fmla="*/ 20552 w 2066673"/>
              <a:gd name="connsiteY1429" fmla="*/ 1088398 h 1353078"/>
              <a:gd name="connsiteX1430" fmla="*/ 20552 w 2066673"/>
              <a:gd name="connsiteY1430" fmla="*/ 1086116 h 1353078"/>
              <a:gd name="connsiteX1431" fmla="*/ 20552 w 2066673"/>
              <a:gd name="connsiteY1431" fmla="*/ 1083834 h 1353078"/>
              <a:gd name="connsiteX1432" fmla="*/ 18269 w 2066673"/>
              <a:gd name="connsiteY1432" fmla="*/ 1083834 h 1353078"/>
              <a:gd name="connsiteX1433" fmla="*/ 15985 w 2066673"/>
              <a:gd name="connsiteY1433" fmla="*/ 1083834 h 1353078"/>
              <a:gd name="connsiteX1434" fmla="*/ 15985 w 2066673"/>
              <a:gd name="connsiteY1434" fmla="*/ 1086116 h 1353078"/>
              <a:gd name="connsiteX1435" fmla="*/ 15985 w 2066673"/>
              <a:gd name="connsiteY1435" fmla="*/ 1083834 h 1353078"/>
              <a:gd name="connsiteX1436" fmla="*/ 13701 w 2066673"/>
              <a:gd name="connsiteY1436" fmla="*/ 1083834 h 1353078"/>
              <a:gd name="connsiteX1437" fmla="*/ 13701 w 2066673"/>
              <a:gd name="connsiteY1437" fmla="*/ 1081552 h 1353078"/>
              <a:gd name="connsiteX1438" fmla="*/ 11418 w 2066673"/>
              <a:gd name="connsiteY1438" fmla="*/ 1081552 h 1353078"/>
              <a:gd name="connsiteX1439" fmla="*/ 11418 w 2066673"/>
              <a:gd name="connsiteY1439" fmla="*/ 1079270 h 1353078"/>
              <a:gd name="connsiteX1440" fmla="*/ 9134 w 2066673"/>
              <a:gd name="connsiteY1440" fmla="*/ 1079270 h 1353078"/>
              <a:gd name="connsiteX1441" fmla="*/ 9134 w 2066673"/>
              <a:gd name="connsiteY1441" fmla="*/ 1076988 h 1353078"/>
              <a:gd name="connsiteX1442" fmla="*/ 9134 w 2066673"/>
              <a:gd name="connsiteY1442" fmla="*/ 1074706 h 1353078"/>
              <a:gd name="connsiteX1443" fmla="*/ 9134 w 2066673"/>
              <a:gd name="connsiteY1443" fmla="*/ 1072425 h 1353078"/>
              <a:gd name="connsiteX1444" fmla="*/ 9134 w 2066673"/>
              <a:gd name="connsiteY1444" fmla="*/ 1070143 h 1353078"/>
              <a:gd name="connsiteX1445" fmla="*/ 9134 w 2066673"/>
              <a:gd name="connsiteY1445" fmla="*/ 1067861 h 1353078"/>
              <a:gd name="connsiteX1446" fmla="*/ 9134 w 2066673"/>
              <a:gd name="connsiteY1446" fmla="*/ 1065579 h 1353078"/>
              <a:gd name="connsiteX1447" fmla="*/ 6851 w 2066673"/>
              <a:gd name="connsiteY1447" fmla="*/ 1065579 h 1353078"/>
              <a:gd name="connsiteX1448" fmla="*/ 6851 w 2066673"/>
              <a:gd name="connsiteY1448" fmla="*/ 1063297 h 1353078"/>
              <a:gd name="connsiteX1449" fmla="*/ 6851 w 2066673"/>
              <a:gd name="connsiteY1449" fmla="*/ 1061015 h 1353078"/>
              <a:gd name="connsiteX1450" fmla="*/ 4567 w 2066673"/>
              <a:gd name="connsiteY1450" fmla="*/ 1061015 h 1353078"/>
              <a:gd name="connsiteX1451" fmla="*/ 4567 w 2066673"/>
              <a:gd name="connsiteY1451" fmla="*/ 1058733 h 1353078"/>
              <a:gd name="connsiteX1452" fmla="*/ 6851 w 2066673"/>
              <a:gd name="connsiteY1452" fmla="*/ 1058733 h 1353078"/>
              <a:gd name="connsiteX1453" fmla="*/ 6851 w 2066673"/>
              <a:gd name="connsiteY1453" fmla="*/ 1056451 h 1353078"/>
              <a:gd name="connsiteX1454" fmla="*/ 6851 w 2066673"/>
              <a:gd name="connsiteY1454" fmla="*/ 1054169 h 1353078"/>
              <a:gd name="connsiteX1455" fmla="*/ 4567 w 2066673"/>
              <a:gd name="connsiteY1455" fmla="*/ 1054169 h 1353078"/>
              <a:gd name="connsiteX1456" fmla="*/ 6851 w 2066673"/>
              <a:gd name="connsiteY1456" fmla="*/ 1054169 h 1353078"/>
              <a:gd name="connsiteX1457" fmla="*/ 6851 w 2066673"/>
              <a:gd name="connsiteY1457" fmla="*/ 1051888 h 1353078"/>
              <a:gd name="connsiteX1458" fmla="*/ 6851 w 2066673"/>
              <a:gd name="connsiteY1458" fmla="*/ 1049606 h 1353078"/>
              <a:gd name="connsiteX1459" fmla="*/ 6851 w 2066673"/>
              <a:gd name="connsiteY1459" fmla="*/ 1047324 h 1353078"/>
              <a:gd name="connsiteX1460" fmla="*/ 9134 w 2066673"/>
              <a:gd name="connsiteY1460" fmla="*/ 1047324 h 1353078"/>
              <a:gd name="connsiteX1461" fmla="*/ 9134 w 2066673"/>
              <a:gd name="connsiteY1461" fmla="*/ 1045042 h 1353078"/>
              <a:gd name="connsiteX1462" fmla="*/ 6851 w 2066673"/>
              <a:gd name="connsiteY1462" fmla="*/ 1045042 h 1353078"/>
              <a:gd name="connsiteX1463" fmla="*/ 6851 w 2066673"/>
              <a:gd name="connsiteY1463" fmla="*/ 1042760 h 1353078"/>
              <a:gd name="connsiteX1464" fmla="*/ 6851 w 2066673"/>
              <a:gd name="connsiteY1464" fmla="*/ 1040478 h 1353078"/>
              <a:gd name="connsiteX1465" fmla="*/ 6851 w 2066673"/>
              <a:gd name="connsiteY1465" fmla="*/ 1038196 h 1353078"/>
              <a:gd name="connsiteX1466" fmla="*/ 6851 w 2066673"/>
              <a:gd name="connsiteY1466" fmla="*/ 1035914 h 1353078"/>
              <a:gd name="connsiteX1467" fmla="*/ 6851 w 2066673"/>
              <a:gd name="connsiteY1467" fmla="*/ 1033632 h 1353078"/>
              <a:gd name="connsiteX1468" fmla="*/ 9134 w 2066673"/>
              <a:gd name="connsiteY1468" fmla="*/ 1033632 h 1353078"/>
              <a:gd name="connsiteX1469" fmla="*/ 9134 w 2066673"/>
              <a:gd name="connsiteY1469" fmla="*/ 1031350 h 1353078"/>
              <a:gd name="connsiteX1470" fmla="*/ 9134 w 2066673"/>
              <a:gd name="connsiteY1470" fmla="*/ 1029069 h 1353078"/>
              <a:gd name="connsiteX1471" fmla="*/ 6851 w 2066673"/>
              <a:gd name="connsiteY1471" fmla="*/ 1029069 h 1353078"/>
              <a:gd name="connsiteX1472" fmla="*/ 4567 w 2066673"/>
              <a:gd name="connsiteY1472" fmla="*/ 1029069 h 1353078"/>
              <a:gd name="connsiteX1473" fmla="*/ 2284 w 2066673"/>
              <a:gd name="connsiteY1473" fmla="*/ 1029069 h 1353078"/>
              <a:gd name="connsiteX1474" fmla="*/ 2284 w 2066673"/>
              <a:gd name="connsiteY1474" fmla="*/ 1026787 h 1353078"/>
              <a:gd name="connsiteX1475" fmla="*/ 0 w 2066673"/>
              <a:gd name="connsiteY1475" fmla="*/ 1026787 h 1353078"/>
              <a:gd name="connsiteX1476" fmla="*/ 2284 w 2066673"/>
              <a:gd name="connsiteY1476" fmla="*/ 1024505 h 1353078"/>
              <a:gd name="connsiteX1477" fmla="*/ 4567 w 2066673"/>
              <a:gd name="connsiteY1477" fmla="*/ 1022223 h 1353078"/>
              <a:gd name="connsiteX1478" fmla="*/ 6851 w 2066673"/>
              <a:gd name="connsiteY1478" fmla="*/ 1019941 h 1353078"/>
              <a:gd name="connsiteX1479" fmla="*/ 9134 w 2066673"/>
              <a:gd name="connsiteY1479" fmla="*/ 1015377 h 1353078"/>
              <a:gd name="connsiteX1480" fmla="*/ 9134 w 2066673"/>
              <a:gd name="connsiteY1480" fmla="*/ 1013095 h 1353078"/>
              <a:gd name="connsiteX1481" fmla="*/ 13701 w 2066673"/>
              <a:gd name="connsiteY1481" fmla="*/ 1013095 h 1353078"/>
              <a:gd name="connsiteX1482" fmla="*/ 13701 w 2066673"/>
              <a:gd name="connsiteY1482" fmla="*/ 1010823 h 1353078"/>
              <a:gd name="connsiteX1483" fmla="*/ 15985 w 2066673"/>
              <a:gd name="connsiteY1483" fmla="*/ 1010823 h 1353078"/>
              <a:gd name="connsiteX1484" fmla="*/ 18269 w 2066673"/>
              <a:gd name="connsiteY1484" fmla="*/ 1008531 h 1353078"/>
              <a:gd name="connsiteX1485" fmla="*/ 27403 w 2066673"/>
              <a:gd name="connsiteY1485" fmla="*/ 1001695 h 1353078"/>
              <a:gd name="connsiteX1486" fmla="*/ 27403 w 2066673"/>
              <a:gd name="connsiteY1486" fmla="*/ 999413 h 1353078"/>
              <a:gd name="connsiteX1487" fmla="*/ 27403 w 2066673"/>
              <a:gd name="connsiteY1487" fmla="*/ 997131 h 1353078"/>
              <a:gd name="connsiteX1488" fmla="*/ 34254 w 2066673"/>
              <a:gd name="connsiteY1488" fmla="*/ 976594 h 1353078"/>
              <a:gd name="connsiteX1489" fmla="*/ 36538 w 2066673"/>
              <a:gd name="connsiteY1489" fmla="*/ 974313 h 1353078"/>
              <a:gd name="connsiteX1490" fmla="*/ 38821 w 2066673"/>
              <a:gd name="connsiteY1490" fmla="*/ 972031 h 1353078"/>
              <a:gd name="connsiteX1491" fmla="*/ 38821 w 2066673"/>
              <a:gd name="connsiteY1491" fmla="*/ 967467 h 1353078"/>
              <a:gd name="connsiteX1492" fmla="*/ 43388 w 2066673"/>
              <a:gd name="connsiteY1492" fmla="*/ 958339 h 1353078"/>
              <a:gd name="connsiteX1493" fmla="*/ 50239 w 2066673"/>
              <a:gd name="connsiteY1493" fmla="*/ 953775 h 1353078"/>
              <a:gd name="connsiteX1494" fmla="*/ 52523 w 2066673"/>
              <a:gd name="connsiteY1494" fmla="*/ 951494 h 1353078"/>
              <a:gd name="connsiteX1495" fmla="*/ 52523 w 2066673"/>
              <a:gd name="connsiteY1495" fmla="*/ 949211 h 1353078"/>
              <a:gd name="connsiteX1496" fmla="*/ 54806 w 2066673"/>
              <a:gd name="connsiteY1496" fmla="*/ 949211 h 1353078"/>
              <a:gd name="connsiteX1497" fmla="*/ 57090 w 2066673"/>
              <a:gd name="connsiteY1497" fmla="*/ 949211 h 1353078"/>
              <a:gd name="connsiteX1498" fmla="*/ 57090 w 2066673"/>
              <a:gd name="connsiteY1498" fmla="*/ 946929 h 1353078"/>
              <a:gd name="connsiteX1499" fmla="*/ 57090 w 2066673"/>
              <a:gd name="connsiteY1499" fmla="*/ 944647 h 1353078"/>
              <a:gd name="connsiteX1500" fmla="*/ 59373 w 2066673"/>
              <a:gd name="connsiteY1500" fmla="*/ 942365 h 1353078"/>
              <a:gd name="connsiteX1501" fmla="*/ 61657 w 2066673"/>
              <a:gd name="connsiteY1501" fmla="*/ 942365 h 1353078"/>
              <a:gd name="connsiteX1502" fmla="*/ 61657 w 2066673"/>
              <a:gd name="connsiteY1502" fmla="*/ 937801 h 1353078"/>
              <a:gd name="connsiteX1503" fmla="*/ 63941 w 2066673"/>
              <a:gd name="connsiteY1503" fmla="*/ 937801 h 1353078"/>
              <a:gd name="connsiteX1504" fmla="*/ 66224 w 2066673"/>
              <a:gd name="connsiteY1504" fmla="*/ 935520 h 1353078"/>
              <a:gd name="connsiteX1505" fmla="*/ 68508 w 2066673"/>
              <a:gd name="connsiteY1505" fmla="*/ 933238 h 1353078"/>
              <a:gd name="connsiteX1506" fmla="*/ 70791 w 2066673"/>
              <a:gd name="connsiteY1506" fmla="*/ 928675 h 1353078"/>
              <a:gd name="connsiteX1507" fmla="*/ 70791 w 2066673"/>
              <a:gd name="connsiteY1507" fmla="*/ 926393 h 1353078"/>
              <a:gd name="connsiteX1508" fmla="*/ 75359 w 2066673"/>
              <a:gd name="connsiteY1508" fmla="*/ 926393 h 1353078"/>
              <a:gd name="connsiteX1509" fmla="*/ 77642 w 2066673"/>
              <a:gd name="connsiteY1509" fmla="*/ 926393 h 1353078"/>
              <a:gd name="connsiteX1510" fmla="*/ 82209 w 2066673"/>
              <a:gd name="connsiteY1510" fmla="*/ 924112 h 1353078"/>
              <a:gd name="connsiteX1511" fmla="*/ 82209 w 2066673"/>
              <a:gd name="connsiteY1511" fmla="*/ 921830 h 1353078"/>
              <a:gd name="connsiteX1512" fmla="*/ 84493 w 2066673"/>
              <a:gd name="connsiteY1512" fmla="*/ 921830 h 1353078"/>
              <a:gd name="connsiteX1513" fmla="*/ 86777 w 2066673"/>
              <a:gd name="connsiteY1513" fmla="*/ 921830 h 1353078"/>
              <a:gd name="connsiteX1514" fmla="*/ 89060 w 2066673"/>
              <a:gd name="connsiteY1514" fmla="*/ 919548 h 1353078"/>
              <a:gd name="connsiteX1515" fmla="*/ 91344 w 2066673"/>
              <a:gd name="connsiteY1515" fmla="*/ 919548 h 1353078"/>
              <a:gd name="connsiteX1516" fmla="*/ 95911 w 2066673"/>
              <a:gd name="connsiteY1516" fmla="*/ 919548 h 1353078"/>
              <a:gd name="connsiteX1517" fmla="*/ 98194 w 2066673"/>
              <a:gd name="connsiteY1517" fmla="*/ 919548 h 1353078"/>
              <a:gd name="connsiteX1518" fmla="*/ 100478 w 2066673"/>
              <a:gd name="connsiteY1518" fmla="*/ 917266 h 1353078"/>
              <a:gd name="connsiteX1519" fmla="*/ 102762 w 2066673"/>
              <a:gd name="connsiteY1519" fmla="*/ 914984 h 1353078"/>
              <a:gd name="connsiteX1520" fmla="*/ 100478 w 2066673"/>
              <a:gd name="connsiteY1520" fmla="*/ 912702 h 1353078"/>
              <a:gd name="connsiteX1521" fmla="*/ 100478 w 2066673"/>
              <a:gd name="connsiteY1521" fmla="*/ 910420 h 1353078"/>
              <a:gd name="connsiteX1522" fmla="*/ 100478 w 2066673"/>
              <a:gd name="connsiteY1522" fmla="*/ 905857 h 1353078"/>
              <a:gd name="connsiteX1523" fmla="*/ 100478 w 2066673"/>
              <a:gd name="connsiteY1523" fmla="*/ 903576 h 1353078"/>
              <a:gd name="connsiteX1524" fmla="*/ 102762 w 2066673"/>
              <a:gd name="connsiteY1524" fmla="*/ 901294 h 1353078"/>
              <a:gd name="connsiteX1525" fmla="*/ 105045 w 2066673"/>
              <a:gd name="connsiteY1525" fmla="*/ 899012 h 1353078"/>
              <a:gd name="connsiteX1526" fmla="*/ 107329 w 2066673"/>
              <a:gd name="connsiteY1526" fmla="*/ 899012 h 1353078"/>
              <a:gd name="connsiteX1527" fmla="*/ 107329 w 2066673"/>
              <a:gd name="connsiteY1527" fmla="*/ 896730 h 1353078"/>
              <a:gd name="connsiteX1528" fmla="*/ 109613 w 2066673"/>
              <a:gd name="connsiteY1528" fmla="*/ 896730 h 1353078"/>
              <a:gd name="connsiteX1529" fmla="*/ 111896 w 2066673"/>
              <a:gd name="connsiteY1529" fmla="*/ 896730 h 1353078"/>
              <a:gd name="connsiteX1530" fmla="*/ 114180 w 2066673"/>
              <a:gd name="connsiteY1530" fmla="*/ 892166 h 1353078"/>
              <a:gd name="connsiteX1531" fmla="*/ 114180 w 2066673"/>
              <a:gd name="connsiteY1531" fmla="*/ 889885 h 1353078"/>
              <a:gd name="connsiteX1532" fmla="*/ 118747 w 2066673"/>
              <a:gd name="connsiteY1532" fmla="*/ 889885 h 1353078"/>
              <a:gd name="connsiteX1533" fmla="*/ 121031 w 2066673"/>
              <a:gd name="connsiteY1533" fmla="*/ 887602 h 1353078"/>
              <a:gd name="connsiteX1534" fmla="*/ 123314 w 2066673"/>
              <a:gd name="connsiteY1534" fmla="*/ 885321 h 1353078"/>
              <a:gd name="connsiteX1535" fmla="*/ 125598 w 2066673"/>
              <a:gd name="connsiteY1535" fmla="*/ 885321 h 1353078"/>
              <a:gd name="connsiteX1536" fmla="*/ 127881 w 2066673"/>
              <a:gd name="connsiteY1536" fmla="*/ 885321 h 1353078"/>
              <a:gd name="connsiteX1537" fmla="*/ 132448 w 2066673"/>
              <a:gd name="connsiteY1537" fmla="*/ 887602 h 1353078"/>
              <a:gd name="connsiteX1538" fmla="*/ 134732 w 2066673"/>
              <a:gd name="connsiteY1538" fmla="*/ 887602 h 1353078"/>
              <a:gd name="connsiteX1539" fmla="*/ 137016 w 2066673"/>
              <a:gd name="connsiteY1539" fmla="*/ 885321 h 1353078"/>
              <a:gd name="connsiteX1540" fmla="*/ 141583 w 2066673"/>
              <a:gd name="connsiteY1540" fmla="*/ 885321 h 1353078"/>
              <a:gd name="connsiteX1541" fmla="*/ 143867 w 2066673"/>
              <a:gd name="connsiteY1541" fmla="*/ 885321 h 1353078"/>
              <a:gd name="connsiteX1542" fmla="*/ 143867 w 2066673"/>
              <a:gd name="connsiteY1542" fmla="*/ 883040 h 1353078"/>
              <a:gd name="connsiteX1543" fmla="*/ 148434 w 2066673"/>
              <a:gd name="connsiteY1543" fmla="*/ 880758 h 1353078"/>
              <a:gd name="connsiteX1544" fmla="*/ 153001 w 2066673"/>
              <a:gd name="connsiteY1544" fmla="*/ 878476 h 1353078"/>
              <a:gd name="connsiteX1545" fmla="*/ 155284 w 2066673"/>
              <a:gd name="connsiteY1545" fmla="*/ 876194 h 1353078"/>
              <a:gd name="connsiteX1546" fmla="*/ 157568 w 2066673"/>
              <a:gd name="connsiteY1546" fmla="*/ 873912 h 1353078"/>
              <a:gd name="connsiteX1547" fmla="*/ 157568 w 2066673"/>
              <a:gd name="connsiteY1547" fmla="*/ 871631 h 1353078"/>
              <a:gd name="connsiteX1548" fmla="*/ 159852 w 2066673"/>
              <a:gd name="connsiteY1548" fmla="*/ 871631 h 1353078"/>
              <a:gd name="connsiteX1549" fmla="*/ 162135 w 2066673"/>
              <a:gd name="connsiteY1549" fmla="*/ 871631 h 1353078"/>
              <a:gd name="connsiteX1550" fmla="*/ 164419 w 2066673"/>
              <a:gd name="connsiteY1550" fmla="*/ 871631 h 1353078"/>
              <a:gd name="connsiteX1551" fmla="*/ 166702 w 2066673"/>
              <a:gd name="connsiteY1551" fmla="*/ 871631 h 1353078"/>
              <a:gd name="connsiteX1552" fmla="*/ 168986 w 2066673"/>
              <a:gd name="connsiteY1552" fmla="*/ 869349 h 1353078"/>
              <a:gd name="connsiteX1553" fmla="*/ 173553 w 2066673"/>
              <a:gd name="connsiteY1553" fmla="*/ 867067 h 1353078"/>
              <a:gd name="connsiteX1554" fmla="*/ 173553 w 2066673"/>
              <a:gd name="connsiteY1554" fmla="*/ 864785 h 1353078"/>
              <a:gd name="connsiteX1555" fmla="*/ 173553 w 2066673"/>
              <a:gd name="connsiteY1555" fmla="*/ 862503 h 1353078"/>
              <a:gd name="connsiteX1556" fmla="*/ 173553 w 2066673"/>
              <a:gd name="connsiteY1556" fmla="*/ 860222 h 1353078"/>
              <a:gd name="connsiteX1557" fmla="*/ 173553 w 2066673"/>
              <a:gd name="connsiteY1557" fmla="*/ 855659 h 1353078"/>
              <a:gd name="connsiteX1558" fmla="*/ 171270 w 2066673"/>
              <a:gd name="connsiteY1558" fmla="*/ 851095 h 1353078"/>
              <a:gd name="connsiteX1559" fmla="*/ 171270 w 2066673"/>
              <a:gd name="connsiteY1559" fmla="*/ 848813 h 1353078"/>
              <a:gd name="connsiteX1560" fmla="*/ 173553 w 2066673"/>
              <a:gd name="connsiteY1560" fmla="*/ 848813 h 1353078"/>
              <a:gd name="connsiteX1561" fmla="*/ 175837 w 2066673"/>
              <a:gd name="connsiteY1561" fmla="*/ 846532 h 1353078"/>
              <a:gd name="connsiteX1562" fmla="*/ 175837 w 2066673"/>
              <a:gd name="connsiteY1562" fmla="*/ 844250 h 1353078"/>
              <a:gd name="connsiteX1563" fmla="*/ 178121 w 2066673"/>
              <a:gd name="connsiteY1563" fmla="*/ 844250 h 1353078"/>
              <a:gd name="connsiteX1564" fmla="*/ 178121 w 2066673"/>
              <a:gd name="connsiteY1564" fmla="*/ 841968 h 1353078"/>
              <a:gd name="connsiteX1565" fmla="*/ 178121 w 2066673"/>
              <a:gd name="connsiteY1565" fmla="*/ 839686 h 1353078"/>
              <a:gd name="connsiteX1566" fmla="*/ 175837 w 2066673"/>
              <a:gd name="connsiteY1566" fmla="*/ 837404 h 1353078"/>
              <a:gd name="connsiteX1567" fmla="*/ 173553 w 2066673"/>
              <a:gd name="connsiteY1567" fmla="*/ 835123 h 1353078"/>
              <a:gd name="connsiteX1568" fmla="*/ 173553 w 2066673"/>
              <a:gd name="connsiteY1568" fmla="*/ 832841 h 1353078"/>
              <a:gd name="connsiteX1569" fmla="*/ 175837 w 2066673"/>
              <a:gd name="connsiteY1569" fmla="*/ 830559 h 1353078"/>
              <a:gd name="connsiteX1570" fmla="*/ 178121 w 2066673"/>
              <a:gd name="connsiteY1570" fmla="*/ 828277 h 1353078"/>
              <a:gd name="connsiteX1571" fmla="*/ 178121 w 2066673"/>
              <a:gd name="connsiteY1571" fmla="*/ 825996 h 1353078"/>
              <a:gd name="connsiteX1572" fmla="*/ 180404 w 2066673"/>
              <a:gd name="connsiteY1572" fmla="*/ 823714 h 1353078"/>
              <a:gd name="connsiteX1573" fmla="*/ 178121 w 2066673"/>
              <a:gd name="connsiteY1573" fmla="*/ 823714 h 1353078"/>
              <a:gd name="connsiteX1574" fmla="*/ 178121 w 2066673"/>
              <a:gd name="connsiteY1574" fmla="*/ 819150 h 1353078"/>
              <a:gd name="connsiteX1575" fmla="*/ 173553 w 2066673"/>
              <a:gd name="connsiteY1575" fmla="*/ 816868 h 1353078"/>
              <a:gd name="connsiteX1576" fmla="*/ 173553 w 2066673"/>
              <a:gd name="connsiteY1576" fmla="*/ 814586 h 1353078"/>
              <a:gd name="connsiteX1577" fmla="*/ 173553 w 2066673"/>
              <a:gd name="connsiteY1577" fmla="*/ 810024 h 1353078"/>
              <a:gd name="connsiteX1578" fmla="*/ 173553 w 2066673"/>
              <a:gd name="connsiteY1578" fmla="*/ 800896 h 1353078"/>
              <a:gd name="connsiteX1579" fmla="*/ 178121 w 2066673"/>
              <a:gd name="connsiteY1579" fmla="*/ 798614 h 1353078"/>
              <a:gd name="connsiteX1580" fmla="*/ 180404 w 2066673"/>
              <a:gd name="connsiteY1580" fmla="*/ 796333 h 1353078"/>
              <a:gd name="connsiteX1581" fmla="*/ 182688 w 2066673"/>
              <a:gd name="connsiteY1581" fmla="*/ 794050 h 1353078"/>
              <a:gd name="connsiteX1582" fmla="*/ 182688 w 2066673"/>
              <a:gd name="connsiteY1582" fmla="*/ 791769 h 1353078"/>
              <a:gd name="connsiteX1583" fmla="*/ 184971 w 2066673"/>
              <a:gd name="connsiteY1583" fmla="*/ 789487 h 1353078"/>
              <a:gd name="connsiteX1584" fmla="*/ 184971 w 2066673"/>
              <a:gd name="connsiteY1584" fmla="*/ 784924 h 1353078"/>
              <a:gd name="connsiteX1585" fmla="*/ 184971 w 2066673"/>
              <a:gd name="connsiteY1585" fmla="*/ 782642 h 1353078"/>
              <a:gd name="connsiteX1586" fmla="*/ 184971 w 2066673"/>
              <a:gd name="connsiteY1586" fmla="*/ 780361 h 1353078"/>
              <a:gd name="connsiteX1587" fmla="*/ 189538 w 2066673"/>
              <a:gd name="connsiteY1587" fmla="*/ 771233 h 1353078"/>
              <a:gd name="connsiteX1588" fmla="*/ 191822 w 2066673"/>
              <a:gd name="connsiteY1588" fmla="*/ 768951 h 1353078"/>
              <a:gd name="connsiteX1589" fmla="*/ 191822 w 2066673"/>
              <a:gd name="connsiteY1589" fmla="*/ 766670 h 1353078"/>
              <a:gd name="connsiteX1590" fmla="*/ 191822 w 2066673"/>
              <a:gd name="connsiteY1590" fmla="*/ 764389 h 1353078"/>
              <a:gd name="connsiteX1591" fmla="*/ 191822 w 2066673"/>
              <a:gd name="connsiteY1591" fmla="*/ 759825 h 1353078"/>
              <a:gd name="connsiteX1592" fmla="*/ 191822 w 2066673"/>
              <a:gd name="connsiteY1592" fmla="*/ 752979 h 1353078"/>
              <a:gd name="connsiteX1593" fmla="*/ 191822 w 2066673"/>
              <a:gd name="connsiteY1593" fmla="*/ 750697 h 1353078"/>
              <a:gd name="connsiteX1594" fmla="*/ 194106 w 2066673"/>
              <a:gd name="connsiteY1594" fmla="*/ 750697 h 1353078"/>
              <a:gd name="connsiteX1595" fmla="*/ 196389 w 2066673"/>
              <a:gd name="connsiteY1595" fmla="*/ 746134 h 1353078"/>
              <a:gd name="connsiteX1596" fmla="*/ 198673 w 2066673"/>
              <a:gd name="connsiteY1596" fmla="*/ 741571 h 1353078"/>
              <a:gd name="connsiteX1597" fmla="*/ 198673 w 2066673"/>
              <a:gd name="connsiteY1597" fmla="*/ 739289 h 1353078"/>
              <a:gd name="connsiteX1598" fmla="*/ 198673 w 2066673"/>
              <a:gd name="connsiteY1598" fmla="*/ 732444 h 1353078"/>
              <a:gd name="connsiteX1599" fmla="*/ 198673 w 2066673"/>
              <a:gd name="connsiteY1599" fmla="*/ 730162 h 1353078"/>
              <a:gd name="connsiteX1600" fmla="*/ 198673 w 2066673"/>
              <a:gd name="connsiteY1600" fmla="*/ 727880 h 1353078"/>
              <a:gd name="connsiteX1601" fmla="*/ 200956 w 2066673"/>
              <a:gd name="connsiteY1601" fmla="*/ 723316 h 1353078"/>
              <a:gd name="connsiteX1602" fmla="*/ 203240 w 2066673"/>
              <a:gd name="connsiteY1602" fmla="*/ 716472 h 1353078"/>
              <a:gd name="connsiteX1603" fmla="*/ 203240 w 2066673"/>
              <a:gd name="connsiteY1603" fmla="*/ 714190 h 1353078"/>
              <a:gd name="connsiteX1604" fmla="*/ 205523 w 2066673"/>
              <a:gd name="connsiteY1604" fmla="*/ 711908 h 1353078"/>
              <a:gd name="connsiteX1605" fmla="*/ 205523 w 2066673"/>
              <a:gd name="connsiteY1605" fmla="*/ 709626 h 1353078"/>
              <a:gd name="connsiteX1606" fmla="*/ 205523 w 2066673"/>
              <a:gd name="connsiteY1606" fmla="*/ 707344 h 1353078"/>
              <a:gd name="connsiteX1607" fmla="*/ 205523 w 2066673"/>
              <a:gd name="connsiteY1607" fmla="*/ 702780 h 1353078"/>
              <a:gd name="connsiteX1608" fmla="*/ 203240 w 2066673"/>
              <a:gd name="connsiteY1608" fmla="*/ 702780 h 1353078"/>
              <a:gd name="connsiteX1609" fmla="*/ 200956 w 2066673"/>
              <a:gd name="connsiteY1609" fmla="*/ 702780 h 1353078"/>
              <a:gd name="connsiteX1610" fmla="*/ 200956 w 2066673"/>
              <a:gd name="connsiteY1610" fmla="*/ 700499 h 1353078"/>
              <a:gd name="connsiteX1611" fmla="*/ 200956 w 2066673"/>
              <a:gd name="connsiteY1611" fmla="*/ 698217 h 1353078"/>
              <a:gd name="connsiteX1612" fmla="*/ 207807 w 2066673"/>
              <a:gd name="connsiteY1612" fmla="*/ 693654 h 1353078"/>
              <a:gd name="connsiteX1613" fmla="*/ 207807 w 2066673"/>
              <a:gd name="connsiteY1613" fmla="*/ 691373 h 1353078"/>
              <a:gd name="connsiteX1614" fmla="*/ 207807 w 2066673"/>
              <a:gd name="connsiteY1614" fmla="*/ 689091 h 1353078"/>
              <a:gd name="connsiteX1615" fmla="*/ 205523 w 2066673"/>
              <a:gd name="connsiteY1615" fmla="*/ 689091 h 1353078"/>
              <a:gd name="connsiteX1616" fmla="*/ 205523 w 2066673"/>
              <a:gd name="connsiteY1616" fmla="*/ 686808 h 1353078"/>
              <a:gd name="connsiteX1617" fmla="*/ 205523 w 2066673"/>
              <a:gd name="connsiteY1617" fmla="*/ 684527 h 1353078"/>
              <a:gd name="connsiteX1618" fmla="*/ 205523 w 2066673"/>
              <a:gd name="connsiteY1618" fmla="*/ 682245 h 1353078"/>
              <a:gd name="connsiteX1619" fmla="*/ 205523 w 2066673"/>
              <a:gd name="connsiteY1619" fmla="*/ 677681 h 1353078"/>
              <a:gd name="connsiteX1620" fmla="*/ 205523 w 2066673"/>
              <a:gd name="connsiteY1620" fmla="*/ 675399 h 1353078"/>
              <a:gd name="connsiteX1621" fmla="*/ 207807 w 2066673"/>
              <a:gd name="connsiteY1621" fmla="*/ 673117 h 1353078"/>
              <a:gd name="connsiteX1622" fmla="*/ 210091 w 2066673"/>
              <a:gd name="connsiteY1622" fmla="*/ 670837 h 1353078"/>
              <a:gd name="connsiteX1623" fmla="*/ 210091 w 2066673"/>
              <a:gd name="connsiteY1623" fmla="*/ 666273 h 1353078"/>
              <a:gd name="connsiteX1624" fmla="*/ 210091 w 2066673"/>
              <a:gd name="connsiteY1624" fmla="*/ 663991 h 1353078"/>
              <a:gd name="connsiteX1625" fmla="*/ 210091 w 2066673"/>
              <a:gd name="connsiteY1625" fmla="*/ 659427 h 1353078"/>
              <a:gd name="connsiteX1626" fmla="*/ 210091 w 2066673"/>
              <a:gd name="connsiteY1626" fmla="*/ 657146 h 1353078"/>
              <a:gd name="connsiteX1627" fmla="*/ 210091 w 2066673"/>
              <a:gd name="connsiteY1627" fmla="*/ 650300 h 1353078"/>
              <a:gd name="connsiteX1628" fmla="*/ 212374 w 2066673"/>
              <a:gd name="connsiteY1628" fmla="*/ 648019 h 1353078"/>
              <a:gd name="connsiteX1629" fmla="*/ 212374 w 2066673"/>
              <a:gd name="connsiteY1629" fmla="*/ 643455 h 1353078"/>
              <a:gd name="connsiteX1630" fmla="*/ 214658 w 2066673"/>
              <a:gd name="connsiteY1630" fmla="*/ 638892 h 1353078"/>
              <a:gd name="connsiteX1631" fmla="*/ 216942 w 2066673"/>
              <a:gd name="connsiteY1631" fmla="*/ 636610 h 1353078"/>
              <a:gd name="connsiteX1632" fmla="*/ 221509 w 2066673"/>
              <a:gd name="connsiteY1632" fmla="*/ 634328 h 1353078"/>
              <a:gd name="connsiteX1633" fmla="*/ 223792 w 2066673"/>
              <a:gd name="connsiteY1633" fmla="*/ 632047 h 1353078"/>
              <a:gd name="connsiteX1634" fmla="*/ 223792 w 2066673"/>
              <a:gd name="connsiteY1634" fmla="*/ 629765 h 1353078"/>
              <a:gd name="connsiteX1635" fmla="*/ 223792 w 2066673"/>
              <a:gd name="connsiteY1635" fmla="*/ 625201 h 1353078"/>
              <a:gd name="connsiteX1636" fmla="*/ 223792 w 2066673"/>
              <a:gd name="connsiteY1636" fmla="*/ 620637 h 1353078"/>
              <a:gd name="connsiteX1637" fmla="*/ 223792 w 2066673"/>
              <a:gd name="connsiteY1637" fmla="*/ 618356 h 1353078"/>
              <a:gd name="connsiteX1638" fmla="*/ 226076 w 2066673"/>
              <a:gd name="connsiteY1638" fmla="*/ 616074 h 1353078"/>
              <a:gd name="connsiteX1639" fmla="*/ 226076 w 2066673"/>
              <a:gd name="connsiteY1639" fmla="*/ 613792 h 1353078"/>
              <a:gd name="connsiteX1640" fmla="*/ 228360 w 2066673"/>
              <a:gd name="connsiteY1640" fmla="*/ 613792 h 1353078"/>
              <a:gd name="connsiteX1641" fmla="*/ 230643 w 2066673"/>
              <a:gd name="connsiteY1641" fmla="*/ 613792 h 1353078"/>
              <a:gd name="connsiteX1642" fmla="*/ 230643 w 2066673"/>
              <a:gd name="connsiteY1642" fmla="*/ 618356 h 1353078"/>
              <a:gd name="connsiteX1643" fmla="*/ 232927 w 2066673"/>
              <a:gd name="connsiteY1643" fmla="*/ 618356 h 1353078"/>
              <a:gd name="connsiteX1644" fmla="*/ 232927 w 2066673"/>
              <a:gd name="connsiteY1644" fmla="*/ 620637 h 1353078"/>
              <a:gd name="connsiteX1645" fmla="*/ 235210 w 2066673"/>
              <a:gd name="connsiteY1645" fmla="*/ 620637 h 1353078"/>
              <a:gd name="connsiteX1646" fmla="*/ 237494 w 2066673"/>
              <a:gd name="connsiteY1646" fmla="*/ 620637 h 1353078"/>
              <a:gd name="connsiteX1647" fmla="*/ 237494 w 2066673"/>
              <a:gd name="connsiteY1647" fmla="*/ 622919 h 1353078"/>
              <a:gd name="connsiteX1648" fmla="*/ 237494 w 2066673"/>
              <a:gd name="connsiteY1648" fmla="*/ 625201 h 1353078"/>
              <a:gd name="connsiteX1649" fmla="*/ 235210 w 2066673"/>
              <a:gd name="connsiteY1649" fmla="*/ 627483 h 1353078"/>
              <a:gd name="connsiteX1650" fmla="*/ 235210 w 2066673"/>
              <a:gd name="connsiteY1650" fmla="*/ 629765 h 1353078"/>
              <a:gd name="connsiteX1651" fmla="*/ 237494 w 2066673"/>
              <a:gd name="connsiteY1651" fmla="*/ 629765 h 1353078"/>
              <a:gd name="connsiteX1652" fmla="*/ 239777 w 2066673"/>
              <a:gd name="connsiteY1652" fmla="*/ 627483 h 1353078"/>
              <a:gd name="connsiteX1653" fmla="*/ 246628 w 2066673"/>
              <a:gd name="connsiteY1653" fmla="*/ 625201 h 1353078"/>
              <a:gd name="connsiteX1654" fmla="*/ 248912 w 2066673"/>
              <a:gd name="connsiteY1654" fmla="*/ 625201 h 1353078"/>
              <a:gd name="connsiteX1655" fmla="*/ 251196 w 2066673"/>
              <a:gd name="connsiteY1655" fmla="*/ 622919 h 1353078"/>
              <a:gd name="connsiteX1656" fmla="*/ 251196 w 2066673"/>
              <a:gd name="connsiteY1656" fmla="*/ 620637 h 1353078"/>
              <a:gd name="connsiteX1657" fmla="*/ 253479 w 2066673"/>
              <a:gd name="connsiteY1657" fmla="*/ 620637 h 1353078"/>
              <a:gd name="connsiteX1658" fmla="*/ 253479 w 2066673"/>
              <a:gd name="connsiteY1658" fmla="*/ 618356 h 1353078"/>
              <a:gd name="connsiteX1659" fmla="*/ 253479 w 2066673"/>
              <a:gd name="connsiteY1659" fmla="*/ 616074 h 1353078"/>
              <a:gd name="connsiteX1660" fmla="*/ 253479 w 2066673"/>
              <a:gd name="connsiteY1660" fmla="*/ 613792 h 1353078"/>
              <a:gd name="connsiteX1661" fmla="*/ 253479 w 2066673"/>
              <a:gd name="connsiteY1661" fmla="*/ 611510 h 1353078"/>
              <a:gd name="connsiteX1662" fmla="*/ 251196 w 2066673"/>
              <a:gd name="connsiteY1662" fmla="*/ 609228 h 1353078"/>
              <a:gd name="connsiteX1663" fmla="*/ 248912 w 2066673"/>
              <a:gd name="connsiteY1663" fmla="*/ 606946 h 1353078"/>
              <a:gd name="connsiteX1664" fmla="*/ 248912 w 2066673"/>
              <a:gd name="connsiteY1664" fmla="*/ 604665 h 1353078"/>
              <a:gd name="connsiteX1665" fmla="*/ 246628 w 2066673"/>
              <a:gd name="connsiteY1665" fmla="*/ 602383 h 1353078"/>
              <a:gd name="connsiteX1666" fmla="*/ 251196 w 2066673"/>
              <a:gd name="connsiteY1666" fmla="*/ 602383 h 1353078"/>
              <a:gd name="connsiteX1667" fmla="*/ 255763 w 2066673"/>
              <a:gd name="connsiteY1667" fmla="*/ 602383 h 1353078"/>
              <a:gd name="connsiteX1668" fmla="*/ 255763 w 2066673"/>
              <a:gd name="connsiteY1668" fmla="*/ 600102 h 1353078"/>
              <a:gd name="connsiteX1669" fmla="*/ 255763 w 2066673"/>
              <a:gd name="connsiteY1669" fmla="*/ 597821 h 1353078"/>
              <a:gd name="connsiteX1670" fmla="*/ 258046 w 2066673"/>
              <a:gd name="connsiteY1670" fmla="*/ 595539 h 1353078"/>
              <a:gd name="connsiteX1671" fmla="*/ 260330 w 2066673"/>
              <a:gd name="connsiteY1671" fmla="*/ 595539 h 1353078"/>
              <a:gd name="connsiteX1672" fmla="*/ 262613 w 2066673"/>
              <a:gd name="connsiteY1672" fmla="*/ 595539 h 1353078"/>
              <a:gd name="connsiteX1673" fmla="*/ 262613 w 2066673"/>
              <a:gd name="connsiteY1673" fmla="*/ 590975 h 1353078"/>
              <a:gd name="connsiteX1674" fmla="*/ 262613 w 2066673"/>
              <a:gd name="connsiteY1674" fmla="*/ 588693 h 1353078"/>
              <a:gd name="connsiteX1675" fmla="*/ 264897 w 2066673"/>
              <a:gd name="connsiteY1675" fmla="*/ 588693 h 1353078"/>
              <a:gd name="connsiteX1676" fmla="*/ 264897 w 2066673"/>
              <a:gd name="connsiteY1676" fmla="*/ 586411 h 1353078"/>
              <a:gd name="connsiteX1677" fmla="*/ 267181 w 2066673"/>
              <a:gd name="connsiteY1677" fmla="*/ 584129 h 1353078"/>
              <a:gd name="connsiteX1678" fmla="*/ 269464 w 2066673"/>
              <a:gd name="connsiteY1678" fmla="*/ 584129 h 1353078"/>
              <a:gd name="connsiteX1679" fmla="*/ 271748 w 2066673"/>
              <a:gd name="connsiteY1679" fmla="*/ 584129 h 1353078"/>
              <a:gd name="connsiteX1680" fmla="*/ 274031 w 2066673"/>
              <a:gd name="connsiteY1680" fmla="*/ 584129 h 1353078"/>
              <a:gd name="connsiteX1681" fmla="*/ 278599 w 2066673"/>
              <a:gd name="connsiteY1681" fmla="*/ 586411 h 1353078"/>
              <a:gd name="connsiteX1682" fmla="*/ 280882 w 2066673"/>
              <a:gd name="connsiteY1682" fmla="*/ 586411 h 1353078"/>
              <a:gd name="connsiteX1683" fmla="*/ 280882 w 2066673"/>
              <a:gd name="connsiteY1683" fmla="*/ 584129 h 1353078"/>
              <a:gd name="connsiteX1684" fmla="*/ 283166 w 2066673"/>
              <a:gd name="connsiteY1684" fmla="*/ 581847 h 1353078"/>
              <a:gd name="connsiteX1685" fmla="*/ 283166 w 2066673"/>
              <a:gd name="connsiteY1685" fmla="*/ 579565 h 1353078"/>
              <a:gd name="connsiteX1686" fmla="*/ 283166 w 2066673"/>
              <a:gd name="connsiteY1686" fmla="*/ 577285 h 1353078"/>
              <a:gd name="connsiteX1687" fmla="*/ 280882 w 2066673"/>
              <a:gd name="connsiteY1687" fmla="*/ 577285 h 1353078"/>
              <a:gd name="connsiteX1688" fmla="*/ 278599 w 2066673"/>
              <a:gd name="connsiteY1688" fmla="*/ 575003 h 1353078"/>
              <a:gd name="connsiteX1689" fmla="*/ 276315 w 2066673"/>
              <a:gd name="connsiteY1689" fmla="*/ 575003 h 1353078"/>
              <a:gd name="connsiteX1690" fmla="*/ 276315 w 2066673"/>
              <a:gd name="connsiteY1690" fmla="*/ 572721 h 1353078"/>
              <a:gd name="connsiteX1691" fmla="*/ 274031 w 2066673"/>
              <a:gd name="connsiteY1691" fmla="*/ 570439 h 1353078"/>
              <a:gd name="connsiteX1692" fmla="*/ 274031 w 2066673"/>
              <a:gd name="connsiteY1692" fmla="*/ 568157 h 1353078"/>
              <a:gd name="connsiteX1693" fmla="*/ 276315 w 2066673"/>
              <a:gd name="connsiteY1693" fmla="*/ 568157 h 1353078"/>
              <a:gd name="connsiteX1694" fmla="*/ 276315 w 2066673"/>
              <a:gd name="connsiteY1694" fmla="*/ 565875 h 1353078"/>
              <a:gd name="connsiteX1695" fmla="*/ 278599 w 2066673"/>
              <a:gd name="connsiteY1695" fmla="*/ 565875 h 1353078"/>
              <a:gd name="connsiteX1696" fmla="*/ 280882 w 2066673"/>
              <a:gd name="connsiteY1696" fmla="*/ 565875 h 1353078"/>
              <a:gd name="connsiteX1697" fmla="*/ 283166 w 2066673"/>
              <a:gd name="connsiteY1697" fmla="*/ 568157 h 1353078"/>
              <a:gd name="connsiteX1698" fmla="*/ 283166 w 2066673"/>
              <a:gd name="connsiteY1698" fmla="*/ 570439 h 1353078"/>
              <a:gd name="connsiteX1699" fmla="*/ 285450 w 2066673"/>
              <a:gd name="connsiteY1699" fmla="*/ 570439 h 1353078"/>
              <a:gd name="connsiteX1700" fmla="*/ 287733 w 2066673"/>
              <a:gd name="connsiteY1700" fmla="*/ 568157 h 1353078"/>
              <a:gd name="connsiteX1701" fmla="*/ 290017 w 2066673"/>
              <a:gd name="connsiteY1701" fmla="*/ 568157 h 1353078"/>
              <a:gd name="connsiteX1702" fmla="*/ 290017 w 2066673"/>
              <a:gd name="connsiteY1702" fmla="*/ 565875 h 1353078"/>
              <a:gd name="connsiteX1703" fmla="*/ 292300 w 2066673"/>
              <a:gd name="connsiteY1703" fmla="*/ 570439 h 1353078"/>
              <a:gd name="connsiteX1704" fmla="*/ 294584 w 2066673"/>
              <a:gd name="connsiteY1704" fmla="*/ 570439 h 1353078"/>
              <a:gd name="connsiteX1705" fmla="*/ 296867 w 2066673"/>
              <a:gd name="connsiteY1705" fmla="*/ 570439 h 1353078"/>
              <a:gd name="connsiteX1706" fmla="*/ 299151 w 2066673"/>
              <a:gd name="connsiteY1706" fmla="*/ 570439 h 1353078"/>
              <a:gd name="connsiteX1707" fmla="*/ 301435 w 2066673"/>
              <a:gd name="connsiteY1707" fmla="*/ 570439 h 1353078"/>
              <a:gd name="connsiteX1708" fmla="*/ 303718 w 2066673"/>
              <a:gd name="connsiteY1708" fmla="*/ 565875 h 1353078"/>
              <a:gd name="connsiteX1709" fmla="*/ 303718 w 2066673"/>
              <a:gd name="connsiteY1709" fmla="*/ 563594 h 1353078"/>
              <a:gd name="connsiteX1710" fmla="*/ 301435 w 2066673"/>
              <a:gd name="connsiteY1710" fmla="*/ 563594 h 1353078"/>
              <a:gd name="connsiteX1711" fmla="*/ 299151 w 2066673"/>
              <a:gd name="connsiteY1711" fmla="*/ 563594 h 1353078"/>
              <a:gd name="connsiteX1712" fmla="*/ 299151 w 2066673"/>
              <a:gd name="connsiteY1712" fmla="*/ 561312 h 1353078"/>
              <a:gd name="connsiteX1713" fmla="*/ 296867 w 2066673"/>
              <a:gd name="connsiteY1713" fmla="*/ 561312 h 1353078"/>
              <a:gd name="connsiteX1714" fmla="*/ 296867 w 2066673"/>
              <a:gd name="connsiteY1714" fmla="*/ 559030 h 1353078"/>
              <a:gd name="connsiteX1715" fmla="*/ 296867 w 2066673"/>
              <a:gd name="connsiteY1715" fmla="*/ 556747 h 1353078"/>
              <a:gd name="connsiteX1716" fmla="*/ 301435 w 2066673"/>
              <a:gd name="connsiteY1716" fmla="*/ 554466 h 1353078"/>
              <a:gd name="connsiteX1717" fmla="*/ 303718 w 2066673"/>
              <a:gd name="connsiteY1717" fmla="*/ 552185 h 1353078"/>
              <a:gd name="connsiteX1718" fmla="*/ 306002 w 2066673"/>
              <a:gd name="connsiteY1718" fmla="*/ 552185 h 1353078"/>
              <a:gd name="connsiteX1719" fmla="*/ 310569 w 2066673"/>
              <a:gd name="connsiteY1719" fmla="*/ 556747 h 1353078"/>
              <a:gd name="connsiteX1720" fmla="*/ 312852 w 2066673"/>
              <a:gd name="connsiteY1720" fmla="*/ 556747 h 1353078"/>
              <a:gd name="connsiteX1721" fmla="*/ 312852 w 2066673"/>
              <a:gd name="connsiteY1721" fmla="*/ 554466 h 1353078"/>
              <a:gd name="connsiteX1722" fmla="*/ 315146 w 2066673"/>
              <a:gd name="connsiteY1722" fmla="*/ 552185 h 1353078"/>
              <a:gd name="connsiteX1723" fmla="*/ 315146 w 2066673"/>
              <a:gd name="connsiteY1723" fmla="*/ 549903 h 1353078"/>
              <a:gd name="connsiteX1724" fmla="*/ 317420 w 2066673"/>
              <a:gd name="connsiteY1724" fmla="*/ 547621 h 1353078"/>
              <a:gd name="connsiteX1725" fmla="*/ 324271 w 2066673"/>
              <a:gd name="connsiteY1725" fmla="*/ 547621 h 1353078"/>
              <a:gd name="connsiteX1726" fmla="*/ 328838 w 2066673"/>
              <a:gd name="connsiteY1726" fmla="*/ 545340 h 1353078"/>
              <a:gd name="connsiteX1727" fmla="*/ 333414 w 2066673"/>
              <a:gd name="connsiteY1727" fmla="*/ 540776 h 1353078"/>
              <a:gd name="connsiteX1728" fmla="*/ 335698 w 2066673"/>
              <a:gd name="connsiteY1728" fmla="*/ 540776 h 1353078"/>
              <a:gd name="connsiteX1729" fmla="*/ 337982 w 2066673"/>
              <a:gd name="connsiteY1729" fmla="*/ 538494 h 1353078"/>
              <a:gd name="connsiteX1730" fmla="*/ 340265 w 2066673"/>
              <a:gd name="connsiteY1730" fmla="*/ 538494 h 1353078"/>
              <a:gd name="connsiteX1731" fmla="*/ 340265 w 2066673"/>
              <a:gd name="connsiteY1731" fmla="*/ 536212 h 1353078"/>
              <a:gd name="connsiteX1732" fmla="*/ 342549 w 2066673"/>
              <a:gd name="connsiteY1732" fmla="*/ 533931 h 1353078"/>
              <a:gd name="connsiteX1733" fmla="*/ 342549 w 2066673"/>
              <a:gd name="connsiteY1733" fmla="*/ 531649 h 1353078"/>
              <a:gd name="connsiteX1734" fmla="*/ 342549 w 2066673"/>
              <a:gd name="connsiteY1734" fmla="*/ 529368 h 1353078"/>
              <a:gd name="connsiteX1735" fmla="*/ 342549 w 2066673"/>
              <a:gd name="connsiteY1735" fmla="*/ 527086 h 1353078"/>
              <a:gd name="connsiteX1736" fmla="*/ 342549 w 2066673"/>
              <a:gd name="connsiteY1736" fmla="*/ 524804 h 1353078"/>
              <a:gd name="connsiteX1737" fmla="*/ 344833 w 2066673"/>
              <a:gd name="connsiteY1737" fmla="*/ 522522 h 1353078"/>
              <a:gd name="connsiteX1738" fmla="*/ 347116 w 2066673"/>
              <a:gd name="connsiteY1738" fmla="*/ 520240 h 1353078"/>
              <a:gd name="connsiteX1739" fmla="*/ 347116 w 2066673"/>
              <a:gd name="connsiteY1739" fmla="*/ 517958 h 1353078"/>
              <a:gd name="connsiteX1740" fmla="*/ 349400 w 2066673"/>
              <a:gd name="connsiteY1740" fmla="*/ 515676 h 1353078"/>
              <a:gd name="connsiteX1741" fmla="*/ 351674 w 2066673"/>
              <a:gd name="connsiteY1741" fmla="*/ 515676 h 1353078"/>
              <a:gd name="connsiteX1742" fmla="*/ 353967 w 2066673"/>
              <a:gd name="connsiteY1742" fmla="*/ 515676 h 1353078"/>
              <a:gd name="connsiteX1743" fmla="*/ 356250 w 2066673"/>
              <a:gd name="connsiteY1743" fmla="*/ 517958 h 1353078"/>
              <a:gd name="connsiteX1744" fmla="*/ 356250 w 2066673"/>
              <a:gd name="connsiteY1744" fmla="*/ 520240 h 1353078"/>
              <a:gd name="connsiteX1745" fmla="*/ 356250 w 2066673"/>
              <a:gd name="connsiteY1745" fmla="*/ 522522 h 1353078"/>
              <a:gd name="connsiteX1746" fmla="*/ 356250 w 2066673"/>
              <a:gd name="connsiteY1746" fmla="*/ 524804 h 1353078"/>
              <a:gd name="connsiteX1747" fmla="*/ 356250 w 2066673"/>
              <a:gd name="connsiteY1747" fmla="*/ 527086 h 1353078"/>
              <a:gd name="connsiteX1748" fmla="*/ 358534 w 2066673"/>
              <a:gd name="connsiteY1748" fmla="*/ 527086 h 1353078"/>
              <a:gd name="connsiteX1749" fmla="*/ 363101 w 2066673"/>
              <a:gd name="connsiteY1749" fmla="*/ 527086 h 1353078"/>
              <a:gd name="connsiteX1750" fmla="*/ 365375 w 2066673"/>
              <a:gd name="connsiteY1750" fmla="*/ 527086 h 1353078"/>
              <a:gd name="connsiteX1751" fmla="*/ 367668 w 2066673"/>
              <a:gd name="connsiteY1751" fmla="*/ 524804 h 1353078"/>
              <a:gd name="connsiteX1752" fmla="*/ 367668 w 2066673"/>
              <a:gd name="connsiteY1752" fmla="*/ 522522 h 1353078"/>
              <a:gd name="connsiteX1753" fmla="*/ 367668 w 2066673"/>
              <a:gd name="connsiteY1753" fmla="*/ 517958 h 1353078"/>
              <a:gd name="connsiteX1754" fmla="*/ 367668 w 2066673"/>
              <a:gd name="connsiteY1754" fmla="*/ 515676 h 1353078"/>
              <a:gd name="connsiteX1755" fmla="*/ 372235 w 2066673"/>
              <a:gd name="connsiteY1755" fmla="*/ 513394 h 1353078"/>
              <a:gd name="connsiteX1756" fmla="*/ 374519 w 2066673"/>
              <a:gd name="connsiteY1756" fmla="*/ 513394 h 1353078"/>
              <a:gd name="connsiteX1757" fmla="*/ 376803 w 2066673"/>
              <a:gd name="connsiteY1757" fmla="*/ 513394 h 1353078"/>
              <a:gd name="connsiteX1758" fmla="*/ 379086 w 2066673"/>
              <a:gd name="connsiteY1758" fmla="*/ 513394 h 1353078"/>
              <a:gd name="connsiteX1759" fmla="*/ 379086 w 2066673"/>
              <a:gd name="connsiteY1759" fmla="*/ 515676 h 1353078"/>
              <a:gd name="connsiteX1760" fmla="*/ 376803 w 2066673"/>
              <a:gd name="connsiteY1760" fmla="*/ 520240 h 1353078"/>
              <a:gd name="connsiteX1761" fmla="*/ 374519 w 2066673"/>
              <a:gd name="connsiteY1761" fmla="*/ 520240 h 1353078"/>
              <a:gd name="connsiteX1762" fmla="*/ 374519 w 2066673"/>
              <a:gd name="connsiteY1762" fmla="*/ 522522 h 1353078"/>
              <a:gd name="connsiteX1763" fmla="*/ 376803 w 2066673"/>
              <a:gd name="connsiteY1763" fmla="*/ 524804 h 1353078"/>
              <a:gd name="connsiteX1764" fmla="*/ 379086 w 2066673"/>
              <a:gd name="connsiteY1764" fmla="*/ 524804 h 1353078"/>
              <a:gd name="connsiteX1765" fmla="*/ 381370 w 2066673"/>
              <a:gd name="connsiteY1765" fmla="*/ 524804 h 1353078"/>
              <a:gd name="connsiteX1766" fmla="*/ 383654 w 2066673"/>
              <a:gd name="connsiteY1766" fmla="*/ 524804 h 1353078"/>
              <a:gd name="connsiteX1767" fmla="*/ 385937 w 2066673"/>
              <a:gd name="connsiteY1767" fmla="*/ 522522 h 1353078"/>
              <a:gd name="connsiteX1768" fmla="*/ 388221 w 2066673"/>
              <a:gd name="connsiteY1768" fmla="*/ 515676 h 1353078"/>
              <a:gd name="connsiteX1769" fmla="*/ 388221 w 2066673"/>
              <a:gd name="connsiteY1769" fmla="*/ 513394 h 1353078"/>
              <a:gd name="connsiteX1770" fmla="*/ 390504 w 2066673"/>
              <a:gd name="connsiteY1770" fmla="*/ 511113 h 1353078"/>
              <a:gd name="connsiteX1771" fmla="*/ 392788 w 2066673"/>
              <a:gd name="connsiteY1771" fmla="*/ 508831 h 1353078"/>
              <a:gd name="connsiteX1772" fmla="*/ 399639 w 2066673"/>
              <a:gd name="connsiteY1772" fmla="*/ 508831 h 1353078"/>
              <a:gd name="connsiteX1773" fmla="*/ 417908 w 2066673"/>
              <a:gd name="connsiteY1773" fmla="*/ 508831 h 1353078"/>
              <a:gd name="connsiteX1774" fmla="*/ 422475 w 2066673"/>
              <a:gd name="connsiteY1774" fmla="*/ 508831 h 1353078"/>
              <a:gd name="connsiteX1775" fmla="*/ 424758 w 2066673"/>
              <a:gd name="connsiteY1775" fmla="*/ 508831 h 1353078"/>
              <a:gd name="connsiteX1776" fmla="*/ 424758 w 2066673"/>
              <a:gd name="connsiteY1776" fmla="*/ 506550 h 1353078"/>
              <a:gd name="connsiteX1777" fmla="*/ 427042 w 2066673"/>
              <a:gd name="connsiteY1777" fmla="*/ 506550 h 1353078"/>
              <a:gd name="connsiteX1778" fmla="*/ 429325 w 2066673"/>
              <a:gd name="connsiteY1778" fmla="*/ 501986 h 1353078"/>
              <a:gd name="connsiteX1779" fmla="*/ 433893 w 2066673"/>
              <a:gd name="connsiteY1779" fmla="*/ 499704 h 1353078"/>
              <a:gd name="connsiteX1780" fmla="*/ 436176 w 2066673"/>
              <a:gd name="connsiteY1780" fmla="*/ 495141 h 1353078"/>
              <a:gd name="connsiteX1781" fmla="*/ 438460 w 2066673"/>
              <a:gd name="connsiteY1781" fmla="*/ 488296 h 1353078"/>
              <a:gd name="connsiteX1782" fmla="*/ 438460 w 2066673"/>
              <a:gd name="connsiteY1782" fmla="*/ 486013 h 1353078"/>
              <a:gd name="connsiteX1783" fmla="*/ 438460 w 2066673"/>
              <a:gd name="connsiteY1783" fmla="*/ 483732 h 1353078"/>
              <a:gd name="connsiteX1784" fmla="*/ 436176 w 2066673"/>
              <a:gd name="connsiteY1784" fmla="*/ 481451 h 1353078"/>
              <a:gd name="connsiteX1785" fmla="*/ 436176 w 2066673"/>
              <a:gd name="connsiteY1785" fmla="*/ 479169 h 1353078"/>
              <a:gd name="connsiteX1786" fmla="*/ 438460 w 2066673"/>
              <a:gd name="connsiteY1786" fmla="*/ 476887 h 1353078"/>
              <a:gd name="connsiteX1787" fmla="*/ 440743 w 2066673"/>
              <a:gd name="connsiteY1787" fmla="*/ 476887 h 1353078"/>
              <a:gd name="connsiteX1788" fmla="*/ 443027 w 2066673"/>
              <a:gd name="connsiteY1788" fmla="*/ 467760 h 1353078"/>
              <a:gd name="connsiteX1789" fmla="*/ 443027 w 2066673"/>
              <a:gd name="connsiteY1789" fmla="*/ 463196 h 1353078"/>
              <a:gd name="connsiteX1790" fmla="*/ 440743 w 2066673"/>
              <a:gd name="connsiteY1790" fmla="*/ 460914 h 1353078"/>
              <a:gd name="connsiteX1791" fmla="*/ 443027 w 2066673"/>
              <a:gd name="connsiteY1791" fmla="*/ 458633 h 1353078"/>
              <a:gd name="connsiteX1792" fmla="*/ 449878 w 2066673"/>
              <a:gd name="connsiteY1792" fmla="*/ 456352 h 1353078"/>
              <a:gd name="connsiteX1793" fmla="*/ 449878 w 2066673"/>
              <a:gd name="connsiteY1793" fmla="*/ 454070 h 1353078"/>
              <a:gd name="connsiteX1794" fmla="*/ 452162 w 2066673"/>
              <a:gd name="connsiteY1794" fmla="*/ 451788 h 1353078"/>
              <a:gd name="connsiteX1795" fmla="*/ 449878 w 2066673"/>
              <a:gd name="connsiteY1795" fmla="*/ 447223 h 1353078"/>
              <a:gd name="connsiteX1796" fmla="*/ 449878 w 2066673"/>
              <a:gd name="connsiteY1796" fmla="*/ 444942 h 1353078"/>
              <a:gd name="connsiteX1797" fmla="*/ 452162 w 2066673"/>
              <a:gd name="connsiteY1797" fmla="*/ 442660 h 1353078"/>
              <a:gd name="connsiteX1798" fmla="*/ 454445 w 2066673"/>
              <a:gd name="connsiteY1798" fmla="*/ 440378 h 1353078"/>
              <a:gd name="connsiteX1799" fmla="*/ 456729 w 2066673"/>
              <a:gd name="connsiteY1799" fmla="*/ 444942 h 1353078"/>
              <a:gd name="connsiteX1800" fmla="*/ 459012 w 2066673"/>
              <a:gd name="connsiteY1800" fmla="*/ 444942 h 1353078"/>
              <a:gd name="connsiteX1801" fmla="*/ 461296 w 2066673"/>
              <a:gd name="connsiteY1801" fmla="*/ 444942 h 1353078"/>
              <a:gd name="connsiteX1802" fmla="*/ 463579 w 2066673"/>
              <a:gd name="connsiteY1802" fmla="*/ 447223 h 1353078"/>
              <a:gd name="connsiteX1803" fmla="*/ 468147 w 2066673"/>
              <a:gd name="connsiteY1803" fmla="*/ 447223 h 1353078"/>
              <a:gd name="connsiteX1804" fmla="*/ 470430 w 2066673"/>
              <a:gd name="connsiteY1804" fmla="*/ 444942 h 1353078"/>
              <a:gd name="connsiteX1805" fmla="*/ 472714 w 2066673"/>
              <a:gd name="connsiteY1805" fmla="*/ 444942 h 1353078"/>
              <a:gd name="connsiteX1806" fmla="*/ 474997 w 2066673"/>
              <a:gd name="connsiteY1806" fmla="*/ 442660 h 1353078"/>
              <a:gd name="connsiteX1807" fmla="*/ 477281 w 2066673"/>
              <a:gd name="connsiteY1807" fmla="*/ 438096 h 1353078"/>
              <a:gd name="connsiteX1808" fmla="*/ 479565 w 2066673"/>
              <a:gd name="connsiteY1808" fmla="*/ 435815 h 1353078"/>
              <a:gd name="connsiteX1809" fmla="*/ 481848 w 2066673"/>
              <a:gd name="connsiteY1809" fmla="*/ 435815 h 1353078"/>
              <a:gd name="connsiteX1810" fmla="*/ 486415 w 2066673"/>
              <a:gd name="connsiteY1810" fmla="*/ 435815 h 1353078"/>
              <a:gd name="connsiteX1811" fmla="*/ 488699 w 2066673"/>
              <a:gd name="connsiteY1811" fmla="*/ 440378 h 1353078"/>
              <a:gd name="connsiteX1812" fmla="*/ 488699 w 2066673"/>
              <a:gd name="connsiteY1812" fmla="*/ 442660 h 1353078"/>
              <a:gd name="connsiteX1813" fmla="*/ 493266 w 2066673"/>
              <a:gd name="connsiteY1813" fmla="*/ 444942 h 1353078"/>
              <a:gd name="connsiteX1814" fmla="*/ 495550 w 2066673"/>
              <a:gd name="connsiteY1814" fmla="*/ 447223 h 1353078"/>
              <a:gd name="connsiteX1815" fmla="*/ 495550 w 2066673"/>
              <a:gd name="connsiteY1815" fmla="*/ 449505 h 1353078"/>
              <a:gd name="connsiteX1816" fmla="*/ 497833 w 2066673"/>
              <a:gd name="connsiteY1816" fmla="*/ 449505 h 1353078"/>
              <a:gd name="connsiteX1817" fmla="*/ 500117 w 2066673"/>
              <a:gd name="connsiteY1817" fmla="*/ 449505 h 1353078"/>
              <a:gd name="connsiteX1818" fmla="*/ 502401 w 2066673"/>
              <a:gd name="connsiteY1818" fmla="*/ 449505 h 1353078"/>
              <a:gd name="connsiteX1819" fmla="*/ 504684 w 2066673"/>
              <a:gd name="connsiteY1819" fmla="*/ 447223 h 1353078"/>
              <a:gd name="connsiteX1820" fmla="*/ 506968 w 2066673"/>
              <a:gd name="connsiteY1820" fmla="*/ 444942 h 1353078"/>
              <a:gd name="connsiteX1821" fmla="*/ 509251 w 2066673"/>
              <a:gd name="connsiteY1821" fmla="*/ 442660 h 1353078"/>
              <a:gd name="connsiteX1822" fmla="*/ 509251 w 2066673"/>
              <a:gd name="connsiteY1822" fmla="*/ 440378 h 1353078"/>
              <a:gd name="connsiteX1823" fmla="*/ 509251 w 2066673"/>
              <a:gd name="connsiteY1823" fmla="*/ 438096 h 1353078"/>
              <a:gd name="connsiteX1824" fmla="*/ 509251 w 2066673"/>
              <a:gd name="connsiteY1824" fmla="*/ 435815 h 1353078"/>
              <a:gd name="connsiteX1825" fmla="*/ 509251 w 2066673"/>
              <a:gd name="connsiteY1825" fmla="*/ 433534 h 1353078"/>
              <a:gd name="connsiteX1826" fmla="*/ 513818 w 2066673"/>
              <a:gd name="connsiteY1826" fmla="*/ 428970 h 1353078"/>
              <a:gd name="connsiteX1827" fmla="*/ 516102 w 2066673"/>
              <a:gd name="connsiteY1827" fmla="*/ 428970 h 1353078"/>
              <a:gd name="connsiteX1828" fmla="*/ 520669 w 2066673"/>
              <a:gd name="connsiteY1828" fmla="*/ 424407 h 1353078"/>
              <a:gd name="connsiteX1829" fmla="*/ 522953 w 2066673"/>
              <a:gd name="connsiteY1829" fmla="*/ 422125 h 1353078"/>
              <a:gd name="connsiteX1830" fmla="*/ 522953 w 2066673"/>
              <a:gd name="connsiteY1830" fmla="*/ 419843 h 1353078"/>
              <a:gd name="connsiteX1831" fmla="*/ 520669 w 2066673"/>
              <a:gd name="connsiteY1831" fmla="*/ 417561 h 1353078"/>
              <a:gd name="connsiteX1832" fmla="*/ 516102 w 2066673"/>
              <a:gd name="connsiteY1832" fmla="*/ 412998 h 1353078"/>
              <a:gd name="connsiteX1833" fmla="*/ 516102 w 2066673"/>
              <a:gd name="connsiteY1833" fmla="*/ 410716 h 1353078"/>
              <a:gd name="connsiteX1834" fmla="*/ 513818 w 2066673"/>
              <a:gd name="connsiteY1834" fmla="*/ 410716 h 1353078"/>
              <a:gd name="connsiteX1835" fmla="*/ 513818 w 2066673"/>
              <a:gd name="connsiteY1835" fmla="*/ 408434 h 1353078"/>
              <a:gd name="connsiteX1836" fmla="*/ 516102 w 2066673"/>
              <a:gd name="connsiteY1836" fmla="*/ 408434 h 1353078"/>
              <a:gd name="connsiteX1837" fmla="*/ 518386 w 2066673"/>
              <a:gd name="connsiteY1837" fmla="*/ 408434 h 1353078"/>
              <a:gd name="connsiteX1838" fmla="*/ 518386 w 2066673"/>
              <a:gd name="connsiteY1838" fmla="*/ 410716 h 1353078"/>
              <a:gd name="connsiteX1839" fmla="*/ 522953 w 2066673"/>
              <a:gd name="connsiteY1839" fmla="*/ 412998 h 1353078"/>
              <a:gd name="connsiteX1840" fmla="*/ 525237 w 2066673"/>
              <a:gd name="connsiteY1840" fmla="*/ 410716 h 1353078"/>
              <a:gd name="connsiteX1841" fmla="*/ 529804 w 2066673"/>
              <a:gd name="connsiteY1841" fmla="*/ 408434 h 1353078"/>
              <a:gd name="connsiteX1842" fmla="*/ 532087 w 2066673"/>
              <a:gd name="connsiteY1842" fmla="*/ 406153 h 1353078"/>
              <a:gd name="connsiteX1843" fmla="*/ 534371 w 2066673"/>
              <a:gd name="connsiteY1843" fmla="*/ 406153 h 1353078"/>
              <a:gd name="connsiteX1844" fmla="*/ 534371 w 2066673"/>
              <a:gd name="connsiteY1844" fmla="*/ 403871 h 1353078"/>
              <a:gd name="connsiteX1845" fmla="*/ 534371 w 2066673"/>
              <a:gd name="connsiteY1845" fmla="*/ 401589 h 1353078"/>
              <a:gd name="connsiteX1846" fmla="*/ 534371 w 2066673"/>
              <a:gd name="connsiteY1846" fmla="*/ 399307 h 1353078"/>
              <a:gd name="connsiteX1847" fmla="*/ 536655 w 2066673"/>
              <a:gd name="connsiteY1847" fmla="*/ 397026 h 1353078"/>
              <a:gd name="connsiteX1848" fmla="*/ 541222 w 2066673"/>
              <a:gd name="connsiteY1848" fmla="*/ 397026 h 1353078"/>
              <a:gd name="connsiteX1849" fmla="*/ 548072 w 2066673"/>
              <a:gd name="connsiteY1849" fmla="*/ 392461 h 1353078"/>
              <a:gd name="connsiteX1850" fmla="*/ 552640 w 2066673"/>
              <a:gd name="connsiteY1850" fmla="*/ 392461 h 1353078"/>
              <a:gd name="connsiteX1851" fmla="*/ 554923 w 2066673"/>
              <a:gd name="connsiteY1851" fmla="*/ 392461 h 1353078"/>
              <a:gd name="connsiteX1852" fmla="*/ 557207 w 2066673"/>
              <a:gd name="connsiteY1852" fmla="*/ 390180 h 1353078"/>
              <a:gd name="connsiteX1853" fmla="*/ 564058 w 2066673"/>
              <a:gd name="connsiteY1853" fmla="*/ 387899 h 1353078"/>
              <a:gd name="connsiteX1854" fmla="*/ 566341 w 2066673"/>
              <a:gd name="connsiteY1854" fmla="*/ 385617 h 1353078"/>
              <a:gd name="connsiteX1855" fmla="*/ 570908 w 2066673"/>
              <a:gd name="connsiteY1855" fmla="*/ 383335 h 1353078"/>
              <a:gd name="connsiteX1856" fmla="*/ 573192 w 2066673"/>
              <a:gd name="connsiteY1856" fmla="*/ 378771 h 1353078"/>
              <a:gd name="connsiteX1857" fmla="*/ 577759 w 2066673"/>
              <a:gd name="connsiteY1857" fmla="*/ 376489 h 1353078"/>
              <a:gd name="connsiteX1858" fmla="*/ 577759 w 2066673"/>
              <a:gd name="connsiteY1858" fmla="*/ 374208 h 1353078"/>
              <a:gd name="connsiteX1859" fmla="*/ 580043 w 2066673"/>
              <a:gd name="connsiteY1859" fmla="*/ 371926 h 1353078"/>
              <a:gd name="connsiteX1860" fmla="*/ 580043 w 2066673"/>
              <a:gd name="connsiteY1860" fmla="*/ 369644 h 1353078"/>
              <a:gd name="connsiteX1861" fmla="*/ 580043 w 2066673"/>
              <a:gd name="connsiteY1861" fmla="*/ 365081 h 1353078"/>
              <a:gd name="connsiteX1862" fmla="*/ 580043 w 2066673"/>
              <a:gd name="connsiteY1862" fmla="*/ 362799 h 1353078"/>
              <a:gd name="connsiteX1863" fmla="*/ 580043 w 2066673"/>
              <a:gd name="connsiteY1863" fmla="*/ 358236 h 1353078"/>
              <a:gd name="connsiteX1864" fmla="*/ 580043 w 2066673"/>
              <a:gd name="connsiteY1864" fmla="*/ 355954 h 1353078"/>
              <a:gd name="connsiteX1865" fmla="*/ 580043 w 2066673"/>
              <a:gd name="connsiteY1865" fmla="*/ 353672 h 1353078"/>
              <a:gd name="connsiteX1866" fmla="*/ 582326 w 2066673"/>
              <a:gd name="connsiteY1866" fmla="*/ 351389 h 1353078"/>
              <a:gd name="connsiteX1867" fmla="*/ 584610 w 2066673"/>
              <a:gd name="connsiteY1867" fmla="*/ 349108 h 1353078"/>
              <a:gd name="connsiteX1868" fmla="*/ 584610 w 2066673"/>
              <a:gd name="connsiteY1868" fmla="*/ 346826 h 1353078"/>
              <a:gd name="connsiteX1869" fmla="*/ 580043 w 2066673"/>
              <a:gd name="connsiteY1869" fmla="*/ 337700 h 1353078"/>
              <a:gd name="connsiteX1870" fmla="*/ 580043 w 2066673"/>
              <a:gd name="connsiteY1870" fmla="*/ 335418 h 1353078"/>
              <a:gd name="connsiteX1871" fmla="*/ 582326 w 2066673"/>
              <a:gd name="connsiteY1871" fmla="*/ 335418 h 1353078"/>
              <a:gd name="connsiteX1872" fmla="*/ 586894 w 2066673"/>
              <a:gd name="connsiteY1872" fmla="*/ 335418 h 1353078"/>
              <a:gd name="connsiteX1873" fmla="*/ 589177 w 2066673"/>
              <a:gd name="connsiteY1873" fmla="*/ 335418 h 1353078"/>
              <a:gd name="connsiteX1874" fmla="*/ 593745 w 2066673"/>
              <a:gd name="connsiteY1874" fmla="*/ 333136 h 1353078"/>
              <a:gd name="connsiteX1875" fmla="*/ 600595 w 2066673"/>
              <a:gd name="connsiteY1875" fmla="*/ 328572 h 1353078"/>
              <a:gd name="connsiteX1876" fmla="*/ 609730 w 2066673"/>
              <a:gd name="connsiteY1876" fmla="*/ 321727 h 1353078"/>
              <a:gd name="connsiteX1877" fmla="*/ 614297 w 2066673"/>
              <a:gd name="connsiteY1877" fmla="*/ 319446 h 1353078"/>
              <a:gd name="connsiteX1878" fmla="*/ 621147 w 2066673"/>
              <a:gd name="connsiteY1878" fmla="*/ 314883 h 1353078"/>
              <a:gd name="connsiteX1879" fmla="*/ 621147 w 2066673"/>
              <a:gd name="connsiteY1879" fmla="*/ 310319 h 1353078"/>
              <a:gd name="connsiteX1880" fmla="*/ 623431 w 2066673"/>
              <a:gd name="connsiteY1880" fmla="*/ 308037 h 1353078"/>
              <a:gd name="connsiteX1881" fmla="*/ 623431 w 2066673"/>
              <a:gd name="connsiteY1881" fmla="*/ 305755 h 1353078"/>
              <a:gd name="connsiteX1882" fmla="*/ 623431 w 2066673"/>
              <a:gd name="connsiteY1882" fmla="*/ 303473 h 1353078"/>
              <a:gd name="connsiteX1883" fmla="*/ 621147 w 2066673"/>
              <a:gd name="connsiteY1883" fmla="*/ 301191 h 1353078"/>
              <a:gd name="connsiteX1884" fmla="*/ 621147 w 2066673"/>
              <a:gd name="connsiteY1884" fmla="*/ 298909 h 1353078"/>
              <a:gd name="connsiteX1885" fmla="*/ 621147 w 2066673"/>
              <a:gd name="connsiteY1885" fmla="*/ 296628 h 1353078"/>
              <a:gd name="connsiteX1886" fmla="*/ 621147 w 2066673"/>
              <a:gd name="connsiteY1886" fmla="*/ 294347 h 1353078"/>
              <a:gd name="connsiteX1887" fmla="*/ 621147 w 2066673"/>
              <a:gd name="connsiteY1887" fmla="*/ 292065 h 1353078"/>
              <a:gd name="connsiteX1888" fmla="*/ 621147 w 2066673"/>
              <a:gd name="connsiteY1888" fmla="*/ 289783 h 1353078"/>
              <a:gd name="connsiteX1889" fmla="*/ 621147 w 2066673"/>
              <a:gd name="connsiteY1889" fmla="*/ 287501 h 1353078"/>
              <a:gd name="connsiteX1890" fmla="*/ 621147 w 2066673"/>
              <a:gd name="connsiteY1890" fmla="*/ 285219 h 1353078"/>
              <a:gd name="connsiteX1891" fmla="*/ 623431 w 2066673"/>
              <a:gd name="connsiteY1891" fmla="*/ 282938 h 1353078"/>
              <a:gd name="connsiteX1892" fmla="*/ 625715 w 2066673"/>
              <a:gd name="connsiteY1892" fmla="*/ 280656 h 1353078"/>
              <a:gd name="connsiteX1893" fmla="*/ 627998 w 2066673"/>
              <a:gd name="connsiteY1893" fmla="*/ 280656 h 1353078"/>
              <a:gd name="connsiteX1894" fmla="*/ 630282 w 2066673"/>
              <a:gd name="connsiteY1894" fmla="*/ 280656 h 1353078"/>
              <a:gd name="connsiteX1895" fmla="*/ 637133 w 2066673"/>
              <a:gd name="connsiteY1895" fmla="*/ 278374 h 1353078"/>
              <a:gd name="connsiteX1896" fmla="*/ 639416 w 2066673"/>
              <a:gd name="connsiteY1896" fmla="*/ 276092 h 1353078"/>
              <a:gd name="connsiteX1897" fmla="*/ 641700 w 2066673"/>
              <a:gd name="connsiteY1897" fmla="*/ 273810 h 1353078"/>
              <a:gd name="connsiteX1898" fmla="*/ 646267 w 2066673"/>
              <a:gd name="connsiteY1898" fmla="*/ 271529 h 1353078"/>
              <a:gd name="connsiteX1899" fmla="*/ 648551 w 2066673"/>
              <a:gd name="connsiteY1899" fmla="*/ 266966 h 1353078"/>
              <a:gd name="connsiteX1900" fmla="*/ 650834 w 2066673"/>
              <a:gd name="connsiteY1900" fmla="*/ 264684 h 1353078"/>
              <a:gd name="connsiteX1901" fmla="*/ 662252 w 2066673"/>
              <a:gd name="connsiteY1901" fmla="*/ 257838 h 1353078"/>
              <a:gd name="connsiteX1902" fmla="*/ 664536 w 2066673"/>
              <a:gd name="connsiteY1902" fmla="*/ 255557 h 1353078"/>
              <a:gd name="connsiteX1903" fmla="*/ 664536 w 2066673"/>
              <a:gd name="connsiteY1903" fmla="*/ 253275 h 1353078"/>
              <a:gd name="connsiteX1904" fmla="*/ 666820 w 2066673"/>
              <a:gd name="connsiteY1904" fmla="*/ 250993 h 1353078"/>
              <a:gd name="connsiteX1905" fmla="*/ 666820 w 2066673"/>
              <a:gd name="connsiteY1905" fmla="*/ 248711 h 1353078"/>
              <a:gd name="connsiteX1906" fmla="*/ 664536 w 2066673"/>
              <a:gd name="connsiteY1906" fmla="*/ 241866 h 1353078"/>
              <a:gd name="connsiteX1907" fmla="*/ 664536 w 2066673"/>
              <a:gd name="connsiteY1907" fmla="*/ 235020 h 1353078"/>
              <a:gd name="connsiteX1908" fmla="*/ 664536 w 2066673"/>
              <a:gd name="connsiteY1908" fmla="*/ 232739 h 1353078"/>
              <a:gd name="connsiteX1909" fmla="*/ 669103 w 2066673"/>
              <a:gd name="connsiteY1909" fmla="*/ 230457 h 1353078"/>
              <a:gd name="connsiteX1910" fmla="*/ 669103 w 2066673"/>
              <a:gd name="connsiteY1910" fmla="*/ 228175 h 1353078"/>
              <a:gd name="connsiteX1911" fmla="*/ 671387 w 2066673"/>
              <a:gd name="connsiteY1911" fmla="*/ 228175 h 1353078"/>
              <a:gd name="connsiteX1912" fmla="*/ 675954 w 2066673"/>
              <a:gd name="connsiteY1912" fmla="*/ 223612 h 1353078"/>
              <a:gd name="connsiteX1913" fmla="*/ 675954 w 2066673"/>
              <a:gd name="connsiteY1913" fmla="*/ 221330 h 1353078"/>
              <a:gd name="connsiteX1914" fmla="*/ 678237 w 2066673"/>
              <a:gd name="connsiteY1914" fmla="*/ 219048 h 1353078"/>
              <a:gd name="connsiteX1915" fmla="*/ 680521 w 2066673"/>
              <a:gd name="connsiteY1915" fmla="*/ 216766 h 1353078"/>
              <a:gd name="connsiteX1916" fmla="*/ 682805 w 2066673"/>
              <a:gd name="connsiteY1916" fmla="*/ 216766 h 1353078"/>
              <a:gd name="connsiteX1917" fmla="*/ 685088 w 2066673"/>
              <a:gd name="connsiteY1917" fmla="*/ 214485 h 1353078"/>
              <a:gd name="connsiteX1918" fmla="*/ 689655 w 2066673"/>
              <a:gd name="connsiteY1918" fmla="*/ 212203 h 1353078"/>
              <a:gd name="connsiteX1919" fmla="*/ 696506 w 2066673"/>
              <a:gd name="connsiteY1919" fmla="*/ 209921 h 1353078"/>
              <a:gd name="connsiteX1920" fmla="*/ 698790 w 2066673"/>
              <a:gd name="connsiteY1920" fmla="*/ 209921 h 1353078"/>
              <a:gd name="connsiteX1921" fmla="*/ 703357 w 2066673"/>
              <a:gd name="connsiteY1921" fmla="*/ 207639 h 1353078"/>
              <a:gd name="connsiteX1922" fmla="*/ 705641 w 2066673"/>
              <a:gd name="connsiteY1922" fmla="*/ 205357 h 1353078"/>
              <a:gd name="connsiteX1923" fmla="*/ 705641 w 2066673"/>
              <a:gd name="connsiteY1923" fmla="*/ 203076 h 1353078"/>
              <a:gd name="connsiteX1924" fmla="*/ 707924 w 2066673"/>
              <a:gd name="connsiteY1924" fmla="*/ 198513 h 1353078"/>
              <a:gd name="connsiteX1925" fmla="*/ 710208 w 2066673"/>
              <a:gd name="connsiteY1925" fmla="*/ 196231 h 1353078"/>
              <a:gd name="connsiteX1926" fmla="*/ 714775 w 2066673"/>
              <a:gd name="connsiteY1926" fmla="*/ 193949 h 1353078"/>
              <a:gd name="connsiteX1927" fmla="*/ 719342 w 2066673"/>
              <a:gd name="connsiteY1927" fmla="*/ 191668 h 1353078"/>
              <a:gd name="connsiteX1928" fmla="*/ 723909 w 2066673"/>
              <a:gd name="connsiteY1928" fmla="*/ 189386 h 1353078"/>
              <a:gd name="connsiteX1929" fmla="*/ 726193 w 2066673"/>
              <a:gd name="connsiteY1929" fmla="*/ 189386 h 1353078"/>
              <a:gd name="connsiteX1930" fmla="*/ 728476 w 2066673"/>
              <a:gd name="connsiteY1930" fmla="*/ 187104 h 1353078"/>
              <a:gd name="connsiteX1931" fmla="*/ 730760 w 2066673"/>
              <a:gd name="connsiteY1931" fmla="*/ 184822 h 1353078"/>
              <a:gd name="connsiteX1932" fmla="*/ 733044 w 2066673"/>
              <a:gd name="connsiteY1932" fmla="*/ 182540 h 1353078"/>
              <a:gd name="connsiteX1933" fmla="*/ 733044 w 2066673"/>
              <a:gd name="connsiteY1933" fmla="*/ 180258 h 1353078"/>
              <a:gd name="connsiteX1934" fmla="*/ 735327 w 2066673"/>
              <a:gd name="connsiteY1934" fmla="*/ 177976 h 1353078"/>
              <a:gd name="connsiteX1935" fmla="*/ 739895 w 2066673"/>
              <a:gd name="connsiteY1935" fmla="*/ 177976 h 1353078"/>
              <a:gd name="connsiteX1936" fmla="*/ 746745 w 2066673"/>
              <a:gd name="connsiteY1936" fmla="*/ 177976 h 1353078"/>
              <a:gd name="connsiteX1937" fmla="*/ 753596 w 2066673"/>
              <a:gd name="connsiteY1937" fmla="*/ 177976 h 1353078"/>
              <a:gd name="connsiteX1938" fmla="*/ 760447 w 2066673"/>
              <a:gd name="connsiteY1938" fmla="*/ 177976 h 1353078"/>
              <a:gd name="connsiteX1939" fmla="*/ 762730 w 2066673"/>
              <a:gd name="connsiteY1939" fmla="*/ 177976 h 1353078"/>
              <a:gd name="connsiteX1940" fmla="*/ 769581 w 2066673"/>
              <a:gd name="connsiteY1940" fmla="*/ 175696 h 1353078"/>
              <a:gd name="connsiteX1941" fmla="*/ 776432 w 2066673"/>
              <a:gd name="connsiteY1941" fmla="*/ 175696 h 1353078"/>
              <a:gd name="connsiteX1942" fmla="*/ 778716 w 2066673"/>
              <a:gd name="connsiteY1942" fmla="*/ 177976 h 1353078"/>
              <a:gd name="connsiteX1943" fmla="*/ 780999 w 2066673"/>
              <a:gd name="connsiteY1943" fmla="*/ 177976 h 1353078"/>
              <a:gd name="connsiteX1944" fmla="*/ 783283 w 2066673"/>
              <a:gd name="connsiteY1944" fmla="*/ 177976 h 1353078"/>
              <a:gd name="connsiteX1945" fmla="*/ 787850 w 2066673"/>
              <a:gd name="connsiteY1945" fmla="*/ 177976 h 1353078"/>
              <a:gd name="connsiteX1946" fmla="*/ 792417 w 2066673"/>
              <a:gd name="connsiteY1946" fmla="*/ 180258 h 1353078"/>
              <a:gd name="connsiteX1947" fmla="*/ 794701 w 2066673"/>
              <a:gd name="connsiteY1947" fmla="*/ 180258 h 1353078"/>
              <a:gd name="connsiteX1948" fmla="*/ 796984 w 2066673"/>
              <a:gd name="connsiteY1948" fmla="*/ 182540 h 1353078"/>
              <a:gd name="connsiteX1949" fmla="*/ 799268 w 2066673"/>
              <a:gd name="connsiteY1949" fmla="*/ 182540 h 1353078"/>
              <a:gd name="connsiteX1950" fmla="*/ 803835 w 2066673"/>
              <a:gd name="connsiteY1950" fmla="*/ 180258 h 1353078"/>
              <a:gd name="connsiteX1951" fmla="*/ 810686 w 2066673"/>
              <a:gd name="connsiteY1951" fmla="*/ 177976 h 1353078"/>
              <a:gd name="connsiteX1952" fmla="*/ 815253 w 2066673"/>
              <a:gd name="connsiteY1952" fmla="*/ 173414 h 1353078"/>
              <a:gd name="connsiteX1953" fmla="*/ 817537 w 2066673"/>
              <a:gd name="connsiteY1953" fmla="*/ 173414 h 1353078"/>
              <a:gd name="connsiteX1954" fmla="*/ 819820 w 2066673"/>
              <a:gd name="connsiteY1954" fmla="*/ 173414 h 1353078"/>
              <a:gd name="connsiteX1955" fmla="*/ 822104 w 2066673"/>
              <a:gd name="connsiteY1955" fmla="*/ 173414 h 1353078"/>
              <a:gd name="connsiteX1956" fmla="*/ 826671 w 2066673"/>
              <a:gd name="connsiteY1956" fmla="*/ 173414 h 1353078"/>
              <a:gd name="connsiteX1957" fmla="*/ 828955 w 2066673"/>
              <a:gd name="connsiteY1957" fmla="*/ 173414 h 1353078"/>
              <a:gd name="connsiteX1958" fmla="*/ 831238 w 2066673"/>
              <a:gd name="connsiteY1958" fmla="*/ 173414 h 1353078"/>
              <a:gd name="connsiteX1959" fmla="*/ 833522 w 2066673"/>
              <a:gd name="connsiteY1959" fmla="*/ 173414 h 1353078"/>
              <a:gd name="connsiteX1960" fmla="*/ 835806 w 2066673"/>
              <a:gd name="connsiteY1960" fmla="*/ 173414 h 1353078"/>
              <a:gd name="connsiteX1961" fmla="*/ 842656 w 2066673"/>
              <a:gd name="connsiteY1961" fmla="*/ 173414 h 1353078"/>
              <a:gd name="connsiteX1962" fmla="*/ 844940 w 2066673"/>
              <a:gd name="connsiteY1962" fmla="*/ 173414 h 1353078"/>
              <a:gd name="connsiteX1963" fmla="*/ 849507 w 2066673"/>
              <a:gd name="connsiteY1963" fmla="*/ 168850 h 1353078"/>
              <a:gd name="connsiteX1964" fmla="*/ 854074 w 2066673"/>
              <a:gd name="connsiteY1964" fmla="*/ 166568 h 1353078"/>
              <a:gd name="connsiteX1965" fmla="*/ 856358 w 2066673"/>
              <a:gd name="connsiteY1965" fmla="*/ 166568 h 1353078"/>
              <a:gd name="connsiteX1966" fmla="*/ 856358 w 2066673"/>
              <a:gd name="connsiteY1966" fmla="*/ 164286 h 1353078"/>
              <a:gd name="connsiteX1967" fmla="*/ 858642 w 2066673"/>
              <a:gd name="connsiteY1967" fmla="*/ 164286 h 1353078"/>
              <a:gd name="connsiteX1968" fmla="*/ 858642 w 2066673"/>
              <a:gd name="connsiteY1968" fmla="*/ 162004 h 1353078"/>
              <a:gd name="connsiteX1969" fmla="*/ 863209 w 2066673"/>
              <a:gd name="connsiteY1969" fmla="*/ 162004 h 1353078"/>
              <a:gd name="connsiteX1970" fmla="*/ 867776 w 2066673"/>
              <a:gd name="connsiteY1970" fmla="*/ 159723 h 1353078"/>
              <a:gd name="connsiteX1971" fmla="*/ 872343 w 2066673"/>
              <a:gd name="connsiteY1971" fmla="*/ 157441 h 1353078"/>
              <a:gd name="connsiteX1972" fmla="*/ 874627 w 2066673"/>
              <a:gd name="connsiteY1972" fmla="*/ 155159 h 1353078"/>
              <a:gd name="connsiteX1973" fmla="*/ 879194 w 2066673"/>
              <a:gd name="connsiteY1973" fmla="*/ 152877 h 1353078"/>
              <a:gd name="connsiteX1974" fmla="*/ 881478 w 2066673"/>
              <a:gd name="connsiteY1974" fmla="*/ 152877 h 1353078"/>
              <a:gd name="connsiteX1975" fmla="*/ 883761 w 2066673"/>
              <a:gd name="connsiteY1975" fmla="*/ 150595 h 1353078"/>
              <a:gd name="connsiteX1976" fmla="*/ 888328 w 2066673"/>
              <a:gd name="connsiteY1976" fmla="*/ 150595 h 1353078"/>
              <a:gd name="connsiteX1977" fmla="*/ 895179 w 2066673"/>
              <a:gd name="connsiteY1977" fmla="*/ 148315 h 1353078"/>
              <a:gd name="connsiteX1978" fmla="*/ 899746 w 2066673"/>
              <a:gd name="connsiteY1978" fmla="*/ 148315 h 1353078"/>
              <a:gd name="connsiteX1979" fmla="*/ 904314 w 2066673"/>
              <a:gd name="connsiteY1979" fmla="*/ 148315 h 1353078"/>
              <a:gd name="connsiteX1980" fmla="*/ 915732 w 2066673"/>
              <a:gd name="connsiteY1980" fmla="*/ 143751 h 1353078"/>
              <a:gd name="connsiteX1981" fmla="*/ 920299 w 2066673"/>
              <a:gd name="connsiteY1981" fmla="*/ 143751 h 1353078"/>
              <a:gd name="connsiteX1982" fmla="*/ 920299 w 2066673"/>
              <a:gd name="connsiteY1982" fmla="*/ 141469 h 1353078"/>
              <a:gd name="connsiteX1983" fmla="*/ 922582 w 2066673"/>
              <a:gd name="connsiteY1983" fmla="*/ 139187 h 1353078"/>
              <a:gd name="connsiteX1984" fmla="*/ 920299 w 2066673"/>
              <a:gd name="connsiteY1984" fmla="*/ 139187 h 1353078"/>
              <a:gd name="connsiteX1985" fmla="*/ 920299 w 2066673"/>
              <a:gd name="connsiteY1985" fmla="*/ 136904 h 1353078"/>
              <a:gd name="connsiteX1986" fmla="*/ 920299 w 2066673"/>
              <a:gd name="connsiteY1986" fmla="*/ 134623 h 1353078"/>
              <a:gd name="connsiteX1987" fmla="*/ 922582 w 2066673"/>
              <a:gd name="connsiteY1987" fmla="*/ 132341 h 1353078"/>
              <a:gd name="connsiteX1988" fmla="*/ 927149 w 2066673"/>
              <a:gd name="connsiteY1988" fmla="*/ 130060 h 1353078"/>
              <a:gd name="connsiteX1989" fmla="*/ 929433 w 2066673"/>
              <a:gd name="connsiteY1989" fmla="*/ 130060 h 1353078"/>
              <a:gd name="connsiteX1990" fmla="*/ 936284 w 2066673"/>
              <a:gd name="connsiteY1990" fmla="*/ 127778 h 1353078"/>
              <a:gd name="connsiteX1991" fmla="*/ 938568 w 2066673"/>
              <a:gd name="connsiteY1991" fmla="*/ 127778 h 1353078"/>
              <a:gd name="connsiteX1992" fmla="*/ 940851 w 2066673"/>
              <a:gd name="connsiteY1992" fmla="*/ 127778 h 1353078"/>
              <a:gd name="connsiteX1993" fmla="*/ 943135 w 2066673"/>
              <a:gd name="connsiteY1993" fmla="*/ 127778 h 1353078"/>
              <a:gd name="connsiteX1994" fmla="*/ 945418 w 2066673"/>
              <a:gd name="connsiteY1994" fmla="*/ 130060 h 1353078"/>
              <a:gd name="connsiteX1995" fmla="*/ 952269 w 2066673"/>
              <a:gd name="connsiteY1995" fmla="*/ 132341 h 1353078"/>
              <a:gd name="connsiteX1996" fmla="*/ 954553 w 2066673"/>
              <a:gd name="connsiteY1996" fmla="*/ 132341 h 1353078"/>
              <a:gd name="connsiteX1997" fmla="*/ 956836 w 2066673"/>
              <a:gd name="connsiteY1997" fmla="*/ 130060 h 1353078"/>
              <a:gd name="connsiteX1998" fmla="*/ 956836 w 2066673"/>
              <a:gd name="connsiteY1998" fmla="*/ 127778 h 1353078"/>
              <a:gd name="connsiteX1999" fmla="*/ 959120 w 2066673"/>
              <a:gd name="connsiteY1999" fmla="*/ 125497 h 1353078"/>
              <a:gd name="connsiteX2000" fmla="*/ 961403 w 2066673"/>
              <a:gd name="connsiteY2000" fmla="*/ 125497 h 1353078"/>
              <a:gd name="connsiteX2001" fmla="*/ 963687 w 2066673"/>
              <a:gd name="connsiteY2001" fmla="*/ 123214 h 1353078"/>
              <a:gd name="connsiteX2002" fmla="*/ 968254 w 2066673"/>
              <a:gd name="connsiteY2002" fmla="*/ 109523 h 1353078"/>
              <a:gd name="connsiteX2003" fmla="*/ 968254 w 2066673"/>
              <a:gd name="connsiteY2003" fmla="*/ 107242 h 1353078"/>
              <a:gd name="connsiteX2004" fmla="*/ 975105 w 2066673"/>
              <a:gd name="connsiteY2004" fmla="*/ 100397 h 1353078"/>
              <a:gd name="connsiteX2005" fmla="*/ 975105 w 2066673"/>
              <a:gd name="connsiteY2005" fmla="*/ 98115 h 1353078"/>
              <a:gd name="connsiteX2006" fmla="*/ 975105 w 2066673"/>
              <a:gd name="connsiteY2006" fmla="*/ 95833 h 1353078"/>
              <a:gd name="connsiteX2007" fmla="*/ 975105 w 2066673"/>
              <a:gd name="connsiteY2007" fmla="*/ 93552 h 1353078"/>
              <a:gd name="connsiteX2008" fmla="*/ 975105 w 2066673"/>
              <a:gd name="connsiteY2008" fmla="*/ 91270 h 1353078"/>
              <a:gd name="connsiteX2009" fmla="*/ 975105 w 2066673"/>
              <a:gd name="connsiteY2009" fmla="*/ 88989 h 1353078"/>
              <a:gd name="connsiteX2010" fmla="*/ 972822 w 2066673"/>
              <a:gd name="connsiteY2010" fmla="*/ 84425 h 1353078"/>
              <a:gd name="connsiteX2011" fmla="*/ 972822 w 2066673"/>
              <a:gd name="connsiteY2011" fmla="*/ 82143 h 1353078"/>
              <a:gd name="connsiteX2012" fmla="*/ 972822 w 2066673"/>
              <a:gd name="connsiteY2012" fmla="*/ 75298 h 1353078"/>
              <a:gd name="connsiteX2013" fmla="*/ 972822 w 2066673"/>
              <a:gd name="connsiteY2013" fmla="*/ 70734 h 1353078"/>
              <a:gd name="connsiteX2014" fmla="*/ 977389 w 2066673"/>
              <a:gd name="connsiteY2014" fmla="*/ 66171 h 1353078"/>
              <a:gd name="connsiteX2015" fmla="*/ 977389 w 2066673"/>
              <a:gd name="connsiteY2015" fmla="*/ 63889 h 1353078"/>
              <a:gd name="connsiteX2016" fmla="*/ 977389 w 2066673"/>
              <a:gd name="connsiteY2016" fmla="*/ 61607 h 1353078"/>
              <a:gd name="connsiteX2017" fmla="*/ 979672 w 2066673"/>
              <a:gd name="connsiteY2017" fmla="*/ 61607 h 1353078"/>
              <a:gd name="connsiteX2018" fmla="*/ 981956 w 2066673"/>
              <a:gd name="connsiteY2018" fmla="*/ 61607 h 1353078"/>
              <a:gd name="connsiteX2019" fmla="*/ 984239 w 2066673"/>
              <a:gd name="connsiteY2019" fmla="*/ 59325 h 1353078"/>
              <a:gd name="connsiteX2020" fmla="*/ 986523 w 2066673"/>
              <a:gd name="connsiteY2020" fmla="*/ 54762 h 1353078"/>
              <a:gd name="connsiteX2021" fmla="*/ 988807 w 2066673"/>
              <a:gd name="connsiteY2021" fmla="*/ 50198 h 1353078"/>
              <a:gd name="connsiteX2022" fmla="*/ 991090 w 2066673"/>
              <a:gd name="connsiteY2022" fmla="*/ 45634 h 1353078"/>
              <a:gd name="connsiteX2023" fmla="*/ 991090 w 2066673"/>
              <a:gd name="connsiteY2023" fmla="*/ 43353 h 1353078"/>
              <a:gd name="connsiteX2024" fmla="*/ 993374 w 2066673"/>
              <a:gd name="connsiteY2024" fmla="*/ 38789 h 1353078"/>
              <a:gd name="connsiteX2025" fmla="*/ 995657 w 2066673"/>
              <a:gd name="connsiteY2025" fmla="*/ 38789 h 1353078"/>
              <a:gd name="connsiteX2026" fmla="*/ 995657 w 2066673"/>
              <a:gd name="connsiteY2026" fmla="*/ 36508 h 1353078"/>
              <a:gd name="connsiteX2027" fmla="*/ 997941 w 2066673"/>
              <a:gd name="connsiteY2027" fmla="*/ 34226 h 1353078"/>
              <a:gd name="connsiteX2028" fmla="*/ 1000224 w 2066673"/>
              <a:gd name="connsiteY2028" fmla="*/ 34226 h 1353078"/>
              <a:gd name="connsiteX2029" fmla="*/ 1004792 w 2066673"/>
              <a:gd name="connsiteY2029" fmla="*/ 34226 h 1353078"/>
              <a:gd name="connsiteX2030" fmla="*/ 1007075 w 2066673"/>
              <a:gd name="connsiteY2030" fmla="*/ 34226 h 1353078"/>
              <a:gd name="connsiteX2031" fmla="*/ 1009359 w 2066673"/>
              <a:gd name="connsiteY2031" fmla="*/ 34226 h 1353078"/>
              <a:gd name="connsiteX2032" fmla="*/ 1011643 w 2066673"/>
              <a:gd name="connsiteY2032" fmla="*/ 34226 h 1353078"/>
              <a:gd name="connsiteX2033" fmla="*/ 1013926 w 2066673"/>
              <a:gd name="connsiteY2033" fmla="*/ 36508 h 1353078"/>
              <a:gd name="connsiteX2034" fmla="*/ 1016210 w 2066673"/>
              <a:gd name="connsiteY2034" fmla="*/ 36508 h 1353078"/>
              <a:gd name="connsiteX2035" fmla="*/ 1020777 w 2066673"/>
              <a:gd name="connsiteY2035" fmla="*/ 34226 h 1353078"/>
              <a:gd name="connsiteX2036" fmla="*/ 1023061 w 2066673"/>
              <a:gd name="connsiteY2036" fmla="*/ 34226 h 1353078"/>
              <a:gd name="connsiteX2037" fmla="*/ 1025344 w 2066673"/>
              <a:gd name="connsiteY2037" fmla="*/ 34226 h 1353078"/>
              <a:gd name="connsiteX2038" fmla="*/ 1029911 w 2066673"/>
              <a:gd name="connsiteY2038" fmla="*/ 34226 h 1353078"/>
              <a:gd name="connsiteX2039" fmla="*/ 1032195 w 2066673"/>
              <a:gd name="connsiteY2039" fmla="*/ 31945 h 1353078"/>
              <a:gd name="connsiteX2040" fmla="*/ 1034478 w 2066673"/>
              <a:gd name="connsiteY2040" fmla="*/ 31945 h 1353078"/>
              <a:gd name="connsiteX2041" fmla="*/ 1036762 w 2066673"/>
              <a:gd name="connsiteY2041" fmla="*/ 31945 h 1353078"/>
              <a:gd name="connsiteX2042" fmla="*/ 1039046 w 2066673"/>
              <a:gd name="connsiteY2042" fmla="*/ 31945 h 1353078"/>
              <a:gd name="connsiteX2043" fmla="*/ 1041329 w 2066673"/>
              <a:gd name="connsiteY2043" fmla="*/ 31945 h 1353078"/>
              <a:gd name="connsiteX2044" fmla="*/ 1043613 w 2066673"/>
              <a:gd name="connsiteY2044" fmla="*/ 34226 h 1353078"/>
              <a:gd name="connsiteX2045" fmla="*/ 1045897 w 2066673"/>
              <a:gd name="connsiteY2045" fmla="*/ 34226 h 1353078"/>
              <a:gd name="connsiteX2046" fmla="*/ 1045897 w 2066673"/>
              <a:gd name="connsiteY2046" fmla="*/ 31945 h 1353078"/>
              <a:gd name="connsiteX2047" fmla="*/ 1048180 w 2066673"/>
              <a:gd name="connsiteY2047" fmla="*/ 31945 h 1353078"/>
              <a:gd name="connsiteX2048" fmla="*/ 1059598 w 2066673"/>
              <a:gd name="connsiteY2048" fmla="*/ 22817 h 1353078"/>
              <a:gd name="connsiteX2049" fmla="*/ 1059598 w 2066673"/>
              <a:gd name="connsiteY2049" fmla="*/ 20536 h 1353078"/>
              <a:gd name="connsiteX2050" fmla="*/ 1061882 w 2066673"/>
              <a:gd name="connsiteY2050" fmla="*/ 20536 h 1353078"/>
              <a:gd name="connsiteX2051" fmla="*/ 1064165 w 2066673"/>
              <a:gd name="connsiteY2051" fmla="*/ 20536 h 1353078"/>
              <a:gd name="connsiteX2052" fmla="*/ 1068732 w 2066673"/>
              <a:gd name="connsiteY2052" fmla="*/ 20536 h 1353078"/>
              <a:gd name="connsiteX2053" fmla="*/ 1071016 w 2066673"/>
              <a:gd name="connsiteY2053" fmla="*/ 20536 h 1353078"/>
              <a:gd name="connsiteX2054" fmla="*/ 1075583 w 2066673"/>
              <a:gd name="connsiteY2054" fmla="*/ 20536 h 1353078"/>
              <a:gd name="connsiteX2055" fmla="*/ 1077867 w 2066673"/>
              <a:gd name="connsiteY2055" fmla="*/ 22817 h 1353078"/>
              <a:gd name="connsiteX2056" fmla="*/ 1084718 w 2066673"/>
              <a:gd name="connsiteY2056" fmla="*/ 25099 h 1353078"/>
              <a:gd name="connsiteX2057" fmla="*/ 1087001 w 2066673"/>
              <a:gd name="connsiteY2057" fmla="*/ 22817 h 1353078"/>
              <a:gd name="connsiteX2058" fmla="*/ 1089285 w 2066673"/>
              <a:gd name="connsiteY2058" fmla="*/ 25099 h 1353078"/>
              <a:gd name="connsiteX2059" fmla="*/ 1091568 w 2066673"/>
              <a:gd name="connsiteY2059" fmla="*/ 25099 h 1353078"/>
              <a:gd name="connsiteX2060" fmla="*/ 1093852 w 2066673"/>
              <a:gd name="connsiteY2060" fmla="*/ 25099 h 1353078"/>
              <a:gd name="connsiteX2061" fmla="*/ 1096136 w 2066673"/>
              <a:gd name="connsiteY2061" fmla="*/ 22817 h 1353078"/>
              <a:gd name="connsiteX2062" fmla="*/ 1100703 w 2066673"/>
              <a:gd name="connsiteY2062" fmla="*/ 25099 h 1353078"/>
              <a:gd name="connsiteX2063" fmla="*/ 1102986 w 2066673"/>
              <a:gd name="connsiteY2063" fmla="*/ 25099 h 1353078"/>
              <a:gd name="connsiteX2064" fmla="*/ 1105270 w 2066673"/>
              <a:gd name="connsiteY2064" fmla="*/ 25099 h 1353078"/>
              <a:gd name="connsiteX2065" fmla="*/ 1107554 w 2066673"/>
              <a:gd name="connsiteY2065" fmla="*/ 25099 h 1353078"/>
              <a:gd name="connsiteX2066" fmla="*/ 1109837 w 2066673"/>
              <a:gd name="connsiteY2066" fmla="*/ 25099 h 1353078"/>
              <a:gd name="connsiteX2067" fmla="*/ 1109837 w 2066673"/>
              <a:gd name="connsiteY2067" fmla="*/ 27381 h 1353078"/>
              <a:gd name="connsiteX2068" fmla="*/ 1112121 w 2066673"/>
              <a:gd name="connsiteY2068" fmla="*/ 29662 h 1353078"/>
              <a:gd name="connsiteX2069" fmla="*/ 1114404 w 2066673"/>
              <a:gd name="connsiteY2069" fmla="*/ 29662 h 1353078"/>
              <a:gd name="connsiteX2070" fmla="*/ 1118972 w 2066673"/>
              <a:gd name="connsiteY2070" fmla="*/ 27381 h 1353078"/>
              <a:gd name="connsiteX2071" fmla="*/ 1123539 w 2066673"/>
              <a:gd name="connsiteY2071" fmla="*/ 27381 h 1353078"/>
              <a:gd name="connsiteX2072" fmla="*/ 1125822 w 2066673"/>
              <a:gd name="connsiteY2072" fmla="*/ 27381 h 1353078"/>
              <a:gd name="connsiteX2073" fmla="*/ 1128106 w 2066673"/>
              <a:gd name="connsiteY2073" fmla="*/ 27381 h 1353078"/>
              <a:gd name="connsiteX2074" fmla="*/ 1130390 w 2066673"/>
              <a:gd name="connsiteY2074" fmla="*/ 27381 h 1353078"/>
              <a:gd name="connsiteX2075" fmla="*/ 1132673 w 2066673"/>
              <a:gd name="connsiteY2075" fmla="*/ 27381 h 1353078"/>
              <a:gd name="connsiteX2076" fmla="*/ 1132673 w 2066673"/>
              <a:gd name="connsiteY2076" fmla="*/ 25099 h 1353078"/>
              <a:gd name="connsiteX2077" fmla="*/ 1134957 w 2066673"/>
              <a:gd name="connsiteY2077" fmla="*/ 25099 h 1353078"/>
              <a:gd name="connsiteX2078" fmla="*/ 1137240 w 2066673"/>
              <a:gd name="connsiteY2078" fmla="*/ 22817 h 1353078"/>
              <a:gd name="connsiteX2079" fmla="*/ 1141807 w 2066673"/>
              <a:gd name="connsiteY2079" fmla="*/ 20536 h 1353078"/>
              <a:gd name="connsiteX2080" fmla="*/ 1144091 w 2066673"/>
              <a:gd name="connsiteY2080" fmla="*/ 20536 h 1353078"/>
              <a:gd name="connsiteX2081" fmla="*/ 1146375 w 2066673"/>
              <a:gd name="connsiteY2081" fmla="*/ 20536 h 1353078"/>
              <a:gd name="connsiteX2082" fmla="*/ 1148658 w 2066673"/>
              <a:gd name="connsiteY2082" fmla="*/ 18254 h 1353078"/>
              <a:gd name="connsiteX2083" fmla="*/ 1153226 w 2066673"/>
              <a:gd name="connsiteY2083" fmla="*/ 18254 h 1353078"/>
              <a:gd name="connsiteX2084" fmla="*/ 1160076 w 2066673"/>
              <a:gd name="connsiteY2084" fmla="*/ 15971 h 1353078"/>
              <a:gd name="connsiteX2085" fmla="*/ 1162360 w 2066673"/>
              <a:gd name="connsiteY2085" fmla="*/ 15971 h 1353078"/>
              <a:gd name="connsiteX2086" fmla="*/ 1169211 w 2066673"/>
              <a:gd name="connsiteY2086" fmla="*/ 15971 h 1353078"/>
              <a:gd name="connsiteX2087" fmla="*/ 1173778 w 2066673"/>
              <a:gd name="connsiteY2087" fmla="*/ 18254 h 1353078"/>
              <a:gd name="connsiteX2088" fmla="*/ 1176061 w 2066673"/>
              <a:gd name="connsiteY2088" fmla="*/ 18254 h 1353078"/>
              <a:gd name="connsiteX2089" fmla="*/ 1180629 w 2066673"/>
              <a:gd name="connsiteY2089" fmla="*/ 20536 h 1353078"/>
              <a:gd name="connsiteX2090" fmla="*/ 1185196 w 2066673"/>
              <a:gd name="connsiteY2090" fmla="*/ 20536 h 1353078"/>
              <a:gd name="connsiteX2091" fmla="*/ 1187480 w 2066673"/>
              <a:gd name="connsiteY2091" fmla="*/ 20536 h 1353078"/>
              <a:gd name="connsiteX2092" fmla="*/ 1187480 w 2066673"/>
              <a:gd name="connsiteY2092" fmla="*/ 18254 h 1353078"/>
              <a:gd name="connsiteX2093" fmla="*/ 1189763 w 2066673"/>
              <a:gd name="connsiteY2093" fmla="*/ 15971 h 1353078"/>
              <a:gd name="connsiteX2094" fmla="*/ 1189763 w 2066673"/>
              <a:gd name="connsiteY2094" fmla="*/ 13690 h 1353078"/>
              <a:gd name="connsiteX2095" fmla="*/ 1192047 w 2066673"/>
              <a:gd name="connsiteY2095" fmla="*/ 11408 h 1353078"/>
              <a:gd name="connsiteX2096" fmla="*/ 1196614 w 2066673"/>
              <a:gd name="connsiteY2096" fmla="*/ 9127 h 1353078"/>
              <a:gd name="connsiteX2097" fmla="*/ 1201181 w 2066673"/>
              <a:gd name="connsiteY2097" fmla="*/ 9127 h 1353078"/>
              <a:gd name="connsiteX2098" fmla="*/ 1205748 w 2066673"/>
              <a:gd name="connsiteY2098" fmla="*/ 6845 h 1353078"/>
              <a:gd name="connsiteX2099" fmla="*/ 1208032 w 2066673"/>
              <a:gd name="connsiteY2099" fmla="*/ 6845 h 1353078"/>
              <a:gd name="connsiteX2100" fmla="*/ 1210315 w 2066673"/>
              <a:gd name="connsiteY2100" fmla="*/ 6845 h 1353078"/>
              <a:gd name="connsiteX2101" fmla="*/ 1212599 w 2066673"/>
              <a:gd name="connsiteY2101" fmla="*/ 6845 h 1353078"/>
              <a:gd name="connsiteX2102" fmla="*/ 1214883 w 2066673"/>
              <a:gd name="connsiteY2102" fmla="*/ 9127 h 1353078"/>
              <a:gd name="connsiteX2103" fmla="*/ 1217166 w 2066673"/>
              <a:gd name="connsiteY2103" fmla="*/ 11408 h 1353078"/>
              <a:gd name="connsiteX2104" fmla="*/ 1219450 w 2066673"/>
              <a:gd name="connsiteY2104" fmla="*/ 11408 h 1353078"/>
              <a:gd name="connsiteX2105" fmla="*/ 1221734 w 2066673"/>
              <a:gd name="connsiteY2105" fmla="*/ 9127 h 1353078"/>
              <a:gd name="connsiteX2106" fmla="*/ 1226301 w 2066673"/>
              <a:gd name="connsiteY2106" fmla="*/ 4563 h 1353078"/>
              <a:gd name="connsiteX2107" fmla="*/ 1230868 w 2066673"/>
              <a:gd name="connsiteY2107" fmla="*/ 2282 h 1353078"/>
              <a:gd name="connsiteX2108" fmla="*/ 1235435 w 2066673"/>
              <a:gd name="connsiteY2108" fmla="*/ 0 h 1353078"/>
              <a:gd name="connsiteX2109" fmla="*/ 1237719 w 2066673"/>
              <a:gd name="connsiteY2109" fmla="*/ 2282 h 1353078"/>
              <a:gd name="connsiteX2110" fmla="*/ 1240002 w 2066673"/>
              <a:gd name="connsiteY2110" fmla="*/ 2282 h 1353078"/>
              <a:gd name="connsiteX2111" fmla="*/ 1242286 w 2066673"/>
              <a:gd name="connsiteY2111" fmla="*/ 4563 h 1353078"/>
              <a:gd name="connsiteX2112" fmla="*/ 1244569 w 2066673"/>
              <a:gd name="connsiteY2112" fmla="*/ 4563 h 135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</a:cxnLst>
            <a:rect l="l" t="t" r="r" b="b"/>
            <a:pathLst>
              <a:path w="2066673" h="1353078">
                <a:moveTo>
                  <a:pt x="1244569" y="4563"/>
                </a:moveTo>
                <a:lnTo>
                  <a:pt x="1246853" y="4563"/>
                </a:lnTo>
                <a:lnTo>
                  <a:pt x="1249136" y="4563"/>
                </a:lnTo>
                <a:lnTo>
                  <a:pt x="1253704" y="4563"/>
                </a:lnTo>
                <a:lnTo>
                  <a:pt x="1258271" y="6845"/>
                </a:lnTo>
                <a:lnTo>
                  <a:pt x="1260555" y="6845"/>
                </a:lnTo>
                <a:lnTo>
                  <a:pt x="1265122" y="6845"/>
                </a:lnTo>
                <a:lnTo>
                  <a:pt x="1269689" y="6845"/>
                </a:lnTo>
                <a:lnTo>
                  <a:pt x="1271973" y="6845"/>
                </a:lnTo>
                <a:lnTo>
                  <a:pt x="1281107" y="6845"/>
                </a:lnTo>
                <a:lnTo>
                  <a:pt x="1283391" y="6845"/>
                </a:lnTo>
                <a:lnTo>
                  <a:pt x="1283391" y="9127"/>
                </a:lnTo>
                <a:lnTo>
                  <a:pt x="1294808" y="15971"/>
                </a:lnTo>
                <a:lnTo>
                  <a:pt x="1303943" y="20536"/>
                </a:lnTo>
                <a:lnTo>
                  <a:pt x="1306226" y="20536"/>
                </a:lnTo>
                <a:lnTo>
                  <a:pt x="1310793" y="20536"/>
                </a:lnTo>
                <a:lnTo>
                  <a:pt x="1313077" y="20536"/>
                </a:lnTo>
                <a:lnTo>
                  <a:pt x="1315361" y="20536"/>
                </a:lnTo>
                <a:lnTo>
                  <a:pt x="1317644" y="22817"/>
                </a:lnTo>
                <a:lnTo>
                  <a:pt x="1322211" y="27381"/>
                </a:lnTo>
                <a:lnTo>
                  <a:pt x="1324495" y="27381"/>
                </a:lnTo>
                <a:lnTo>
                  <a:pt x="1326779" y="27381"/>
                </a:lnTo>
                <a:lnTo>
                  <a:pt x="1331346" y="27381"/>
                </a:lnTo>
                <a:lnTo>
                  <a:pt x="1335913" y="27381"/>
                </a:lnTo>
                <a:lnTo>
                  <a:pt x="1340481" y="29662"/>
                </a:lnTo>
                <a:lnTo>
                  <a:pt x="1345048" y="31945"/>
                </a:lnTo>
                <a:lnTo>
                  <a:pt x="1349615" y="36508"/>
                </a:lnTo>
                <a:lnTo>
                  <a:pt x="1354182" y="38789"/>
                </a:lnTo>
                <a:lnTo>
                  <a:pt x="1356466" y="41071"/>
                </a:lnTo>
                <a:lnTo>
                  <a:pt x="1358749" y="41071"/>
                </a:lnTo>
                <a:lnTo>
                  <a:pt x="1367883" y="43353"/>
                </a:lnTo>
                <a:lnTo>
                  <a:pt x="1370167" y="43353"/>
                </a:lnTo>
                <a:lnTo>
                  <a:pt x="1374734" y="45634"/>
                </a:lnTo>
                <a:lnTo>
                  <a:pt x="1374734" y="47917"/>
                </a:lnTo>
                <a:lnTo>
                  <a:pt x="1374734" y="50198"/>
                </a:lnTo>
                <a:lnTo>
                  <a:pt x="1377018" y="54762"/>
                </a:lnTo>
                <a:lnTo>
                  <a:pt x="1379301" y="54762"/>
                </a:lnTo>
                <a:lnTo>
                  <a:pt x="1381585" y="54762"/>
                </a:lnTo>
                <a:lnTo>
                  <a:pt x="1386152" y="54762"/>
                </a:lnTo>
                <a:lnTo>
                  <a:pt x="1388436" y="57043"/>
                </a:lnTo>
                <a:lnTo>
                  <a:pt x="1390719" y="57043"/>
                </a:lnTo>
                <a:lnTo>
                  <a:pt x="1393003" y="59325"/>
                </a:lnTo>
                <a:lnTo>
                  <a:pt x="1395286" y="61607"/>
                </a:lnTo>
                <a:lnTo>
                  <a:pt x="1397571" y="63889"/>
                </a:lnTo>
                <a:lnTo>
                  <a:pt x="1399854" y="63889"/>
                </a:lnTo>
                <a:lnTo>
                  <a:pt x="1402138" y="66171"/>
                </a:lnTo>
                <a:lnTo>
                  <a:pt x="1406705" y="68452"/>
                </a:lnTo>
                <a:lnTo>
                  <a:pt x="1408988" y="70734"/>
                </a:lnTo>
                <a:lnTo>
                  <a:pt x="1411272" y="73016"/>
                </a:lnTo>
                <a:lnTo>
                  <a:pt x="1413556" y="75298"/>
                </a:lnTo>
                <a:lnTo>
                  <a:pt x="1415839" y="77580"/>
                </a:lnTo>
                <a:lnTo>
                  <a:pt x="1418123" y="77580"/>
                </a:lnTo>
                <a:lnTo>
                  <a:pt x="1420406" y="79861"/>
                </a:lnTo>
                <a:lnTo>
                  <a:pt x="1424973" y="75298"/>
                </a:lnTo>
                <a:lnTo>
                  <a:pt x="1431824" y="73016"/>
                </a:lnTo>
                <a:lnTo>
                  <a:pt x="1438675" y="75298"/>
                </a:lnTo>
                <a:lnTo>
                  <a:pt x="1445526" y="73016"/>
                </a:lnTo>
                <a:lnTo>
                  <a:pt x="1450103" y="73016"/>
                </a:lnTo>
                <a:lnTo>
                  <a:pt x="1452376" y="73016"/>
                </a:lnTo>
                <a:lnTo>
                  <a:pt x="1454660" y="73016"/>
                </a:lnTo>
                <a:lnTo>
                  <a:pt x="1456944" y="75298"/>
                </a:lnTo>
                <a:lnTo>
                  <a:pt x="1459227" y="77580"/>
                </a:lnTo>
                <a:lnTo>
                  <a:pt x="1461520" y="79861"/>
                </a:lnTo>
                <a:lnTo>
                  <a:pt x="1463804" y="82143"/>
                </a:lnTo>
                <a:lnTo>
                  <a:pt x="1468362" y="86707"/>
                </a:lnTo>
                <a:lnTo>
                  <a:pt x="1470655" y="88989"/>
                </a:lnTo>
                <a:lnTo>
                  <a:pt x="1470655" y="91270"/>
                </a:lnTo>
                <a:lnTo>
                  <a:pt x="1472929" y="95833"/>
                </a:lnTo>
                <a:lnTo>
                  <a:pt x="1479789" y="98115"/>
                </a:lnTo>
                <a:lnTo>
                  <a:pt x="1482073" y="98115"/>
                </a:lnTo>
                <a:lnTo>
                  <a:pt x="1486631" y="95833"/>
                </a:lnTo>
                <a:lnTo>
                  <a:pt x="1500342" y="95833"/>
                </a:lnTo>
                <a:lnTo>
                  <a:pt x="1502616" y="95833"/>
                </a:lnTo>
                <a:lnTo>
                  <a:pt x="1514043" y="95833"/>
                </a:lnTo>
                <a:lnTo>
                  <a:pt x="1523178" y="93552"/>
                </a:lnTo>
                <a:lnTo>
                  <a:pt x="1525461" y="93552"/>
                </a:lnTo>
                <a:lnTo>
                  <a:pt x="1532312" y="91270"/>
                </a:lnTo>
                <a:lnTo>
                  <a:pt x="1539163" y="88989"/>
                </a:lnTo>
                <a:lnTo>
                  <a:pt x="1546013" y="86707"/>
                </a:lnTo>
                <a:lnTo>
                  <a:pt x="1548297" y="84425"/>
                </a:lnTo>
                <a:lnTo>
                  <a:pt x="1552864" y="84425"/>
                </a:lnTo>
                <a:lnTo>
                  <a:pt x="1557431" y="84425"/>
                </a:lnTo>
                <a:lnTo>
                  <a:pt x="1559715" y="84425"/>
                </a:lnTo>
                <a:lnTo>
                  <a:pt x="1561998" y="84425"/>
                </a:lnTo>
                <a:lnTo>
                  <a:pt x="1564283" y="84425"/>
                </a:lnTo>
                <a:lnTo>
                  <a:pt x="1564283" y="86707"/>
                </a:lnTo>
                <a:lnTo>
                  <a:pt x="1568850" y="86707"/>
                </a:lnTo>
                <a:lnTo>
                  <a:pt x="1573417" y="88989"/>
                </a:lnTo>
                <a:lnTo>
                  <a:pt x="1577984" y="88989"/>
                </a:lnTo>
                <a:lnTo>
                  <a:pt x="1580268" y="88989"/>
                </a:lnTo>
                <a:lnTo>
                  <a:pt x="1582551" y="86707"/>
                </a:lnTo>
                <a:lnTo>
                  <a:pt x="1584835" y="86707"/>
                </a:lnTo>
                <a:lnTo>
                  <a:pt x="1587118" y="86707"/>
                </a:lnTo>
                <a:lnTo>
                  <a:pt x="1589402" y="86707"/>
                </a:lnTo>
                <a:lnTo>
                  <a:pt x="1591686" y="86707"/>
                </a:lnTo>
                <a:lnTo>
                  <a:pt x="1596253" y="86707"/>
                </a:lnTo>
                <a:lnTo>
                  <a:pt x="1598536" y="86707"/>
                </a:lnTo>
                <a:lnTo>
                  <a:pt x="1600820" y="88989"/>
                </a:lnTo>
                <a:lnTo>
                  <a:pt x="1603103" y="88989"/>
                </a:lnTo>
                <a:lnTo>
                  <a:pt x="1607671" y="91270"/>
                </a:lnTo>
                <a:lnTo>
                  <a:pt x="1609954" y="91270"/>
                </a:lnTo>
                <a:lnTo>
                  <a:pt x="1612238" y="91270"/>
                </a:lnTo>
                <a:lnTo>
                  <a:pt x="1612238" y="88989"/>
                </a:lnTo>
                <a:lnTo>
                  <a:pt x="1614521" y="88989"/>
                </a:lnTo>
                <a:lnTo>
                  <a:pt x="1616805" y="86707"/>
                </a:lnTo>
                <a:lnTo>
                  <a:pt x="1616805" y="84425"/>
                </a:lnTo>
                <a:lnTo>
                  <a:pt x="1619088" y="84425"/>
                </a:lnTo>
                <a:lnTo>
                  <a:pt x="1621372" y="82143"/>
                </a:lnTo>
                <a:lnTo>
                  <a:pt x="1623656" y="82143"/>
                </a:lnTo>
                <a:lnTo>
                  <a:pt x="1625939" y="84425"/>
                </a:lnTo>
                <a:lnTo>
                  <a:pt x="1628223" y="84425"/>
                </a:lnTo>
                <a:lnTo>
                  <a:pt x="1630506" y="84425"/>
                </a:lnTo>
                <a:lnTo>
                  <a:pt x="1635074" y="86707"/>
                </a:lnTo>
                <a:lnTo>
                  <a:pt x="1637358" y="86707"/>
                </a:lnTo>
                <a:lnTo>
                  <a:pt x="1641925" y="86707"/>
                </a:lnTo>
                <a:lnTo>
                  <a:pt x="1641925" y="84425"/>
                </a:lnTo>
                <a:lnTo>
                  <a:pt x="1648776" y="82143"/>
                </a:lnTo>
                <a:lnTo>
                  <a:pt x="1653343" y="82143"/>
                </a:lnTo>
                <a:lnTo>
                  <a:pt x="1662477" y="82143"/>
                </a:lnTo>
                <a:lnTo>
                  <a:pt x="1664761" y="79861"/>
                </a:lnTo>
                <a:lnTo>
                  <a:pt x="1669328" y="82143"/>
                </a:lnTo>
                <a:lnTo>
                  <a:pt x="1671611" y="79861"/>
                </a:lnTo>
                <a:lnTo>
                  <a:pt x="1678462" y="77580"/>
                </a:lnTo>
                <a:lnTo>
                  <a:pt x="1683029" y="77580"/>
                </a:lnTo>
                <a:lnTo>
                  <a:pt x="1685313" y="77580"/>
                </a:lnTo>
                <a:lnTo>
                  <a:pt x="1687596" y="77580"/>
                </a:lnTo>
                <a:lnTo>
                  <a:pt x="1692164" y="77580"/>
                </a:lnTo>
                <a:lnTo>
                  <a:pt x="1694447" y="77580"/>
                </a:lnTo>
                <a:lnTo>
                  <a:pt x="1696731" y="79861"/>
                </a:lnTo>
                <a:lnTo>
                  <a:pt x="1699014" y="79861"/>
                </a:lnTo>
                <a:lnTo>
                  <a:pt x="1705866" y="82143"/>
                </a:lnTo>
                <a:lnTo>
                  <a:pt x="1712716" y="79861"/>
                </a:lnTo>
                <a:lnTo>
                  <a:pt x="1717283" y="79861"/>
                </a:lnTo>
                <a:lnTo>
                  <a:pt x="1717283" y="82143"/>
                </a:lnTo>
                <a:lnTo>
                  <a:pt x="1719567" y="82143"/>
                </a:lnTo>
                <a:lnTo>
                  <a:pt x="1724134" y="82143"/>
                </a:lnTo>
                <a:lnTo>
                  <a:pt x="1730985" y="86707"/>
                </a:lnTo>
                <a:lnTo>
                  <a:pt x="1733268" y="86707"/>
                </a:lnTo>
                <a:lnTo>
                  <a:pt x="1735552" y="88989"/>
                </a:lnTo>
                <a:lnTo>
                  <a:pt x="1737836" y="88989"/>
                </a:lnTo>
                <a:lnTo>
                  <a:pt x="1740119" y="91270"/>
                </a:lnTo>
                <a:lnTo>
                  <a:pt x="1744686" y="93552"/>
                </a:lnTo>
                <a:lnTo>
                  <a:pt x="1746970" y="93552"/>
                </a:lnTo>
                <a:lnTo>
                  <a:pt x="1749254" y="93552"/>
                </a:lnTo>
                <a:lnTo>
                  <a:pt x="1751537" y="93552"/>
                </a:lnTo>
                <a:lnTo>
                  <a:pt x="1753821" y="93552"/>
                </a:lnTo>
                <a:lnTo>
                  <a:pt x="1760671" y="95833"/>
                </a:lnTo>
                <a:lnTo>
                  <a:pt x="1765239" y="95833"/>
                </a:lnTo>
                <a:lnTo>
                  <a:pt x="1767522" y="98115"/>
                </a:lnTo>
                <a:lnTo>
                  <a:pt x="1769806" y="98115"/>
                </a:lnTo>
                <a:lnTo>
                  <a:pt x="1772090" y="98115"/>
                </a:lnTo>
                <a:lnTo>
                  <a:pt x="1772090" y="100397"/>
                </a:lnTo>
                <a:lnTo>
                  <a:pt x="1774373" y="100397"/>
                </a:lnTo>
                <a:lnTo>
                  <a:pt x="1776657" y="100397"/>
                </a:lnTo>
                <a:lnTo>
                  <a:pt x="1778941" y="102679"/>
                </a:lnTo>
                <a:lnTo>
                  <a:pt x="1783508" y="102679"/>
                </a:lnTo>
                <a:lnTo>
                  <a:pt x="1794926" y="98115"/>
                </a:lnTo>
                <a:lnTo>
                  <a:pt x="1804060" y="95833"/>
                </a:lnTo>
                <a:lnTo>
                  <a:pt x="1808627" y="95833"/>
                </a:lnTo>
                <a:lnTo>
                  <a:pt x="1810911" y="95833"/>
                </a:lnTo>
                <a:lnTo>
                  <a:pt x="1813194" y="95833"/>
                </a:lnTo>
                <a:lnTo>
                  <a:pt x="1815478" y="95833"/>
                </a:lnTo>
                <a:lnTo>
                  <a:pt x="1820045" y="100397"/>
                </a:lnTo>
                <a:lnTo>
                  <a:pt x="1826896" y="107242"/>
                </a:lnTo>
                <a:lnTo>
                  <a:pt x="1826896" y="109523"/>
                </a:lnTo>
                <a:lnTo>
                  <a:pt x="1831463" y="111805"/>
                </a:lnTo>
                <a:lnTo>
                  <a:pt x="1833747" y="111805"/>
                </a:lnTo>
                <a:lnTo>
                  <a:pt x="1836031" y="111805"/>
                </a:lnTo>
                <a:lnTo>
                  <a:pt x="1840598" y="109523"/>
                </a:lnTo>
                <a:lnTo>
                  <a:pt x="1847448" y="109523"/>
                </a:lnTo>
                <a:lnTo>
                  <a:pt x="1849732" y="109523"/>
                </a:lnTo>
                <a:lnTo>
                  <a:pt x="1852016" y="111805"/>
                </a:lnTo>
                <a:lnTo>
                  <a:pt x="1854299" y="114087"/>
                </a:lnTo>
                <a:lnTo>
                  <a:pt x="1856583" y="118651"/>
                </a:lnTo>
                <a:lnTo>
                  <a:pt x="1858866" y="123214"/>
                </a:lnTo>
                <a:lnTo>
                  <a:pt x="1863434" y="130060"/>
                </a:lnTo>
                <a:lnTo>
                  <a:pt x="1865717" y="132341"/>
                </a:lnTo>
                <a:lnTo>
                  <a:pt x="1870284" y="134623"/>
                </a:lnTo>
                <a:lnTo>
                  <a:pt x="1868001" y="134623"/>
                </a:lnTo>
                <a:lnTo>
                  <a:pt x="1868001" y="136904"/>
                </a:lnTo>
                <a:lnTo>
                  <a:pt x="1868001" y="141469"/>
                </a:lnTo>
                <a:lnTo>
                  <a:pt x="1872568" y="155159"/>
                </a:lnTo>
                <a:lnTo>
                  <a:pt x="1874851" y="162004"/>
                </a:lnTo>
                <a:lnTo>
                  <a:pt x="1874851" y="164286"/>
                </a:lnTo>
                <a:lnTo>
                  <a:pt x="1877135" y="168850"/>
                </a:lnTo>
                <a:lnTo>
                  <a:pt x="1877135" y="175696"/>
                </a:lnTo>
                <a:lnTo>
                  <a:pt x="1879419" y="182540"/>
                </a:lnTo>
                <a:lnTo>
                  <a:pt x="1883986" y="196231"/>
                </a:lnTo>
                <a:lnTo>
                  <a:pt x="1886269" y="203076"/>
                </a:lnTo>
                <a:lnTo>
                  <a:pt x="1886269" y="207639"/>
                </a:lnTo>
                <a:lnTo>
                  <a:pt x="1888553" y="212203"/>
                </a:lnTo>
                <a:lnTo>
                  <a:pt x="1902254" y="266966"/>
                </a:lnTo>
                <a:lnTo>
                  <a:pt x="1904538" y="266966"/>
                </a:lnTo>
                <a:lnTo>
                  <a:pt x="1904538" y="273810"/>
                </a:lnTo>
                <a:lnTo>
                  <a:pt x="1909106" y="287501"/>
                </a:lnTo>
                <a:lnTo>
                  <a:pt x="1915956" y="310319"/>
                </a:lnTo>
                <a:lnTo>
                  <a:pt x="1915956" y="312601"/>
                </a:lnTo>
                <a:lnTo>
                  <a:pt x="1915956" y="317165"/>
                </a:lnTo>
                <a:lnTo>
                  <a:pt x="1920524" y="326290"/>
                </a:lnTo>
                <a:lnTo>
                  <a:pt x="1922807" y="335418"/>
                </a:lnTo>
                <a:lnTo>
                  <a:pt x="1925091" y="344545"/>
                </a:lnTo>
                <a:lnTo>
                  <a:pt x="1925091" y="349108"/>
                </a:lnTo>
                <a:lnTo>
                  <a:pt x="1929658" y="358236"/>
                </a:lnTo>
                <a:lnTo>
                  <a:pt x="1931941" y="369644"/>
                </a:lnTo>
                <a:lnTo>
                  <a:pt x="1934225" y="376489"/>
                </a:lnTo>
                <a:lnTo>
                  <a:pt x="1936509" y="383335"/>
                </a:lnTo>
                <a:lnTo>
                  <a:pt x="1938792" y="392461"/>
                </a:lnTo>
                <a:lnTo>
                  <a:pt x="1938792" y="397026"/>
                </a:lnTo>
                <a:lnTo>
                  <a:pt x="1941076" y="399307"/>
                </a:lnTo>
                <a:lnTo>
                  <a:pt x="1941076" y="401589"/>
                </a:lnTo>
                <a:lnTo>
                  <a:pt x="1943359" y="408434"/>
                </a:lnTo>
                <a:lnTo>
                  <a:pt x="1943359" y="412998"/>
                </a:lnTo>
                <a:lnTo>
                  <a:pt x="1947927" y="428970"/>
                </a:lnTo>
                <a:lnTo>
                  <a:pt x="1947927" y="431252"/>
                </a:lnTo>
                <a:lnTo>
                  <a:pt x="1947927" y="433534"/>
                </a:lnTo>
                <a:lnTo>
                  <a:pt x="1950210" y="435815"/>
                </a:lnTo>
                <a:lnTo>
                  <a:pt x="1950210" y="440378"/>
                </a:lnTo>
                <a:lnTo>
                  <a:pt x="1952494" y="442660"/>
                </a:lnTo>
                <a:lnTo>
                  <a:pt x="1952494" y="444942"/>
                </a:lnTo>
                <a:lnTo>
                  <a:pt x="1954777" y="449505"/>
                </a:lnTo>
                <a:lnTo>
                  <a:pt x="1954777" y="451788"/>
                </a:lnTo>
                <a:lnTo>
                  <a:pt x="1952494" y="456352"/>
                </a:lnTo>
                <a:lnTo>
                  <a:pt x="1952494" y="458633"/>
                </a:lnTo>
                <a:lnTo>
                  <a:pt x="1952494" y="467760"/>
                </a:lnTo>
                <a:lnTo>
                  <a:pt x="1950210" y="486013"/>
                </a:lnTo>
                <a:lnTo>
                  <a:pt x="1950210" y="490577"/>
                </a:lnTo>
                <a:lnTo>
                  <a:pt x="1950210" y="492859"/>
                </a:lnTo>
                <a:lnTo>
                  <a:pt x="1950210" y="495141"/>
                </a:lnTo>
                <a:lnTo>
                  <a:pt x="1950210" y="508831"/>
                </a:lnTo>
                <a:lnTo>
                  <a:pt x="1947927" y="520240"/>
                </a:lnTo>
                <a:lnTo>
                  <a:pt x="1947927" y="529368"/>
                </a:lnTo>
                <a:lnTo>
                  <a:pt x="1945643" y="543058"/>
                </a:lnTo>
                <a:lnTo>
                  <a:pt x="1945643" y="547621"/>
                </a:lnTo>
                <a:lnTo>
                  <a:pt x="1945643" y="549903"/>
                </a:lnTo>
                <a:lnTo>
                  <a:pt x="1950210" y="570439"/>
                </a:lnTo>
                <a:lnTo>
                  <a:pt x="1950210" y="572721"/>
                </a:lnTo>
                <a:lnTo>
                  <a:pt x="1952494" y="575003"/>
                </a:lnTo>
                <a:lnTo>
                  <a:pt x="1957061" y="581847"/>
                </a:lnTo>
                <a:lnTo>
                  <a:pt x="1959344" y="584129"/>
                </a:lnTo>
                <a:lnTo>
                  <a:pt x="1959344" y="586411"/>
                </a:lnTo>
                <a:lnTo>
                  <a:pt x="1963912" y="590975"/>
                </a:lnTo>
                <a:lnTo>
                  <a:pt x="1977614" y="606946"/>
                </a:lnTo>
                <a:lnTo>
                  <a:pt x="1982181" y="613792"/>
                </a:lnTo>
                <a:lnTo>
                  <a:pt x="1986748" y="618356"/>
                </a:lnTo>
                <a:lnTo>
                  <a:pt x="1989031" y="620637"/>
                </a:lnTo>
                <a:lnTo>
                  <a:pt x="1989031" y="622919"/>
                </a:lnTo>
                <a:lnTo>
                  <a:pt x="1991315" y="625201"/>
                </a:lnTo>
                <a:lnTo>
                  <a:pt x="1993599" y="627483"/>
                </a:lnTo>
                <a:lnTo>
                  <a:pt x="1998166" y="632047"/>
                </a:lnTo>
                <a:lnTo>
                  <a:pt x="1998166" y="636610"/>
                </a:lnTo>
                <a:lnTo>
                  <a:pt x="1998166" y="641174"/>
                </a:lnTo>
                <a:lnTo>
                  <a:pt x="1998166" y="666273"/>
                </a:lnTo>
                <a:lnTo>
                  <a:pt x="1998166" y="668555"/>
                </a:lnTo>
                <a:lnTo>
                  <a:pt x="1998166" y="670837"/>
                </a:lnTo>
                <a:lnTo>
                  <a:pt x="1998166" y="675399"/>
                </a:lnTo>
                <a:lnTo>
                  <a:pt x="2000449" y="682245"/>
                </a:lnTo>
                <a:lnTo>
                  <a:pt x="2007300" y="698217"/>
                </a:lnTo>
                <a:lnTo>
                  <a:pt x="2016434" y="727880"/>
                </a:lnTo>
                <a:lnTo>
                  <a:pt x="2018718" y="730162"/>
                </a:lnTo>
                <a:lnTo>
                  <a:pt x="2018718" y="732444"/>
                </a:lnTo>
                <a:lnTo>
                  <a:pt x="2021002" y="741571"/>
                </a:lnTo>
                <a:lnTo>
                  <a:pt x="2023285" y="741571"/>
                </a:lnTo>
                <a:lnTo>
                  <a:pt x="2030136" y="746134"/>
                </a:lnTo>
                <a:lnTo>
                  <a:pt x="2036987" y="752979"/>
                </a:lnTo>
                <a:lnTo>
                  <a:pt x="2052972" y="764389"/>
                </a:lnTo>
                <a:lnTo>
                  <a:pt x="2057539" y="766670"/>
                </a:lnTo>
                <a:lnTo>
                  <a:pt x="2059823" y="766670"/>
                </a:lnTo>
                <a:lnTo>
                  <a:pt x="2064390" y="771233"/>
                </a:lnTo>
                <a:lnTo>
                  <a:pt x="2064390" y="775797"/>
                </a:lnTo>
                <a:lnTo>
                  <a:pt x="2064390" y="778079"/>
                </a:lnTo>
                <a:lnTo>
                  <a:pt x="2064390" y="780361"/>
                </a:lnTo>
                <a:lnTo>
                  <a:pt x="2064390" y="782642"/>
                </a:lnTo>
                <a:lnTo>
                  <a:pt x="2066674" y="784924"/>
                </a:lnTo>
                <a:lnTo>
                  <a:pt x="2055256" y="784924"/>
                </a:lnTo>
                <a:lnTo>
                  <a:pt x="2052972" y="784924"/>
                </a:lnTo>
                <a:lnTo>
                  <a:pt x="2050689" y="784924"/>
                </a:lnTo>
                <a:lnTo>
                  <a:pt x="2046121" y="784924"/>
                </a:lnTo>
                <a:lnTo>
                  <a:pt x="2043837" y="784924"/>
                </a:lnTo>
                <a:lnTo>
                  <a:pt x="2043837" y="787206"/>
                </a:lnTo>
                <a:lnTo>
                  <a:pt x="2043837" y="789487"/>
                </a:lnTo>
                <a:lnTo>
                  <a:pt x="2041554" y="789487"/>
                </a:lnTo>
                <a:lnTo>
                  <a:pt x="2039270" y="789487"/>
                </a:lnTo>
                <a:lnTo>
                  <a:pt x="2036987" y="789487"/>
                </a:lnTo>
                <a:lnTo>
                  <a:pt x="2034703" y="787206"/>
                </a:lnTo>
                <a:lnTo>
                  <a:pt x="2032419" y="787206"/>
                </a:lnTo>
                <a:lnTo>
                  <a:pt x="2032419" y="784924"/>
                </a:lnTo>
                <a:lnTo>
                  <a:pt x="2030136" y="784924"/>
                </a:lnTo>
                <a:lnTo>
                  <a:pt x="2027852" y="782642"/>
                </a:lnTo>
                <a:lnTo>
                  <a:pt x="2025569" y="782642"/>
                </a:lnTo>
                <a:lnTo>
                  <a:pt x="2023285" y="782642"/>
                </a:lnTo>
                <a:lnTo>
                  <a:pt x="2023285" y="784924"/>
                </a:lnTo>
                <a:lnTo>
                  <a:pt x="2021002" y="784924"/>
                </a:lnTo>
                <a:lnTo>
                  <a:pt x="2018718" y="787206"/>
                </a:lnTo>
                <a:lnTo>
                  <a:pt x="2016434" y="787206"/>
                </a:lnTo>
                <a:lnTo>
                  <a:pt x="2016434" y="789487"/>
                </a:lnTo>
                <a:lnTo>
                  <a:pt x="2014151" y="789487"/>
                </a:lnTo>
                <a:lnTo>
                  <a:pt x="2014151" y="791769"/>
                </a:lnTo>
                <a:lnTo>
                  <a:pt x="2011867" y="791769"/>
                </a:lnTo>
                <a:lnTo>
                  <a:pt x="2009584" y="794050"/>
                </a:lnTo>
                <a:lnTo>
                  <a:pt x="2009584" y="796333"/>
                </a:lnTo>
                <a:lnTo>
                  <a:pt x="2009584" y="800896"/>
                </a:lnTo>
                <a:lnTo>
                  <a:pt x="2009584" y="803178"/>
                </a:lnTo>
                <a:lnTo>
                  <a:pt x="2009584" y="805460"/>
                </a:lnTo>
                <a:lnTo>
                  <a:pt x="2009584" y="807742"/>
                </a:lnTo>
                <a:lnTo>
                  <a:pt x="2007300" y="810024"/>
                </a:lnTo>
                <a:lnTo>
                  <a:pt x="2005017" y="812305"/>
                </a:lnTo>
                <a:lnTo>
                  <a:pt x="2002733" y="812305"/>
                </a:lnTo>
                <a:lnTo>
                  <a:pt x="1998166" y="814586"/>
                </a:lnTo>
                <a:lnTo>
                  <a:pt x="1995882" y="814586"/>
                </a:lnTo>
                <a:lnTo>
                  <a:pt x="1991315" y="814586"/>
                </a:lnTo>
                <a:lnTo>
                  <a:pt x="1989031" y="814586"/>
                </a:lnTo>
                <a:lnTo>
                  <a:pt x="1989031" y="812305"/>
                </a:lnTo>
                <a:lnTo>
                  <a:pt x="1986748" y="810024"/>
                </a:lnTo>
                <a:lnTo>
                  <a:pt x="1986748" y="807742"/>
                </a:lnTo>
                <a:lnTo>
                  <a:pt x="1986748" y="805460"/>
                </a:lnTo>
                <a:lnTo>
                  <a:pt x="1986748" y="803178"/>
                </a:lnTo>
                <a:lnTo>
                  <a:pt x="1984464" y="800896"/>
                </a:lnTo>
                <a:lnTo>
                  <a:pt x="1984464" y="798614"/>
                </a:lnTo>
                <a:lnTo>
                  <a:pt x="1984464" y="796333"/>
                </a:lnTo>
                <a:lnTo>
                  <a:pt x="1982181" y="794050"/>
                </a:lnTo>
                <a:lnTo>
                  <a:pt x="1977614" y="794050"/>
                </a:lnTo>
                <a:lnTo>
                  <a:pt x="1973046" y="796333"/>
                </a:lnTo>
                <a:lnTo>
                  <a:pt x="1970762" y="796333"/>
                </a:lnTo>
                <a:lnTo>
                  <a:pt x="1968479" y="796333"/>
                </a:lnTo>
                <a:lnTo>
                  <a:pt x="1966195" y="798614"/>
                </a:lnTo>
                <a:lnTo>
                  <a:pt x="1963912" y="800896"/>
                </a:lnTo>
                <a:lnTo>
                  <a:pt x="1963912" y="803178"/>
                </a:lnTo>
                <a:lnTo>
                  <a:pt x="1961628" y="803178"/>
                </a:lnTo>
                <a:lnTo>
                  <a:pt x="1961628" y="805460"/>
                </a:lnTo>
                <a:lnTo>
                  <a:pt x="1961628" y="807742"/>
                </a:lnTo>
                <a:lnTo>
                  <a:pt x="1959344" y="810024"/>
                </a:lnTo>
                <a:lnTo>
                  <a:pt x="1957061" y="812305"/>
                </a:lnTo>
                <a:lnTo>
                  <a:pt x="1952494" y="810024"/>
                </a:lnTo>
                <a:lnTo>
                  <a:pt x="1950210" y="807742"/>
                </a:lnTo>
                <a:lnTo>
                  <a:pt x="1950210" y="805460"/>
                </a:lnTo>
                <a:lnTo>
                  <a:pt x="1947927" y="803178"/>
                </a:lnTo>
                <a:lnTo>
                  <a:pt x="1947927" y="800896"/>
                </a:lnTo>
                <a:lnTo>
                  <a:pt x="1945643" y="800896"/>
                </a:lnTo>
                <a:lnTo>
                  <a:pt x="1943359" y="800896"/>
                </a:lnTo>
                <a:lnTo>
                  <a:pt x="1941076" y="803178"/>
                </a:lnTo>
                <a:lnTo>
                  <a:pt x="1938792" y="803178"/>
                </a:lnTo>
                <a:lnTo>
                  <a:pt x="1936509" y="805460"/>
                </a:lnTo>
                <a:lnTo>
                  <a:pt x="1936509" y="807742"/>
                </a:lnTo>
                <a:lnTo>
                  <a:pt x="1936509" y="810024"/>
                </a:lnTo>
                <a:lnTo>
                  <a:pt x="1934225" y="810024"/>
                </a:lnTo>
                <a:lnTo>
                  <a:pt x="1931941" y="810024"/>
                </a:lnTo>
                <a:lnTo>
                  <a:pt x="1927374" y="810024"/>
                </a:lnTo>
                <a:lnTo>
                  <a:pt x="1927374" y="807742"/>
                </a:lnTo>
                <a:lnTo>
                  <a:pt x="1925091" y="805460"/>
                </a:lnTo>
                <a:lnTo>
                  <a:pt x="1922807" y="803178"/>
                </a:lnTo>
                <a:lnTo>
                  <a:pt x="1920524" y="803178"/>
                </a:lnTo>
                <a:lnTo>
                  <a:pt x="1918240" y="800896"/>
                </a:lnTo>
                <a:lnTo>
                  <a:pt x="1913673" y="798614"/>
                </a:lnTo>
                <a:lnTo>
                  <a:pt x="1909106" y="798614"/>
                </a:lnTo>
                <a:lnTo>
                  <a:pt x="1906822" y="798614"/>
                </a:lnTo>
                <a:lnTo>
                  <a:pt x="1904538" y="798614"/>
                </a:lnTo>
                <a:lnTo>
                  <a:pt x="1902254" y="796333"/>
                </a:lnTo>
                <a:lnTo>
                  <a:pt x="1902254" y="794050"/>
                </a:lnTo>
                <a:lnTo>
                  <a:pt x="1899971" y="794050"/>
                </a:lnTo>
                <a:lnTo>
                  <a:pt x="1897687" y="794050"/>
                </a:lnTo>
                <a:lnTo>
                  <a:pt x="1897687" y="796333"/>
                </a:lnTo>
                <a:lnTo>
                  <a:pt x="1897687" y="798614"/>
                </a:lnTo>
                <a:lnTo>
                  <a:pt x="1897687" y="800896"/>
                </a:lnTo>
                <a:lnTo>
                  <a:pt x="1897687" y="803178"/>
                </a:lnTo>
                <a:lnTo>
                  <a:pt x="1895404" y="805460"/>
                </a:lnTo>
                <a:lnTo>
                  <a:pt x="1895404" y="807742"/>
                </a:lnTo>
                <a:lnTo>
                  <a:pt x="1893120" y="807742"/>
                </a:lnTo>
                <a:lnTo>
                  <a:pt x="1890837" y="810024"/>
                </a:lnTo>
                <a:lnTo>
                  <a:pt x="1888553" y="810024"/>
                </a:lnTo>
                <a:lnTo>
                  <a:pt x="1886269" y="812305"/>
                </a:lnTo>
                <a:lnTo>
                  <a:pt x="1881702" y="814586"/>
                </a:lnTo>
                <a:lnTo>
                  <a:pt x="1881702" y="812305"/>
                </a:lnTo>
                <a:lnTo>
                  <a:pt x="1879419" y="812305"/>
                </a:lnTo>
                <a:lnTo>
                  <a:pt x="1879419" y="810024"/>
                </a:lnTo>
                <a:lnTo>
                  <a:pt x="1877135" y="807742"/>
                </a:lnTo>
                <a:lnTo>
                  <a:pt x="1877135" y="805460"/>
                </a:lnTo>
                <a:lnTo>
                  <a:pt x="1874851" y="807742"/>
                </a:lnTo>
                <a:lnTo>
                  <a:pt x="1872568" y="810024"/>
                </a:lnTo>
                <a:lnTo>
                  <a:pt x="1870284" y="812305"/>
                </a:lnTo>
                <a:lnTo>
                  <a:pt x="1868001" y="814586"/>
                </a:lnTo>
                <a:lnTo>
                  <a:pt x="1863434" y="814586"/>
                </a:lnTo>
                <a:lnTo>
                  <a:pt x="1861150" y="816868"/>
                </a:lnTo>
                <a:lnTo>
                  <a:pt x="1858866" y="816868"/>
                </a:lnTo>
                <a:lnTo>
                  <a:pt x="1856583" y="816868"/>
                </a:lnTo>
                <a:lnTo>
                  <a:pt x="1854299" y="816868"/>
                </a:lnTo>
                <a:lnTo>
                  <a:pt x="1852016" y="819150"/>
                </a:lnTo>
                <a:lnTo>
                  <a:pt x="1849732" y="819150"/>
                </a:lnTo>
                <a:lnTo>
                  <a:pt x="1847448" y="816868"/>
                </a:lnTo>
                <a:lnTo>
                  <a:pt x="1847448" y="814586"/>
                </a:lnTo>
                <a:lnTo>
                  <a:pt x="1845165" y="814586"/>
                </a:lnTo>
                <a:lnTo>
                  <a:pt x="1842881" y="814586"/>
                </a:lnTo>
                <a:lnTo>
                  <a:pt x="1840598" y="816868"/>
                </a:lnTo>
                <a:lnTo>
                  <a:pt x="1838314" y="819150"/>
                </a:lnTo>
                <a:lnTo>
                  <a:pt x="1836031" y="823714"/>
                </a:lnTo>
                <a:lnTo>
                  <a:pt x="1833747" y="823714"/>
                </a:lnTo>
                <a:lnTo>
                  <a:pt x="1831463" y="825996"/>
                </a:lnTo>
                <a:lnTo>
                  <a:pt x="1829179" y="825996"/>
                </a:lnTo>
                <a:lnTo>
                  <a:pt x="1826896" y="825996"/>
                </a:lnTo>
                <a:lnTo>
                  <a:pt x="1826896" y="823714"/>
                </a:lnTo>
                <a:lnTo>
                  <a:pt x="1824612" y="821432"/>
                </a:lnTo>
                <a:lnTo>
                  <a:pt x="1824612" y="816868"/>
                </a:lnTo>
                <a:lnTo>
                  <a:pt x="1824612" y="814586"/>
                </a:lnTo>
                <a:lnTo>
                  <a:pt x="1824612" y="812305"/>
                </a:lnTo>
                <a:lnTo>
                  <a:pt x="1822329" y="812305"/>
                </a:lnTo>
                <a:lnTo>
                  <a:pt x="1822329" y="810024"/>
                </a:lnTo>
                <a:lnTo>
                  <a:pt x="1820045" y="807742"/>
                </a:lnTo>
                <a:lnTo>
                  <a:pt x="1817761" y="805460"/>
                </a:lnTo>
                <a:lnTo>
                  <a:pt x="1815478" y="803178"/>
                </a:lnTo>
                <a:lnTo>
                  <a:pt x="1813194" y="800896"/>
                </a:lnTo>
                <a:lnTo>
                  <a:pt x="1810911" y="800896"/>
                </a:lnTo>
                <a:lnTo>
                  <a:pt x="1808627" y="800896"/>
                </a:lnTo>
                <a:lnTo>
                  <a:pt x="1808627" y="798614"/>
                </a:lnTo>
                <a:lnTo>
                  <a:pt x="1806344" y="798614"/>
                </a:lnTo>
                <a:lnTo>
                  <a:pt x="1806344" y="796333"/>
                </a:lnTo>
                <a:lnTo>
                  <a:pt x="1804060" y="796333"/>
                </a:lnTo>
                <a:lnTo>
                  <a:pt x="1801776" y="796333"/>
                </a:lnTo>
                <a:lnTo>
                  <a:pt x="1799493" y="796333"/>
                </a:lnTo>
                <a:lnTo>
                  <a:pt x="1799493" y="798614"/>
                </a:lnTo>
                <a:lnTo>
                  <a:pt x="1797209" y="798614"/>
                </a:lnTo>
                <a:lnTo>
                  <a:pt x="1797209" y="800896"/>
                </a:lnTo>
                <a:lnTo>
                  <a:pt x="1797209" y="803178"/>
                </a:lnTo>
                <a:lnTo>
                  <a:pt x="1794926" y="803178"/>
                </a:lnTo>
                <a:lnTo>
                  <a:pt x="1797209" y="803178"/>
                </a:lnTo>
                <a:lnTo>
                  <a:pt x="1797209" y="805460"/>
                </a:lnTo>
                <a:lnTo>
                  <a:pt x="1794926" y="805460"/>
                </a:lnTo>
                <a:lnTo>
                  <a:pt x="1794926" y="807742"/>
                </a:lnTo>
                <a:lnTo>
                  <a:pt x="1792642" y="807742"/>
                </a:lnTo>
                <a:lnTo>
                  <a:pt x="1790358" y="810024"/>
                </a:lnTo>
                <a:lnTo>
                  <a:pt x="1788075" y="810024"/>
                </a:lnTo>
                <a:lnTo>
                  <a:pt x="1788075" y="812305"/>
                </a:lnTo>
                <a:lnTo>
                  <a:pt x="1785791" y="812305"/>
                </a:lnTo>
                <a:lnTo>
                  <a:pt x="1783508" y="812305"/>
                </a:lnTo>
                <a:lnTo>
                  <a:pt x="1781224" y="812305"/>
                </a:lnTo>
                <a:lnTo>
                  <a:pt x="1778941" y="812305"/>
                </a:lnTo>
                <a:lnTo>
                  <a:pt x="1778941" y="810024"/>
                </a:lnTo>
                <a:lnTo>
                  <a:pt x="1776657" y="810024"/>
                </a:lnTo>
                <a:lnTo>
                  <a:pt x="1774373" y="810024"/>
                </a:lnTo>
                <a:lnTo>
                  <a:pt x="1772090" y="810024"/>
                </a:lnTo>
                <a:lnTo>
                  <a:pt x="1772090" y="812305"/>
                </a:lnTo>
                <a:lnTo>
                  <a:pt x="1769806" y="812305"/>
                </a:lnTo>
                <a:lnTo>
                  <a:pt x="1767522" y="812305"/>
                </a:lnTo>
                <a:lnTo>
                  <a:pt x="1765239" y="812305"/>
                </a:lnTo>
                <a:lnTo>
                  <a:pt x="1765239" y="814586"/>
                </a:lnTo>
                <a:lnTo>
                  <a:pt x="1762955" y="814586"/>
                </a:lnTo>
                <a:lnTo>
                  <a:pt x="1760671" y="814586"/>
                </a:lnTo>
                <a:lnTo>
                  <a:pt x="1758388" y="814586"/>
                </a:lnTo>
                <a:lnTo>
                  <a:pt x="1758388" y="816868"/>
                </a:lnTo>
                <a:lnTo>
                  <a:pt x="1756104" y="816868"/>
                </a:lnTo>
                <a:lnTo>
                  <a:pt x="1756104" y="819150"/>
                </a:lnTo>
                <a:lnTo>
                  <a:pt x="1758388" y="819150"/>
                </a:lnTo>
                <a:lnTo>
                  <a:pt x="1760671" y="821432"/>
                </a:lnTo>
                <a:lnTo>
                  <a:pt x="1762955" y="821432"/>
                </a:lnTo>
                <a:lnTo>
                  <a:pt x="1769806" y="821432"/>
                </a:lnTo>
                <a:lnTo>
                  <a:pt x="1774373" y="819150"/>
                </a:lnTo>
                <a:lnTo>
                  <a:pt x="1776657" y="819150"/>
                </a:lnTo>
                <a:lnTo>
                  <a:pt x="1776657" y="823714"/>
                </a:lnTo>
                <a:lnTo>
                  <a:pt x="1774373" y="825996"/>
                </a:lnTo>
                <a:lnTo>
                  <a:pt x="1774373" y="830559"/>
                </a:lnTo>
                <a:lnTo>
                  <a:pt x="1767522" y="830559"/>
                </a:lnTo>
                <a:lnTo>
                  <a:pt x="1767522" y="832841"/>
                </a:lnTo>
                <a:lnTo>
                  <a:pt x="1772090" y="841968"/>
                </a:lnTo>
                <a:lnTo>
                  <a:pt x="1769806" y="844250"/>
                </a:lnTo>
                <a:lnTo>
                  <a:pt x="1760671" y="851095"/>
                </a:lnTo>
                <a:lnTo>
                  <a:pt x="1749254" y="857940"/>
                </a:lnTo>
                <a:lnTo>
                  <a:pt x="1749254" y="876194"/>
                </a:lnTo>
                <a:lnTo>
                  <a:pt x="1749254" y="878476"/>
                </a:lnTo>
                <a:lnTo>
                  <a:pt x="1749254" y="880758"/>
                </a:lnTo>
                <a:lnTo>
                  <a:pt x="1751537" y="885321"/>
                </a:lnTo>
                <a:lnTo>
                  <a:pt x="1751537" y="887602"/>
                </a:lnTo>
                <a:lnTo>
                  <a:pt x="1751537" y="889885"/>
                </a:lnTo>
                <a:lnTo>
                  <a:pt x="1751537" y="894448"/>
                </a:lnTo>
                <a:lnTo>
                  <a:pt x="1749254" y="910420"/>
                </a:lnTo>
                <a:lnTo>
                  <a:pt x="1749254" y="912702"/>
                </a:lnTo>
                <a:lnTo>
                  <a:pt x="1749254" y="914984"/>
                </a:lnTo>
                <a:lnTo>
                  <a:pt x="1756104" y="914984"/>
                </a:lnTo>
                <a:lnTo>
                  <a:pt x="1767522" y="914984"/>
                </a:lnTo>
                <a:lnTo>
                  <a:pt x="1781224" y="914984"/>
                </a:lnTo>
                <a:lnTo>
                  <a:pt x="1785791" y="912702"/>
                </a:lnTo>
                <a:lnTo>
                  <a:pt x="1790358" y="912702"/>
                </a:lnTo>
                <a:lnTo>
                  <a:pt x="1804060" y="908139"/>
                </a:lnTo>
                <a:lnTo>
                  <a:pt x="1806344" y="912702"/>
                </a:lnTo>
                <a:lnTo>
                  <a:pt x="1810911" y="919548"/>
                </a:lnTo>
                <a:lnTo>
                  <a:pt x="1815478" y="926393"/>
                </a:lnTo>
                <a:lnTo>
                  <a:pt x="1820045" y="933238"/>
                </a:lnTo>
                <a:lnTo>
                  <a:pt x="1801776" y="935520"/>
                </a:lnTo>
                <a:lnTo>
                  <a:pt x="1790358" y="937801"/>
                </a:lnTo>
                <a:lnTo>
                  <a:pt x="1788075" y="937801"/>
                </a:lnTo>
                <a:lnTo>
                  <a:pt x="1788075" y="942365"/>
                </a:lnTo>
                <a:lnTo>
                  <a:pt x="1788075" y="944647"/>
                </a:lnTo>
                <a:lnTo>
                  <a:pt x="1788075" y="946929"/>
                </a:lnTo>
                <a:lnTo>
                  <a:pt x="1788075" y="949211"/>
                </a:lnTo>
                <a:lnTo>
                  <a:pt x="1788075" y="953775"/>
                </a:lnTo>
                <a:lnTo>
                  <a:pt x="1788075" y="956057"/>
                </a:lnTo>
                <a:lnTo>
                  <a:pt x="1788075" y="958339"/>
                </a:lnTo>
                <a:lnTo>
                  <a:pt x="1788075" y="960621"/>
                </a:lnTo>
                <a:lnTo>
                  <a:pt x="1788075" y="962903"/>
                </a:lnTo>
                <a:lnTo>
                  <a:pt x="1804060" y="958339"/>
                </a:lnTo>
                <a:lnTo>
                  <a:pt x="1808627" y="969749"/>
                </a:lnTo>
                <a:lnTo>
                  <a:pt x="1813194" y="972031"/>
                </a:lnTo>
                <a:lnTo>
                  <a:pt x="1822329" y="988004"/>
                </a:lnTo>
                <a:lnTo>
                  <a:pt x="1822329" y="990286"/>
                </a:lnTo>
                <a:lnTo>
                  <a:pt x="1810911" y="1013095"/>
                </a:lnTo>
                <a:lnTo>
                  <a:pt x="1804060" y="1013095"/>
                </a:lnTo>
                <a:lnTo>
                  <a:pt x="1794926" y="1013095"/>
                </a:lnTo>
                <a:lnTo>
                  <a:pt x="1792642" y="1013095"/>
                </a:lnTo>
                <a:lnTo>
                  <a:pt x="1788075" y="1013095"/>
                </a:lnTo>
                <a:lnTo>
                  <a:pt x="1785791" y="1013095"/>
                </a:lnTo>
                <a:lnTo>
                  <a:pt x="1781224" y="1013095"/>
                </a:lnTo>
                <a:lnTo>
                  <a:pt x="1778941" y="1013095"/>
                </a:lnTo>
                <a:lnTo>
                  <a:pt x="1776657" y="1013095"/>
                </a:lnTo>
                <a:lnTo>
                  <a:pt x="1776657" y="1015377"/>
                </a:lnTo>
                <a:lnTo>
                  <a:pt x="1774373" y="1015377"/>
                </a:lnTo>
                <a:lnTo>
                  <a:pt x="1772090" y="1015377"/>
                </a:lnTo>
                <a:lnTo>
                  <a:pt x="1769806" y="1015377"/>
                </a:lnTo>
                <a:lnTo>
                  <a:pt x="1767522" y="1015377"/>
                </a:lnTo>
                <a:lnTo>
                  <a:pt x="1765239" y="1015377"/>
                </a:lnTo>
                <a:lnTo>
                  <a:pt x="1762955" y="1015377"/>
                </a:lnTo>
                <a:lnTo>
                  <a:pt x="1760671" y="1015377"/>
                </a:lnTo>
                <a:lnTo>
                  <a:pt x="1758388" y="1015377"/>
                </a:lnTo>
                <a:lnTo>
                  <a:pt x="1753821" y="1015377"/>
                </a:lnTo>
                <a:lnTo>
                  <a:pt x="1751537" y="1015377"/>
                </a:lnTo>
                <a:lnTo>
                  <a:pt x="1749254" y="1015377"/>
                </a:lnTo>
                <a:lnTo>
                  <a:pt x="1744686" y="1015377"/>
                </a:lnTo>
                <a:lnTo>
                  <a:pt x="1740119" y="1017659"/>
                </a:lnTo>
                <a:lnTo>
                  <a:pt x="1737836" y="1017659"/>
                </a:lnTo>
                <a:lnTo>
                  <a:pt x="1735552" y="1017659"/>
                </a:lnTo>
                <a:lnTo>
                  <a:pt x="1728701" y="1017659"/>
                </a:lnTo>
                <a:lnTo>
                  <a:pt x="1726418" y="1017659"/>
                </a:lnTo>
                <a:lnTo>
                  <a:pt x="1721851" y="1017659"/>
                </a:lnTo>
                <a:lnTo>
                  <a:pt x="1719567" y="1019941"/>
                </a:lnTo>
                <a:lnTo>
                  <a:pt x="1717283" y="1019941"/>
                </a:lnTo>
                <a:lnTo>
                  <a:pt x="1710433" y="1019941"/>
                </a:lnTo>
                <a:lnTo>
                  <a:pt x="1710433" y="1017659"/>
                </a:lnTo>
                <a:lnTo>
                  <a:pt x="1710433" y="1015377"/>
                </a:lnTo>
                <a:lnTo>
                  <a:pt x="1710433" y="1010823"/>
                </a:lnTo>
                <a:lnTo>
                  <a:pt x="1710433" y="1006259"/>
                </a:lnTo>
                <a:lnTo>
                  <a:pt x="1710433" y="1003977"/>
                </a:lnTo>
                <a:lnTo>
                  <a:pt x="1708149" y="1001695"/>
                </a:lnTo>
                <a:lnTo>
                  <a:pt x="1708149" y="999413"/>
                </a:lnTo>
                <a:lnTo>
                  <a:pt x="1708149" y="997131"/>
                </a:lnTo>
                <a:lnTo>
                  <a:pt x="1708149" y="994850"/>
                </a:lnTo>
                <a:lnTo>
                  <a:pt x="1705866" y="994850"/>
                </a:lnTo>
                <a:lnTo>
                  <a:pt x="1703582" y="994850"/>
                </a:lnTo>
                <a:lnTo>
                  <a:pt x="1701298" y="994850"/>
                </a:lnTo>
                <a:lnTo>
                  <a:pt x="1694447" y="994850"/>
                </a:lnTo>
                <a:lnTo>
                  <a:pt x="1692164" y="994850"/>
                </a:lnTo>
                <a:lnTo>
                  <a:pt x="1692164" y="997131"/>
                </a:lnTo>
                <a:lnTo>
                  <a:pt x="1689880" y="997131"/>
                </a:lnTo>
                <a:lnTo>
                  <a:pt x="1687596" y="997131"/>
                </a:lnTo>
                <a:lnTo>
                  <a:pt x="1685313" y="997131"/>
                </a:lnTo>
                <a:lnTo>
                  <a:pt x="1685313" y="999413"/>
                </a:lnTo>
                <a:lnTo>
                  <a:pt x="1683029" y="999413"/>
                </a:lnTo>
                <a:lnTo>
                  <a:pt x="1680746" y="999413"/>
                </a:lnTo>
                <a:lnTo>
                  <a:pt x="1678462" y="999413"/>
                </a:lnTo>
                <a:lnTo>
                  <a:pt x="1678462" y="1001695"/>
                </a:lnTo>
                <a:lnTo>
                  <a:pt x="1676178" y="999413"/>
                </a:lnTo>
                <a:lnTo>
                  <a:pt x="1662477" y="990286"/>
                </a:lnTo>
                <a:lnTo>
                  <a:pt x="1660193" y="990286"/>
                </a:lnTo>
                <a:lnTo>
                  <a:pt x="1657910" y="988004"/>
                </a:lnTo>
                <a:lnTo>
                  <a:pt x="1651059" y="985722"/>
                </a:lnTo>
                <a:lnTo>
                  <a:pt x="1651059" y="983440"/>
                </a:lnTo>
                <a:lnTo>
                  <a:pt x="1646492" y="978876"/>
                </a:lnTo>
                <a:lnTo>
                  <a:pt x="1644208" y="976594"/>
                </a:lnTo>
                <a:lnTo>
                  <a:pt x="1641925" y="974313"/>
                </a:lnTo>
                <a:lnTo>
                  <a:pt x="1641925" y="972031"/>
                </a:lnTo>
                <a:lnTo>
                  <a:pt x="1635074" y="967467"/>
                </a:lnTo>
                <a:lnTo>
                  <a:pt x="1625939" y="983440"/>
                </a:lnTo>
                <a:lnTo>
                  <a:pt x="1625939" y="988004"/>
                </a:lnTo>
                <a:lnTo>
                  <a:pt x="1625939" y="1003977"/>
                </a:lnTo>
                <a:lnTo>
                  <a:pt x="1623656" y="1013095"/>
                </a:lnTo>
                <a:lnTo>
                  <a:pt x="1623656" y="1024505"/>
                </a:lnTo>
                <a:lnTo>
                  <a:pt x="1623656" y="1026787"/>
                </a:lnTo>
                <a:lnTo>
                  <a:pt x="1623656" y="1029069"/>
                </a:lnTo>
                <a:lnTo>
                  <a:pt x="1621372" y="1026787"/>
                </a:lnTo>
                <a:lnTo>
                  <a:pt x="1612238" y="1019941"/>
                </a:lnTo>
                <a:lnTo>
                  <a:pt x="1605387" y="1033632"/>
                </a:lnTo>
                <a:lnTo>
                  <a:pt x="1605387" y="1035914"/>
                </a:lnTo>
                <a:lnTo>
                  <a:pt x="1609954" y="1042760"/>
                </a:lnTo>
                <a:lnTo>
                  <a:pt x="1612238" y="1045042"/>
                </a:lnTo>
                <a:lnTo>
                  <a:pt x="1614521" y="1051888"/>
                </a:lnTo>
                <a:lnTo>
                  <a:pt x="1616805" y="1061015"/>
                </a:lnTo>
                <a:lnTo>
                  <a:pt x="1619088" y="1067861"/>
                </a:lnTo>
                <a:lnTo>
                  <a:pt x="1616805" y="1070143"/>
                </a:lnTo>
                <a:lnTo>
                  <a:pt x="1605387" y="1079270"/>
                </a:lnTo>
                <a:lnTo>
                  <a:pt x="1603103" y="1079270"/>
                </a:lnTo>
                <a:lnTo>
                  <a:pt x="1587118" y="1079270"/>
                </a:lnTo>
                <a:lnTo>
                  <a:pt x="1587118" y="1086116"/>
                </a:lnTo>
                <a:lnTo>
                  <a:pt x="1584835" y="1088398"/>
                </a:lnTo>
                <a:lnTo>
                  <a:pt x="1591686" y="1092962"/>
                </a:lnTo>
                <a:lnTo>
                  <a:pt x="1596253" y="1095244"/>
                </a:lnTo>
                <a:lnTo>
                  <a:pt x="1593969" y="1111217"/>
                </a:lnTo>
                <a:lnTo>
                  <a:pt x="1584835" y="1127190"/>
                </a:lnTo>
                <a:lnTo>
                  <a:pt x="1580268" y="1124908"/>
                </a:lnTo>
                <a:lnTo>
                  <a:pt x="1577984" y="1129472"/>
                </a:lnTo>
                <a:lnTo>
                  <a:pt x="1575700" y="1131754"/>
                </a:lnTo>
                <a:lnTo>
                  <a:pt x="1575700" y="1134036"/>
                </a:lnTo>
                <a:lnTo>
                  <a:pt x="1575700" y="1136318"/>
                </a:lnTo>
                <a:lnTo>
                  <a:pt x="1573417" y="1136318"/>
                </a:lnTo>
                <a:lnTo>
                  <a:pt x="1571133" y="1136318"/>
                </a:lnTo>
                <a:lnTo>
                  <a:pt x="1568850" y="1138600"/>
                </a:lnTo>
                <a:lnTo>
                  <a:pt x="1564283" y="1140881"/>
                </a:lnTo>
                <a:lnTo>
                  <a:pt x="1564283" y="1147727"/>
                </a:lnTo>
                <a:lnTo>
                  <a:pt x="1564283" y="1154573"/>
                </a:lnTo>
                <a:lnTo>
                  <a:pt x="1561998" y="1152291"/>
                </a:lnTo>
                <a:lnTo>
                  <a:pt x="1559715" y="1147727"/>
                </a:lnTo>
                <a:lnTo>
                  <a:pt x="1557431" y="1145445"/>
                </a:lnTo>
                <a:lnTo>
                  <a:pt x="1552864" y="1145445"/>
                </a:lnTo>
                <a:lnTo>
                  <a:pt x="1550581" y="1147727"/>
                </a:lnTo>
                <a:lnTo>
                  <a:pt x="1546013" y="1147727"/>
                </a:lnTo>
                <a:lnTo>
                  <a:pt x="1541446" y="1150009"/>
                </a:lnTo>
                <a:lnTo>
                  <a:pt x="1539163" y="1150009"/>
                </a:lnTo>
                <a:lnTo>
                  <a:pt x="1536879" y="1150009"/>
                </a:lnTo>
                <a:lnTo>
                  <a:pt x="1534596" y="1152291"/>
                </a:lnTo>
                <a:lnTo>
                  <a:pt x="1532312" y="1152291"/>
                </a:lnTo>
                <a:lnTo>
                  <a:pt x="1532312" y="1154573"/>
                </a:lnTo>
                <a:lnTo>
                  <a:pt x="1532312" y="1156855"/>
                </a:lnTo>
                <a:lnTo>
                  <a:pt x="1532312" y="1161419"/>
                </a:lnTo>
                <a:lnTo>
                  <a:pt x="1532312" y="1163700"/>
                </a:lnTo>
                <a:lnTo>
                  <a:pt x="1532312" y="1168255"/>
                </a:lnTo>
                <a:lnTo>
                  <a:pt x="1530028" y="1165973"/>
                </a:lnTo>
                <a:lnTo>
                  <a:pt x="1527745" y="1163700"/>
                </a:lnTo>
                <a:lnTo>
                  <a:pt x="1523178" y="1159137"/>
                </a:lnTo>
                <a:lnTo>
                  <a:pt x="1520894" y="1156855"/>
                </a:lnTo>
                <a:lnTo>
                  <a:pt x="1520894" y="1154573"/>
                </a:lnTo>
                <a:lnTo>
                  <a:pt x="1518610" y="1154573"/>
                </a:lnTo>
                <a:lnTo>
                  <a:pt x="1516327" y="1150009"/>
                </a:lnTo>
                <a:lnTo>
                  <a:pt x="1514043" y="1143163"/>
                </a:lnTo>
                <a:lnTo>
                  <a:pt x="1514043" y="1138600"/>
                </a:lnTo>
                <a:lnTo>
                  <a:pt x="1511760" y="1134036"/>
                </a:lnTo>
                <a:lnTo>
                  <a:pt x="1511760" y="1129472"/>
                </a:lnTo>
                <a:lnTo>
                  <a:pt x="1507193" y="1127190"/>
                </a:lnTo>
                <a:lnTo>
                  <a:pt x="1493491" y="1124908"/>
                </a:lnTo>
                <a:lnTo>
                  <a:pt x="1493491" y="1127190"/>
                </a:lnTo>
                <a:lnTo>
                  <a:pt x="1493491" y="1129472"/>
                </a:lnTo>
                <a:lnTo>
                  <a:pt x="1495775" y="1129472"/>
                </a:lnTo>
                <a:lnTo>
                  <a:pt x="1495775" y="1131754"/>
                </a:lnTo>
                <a:lnTo>
                  <a:pt x="1495775" y="1134036"/>
                </a:lnTo>
                <a:lnTo>
                  <a:pt x="1495775" y="1131754"/>
                </a:lnTo>
                <a:lnTo>
                  <a:pt x="1486631" y="1127190"/>
                </a:lnTo>
                <a:lnTo>
                  <a:pt x="1484356" y="1127190"/>
                </a:lnTo>
                <a:lnTo>
                  <a:pt x="1479789" y="1122626"/>
                </a:lnTo>
                <a:lnTo>
                  <a:pt x="1479789" y="1127190"/>
                </a:lnTo>
                <a:lnTo>
                  <a:pt x="1479789" y="1129472"/>
                </a:lnTo>
                <a:lnTo>
                  <a:pt x="1479789" y="1134036"/>
                </a:lnTo>
                <a:lnTo>
                  <a:pt x="1479789" y="1136318"/>
                </a:lnTo>
                <a:lnTo>
                  <a:pt x="1479789" y="1138600"/>
                </a:lnTo>
                <a:lnTo>
                  <a:pt x="1466078" y="1134036"/>
                </a:lnTo>
                <a:lnTo>
                  <a:pt x="1463804" y="1131754"/>
                </a:lnTo>
                <a:lnTo>
                  <a:pt x="1463804" y="1134036"/>
                </a:lnTo>
                <a:lnTo>
                  <a:pt x="1461520" y="1134036"/>
                </a:lnTo>
                <a:lnTo>
                  <a:pt x="1463804" y="1134036"/>
                </a:lnTo>
                <a:lnTo>
                  <a:pt x="1463804" y="1136318"/>
                </a:lnTo>
                <a:lnTo>
                  <a:pt x="1461520" y="1136318"/>
                </a:lnTo>
                <a:lnTo>
                  <a:pt x="1461520" y="1138600"/>
                </a:lnTo>
                <a:lnTo>
                  <a:pt x="1461520" y="1136318"/>
                </a:lnTo>
                <a:lnTo>
                  <a:pt x="1459227" y="1129472"/>
                </a:lnTo>
                <a:lnTo>
                  <a:pt x="1454660" y="1129472"/>
                </a:lnTo>
                <a:lnTo>
                  <a:pt x="1452376" y="1129472"/>
                </a:lnTo>
                <a:lnTo>
                  <a:pt x="1438675" y="1127190"/>
                </a:lnTo>
                <a:lnTo>
                  <a:pt x="1431824" y="1127190"/>
                </a:lnTo>
                <a:lnTo>
                  <a:pt x="1429541" y="1127190"/>
                </a:lnTo>
                <a:lnTo>
                  <a:pt x="1420406" y="1124908"/>
                </a:lnTo>
                <a:lnTo>
                  <a:pt x="1418123" y="1124908"/>
                </a:lnTo>
                <a:lnTo>
                  <a:pt x="1418123" y="1131754"/>
                </a:lnTo>
                <a:lnTo>
                  <a:pt x="1418123" y="1134036"/>
                </a:lnTo>
                <a:lnTo>
                  <a:pt x="1415839" y="1138600"/>
                </a:lnTo>
                <a:lnTo>
                  <a:pt x="1413556" y="1152291"/>
                </a:lnTo>
                <a:lnTo>
                  <a:pt x="1413556" y="1154573"/>
                </a:lnTo>
                <a:lnTo>
                  <a:pt x="1413556" y="1156855"/>
                </a:lnTo>
                <a:lnTo>
                  <a:pt x="1411272" y="1161419"/>
                </a:lnTo>
                <a:lnTo>
                  <a:pt x="1411272" y="1163700"/>
                </a:lnTo>
                <a:lnTo>
                  <a:pt x="1411272" y="1168255"/>
                </a:lnTo>
                <a:lnTo>
                  <a:pt x="1411272" y="1170537"/>
                </a:lnTo>
                <a:lnTo>
                  <a:pt x="1411272" y="1172818"/>
                </a:lnTo>
                <a:lnTo>
                  <a:pt x="1411272" y="1179664"/>
                </a:lnTo>
                <a:lnTo>
                  <a:pt x="1413556" y="1179664"/>
                </a:lnTo>
                <a:lnTo>
                  <a:pt x="1413556" y="1181946"/>
                </a:lnTo>
                <a:lnTo>
                  <a:pt x="1413556" y="1184228"/>
                </a:lnTo>
                <a:lnTo>
                  <a:pt x="1413556" y="1186510"/>
                </a:lnTo>
                <a:lnTo>
                  <a:pt x="1418123" y="1193356"/>
                </a:lnTo>
                <a:lnTo>
                  <a:pt x="1420406" y="1195637"/>
                </a:lnTo>
                <a:lnTo>
                  <a:pt x="1420406" y="1197919"/>
                </a:lnTo>
                <a:lnTo>
                  <a:pt x="1411272" y="1195637"/>
                </a:lnTo>
                <a:lnTo>
                  <a:pt x="1404421" y="1195637"/>
                </a:lnTo>
                <a:lnTo>
                  <a:pt x="1402138" y="1197919"/>
                </a:lnTo>
                <a:lnTo>
                  <a:pt x="1399854" y="1204765"/>
                </a:lnTo>
                <a:lnTo>
                  <a:pt x="1399854" y="1220738"/>
                </a:lnTo>
                <a:lnTo>
                  <a:pt x="1399854" y="1223020"/>
                </a:lnTo>
                <a:lnTo>
                  <a:pt x="1399854" y="1225302"/>
                </a:lnTo>
                <a:lnTo>
                  <a:pt x="1399854" y="1227584"/>
                </a:lnTo>
                <a:lnTo>
                  <a:pt x="1397571" y="1234430"/>
                </a:lnTo>
                <a:lnTo>
                  <a:pt x="1390719" y="1232148"/>
                </a:lnTo>
                <a:lnTo>
                  <a:pt x="1379301" y="1234430"/>
                </a:lnTo>
                <a:lnTo>
                  <a:pt x="1379301" y="1227584"/>
                </a:lnTo>
                <a:lnTo>
                  <a:pt x="1374734" y="1223020"/>
                </a:lnTo>
                <a:lnTo>
                  <a:pt x="1367883" y="1216175"/>
                </a:lnTo>
                <a:lnTo>
                  <a:pt x="1365600" y="1216175"/>
                </a:lnTo>
                <a:lnTo>
                  <a:pt x="1356466" y="1209329"/>
                </a:lnTo>
                <a:lnTo>
                  <a:pt x="1356466" y="1216175"/>
                </a:lnTo>
                <a:lnTo>
                  <a:pt x="1345048" y="1218456"/>
                </a:lnTo>
                <a:lnTo>
                  <a:pt x="1338197" y="1220738"/>
                </a:lnTo>
                <a:lnTo>
                  <a:pt x="1342764" y="1232148"/>
                </a:lnTo>
                <a:lnTo>
                  <a:pt x="1342764" y="1234430"/>
                </a:lnTo>
                <a:lnTo>
                  <a:pt x="1345048" y="1236712"/>
                </a:lnTo>
                <a:lnTo>
                  <a:pt x="1345048" y="1238993"/>
                </a:lnTo>
                <a:lnTo>
                  <a:pt x="1347331" y="1241275"/>
                </a:lnTo>
                <a:lnTo>
                  <a:pt x="1347331" y="1243557"/>
                </a:lnTo>
                <a:lnTo>
                  <a:pt x="1347331" y="1245839"/>
                </a:lnTo>
                <a:lnTo>
                  <a:pt x="1347331" y="1248121"/>
                </a:lnTo>
                <a:lnTo>
                  <a:pt x="1347331" y="1250403"/>
                </a:lnTo>
                <a:lnTo>
                  <a:pt x="1347331" y="1254967"/>
                </a:lnTo>
                <a:lnTo>
                  <a:pt x="1347331" y="1257249"/>
                </a:lnTo>
                <a:lnTo>
                  <a:pt x="1347331" y="1259531"/>
                </a:lnTo>
                <a:lnTo>
                  <a:pt x="1347331" y="1261812"/>
                </a:lnTo>
                <a:lnTo>
                  <a:pt x="1347331" y="1264094"/>
                </a:lnTo>
                <a:lnTo>
                  <a:pt x="1347331" y="1266376"/>
                </a:lnTo>
                <a:lnTo>
                  <a:pt x="1347331" y="1268658"/>
                </a:lnTo>
                <a:lnTo>
                  <a:pt x="1347331" y="1270940"/>
                </a:lnTo>
                <a:lnTo>
                  <a:pt x="1347331" y="1275504"/>
                </a:lnTo>
                <a:lnTo>
                  <a:pt x="1347331" y="1277786"/>
                </a:lnTo>
                <a:lnTo>
                  <a:pt x="1349615" y="1277786"/>
                </a:lnTo>
                <a:lnTo>
                  <a:pt x="1347331" y="1277786"/>
                </a:lnTo>
                <a:lnTo>
                  <a:pt x="1347331" y="1280068"/>
                </a:lnTo>
                <a:lnTo>
                  <a:pt x="1347331" y="1282349"/>
                </a:lnTo>
                <a:lnTo>
                  <a:pt x="1347331" y="1284631"/>
                </a:lnTo>
                <a:lnTo>
                  <a:pt x="1347331" y="1286913"/>
                </a:lnTo>
                <a:lnTo>
                  <a:pt x="1345048" y="1289195"/>
                </a:lnTo>
                <a:lnTo>
                  <a:pt x="1345048" y="1291477"/>
                </a:lnTo>
                <a:lnTo>
                  <a:pt x="1345048" y="1293759"/>
                </a:lnTo>
                <a:lnTo>
                  <a:pt x="1342764" y="1296041"/>
                </a:lnTo>
                <a:lnTo>
                  <a:pt x="1342764" y="1298323"/>
                </a:lnTo>
                <a:lnTo>
                  <a:pt x="1342764" y="1300605"/>
                </a:lnTo>
                <a:lnTo>
                  <a:pt x="1342764" y="1302887"/>
                </a:lnTo>
                <a:lnTo>
                  <a:pt x="1345048" y="1305168"/>
                </a:lnTo>
                <a:lnTo>
                  <a:pt x="1345048" y="1307450"/>
                </a:lnTo>
                <a:lnTo>
                  <a:pt x="1345048" y="1309732"/>
                </a:lnTo>
                <a:lnTo>
                  <a:pt x="1345048" y="1314296"/>
                </a:lnTo>
                <a:lnTo>
                  <a:pt x="1345048" y="1318860"/>
                </a:lnTo>
                <a:lnTo>
                  <a:pt x="1345048" y="1321132"/>
                </a:lnTo>
                <a:lnTo>
                  <a:pt x="1342764" y="1321132"/>
                </a:lnTo>
                <a:lnTo>
                  <a:pt x="1340481" y="1321132"/>
                </a:lnTo>
                <a:lnTo>
                  <a:pt x="1338197" y="1321132"/>
                </a:lnTo>
                <a:lnTo>
                  <a:pt x="1335913" y="1321132"/>
                </a:lnTo>
                <a:lnTo>
                  <a:pt x="1333630" y="1321132"/>
                </a:lnTo>
                <a:lnTo>
                  <a:pt x="1329063" y="1318860"/>
                </a:lnTo>
                <a:lnTo>
                  <a:pt x="1326779" y="1318860"/>
                </a:lnTo>
                <a:lnTo>
                  <a:pt x="1322211" y="1318860"/>
                </a:lnTo>
                <a:lnTo>
                  <a:pt x="1319928" y="1316568"/>
                </a:lnTo>
                <a:lnTo>
                  <a:pt x="1313077" y="1318860"/>
                </a:lnTo>
                <a:lnTo>
                  <a:pt x="1310793" y="1318860"/>
                </a:lnTo>
                <a:lnTo>
                  <a:pt x="1308510" y="1318860"/>
                </a:lnTo>
                <a:lnTo>
                  <a:pt x="1303943" y="1318860"/>
                </a:lnTo>
                <a:lnTo>
                  <a:pt x="1301659" y="1321132"/>
                </a:lnTo>
                <a:lnTo>
                  <a:pt x="1301659" y="1323414"/>
                </a:lnTo>
                <a:lnTo>
                  <a:pt x="1301659" y="1325696"/>
                </a:lnTo>
                <a:lnTo>
                  <a:pt x="1301659" y="1327978"/>
                </a:lnTo>
                <a:lnTo>
                  <a:pt x="1301659" y="1330260"/>
                </a:lnTo>
                <a:lnTo>
                  <a:pt x="1299376" y="1330260"/>
                </a:lnTo>
                <a:lnTo>
                  <a:pt x="1299376" y="1332542"/>
                </a:lnTo>
                <a:lnTo>
                  <a:pt x="1297092" y="1332542"/>
                </a:lnTo>
                <a:lnTo>
                  <a:pt x="1294808" y="1334824"/>
                </a:lnTo>
                <a:lnTo>
                  <a:pt x="1292525" y="1334824"/>
                </a:lnTo>
                <a:lnTo>
                  <a:pt x="1290241" y="1334824"/>
                </a:lnTo>
                <a:lnTo>
                  <a:pt x="1290241" y="1337105"/>
                </a:lnTo>
                <a:lnTo>
                  <a:pt x="1287958" y="1337105"/>
                </a:lnTo>
                <a:lnTo>
                  <a:pt x="1283391" y="1339387"/>
                </a:lnTo>
                <a:lnTo>
                  <a:pt x="1281107" y="1339387"/>
                </a:lnTo>
                <a:lnTo>
                  <a:pt x="1281107" y="1337105"/>
                </a:lnTo>
                <a:lnTo>
                  <a:pt x="1281107" y="1334824"/>
                </a:lnTo>
                <a:lnTo>
                  <a:pt x="1281107" y="1332542"/>
                </a:lnTo>
                <a:lnTo>
                  <a:pt x="1278823" y="1332542"/>
                </a:lnTo>
                <a:lnTo>
                  <a:pt x="1278823" y="1330260"/>
                </a:lnTo>
                <a:lnTo>
                  <a:pt x="1276540" y="1330260"/>
                </a:lnTo>
                <a:lnTo>
                  <a:pt x="1276540" y="1327978"/>
                </a:lnTo>
                <a:lnTo>
                  <a:pt x="1274256" y="1327978"/>
                </a:lnTo>
                <a:lnTo>
                  <a:pt x="1276540" y="1327978"/>
                </a:lnTo>
                <a:lnTo>
                  <a:pt x="1274256" y="1327978"/>
                </a:lnTo>
                <a:lnTo>
                  <a:pt x="1274256" y="1330260"/>
                </a:lnTo>
                <a:lnTo>
                  <a:pt x="1271973" y="1330260"/>
                </a:lnTo>
                <a:lnTo>
                  <a:pt x="1269689" y="1330260"/>
                </a:lnTo>
                <a:lnTo>
                  <a:pt x="1267405" y="1330260"/>
                </a:lnTo>
                <a:lnTo>
                  <a:pt x="1265122" y="1330260"/>
                </a:lnTo>
                <a:lnTo>
                  <a:pt x="1258271" y="1341669"/>
                </a:lnTo>
                <a:lnTo>
                  <a:pt x="1255987" y="1346233"/>
                </a:lnTo>
                <a:lnTo>
                  <a:pt x="1251420" y="1341669"/>
                </a:lnTo>
                <a:lnTo>
                  <a:pt x="1249136" y="1341669"/>
                </a:lnTo>
                <a:lnTo>
                  <a:pt x="1246853" y="1341669"/>
                </a:lnTo>
                <a:lnTo>
                  <a:pt x="1240002" y="1337105"/>
                </a:lnTo>
                <a:lnTo>
                  <a:pt x="1235435" y="1337105"/>
                </a:lnTo>
                <a:lnTo>
                  <a:pt x="1233151" y="1334824"/>
                </a:lnTo>
                <a:lnTo>
                  <a:pt x="1230868" y="1334824"/>
                </a:lnTo>
                <a:lnTo>
                  <a:pt x="1228584" y="1334824"/>
                </a:lnTo>
                <a:lnTo>
                  <a:pt x="1226301" y="1334824"/>
                </a:lnTo>
                <a:lnTo>
                  <a:pt x="1221734" y="1332542"/>
                </a:lnTo>
                <a:lnTo>
                  <a:pt x="1212599" y="1337105"/>
                </a:lnTo>
                <a:lnTo>
                  <a:pt x="1208032" y="1339387"/>
                </a:lnTo>
                <a:lnTo>
                  <a:pt x="1205748" y="1339387"/>
                </a:lnTo>
                <a:lnTo>
                  <a:pt x="1203465" y="1341669"/>
                </a:lnTo>
                <a:lnTo>
                  <a:pt x="1201181" y="1341669"/>
                </a:lnTo>
                <a:lnTo>
                  <a:pt x="1198897" y="1343951"/>
                </a:lnTo>
                <a:lnTo>
                  <a:pt x="1196614" y="1343951"/>
                </a:lnTo>
                <a:lnTo>
                  <a:pt x="1192047" y="1341669"/>
                </a:lnTo>
                <a:lnTo>
                  <a:pt x="1187480" y="1341669"/>
                </a:lnTo>
                <a:lnTo>
                  <a:pt x="1185196" y="1341669"/>
                </a:lnTo>
                <a:lnTo>
                  <a:pt x="1176061" y="1343951"/>
                </a:lnTo>
                <a:lnTo>
                  <a:pt x="1171494" y="1343951"/>
                </a:lnTo>
                <a:lnTo>
                  <a:pt x="1164644" y="1343951"/>
                </a:lnTo>
                <a:lnTo>
                  <a:pt x="1162360" y="1350797"/>
                </a:lnTo>
                <a:lnTo>
                  <a:pt x="1162360" y="1353079"/>
                </a:lnTo>
                <a:lnTo>
                  <a:pt x="1160076" y="1350797"/>
                </a:lnTo>
                <a:lnTo>
                  <a:pt x="1150942" y="1348515"/>
                </a:lnTo>
                <a:lnTo>
                  <a:pt x="1148658" y="1348515"/>
                </a:lnTo>
                <a:lnTo>
                  <a:pt x="1144091" y="1346233"/>
                </a:lnTo>
                <a:lnTo>
                  <a:pt x="1139524" y="1346233"/>
                </a:lnTo>
                <a:lnTo>
                  <a:pt x="1137240" y="1346233"/>
                </a:lnTo>
                <a:lnTo>
                  <a:pt x="1137240" y="1343951"/>
                </a:lnTo>
                <a:lnTo>
                  <a:pt x="1132673" y="1346233"/>
                </a:lnTo>
                <a:lnTo>
                  <a:pt x="1128106" y="1346233"/>
                </a:lnTo>
                <a:lnTo>
                  <a:pt x="1123539" y="1346233"/>
                </a:lnTo>
                <a:lnTo>
                  <a:pt x="1121255" y="1348515"/>
                </a:lnTo>
                <a:lnTo>
                  <a:pt x="1118972" y="1348515"/>
                </a:lnTo>
                <a:lnTo>
                  <a:pt x="1116688" y="1348515"/>
                </a:lnTo>
                <a:lnTo>
                  <a:pt x="1114404" y="1346233"/>
                </a:lnTo>
                <a:lnTo>
                  <a:pt x="1109837" y="1346233"/>
                </a:lnTo>
                <a:lnTo>
                  <a:pt x="1107554" y="1346233"/>
                </a:lnTo>
                <a:lnTo>
                  <a:pt x="1105270" y="1343951"/>
                </a:lnTo>
                <a:lnTo>
                  <a:pt x="1102986" y="1343951"/>
                </a:lnTo>
                <a:lnTo>
                  <a:pt x="1100703" y="1343951"/>
                </a:lnTo>
                <a:lnTo>
                  <a:pt x="1098419" y="1343951"/>
                </a:lnTo>
                <a:lnTo>
                  <a:pt x="1098419" y="1339387"/>
                </a:lnTo>
                <a:lnTo>
                  <a:pt x="1098419" y="1337105"/>
                </a:lnTo>
                <a:lnTo>
                  <a:pt x="1098419" y="1332542"/>
                </a:lnTo>
                <a:lnTo>
                  <a:pt x="1096136" y="1332542"/>
                </a:lnTo>
                <a:lnTo>
                  <a:pt x="1096136" y="1330260"/>
                </a:lnTo>
                <a:lnTo>
                  <a:pt x="1091568" y="1332542"/>
                </a:lnTo>
                <a:lnTo>
                  <a:pt x="1089285" y="1332542"/>
                </a:lnTo>
                <a:lnTo>
                  <a:pt x="1084718" y="1332542"/>
                </a:lnTo>
                <a:lnTo>
                  <a:pt x="1068732" y="1330260"/>
                </a:lnTo>
                <a:lnTo>
                  <a:pt x="1064165" y="1334824"/>
                </a:lnTo>
                <a:lnTo>
                  <a:pt x="1061882" y="1337105"/>
                </a:lnTo>
                <a:lnTo>
                  <a:pt x="1059598" y="1341669"/>
                </a:lnTo>
                <a:lnTo>
                  <a:pt x="1057314" y="1341669"/>
                </a:lnTo>
                <a:lnTo>
                  <a:pt x="1045897" y="1346233"/>
                </a:lnTo>
                <a:lnTo>
                  <a:pt x="1041329" y="1327978"/>
                </a:lnTo>
                <a:lnTo>
                  <a:pt x="1018493" y="1337105"/>
                </a:lnTo>
                <a:lnTo>
                  <a:pt x="1023061" y="1334824"/>
                </a:lnTo>
                <a:lnTo>
                  <a:pt x="1025344" y="1330260"/>
                </a:lnTo>
                <a:lnTo>
                  <a:pt x="1027628" y="1325696"/>
                </a:lnTo>
                <a:lnTo>
                  <a:pt x="1029911" y="1321132"/>
                </a:lnTo>
                <a:lnTo>
                  <a:pt x="1034478" y="1307450"/>
                </a:lnTo>
                <a:lnTo>
                  <a:pt x="1032195" y="1305168"/>
                </a:lnTo>
                <a:lnTo>
                  <a:pt x="1032195" y="1300605"/>
                </a:lnTo>
                <a:lnTo>
                  <a:pt x="1027628" y="1302887"/>
                </a:lnTo>
                <a:lnTo>
                  <a:pt x="1025344" y="1302887"/>
                </a:lnTo>
                <a:lnTo>
                  <a:pt x="1023061" y="1302887"/>
                </a:lnTo>
                <a:lnTo>
                  <a:pt x="1020777" y="1302887"/>
                </a:lnTo>
                <a:lnTo>
                  <a:pt x="1018493" y="1302887"/>
                </a:lnTo>
                <a:lnTo>
                  <a:pt x="1016210" y="1305168"/>
                </a:lnTo>
                <a:lnTo>
                  <a:pt x="1013926" y="1305168"/>
                </a:lnTo>
                <a:lnTo>
                  <a:pt x="1011643" y="1305168"/>
                </a:lnTo>
                <a:lnTo>
                  <a:pt x="1009359" y="1307450"/>
                </a:lnTo>
                <a:lnTo>
                  <a:pt x="1004792" y="1307450"/>
                </a:lnTo>
                <a:lnTo>
                  <a:pt x="1004792" y="1300605"/>
                </a:lnTo>
                <a:lnTo>
                  <a:pt x="1002508" y="1293759"/>
                </a:lnTo>
                <a:lnTo>
                  <a:pt x="1002508" y="1296041"/>
                </a:lnTo>
                <a:lnTo>
                  <a:pt x="1000224" y="1296041"/>
                </a:lnTo>
                <a:lnTo>
                  <a:pt x="1000224" y="1293759"/>
                </a:lnTo>
                <a:lnTo>
                  <a:pt x="997941" y="1293759"/>
                </a:lnTo>
                <a:lnTo>
                  <a:pt x="997941" y="1291477"/>
                </a:lnTo>
                <a:lnTo>
                  <a:pt x="997941" y="1293759"/>
                </a:lnTo>
                <a:lnTo>
                  <a:pt x="995657" y="1293759"/>
                </a:lnTo>
                <a:lnTo>
                  <a:pt x="993374" y="1291477"/>
                </a:lnTo>
                <a:lnTo>
                  <a:pt x="991090" y="1291477"/>
                </a:lnTo>
                <a:lnTo>
                  <a:pt x="991090" y="1289195"/>
                </a:lnTo>
                <a:lnTo>
                  <a:pt x="988807" y="1291477"/>
                </a:lnTo>
                <a:lnTo>
                  <a:pt x="984239" y="1289195"/>
                </a:lnTo>
                <a:lnTo>
                  <a:pt x="981956" y="1284631"/>
                </a:lnTo>
                <a:lnTo>
                  <a:pt x="984239" y="1284631"/>
                </a:lnTo>
                <a:lnTo>
                  <a:pt x="984239" y="1282349"/>
                </a:lnTo>
                <a:lnTo>
                  <a:pt x="984239" y="1280068"/>
                </a:lnTo>
                <a:lnTo>
                  <a:pt x="981956" y="1280068"/>
                </a:lnTo>
                <a:lnTo>
                  <a:pt x="981956" y="1277786"/>
                </a:lnTo>
                <a:lnTo>
                  <a:pt x="981956" y="1275504"/>
                </a:lnTo>
                <a:lnTo>
                  <a:pt x="984239" y="1273222"/>
                </a:lnTo>
                <a:lnTo>
                  <a:pt x="984239" y="1270940"/>
                </a:lnTo>
                <a:lnTo>
                  <a:pt x="984239" y="1268658"/>
                </a:lnTo>
                <a:lnTo>
                  <a:pt x="984239" y="1266376"/>
                </a:lnTo>
                <a:lnTo>
                  <a:pt x="986523" y="1264094"/>
                </a:lnTo>
                <a:lnTo>
                  <a:pt x="986523" y="1261812"/>
                </a:lnTo>
                <a:lnTo>
                  <a:pt x="986523" y="1259531"/>
                </a:lnTo>
                <a:lnTo>
                  <a:pt x="986523" y="1257249"/>
                </a:lnTo>
                <a:lnTo>
                  <a:pt x="986523" y="1254967"/>
                </a:lnTo>
                <a:lnTo>
                  <a:pt x="986523" y="1252685"/>
                </a:lnTo>
                <a:lnTo>
                  <a:pt x="986523" y="1250403"/>
                </a:lnTo>
                <a:lnTo>
                  <a:pt x="986523" y="1248121"/>
                </a:lnTo>
                <a:lnTo>
                  <a:pt x="986523" y="1245839"/>
                </a:lnTo>
                <a:lnTo>
                  <a:pt x="986523" y="1243557"/>
                </a:lnTo>
                <a:lnTo>
                  <a:pt x="986523" y="1241275"/>
                </a:lnTo>
                <a:lnTo>
                  <a:pt x="986523" y="1238993"/>
                </a:lnTo>
                <a:lnTo>
                  <a:pt x="986523" y="1236712"/>
                </a:lnTo>
                <a:lnTo>
                  <a:pt x="986523" y="1234430"/>
                </a:lnTo>
                <a:lnTo>
                  <a:pt x="986523" y="1232148"/>
                </a:lnTo>
                <a:lnTo>
                  <a:pt x="991090" y="1234430"/>
                </a:lnTo>
                <a:lnTo>
                  <a:pt x="993374" y="1234430"/>
                </a:lnTo>
                <a:lnTo>
                  <a:pt x="997941" y="1234430"/>
                </a:lnTo>
                <a:lnTo>
                  <a:pt x="997941" y="1236712"/>
                </a:lnTo>
                <a:lnTo>
                  <a:pt x="1002508" y="1236712"/>
                </a:lnTo>
                <a:lnTo>
                  <a:pt x="1004792" y="1236712"/>
                </a:lnTo>
                <a:lnTo>
                  <a:pt x="1002508" y="1232148"/>
                </a:lnTo>
                <a:lnTo>
                  <a:pt x="1007075" y="1229866"/>
                </a:lnTo>
                <a:lnTo>
                  <a:pt x="1009359" y="1227584"/>
                </a:lnTo>
                <a:lnTo>
                  <a:pt x="1011643" y="1227584"/>
                </a:lnTo>
                <a:lnTo>
                  <a:pt x="1016210" y="1225302"/>
                </a:lnTo>
                <a:lnTo>
                  <a:pt x="1018493" y="1223020"/>
                </a:lnTo>
                <a:lnTo>
                  <a:pt x="1016210" y="1220738"/>
                </a:lnTo>
                <a:lnTo>
                  <a:pt x="1013926" y="1218456"/>
                </a:lnTo>
                <a:lnTo>
                  <a:pt x="1011643" y="1218456"/>
                </a:lnTo>
                <a:lnTo>
                  <a:pt x="1009359" y="1216175"/>
                </a:lnTo>
                <a:lnTo>
                  <a:pt x="1009359" y="1218456"/>
                </a:lnTo>
                <a:lnTo>
                  <a:pt x="1007075" y="1216175"/>
                </a:lnTo>
                <a:lnTo>
                  <a:pt x="1007075" y="1218456"/>
                </a:lnTo>
                <a:lnTo>
                  <a:pt x="1004792" y="1218456"/>
                </a:lnTo>
                <a:lnTo>
                  <a:pt x="1004792" y="1216175"/>
                </a:lnTo>
                <a:lnTo>
                  <a:pt x="1004792" y="1218456"/>
                </a:lnTo>
                <a:lnTo>
                  <a:pt x="1002508" y="1218456"/>
                </a:lnTo>
                <a:lnTo>
                  <a:pt x="1002508" y="1216175"/>
                </a:lnTo>
                <a:lnTo>
                  <a:pt x="1002508" y="1213893"/>
                </a:lnTo>
                <a:lnTo>
                  <a:pt x="1004792" y="1213893"/>
                </a:lnTo>
                <a:lnTo>
                  <a:pt x="1002508" y="1211611"/>
                </a:lnTo>
                <a:lnTo>
                  <a:pt x="1000224" y="1209329"/>
                </a:lnTo>
                <a:lnTo>
                  <a:pt x="1000224" y="1207047"/>
                </a:lnTo>
                <a:lnTo>
                  <a:pt x="997941" y="1204765"/>
                </a:lnTo>
                <a:lnTo>
                  <a:pt x="997941" y="1202483"/>
                </a:lnTo>
                <a:lnTo>
                  <a:pt x="995657" y="1202483"/>
                </a:lnTo>
                <a:lnTo>
                  <a:pt x="993374" y="1202483"/>
                </a:lnTo>
                <a:lnTo>
                  <a:pt x="991090" y="1202483"/>
                </a:lnTo>
                <a:lnTo>
                  <a:pt x="991090" y="1200201"/>
                </a:lnTo>
                <a:lnTo>
                  <a:pt x="988807" y="1200201"/>
                </a:lnTo>
                <a:lnTo>
                  <a:pt x="986523" y="1200201"/>
                </a:lnTo>
                <a:lnTo>
                  <a:pt x="984239" y="1200201"/>
                </a:lnTo>
                <a:lnTo>
                  <a:pt x="981956" y="1197919"/>
                </a:lnTo>
                <a:lnTo>
                  <a:pt x="979672" y="1197919"/>
                </a:lnTo>
                <a:lnTo>
                  <a:pt x="977389" y="1197919"/>
                </a:lnTo>
                <a:lnTo>
                  <a:pt x="975105" y="1197919"/>
                </a:lnTo>
                <a:lnTo>
                  <a:pt x="975105" y="1200201"/>
                </a:lnTo>
                <a:lnTo>
                  <a:pt x="972822" y="1200201"/>
                </a:lnTo>
                <a:lnTo>
                  <a:pt x="970538" y="1200201"/>
                </a:lnTo>
                <a:lnTo>
                  <a:pt x="968254" y="1202483"/>
                </a:lnTo>
                <a:lnTo>
                  <a:pt x="965971" y="1202483"/>
                </a:lnTo>
                <a:lnTo>
                  <a:pt x="963687" y="1204765"/>
                </a:lnTo>
                <a:lnTo>
                  <a:pt x="961403" y="1204765"/>
                </a:lnTo>
                <a:lnTo>
                  <a:pt x="961403" y="1202483"/>
                </a:lnTo>
                <a:lnTo>
                  <a:pt x="961403" y="1204765"/>
                </a:lnTo>
                <a:lnTo>
                  <a:pt x="959120" y="1202483"/>
                </a:lnTo>
                <a:lnTo>
                  <a:pt x="959120" y="1200201"/>
                </a:lnTo>
                <a:lnTo>
                  <a:pt x="959120" y="1197919"/>
                </a:lnTo>
                <a:lnTo>
                  <a:pt x="956836" y="1197919"/>
                </a:lnTo>
                <a:lnTo>
                  <a:pt x="956836" y="1195637"/>
                </a:lnTo>
                <a:lnTo>
                  <a:pt x="956836" y="1193356"/>
                </a:lnTo>
                <a:lnTo>
                  <a:pt x="954553" y="1193356"/>
                </a:lnTo>
                <a:lnTo>
                  <a:pt x="954553" y="1191074"/>
                </a:lnTo>
                <a:lnTo>
                  <a:pt x="954553" y="1188792"/>
                </a:lnTo>
                <a:lnTo>
                  <a:pt x="952269" y="1186510"/>
                </a:lnTo>
                <a:lnTo>
                  <a:pt x="952269" y="1184228"/>
                </a:lnTo>
                <a:lnTo>
                  <a:pt x="952269" y="1181946"/>
                </a:lnTo>
                <a:lnTo>
                  <a:pt x="947702" y="1175100"/>
                </a:lnTo>
                <a:lnTo>
                  <a:pt x="945418" y="1175100"/>
                </a:lnTo>
                <a:lnTo>
                  <a:pt x="938568" y="1177382"/>
                </a:lnTo>
                <a:lnTo>
                  <a:pt x="936284" y="1172818"/>
                </a:lnTo>
                <a:lnTo>
                  <a:pt x="938568" y="1172818"/>
                </a:lnTo>
                <a:lnTo>
                  <a:pt x="936284" y="1168255"/>
                </a:lnTo>
                <a:lnTo>
                  <a:pt x="931717" y="1156855"/>
                </a:lnTo>
                <a:lnTo>
                  <a:pt x="934000" y="1154573"/>
                </a:lnTo>
                <a:lnTo>
                  <a:pt x="936284" y="1154573"/>
                </a:lnTo>
                <a:lnTo>
                  <a:pt x="938568" y="1152291"/>
                </a:lnTo>
                <a:lnTo>
                  <a:pt x="940851" y="1152291"/>
                </a:lnTo>
                <a:lnTo>
                  <a:pt x="943135" y="1152291"/>
                </a:lnTo>
                <a:lnTo>
                  <a:pt x="945418" y="1150009"/>
                </a:lnTo>
                <a:lnTo>
                  <a:pt x="947702" y="1147727"/>
                </a:lnTo>
                <a:lnTo>
                  <a:pt x="949985" y="1147727"/>
                </a:lnTo>
                <a:lnTo>
                  <a:pt x="947702" y="1143163"/>
                </a:lnTo>
                <a:lnTo>
                  <a:pt x="945418" y="1136318"/>
                </a:lnTo>
                <a:lnTo>
                  <a:pt x="943135" y="1134036"/>
                </a:lnTo>
                <a:lnTo>
                  <a:pt x="940851" y="1136318"/>
                </a:lnTo>
                <a:lnTo>
                  <a:pt x="936284" y="1138600"/>
                </a:lnTo>
                <a:lnTo>
                  <a:pt x="934000" y="1138600"/>
                </a:lnTo>
                <a:lnTo>
                  <a:pt x="927149" y="1140881"/>
                </a:lnTo>
                <a:lnTo>
                  <a:pt x="915732" y="1147727"/>
                </a:lnTo>
                <a:lnTo>
                  <a:pt x="913448" y="1147727"/>
                </a:lnTo>
                <a:lnTo>
                  <a:pt x="911164" y="1140881"/>
                </a:lnTo>
                <a:lnTo>
                  <a:pt x="904314" y="1138600"/>
                </a:lnTo>
                <a:lnTo>
                  <a:pt x="902030" y="1138600"/>
                </a:lnTo>
                <a:lnTo>
                  <a:pt x="890612" y="1138600"/>
                </a:lnTo>
                <a:lnTo>
                  <a:pt x="883761" y="1138600"/>
                </a:lnTo>
                <a:lnTo>
                  <a:pt x="881478" y="1138600"/>
                </a:lnTo>
                <a:lnTo>
                  <a:pt x="879194" y="1140881"/>
                </a:lnTo>
                <a:lnTo>
                  <a:pt x="872343" y="1147727"/>
                </a:lnTo>
                <a:lnTo>
                  <a:pt x="867776" y="1152291"/>
                </a:lnTo>
                <a:lnTo>
                  <a:pt x="865492" y="1154573"/>
                </a:lnTo>
                <a:lnTo>
                  <a:pt x="860925" y="1156855"/>
                </a:lnTo>
                <a:lnTo>
                  <a:pt x="858642" y="1156855"/>
                </a:lnTo>
                <a:lnTo>
                  <a:pt x="854074" y="1159137"/>
                </a:lnTo>
                <a:lnTo>
                  <a:pt x="851791" y="1159137"/>
                </a:lnTo>
                <a:lnTo>
                  <a:pt x="847224" y="1161419"/>
                </a:lnTo>
                <a:lnTo>
                  <a:pt x="844940" y="1161419"/>
                </a:lnTo>
                <a:lnTo>
                  <a:pt x="840373" y="1163700"/>
                </a:lnTo>
                <a:lnTo>
                  <a:pt x="838089" y="1163700"/>
                </a:lnTo>
                <a:lnTo>
                  <a:pt x="835806" y="1165973"/>
                </a:lnTo>
                <a:lnTo>
                  <a:pt x="833522" y="1168255"/>
                </a:lnTo>
                <a:lnTo>
                  <a:pt x="831238" y="1168255"/>
                </a:lnTo>
                <a:lnTo>
                  <a:pt x="828955" y="1170537"/>
                </a:lnTo>
                <a:lnTo>
                  <a:pt x="826671" y="1172818"/>
                </a:lnTo>
                <a:lnTo>
                  <a:pt x="824388" y="1175100"/>
                </a:lnTo>
                <a:lnTo>
                  <a:pt x="824388" y="1177382"/>
                </a:lnTo>
                <a:lnTo>
                  <a:pt x="828955" y="1184228"/>
                </a:lnTo>
                <a:lnTo>
                  <a:pt x="828955" y="1186510"/>
                </a:lnTo>
                <a:lnTo>
                  <a:pt x="831238" y="1193356"/>
                </a:lnTo>
                <a:lnTo>
                  <a:pt x="833522" y="1195637"/>
                </a:lnTo>
                <a:lnTo>
                  <a:pt x="833522" y="1197919"/>
                </a:lnTo>
                <a:lnTo>
                  <a:pt x="824388" y="1197919"/>
                </a:lnTo>
                <a:lnTo>
                  <a:pt x="824388" y="1202483"/>
                </a:lnTo>
                <a:lnTo>
                  <a:pt x="819820" y="1202483"/>
                </a:lnTo>
                <a:lnTo>
                  <a:pt x="815253" y="1202483"/>
                </a:lnTo>
                <a:lnTo>
                  <a:pt x="808403" y="1204765"/>
                </a:lnTo>
                <a:lnTo>
                  <a:pt x="806119" y="1204765"/>
                </a:lnTo>
                <a:lnTo>
                  <a:pt x="803835" y="1204765"/>
                </a:lnTo>
                <a:lnTo>
                  <a:pt x="794701" y="1207047"/>
                </a:lnTo>
                <a:lnTo>
                  <a:pt x="790134" y="1207047"/>
                </a:lnTo>
                <a:lnTo>
                  <a:pt x="787850" y="1207047"/>
                </a:lnTo>
                <a:lnTo>
                  <a:pt x="785566" y="1207047"/>
                </a:lnTo>
                <a:lnTo>
                  <a:pt x="783283" y="1209329"/>
                </a:lnTo>
                <a:lnTo>
                  <a:pt x="778716" y="1209329"/>
                </a:lnTo>
                <a:lnTo>
                  <a:pt x="774149" y="1209329"/>
                </a:lnTo>
                <a:lnTo>
                  <a:pt x="780999" y="1225302"/>
                </a:lnTo>
                <a:lnTo>
                  <a:pt x="780999" y="1227584"/>
                </a:lnTo>
                <a:lnTo>
                  <a:pt x="778716" y="1227584"/>
                </a:lnTo>
                <a:lnTo>
                  <a:pt x="771865" y="1227584"/>
                </a:lnTo>
                <a:lnTo>
                  <a:pt x="767298" y="1227584"/>
                </a:lnTo>
                <a:lnTo>
                  <a:pt x="765014" y="1227584"/>
                </a:lnTo>
                <a:lnTo>
                  <a:pt x="762730" y="1227584"/>
                </a:lnTo>
                <a:lnTo>
                  <a:pt x="762730" y="1225302"/>
                </a:lnTo>
                <a:lnTo>
                  <a:pt x="760447" y="1227584"/>
                </a:lnTo>
                <a:lnTo>
                  <a:pt x="758163" y="1227584"/>
                </a:lnTo>
                <a:lnTo>
                  <a:pt x="755880" y="1227584"/>
                </a:lnTo>
                <a:lnTo>
                  <a:pt x="753596" y="1229866"/>
                </a:lnTo>
                <a:lnTo>
                  <a:pt x="751313" y="1229866"/>
                </a:lnTo>
                <a:lnTo>
                  <a:pt x="751313" y="1232148"/>
                </a:lnTo>
                <a:lnTo>
                  <a:pt x="749029" y="1232148"/>
                </a:lnTo>
                <a:lnTo>
                  <a:pt x="746745" y="1232148"/>
                </a:lnTo>
                <a:lnTo>
                  <a:pt x="744462" y="1234430"/>
                </a:lnTo>
                <a:lnTo>
                  <a:pt x="742178" y="1234430"/>
                </a:lnTo>
                <a:lnTo>
                  <a:pt x="737611" y="1236712"/>
                </a:lnTo>
                <a:lnTo>
                  <a:pt x="742178" y="1238993"/>
                </a:lnTo>
                <a:lnTo>
                  <a:pt x="744462" y="1245839"/>
                </a:lnTo>
                <a:lnTo>
                  <a:pt x="746745" y="1245839"/>
                </a:lnTo>
                <a:lnTo>
                  <a:pt x="746745" y="1248121"/>
                </a:lnTo>
                <a:lnTo>
                  <a:pt x="749029" y="1254967"/>
                </a:lnTo>
                <a:lnTo>
                  <a:pt x="751313" y="1257249"/>
                </a:lnTo>
                <a:lnTo>
                  <a:pt x="749029" y="1257249"/>
                </a:lnTo>
                <a:lnTo>
                  <a:pt x="746745" y="1257249"/>
                </a:lnTo>
                <a:lnTo>
                  <a:pt x="744462" y="1259531"/>
                </a:lnTo>
                <a:lnTo>
                  <a:pt x="742178" y="1259531"/>
                </a:lnTo>
                <a:lnTo>
                  <a:pt x="749029" y="1259531"/>
                </a:lnTo>
                <a:lnTo>
                  <a:pt x="758163" y="1257249"/>
                </a:lnTo>
                <a:lnTo>
                  <a:pt x="765014" y="1257249"/>
                </a:lnTo>
                <a:lnTo>
                  <a:pt x="769581" y="1254967"/>
                </a:lnTo>
                <a:lnTo>
                  <a:pt x="774149" y="1252685"/>
                </a:lnTo>
                <a:lnTo>
                  <a:pt x="783283" y="1248121"/>
                </a:lnTo>
                <a:lnTo>
                  <a:pt x="785566" y="1245839"/>
                </a:lnTo>
                <a:lnTo>
                  <a:pt x="787850" y="1245839"/>
                </a:lnTo>
                <a:lnTo>
                  <a:pt x="790134" y="1245839"/>
                </a:lnTo>
                <a:lnTo>
                  <a:pt x="792417" y="1243557"/>
                </a:lnTo>
                <a:lnTo>
                  <a:pt x="794701" y="1243557"/>
                </a:lnTo>
                <a:lnTo>
                  <a:pt x="796984" y="1236712"/>
                </a:lnTo>
                <a:lnTo>
                  <a:pt x="796984" y="1234430"/>
                </a:lnTo>
                <a:lnTo>
                  <a:pt x="806119" y="1234430"/>
                </a:lnTo>
                <a:lnTo>
                  <a:pt x="810686" y="1234430"/>
                </a:lnTo>
                <a:lnTo>
                  <a:pt x="810686" y="1232148"/>
                </a:lnTo>
                <a:lnTo>
                  <a:pt x="812970" y="1232148"/>
                </a:lnTo>
                <a:lnTo>
                  <a:pt x="815253" y="1232148"/>
                </a:lnTo>
                <a:lnTo>
                  <a:pt x="817537" y="1232148"/>
                </a:lnTo>
                <a:lnTo>
                  <a:pt x="819820" y="1232148"/>
                </a:lnTo>
                <a:lnTo>
                  <a:pt x="819820" y="1229866"/>
                </a:lnTo>
                <a:lnTo>
                  <a:pt x="833522" y="1225302"/>
                </a:lnTo>
                <a:lnTo>
                  <a:pt x="833522" y="1223020"/>
                </a:lnTo>
                <a:lnTo>
                  <a:pt x="835806" y="1223020"/>
                </a:lnTo>
                <a:lnTo>
                  <a:pt x="835806" y="1220738"/>
                </a:lnTo>
                <a:lnTo>
                  <a:pt x="838089" y="1220738"/>
                </a:lnTo>
                <a:lnTo>
                  <a:pt x="840373" y="1220738"/>
                </a:lnTo>
                <a:lnTo>
                  <a:pt x="840373" y="1225302"/>
                </a:lnTo>
                <a:lnTo>
                  <a:pt x="840373" y="1232148"/>
                </a:lnTo>
                <a:lnTo>
                  <a:pt x="833522" y="1234430"/>
                </a:lnTo>
                <a:lnTo>
                  <a:pt x="831238" y="1234430"/>
                </a:lnTo>
                <a:lnTo>
                  <a:pt x="828955" y="1234430"/>
                </a:lnTo>
                <a:lnTo>
                  <a:pt x="826671" y="1234430"/>
                </a:lnTo>
                <a:lnTo>
                  <a:pt x="826671" y="1236712"/>
                </a:lnTo>
                <a:lnTo>
                  <a:pt x="831238" y="1241275"/>
                </a:lnTo>
                <a:lnTo>
                  <a:pt x="833522" y="1245839"/>
                </a:lnTo>
                <a:lnTo>
                  <a:pt x="835806" y="1248121"/>
                </a:lnTo>
                <a:lnTo>
                  <a:pt x="835806" y="1250403"/>
                </a:lnTo>
                <a:lnTo>
                  <a:pt x="835806" y="1252685"/>
                </a:lnTo>
                <a:lnTo>
                  <a:pt x="838089" y="1257249"/>
                </a:lnTo>
                <a:lnTo>
                  <a:pt x="840373" y="1257249"/>
                </a:lnTo>
                <a:lnTo>
                  <a:pt x="840373" y="1261812"/>
                </a:lnTo>
                <a:lnTo>
                  <a:pt x="844940" y="1261812"/>
                </a:lnTo>
                <a:lnTo>
                  <a:pt x="849507" y="1259531"/>
                </a:lnTo>
                <a:lnTo>
                  <a:pt x="849507" y="1261812"/>
                </a:lnTo>
                <a:lnTo>
                  <a:pt x="849507" y="1264094"/>
                </a:lnTo>
                <a:lnTo>
                  <a:pt x="849507" y="1266376"/>
                </a:lnTo>
                <a:lnTo>
                  <a:pt x="849507" y="1268658"/>
                </a:lnTo>
                <a:lnTo>
                  <a:pt x="849507" y="1270940"/>
                </a:lnTo>
                <a:lnTo>
                  <a:pt x="847224" y="1270940"/>
                </a:lnTo>
                <a:lnTo>
                  <a:pt x="847224" y="1273222"/>
                </a:lnTo>
                <a:lnTo>
                  <a:pt x="847224" y="1275504"/>
                </a:lnTo>
                <a:lnTo>
                  <a:pt x="844940" y="1277786"/>
                </a:lnTo>
                <a:lnTo>
                  <a:pt x="842656" y="1273222"/>
                </a:lnTo>
                <a:lnTo>
                  <a:pt x="842656" y="1270940"/>
                </a:lnTo>
                <a:lnTo>
                  <a:pt x="842656" y="1273222"/>
                </a:lnTo>
                <a:lnTo>
                  <a:pt x="840373" y="1275504"/>
                </a:lnTo>
                <a:lnTo>
                  <a:pt x="838089" y="1277786"/>
                </a:lnTo>
                <a:lnTo>
                  <a:pt x="838089" y="1280068"/>
                </a:lnTo>
                <a:lnTo>
                  <a:pt x="835806" y="1282349"/>
                </a:lnTo>
                <a:lnTo>
                  <a:pt x="835806" y="1284631"/>
                </a:lnTo>
                <a:lnTo>
                  <a:pt x="833522" y="1284631"/>
                </a:lnTo>
                <a:lnTo>
                  <a:pt x="833522" y="1286913"/>
                </a:lnTo>
                <a:lnTo>
                  <a:pt x="833522" y="1289195"/>
                </a:lnTo>
                <a:lnTo>
                  <a:pt x="831238" y="1289195"/>
                </a:lnTo>
                <a:lnTo>
                  <a:pt x="826671" y="1282349"/>
                </a:lnTo>
                <a:lnTo>
                  <a:pt x="824388" y="1280068"/>
                </a:lnTo>
                <a:lnTo>
                  <a:pt x="822104" y="1277786"/>
                </a:lnTo>
                <a:lnTo>
                  <a:pt x="819820" y="1277786"/>
                </a:lnTo>
                <a:lnTo>
                  <a:pt x="817537" y="1275504"/>
                </a:lnTo>
                <a:lnTo>
                  <a:pt x="815253" y="1275504"/>
                </a:lnTo>
                <a:lnTo>
                  <a:pt x="810686" y="1275504"/>
                </a:lnTo>
                <a:lnTo>
                  <a:pt x="806119" y="1275504"/>
                </a:lnTo>
                <a:lnTo>
                  <a:pt x="806119" y="1277786"/>
                </a:lnTo>
                <a:lnTo>
                  <a:pt x="803835" y="1277786"/>
                </a:lnTo>
                <a:lnTo>
                  <a:pt x="801552" y="1277786"/>
                </a:lnTo>
                <a:lnTo>
                  <a:pt x="796984" y="1277786"/>
                </a:lnTo>
                <a:lnTo>
                  <a:pt x="794701" y="1277786"/>
                </a:lnTo>
                <a:lnTo>
                  <a:pt x="787850" y="1277786"/>
                </a:lnTo>
                <a:lnTo>
                  <a:pt x="785566" y="1280068"/>
                </a:lnTo>
                <a:lnTo>
                  <a:pt x="783283" y="1282349"/>
                </a:lnTo>
                <a:lnTo>
                  <a:pt x="783283" y="1284631"/>
                </a:lnTo>
                <a:lnTo>
                  <a:pt x="783283" y="1286913"/>
                </a:lnTo>
                <a:lnTo>
                  <a:pt x="783283" y="1289195"/>
                </a:lnTo>
                <a:lnTo>
                  <a:pt x="783283" y="1291477"/>
                </a:lnTo>
                <a:lnTo>
                  <a:pt x="783283" y="1296041"/>
                </a:lnTo>
                <a:lnTo>
                  <a:pt x="783283" y="1300605"/>
                </a:lnTo>
                <a:lnTo>
                  <a:pt x="771865" y="1300605"/>
                </a:lnTo>
                <a:lnTo>
                  <a:pt x="769581" y="1300605"/>
                </a:lnTo>
                <a:lnTo>
                  <a:pt x="762730" y="1300605"/>
                </a:lnTo>
                <a:lnTo>
                  <a:pt x="760447" y="1300605"/>
                </a:lnTo>
                <a:lnTo>
                  <a:pt x="758163" y="1305168"/>
                </a:lnTo>
                <a:lnTo>
                  <a:pt x="753596" y="1305168"/>
                </a:lnTo>
                <a:lnTo>
                  <a:pt x="749029" y="1305168"/>
                </a:lnTo>
                <a:lnTo>
                  <a:pt x="744462" y="1305168"/>
                </a:lnTo>
                <a:lnTo>
                  <a:pt x="742178" y="1305168"/>
                </a:lnTo>
                <a:lnTo>
                  <a:pt x="739895" y="1305168"/>
                </a:lnTo>
                <a:lnTo>
                  <a:pt x="739895" y="1302887"/>
                </a:lnTo>
                <a:lnTo>
                  <a:pt x="737611" y="1300605"/>
                </a:lnTo>
                <a:lnTo>
                  <a:pt x="737611" y="1298323"/>
                </a:lnTo>
                <a:lnTo>
                  <a:pt x="737611" y="1296041"/>
                </a:lnTo>
                <a:lnTo>
                  <a:pt x="737611" y="1293759"/>
                </a:lnTo>
                <a:lnTo>
                  <a:pt x="737611" y="1291477"/>
                </a:lnTo>
                <a:lnTo>
                  <a:pt x="721626" y="1296041"/>
                </a:lnTo>
                <a:lnTo>
                  <a:pt x="719342" y="1296041"/>
                </a:lnTo>
                <a:lnTo>
                  <a:pt x="717059" y="1298323"/>
                </a:lnTo>
                <a:lnTo>
                  <a:pt x="714775" y="1298323"/>
                </a:lnTo>
                <a:lnTo>
                  <a:pt x="707924" y="1300605"/>
                </a:lnTo>
                <a:lnTo>
                  <a:pt x="707924" y="1293759"/>
                </a:lnTo>
                <a:lnTo>
                  <a:pt x="707924" y="1291477"/>
                </a:lnTo>
                <a:lnTo>
                  <a:pt x="705641" y="1289195"/>
                </a:lnTo>
                <a:lnTo>
                  <a:pt x="703357" y="1286913"/>
                </a:lnTo>
                <a:lnTo>
                  <a:pt x="703357" y="1284631"/>
                </a:lnTo>
                <a:lnTo>
                  <a:pt x="701074" y="1282349"/>
                </a:lnTo>
                <a:lnTo>
                  <a:pt x="701074" y="1280068"/>
                </a:lnTo>
                <a:lnTo>
                  <a:pt x="698790" y="1277786"/>
                </a:lnTo>
                <a:lnTo>
                  <a:pt x="698790" y="1275504"/>
                </a:lnTo>
                <a:lnTo>
                  <a:pt x="696506" y="1275504"/>
                </a:lnTo>
                <a:lnTo>
                  <a:pt x="696506" y="1273222"/>
                </a:lnTo>
                <a:lnTo>
                  <a:pt x="694223" y="1270940"/>
                </a:lnTo>
                <a:lnTo>
                  <a:pt x="694223" y="1268658"/>
                </a:lnTo>
                <a:lnTo>
                  <a:pt x="691939" y="1268658"/>
                </a:lnTo>
                <a:lnTo>
                  <a:pt x="691939" y="1266376"/>
                </a:lnTo>
                <a:lnTo>
                  <a:pt x="691939" y="1264094"/>
                </a:lnTo>
                <a:lnTo>
                  <a:pt x="689655" y="1264094"/>
                </a:lnTo>
                <a:lnTo>
                  <a:pt x="689655" y="1261812"/>
                </a:lnTo>
                <a:lnTo>
                  <a:pt x="689655" y="1259531"/>
                </a:lnTo>
                <a:lnTo>
                  <a:pt x="685088" y="1257249"/>
                </a:lnTo>
                <a:lnTo>
                  <a:pt x="682805" y="1257249"/>
                </a:lnTo>
                <a:lnTo>
                  <a:pt x="680521" y="1254967"/>
                </a:lnTo>
                <a:lnTo>
                  <a:pt x="678237" y="1254967"/>
                </a:lnTo>
                <a:lnTo>
                  <a:pt x="675954" y="1252685"/>
                </a:lnTo>
                <a:lnTo>
                  <a:pt x="673670" y="1254967"/>
                </a:lnTo>
                <a:lnTo>
                  <a:pt x="669103" y="1254967"/>
                </a:lnTo>
                <a:lnTo>
                  <a:pt x="666820" y="1254967"/>
                </a:lnTo>
                <a:lnTo>
                  <a:pt x="664536" y="1257249"/>
                </a:lnTo>
                <a:lnTo>
                  <a:pt x="659969" y="1257249"/>
                </a:lnTo>
                <a:lnTo>
                  <a:pt x="657685" y="1257249"/>
                </a:lnTo>
                <a:lnTo>
                  <a:pt x="653118" y="1257249"/>
                </a:lnTo>
                <a:lnTo>
                  <a:pt x="650834" y="1257249"/>
                </a:lnTo>
                <a:lnTo>
                  <a:pt x="648551" y="1257249"/>
                </a:lnTo>
                <a:lnTo>
                  <a:pt x="646267" y="1254967"/>
                </a:lnTo>
                <a:lnTo>
                  <a:pt x="646267" y="1252685"/>
                </a:lnTo>
                <a:lnTo>
                  <a:pt x="646267" y="1250403"/>
                </a:lnTo>
                <a:lnTo>
                  <a:pt x="646267" y="1248121"/>
                </a:lnTo>
                <a:lnTo>
                  <a:pt x="646267" y="1245839"/>
                </a:lnTo>
                <a:lnTo>
                  <a:pt x="646267" y="1243557"/>
                </a:lnTo>
                <a:lnTo>
                  <a:pt x="643984" y="1232148"/>
                </a:lnTo>
                <a:lnTo>
                  <a:pt x="639416" y="1232148"/>
                </a:lnTo>
                <a:lnTo>
                  <a:pt x="632566" y="1232148"/>
                </a:lnTo>
                <a:lnTo>
                  <a:pt x="627998" y="1213893"/>
                </a:lnTo>
                <a:lnTo>
                  <a:pt x="627998" y="1211611"/>
                </a:lnTo>
                <a:lnTo>
                  <a:pt x="634849" y="1211611"/>
                </a:lnTo>
                <a:lnTo>
                  <a:pt x="641700" y="1211611"/>
                </a:lnTo>
                <a:lnTo>
                  <a:pt x="646267" y="1211611"/>
                </a:lnTo>
                <a:lnTo>
                  <a:pt x="648551" y="1209329"/>
                </a:lnTo>
                <a:lnTo>
                  <a:pt x="650834" y="1209329"/>
                </a:lnTo>
                <a:lnTo>
                  <a:pt x="653118" y="1209329"/>
                </a:lnTo>
                <a:lnTo>
                  <a:pt x="655401" y="1207047"/>
                </a:lnTo>
                <a:lnTo>
                  <a:pt x="662252" y="1218456"/>
                </a:lnTo>
                <a:lnTo>
                  <a:pt x="662252" y="1220738"/>
                </a:lnTo>
                <a:lnTo>
                  <a:pt x="671387" y="1225302"/>
                </a:lnTo>
                <a:lnTo>
                  <a:pt x="675954" y="1225302"/>
                </a:lnTo>
                <a:lnTo>
                  <a:pt x="678237" y="1225302"/>
                </a:lnTo>
                <a:lnTo>
                  <a:pt x="678237" y="1223020"/>
                </a:lnTo>
                <a:lnTo>
                  <a:pt x="678237" y="1218456"/>
                </a:lnTo>
                <a:lnTo>
                  <a:pt x="685088" y="1207047"/>
                </a:lnTo>
                <a:lnTo>
                  <a:pt x="687372" y="1204765"/>
                </a:lnTo>
                <a:lnTo>
                  <a:pt x="687372" y="1202483"/>
                </a:lnTo>
                <a:lnTo>
                  <a:pt x="689655" y="1202483"/>
                </a:lnTo>
                <a:lnTo>
                  <a:pt x="689655" y="1200201"/>
                </a:lnTo>
                <a:lnTo>
                  <a:pt x="689655" y="1197919"/>
                </a:lnTo>
                <a:lnTo>
                  <a:pt x="691939" y="1197919"/>
                </a:lnTo>
                <a:lnTo>
                  <a:pt x="691939" y="1195637"/>
                </a:lnTo>
                <a:lnTo>
                  <a:pt x="694223" y="1195637"/>
                </a:lnTo>
                <a:lnTo>
                  <a:pt x="694223" y="1193356"/>
                </a:lnTo>
                <a:lnTo>
                  <a:pt x="689655" y="1191074"/>
                </a:lnTo>
                <a:lnTo>
                  <a:pt x="687372" y="1191074"/>
                </a:lnTo>
                <a:lnTo>
                  <a:pt x="685088" y="1188792"/>
                </a:lnTo>
                <a:lnTo>
                  <a:pt x="682805" y="1188792"/>
                </a:lnTo>
                <a:lnTo>
                  <a:pt x="680521" y="1188792"/>
                </a:lnTo>
                <a:lnTo>
                  <a:pt x="673670" y="1186510"/>
                </a:lnTo>
                <a:lnTo>
                  <a:pt x="671387" y="1184228"/>
                </a:lnTo>
                <a:lnTo>
                  <a:pt x="669103" y="1184228"/>
                </a:lnTo>
                <a:lnTo>
                  <a:pt x="662252" y="1181946"/>
                </a:lnTo>
                <a:lnTo>
                  <a:pt x="657685" y="1179664"/>
                </a:lnTo>
                <a:lnTo>
                  <a:pt x="643984" y="1172818"/>
                </a:lnTo>
                <a:lnTo>
                  <a:pt x="641700" y="1163700"/>
                </a:lnTo>
                <a:lnTo>
                  <a:pt x="637133" y="1163700"/>
                </a:lnTo>
                <a:lnTo>
                  <a:pt x="634849" y="1163700"/>
                </a:lnTo>
                <a:lnTo>
                  <a:pt x="630282" y="1163700"/>
                </a:lnTo>
                <a:lnTo>
                  <a:pt x="627998" y="1163700"/>
                </a:lnTo>
                <a:lnTo>
                  <a:pt x="612013" y="1163700"/>
                </a:lnTo>
                <a:lnTo>
                  <a:pt x="612013" y="1165973"/>
                </a:lnTo>
                <a:lnTo>
                  <a:pt x="605162" y="1161419"/>
                </a:lnTo>
                <a:lnTo>
                  <a:pt x="602879" y="1161419"/>
                </a:lnTo>
                <a:lnTo>
                  <a:pt x="600595" y="1161419"/>
                </a:lnTo>
                <a:lnTo>
                  <a:pt x="598312" y="1161419"/>
                </a:lnTo>
                <a:lnTo>
                  <a:pt x="596028" y="1161419"/>
                </a:lnTo>
                <a:lnTo>
                  <a:pt x="596028" y="1159137"/>
                </a:lnTo>
                <a:lnTo>
                  <a:pt x="593745" y="1159137"/>
                </a:lnTo>
                <a:lnTo>
                  <a:pt x="593745" y="1156855"/>
                </a:lnTo>
                <a:lnTo>
                  <a:pt x="591461" y="1154573"/>
                </a:lnTo>
                <a:lnTo>
                  <a:pt x="589177" y="1156855"/>
                </a:lnTo>
                <a:lnTo>
                  <a:pt x="580043" y="1159137"/>
                </a:lnTo>
                <a:lnTo>
                  <a:pt x="580043" y="1163700"/>
                </a:lnTo>
                <a:lnTo>
                  <a:pt x="577759" y="1170537"/>
                </a:lnTo>
                <a:lnTo>
                  <a:pt x="566341" y="1168255"/>
                </a:lnTo>
                <a:lnTo>
                  <a:pt x="564058" y="1168255"/>
                </a:lnTo>
                <a:lnTo>
                  <a:pt x="559491" y="1165973"/>
                </a:lnTo>
                <a:lnTo>
                  <a:pt x="554923" y="1165973"/>
                </a:lnTo>
                <a:lnTo>
                  <a:pt x="552640" y="1165973"/>
                </a:lnTo>
                <a:lnTo>
                  <a:pt x="550356" y="1165973"/>
                </a:lnTo>
                <a:lnTo>
                  <a:pt x="550356" y="1163700"/>
                </a:lnTo>
                <a:lnTo>
                  <a:pt x="548072" y="1163700"/>
                </a:lnTo>
                <a:lnTo>
                  <a:pt x="545789" y="1163700"/>
                </a:lnTo>
                <a:lnTo>
                  <a:pt x="543505" y="1163700"/>
                </a:lnTo>
                <a:lnTo>
                  <a:pt x="543505" y="1161419"/>
                </a:lnTo>
                <a:lnTo>
                  <a:pt x="541222" y="1161419"/>
                </a:lnTo>
                <a:lnTo>
                  <a:pt x="538938" y="1161419"/>
                </a:lnTo>
                <a:lnTo>
                  <a:pt x="536655" y="1161419"/>
                </a:lnTo>
                <a:lnTo>
                  <a:pt x="534371" y="1159137"/>
                </a:lnTo>
                <a:lnTo>
                  <a:pt x="529804" y="1161419"/>
                </a:lnTo>
                <a:lnTo>
                  <a:pt x="522953" y="1159137"/>
                </a:lnTo>
                <a:lnTo>
                  <a:pt x="520669" y="1156855"/>
                </a:lnTo>
                <a:lnTo>
                  <a:pt x="518386" y="1156855"/>
                </a:lnTo>
                <a:lnTo>
                  <a:pt x="513818" y="1156855"/>
                </a:lnTo>
                <a:lnTo>
                  <a:pt x="511535" y="1156855"/>
                </a:lnTo>
                <a:lnTo>
                  <a:pt x="506968" y="1156855"/>
                </a:lnTo>
                <a:lnTo>
                  <a:pt x="504684" y="1159137"/>
                </a:lnTo>
                <a:lnTo>
                  <a:pt x="500117" y="1163700"/>
                </a:lnTo>
                <a:lnTo>
                  <a:pt x="486415" y="1165973"/>
                </a:lnTo>
                <a:lnTo>
                  <a:pt x="484132" y="1168255"/>
                </a:lnTo>
                <a:lnTo>
                  <a:pt x="479565" y="1168255"/>
                </a:lnTo>
                <a:lnTo>
                  <a:pt x="479565" y="1163700"/>
                </a:lnTo>
                <a:lnTo>
                  <a:pt x="470430" y="1163700"/>
                </a:lnTo>
                <a:lnTo>
                  <a:pt x="463579" y="1161419"/>
                </a:lnTo>
                <a:lnTo>
                  <a:pt x="459012" y="1159137"/>
                </a:lnTo>
                <a:lnTo>
                  <a:pt x="452162" y="1161419"/>
                </a:lnTo>
                <a:lnTo>
                  <a:pt x="449878" y="1163700"/>
                </a:lnTo>
                <a:lnTo>
                  <a:pt x="447594" y="1163700"/>
                </a:lnTo>
                <a:lnTo>
                  <a:pt x="447594" y="1165973"/>
                </a:lnTo>
                <a:lnTo>
                  <a:pt x="445311" y="1168255"/>
                </a:lnTo>
                <a:lnTo>
                  <a:pt x="445311" y="1172818"/>
                </a:lnTo>
                <a:lnTo>
                  <a:pt x="445311" y="1177382"/>
                </a:lnTo>
                <a:lnTo>
                  <a:pt x="445311" y="1179664"/>
                </a:lnTo>
                <a:lnTo>
                  <a:pt x="445311" y="1181946"/>
                </a:lnTo>
                <a:lnTo>
                  <a:pt x="443027" y="1184228"/>
                </a:lnTo>
                <a:lnTo>
                  <a:pt x="436176" y="1193356"/>
                </a:lnTo>
                <a:lnTo>
                  <a:pt x="438460" y="1193356"/>
                </a:lnTo>
                <a:lnTo>
                  <a:pt x="436176" y="1193356"/>
                </a:lnTo>
                <a:lnTo>
                  <a:pt x="436176" y="1195637"/>
                </a:lnTo>
                <a:lnTo>
                  <a:pt x="433893" y="1197919"/>
                </a:lnTo>
                <a:lnTo>
                  <a:pt x="431609" y="1202483"/>
                </a:lnTo>
                <a:lnTo>
                  <a:pt x="433893" y="1202483"/>
                </a:lnTo>
                <a:lnTo>
                  <a:pt x="433893" y="1204765"/>
                </a:lnTo>
                <a:lnTo>
                  <a:pt x="431609" y="1207047"/>
                </a:lnTo>
                <a:lnTo>
                  <a:pt x="427042" y="1209329"/>
                </a:lnTo>
                <a:lnTo>
                  <a:pt x="427042" y="1211611"/>
                </a:lnTo>
                <a:lnTo>
                  <a:pt x="427042" y="1209329"/>
                </a:lnTo>
                <a:lnTo>
                  <a:pt x="424758" y="1209329"/>
                </a:lnTo>
                <a:lnTo>
                  <a:pt x="422475" y="1209329"/>
                </a:lnTo>
                <a:lnTo>
                  <a:pt x="422475" y="1207047"/>
                </a:lnTo>
                <a:lnTo>
                  <a:pt x="422475" y="1204765"/>
                </a:lnTo>
                <a:lnTo>
                  <a:pt x="420191" y="1202483"/>
                </a:lnTo>
                <a:lnTo>
                  <a:pt x="417908" y="1202483"/>
                </a:lnTo>
                <a:lnTo>
                  <a:pt x="408773" y="1200201"/>
                </a:lnTo>
                <a:lnTo>
                  <a:pt x="406489" y="1202483"/>
                </a:lnTo>
                <a:lnTo>
                  <a:pt x="404206" y="1202483"/>
                </a:lnTo>
                <a:lnTo>
                  <a:pt x="404206" y="1200201"/>
                </a:lnTo>
                <a:lnTo>
                  <a:pt x="404206" y="1197919"/>
                </a:lnTo>
                <a:lnTo>
                  <a:pt x="385937" y="1202483"/>
                </a:lnTo>
                <a:lnTo>
                  <a:pt x="383654" y="1204765"/>
                </a:lnTo>
                <a:lnTo>
                  <a:pt x="383654" y="1202483"/>
                </a:lnTo>
                <a:lnTo>
                  <a:pt x="381370" y="1197919"/>
                </a:lnTo>
                <a:lnTo>
                  <a:pt x="369952" y="1202483"/>
                </a:lnTo>
                <a:lnTo>
                  <a:pt x="367668" y="1202483"/>
                </a:lnTo>
                <a:lnTo>
                  <a:pt x="365375" y="1202483"/>
                </a:lnTo>
                <a:lnTo>
                  <a:pt x="351674" y="1204765"/>
                </a:lnTo>
                <a:lnTo>
                  <a:pt x="349400" y="1207047"/>
                </a:lnTo>
                <a:lnTo>
                  <a:pt x="347116" y="1200201"/>
                </a:lnTo>
                <a:lnTo>
                  <a:pt x="342549" y="1193356"/>
                </a:lnTo>
                <a:lnTo>
                  <a:pt x="340265" y="1186510"/>
                </a:lnTo>
                <a:lnTo>
                  <a:pt x="333414" y="1186510"/>
                </a:lnTo>
                <a:lnTo>
                  <a:pt x="324271" y="1184228"/>
                </a:lnTo>
                <a:lnTo>
                  <a:pt x="317420" y="1191074"/>
                </a:lnTo>
                <a:lnTo>
                  <a:pt x="306002" y="1197919"/>
                </a:lnTo>
                <a:lnTo>
                  <a:pt x="308285" y="1193356"/>
                </a:lnTo>
                <a:lnTo>
                  <a:pt x="310569" y="1184228"/>
                </a:lnTo>
                <a:lnTo>
                  <a:pt x="299151" y="1184228"/>
                </a:lnTo>
                <a:lnTo>
                  <a:pt x="301435" y="1177382"/>
                </a:lnTo>
                <a:lnTo>
                  <a:pt x="301435" y="1168255"/>
                </a:lnTo>
                <a:lnTo>
                  <a:pt x="303718" y="1161419"/>
                </a:lnTo>
                <a:lnTo>
                  <a:pt x="308285" y="1154573"/>
                </a:lnTo>
                <a:lnTo>
                  <a:pt x="296867" y="1150009"/>
                </a:lnTo>
                <a:lnTo>
                  <a:pt x="292300" y="1147727"/>
                </a:lnTo>
                <a:lnTo>
                  <a:pt x="290017" y="1150009"/>
                </a:lnTo>
                <a:lnTo>
                  <a:pt x="283166" y="1156855"/>
                </a:lnTo>
                <a:lnTo>
                  <a:pt x="280882" y="1161419"/>
                </a:lnTo>
                <a:lnTo>
                  <a:pt x="278599" y="1150009"/>
                </a:lnTo>
                <a:lnTo>
                  <a:pt x="276315" y="1147727"/>
                </a:lnTo>
                <a:lnTo>
                  <a:pt x="271748" y="1140881"/>
                </a:lnTo>
                <a:lnTo>
                  <a:pt x="262613" y="1131754"/>
                </a:lnTo>
                <a:lnTo>
                  <a:pt x="260330" y="1129472"/>
                </a:lnTo>
                <a:lnTo>
                  <a:pt x="258046" y="1129472"/>
                </a:lnTo>
                <a:lnTo>
                  <a:pt x="255763" y="1127190"/>
                </a:lnTo>
                <a:lnTo>
                  <a:pt x="251196" y="1127190"/>
                </a:lnTo>
                <a:lnTo>
                  <a:pt x="246628" y="1124908"/>
                </a:lnTo>
                <a:lnTo>
                  <a:pt x="239777" y="1122626"/>
                </a:lnTo>
                <a:lnTo>
                  <a:pt x="237494" y="1118063"/>
                </a:lnTo>
                <a:lnTo>
                  <a:pt x="237494" y="1111217"/>
                </a:lnTo>
                <a:lnTo>
                  <a:pt x="237494" y="1108935"/>
                </a:lnTo>
                <a:lnTo>
                  <a:pt x="237494" y="1106653"/>
                </a:lnTo>
                <a:lnTo>
                  <a:pt x="237494" y="1097525"/>
                </a:lnTo>
                <a:lnTo>
                  <a:pt x="235210" y="1092962"/>
                </a:lnTo>
                <a:lnTo>
                  <a:pt x="235210" y="1086116"/>
                </a:lnTo>
                <a:lnTo>
                  <a:pt x="235210" y="1076988"/>
                </a:lnTo>
                <a:lnTo>
                  <a:pt x="235210" y="1070143"/>
                </a:lnTo>
                <a:lnTo>
                  <a:pt x="232927" y="1054169"/>
                </a:lnTo>
                <a:lnTo>
                  <a:pt x="223792" y="1054169"/>
                </a:lnTo>
                <a:lnTo>
                  <a:pt x="221509" y="1054169"/>
                </a:lnTo>
                <a:lnTo>
                  <a:pt x="216942" y="1054169"/>
                </a:lnTo>
                <a:lnTo>
                  <a:pt x="214658" y="1054169"/>
                </a:lnTo>
                <a:lnTo>
                  <a:pt x="214658" y="1056451"/>
                </a:lnTo>
                <a:lnTo>
                  <a:pt x="214658" y="1063297"/>
                </a:lnTo>
                <a:lnTo>
                  <a:pt x="214658" y="1067861"/>
                </a:lnTo>
                <a:lnTo>
                  <a:pt x="214658" y="1074706"/>
                </a:lnTo>
                <a:lnTo>
                  <a:pt x="216942" y="1076988"/>
                </a:lnTo>
                <a:lnTo>
                  <a:pt x="214658" y="1076988"/>
                </a:lnTo>
                <a:lnTo>
                  <a:pt x="210091" y="1076988"/>
                </a:lnTo>
                <a:lnTo>
                  <a:pt x="207807" y="1076988"/>
                </a:lnTo>
                <a:lnTo>
                  <a:pt x="205523" y="1076988"/>
                </a:lnTo>
                <a:lnTo>
                  <a:pt x="200956" y="1076988"/>
                </a:lnTo>
                <a:lnTo>
                  <a:pt x="200956" y="1079270"/>
                </a:lnTo>
                <a:lnTo>
                  <a:pt x="198673" y="1081552"/>
                </a:lnTo>
                <a:lnTo>
                  <a:pt x="194106" y="1083834"/>
                </a:lnTo>
                <a:lnTo>
                  <a:pt x="191822" y="1083834"/>
                </a:lnTo>
                <a:lnTo>
                  <a:pt x="187255" y="1086116"/>
                </a:lnTo>
                <a:lnTo>
                  <a:pt x="171270" y="1092962"/>
                </a:lnTo>
                <a:lnTo>
                  <a:pt x="166702" y="1092962"/>
                </a:lnTo>
                <a:lnTo>
                  <a:pt x="162135" y="1095244"/>
                </a:lnTo>
                <a:lnTo>
                  <a:pt x="159852" y="1095244"/>
                </a:lnTo>
                <a:lnTo>
                  <a:pt x="157568" y="1097525"/>
                </a:lnTo>
                <a:lnTo>
                  <a:pt x="155284" y="1097525"/>
                </a:lnTo>
                <a:lnTo>
                  <a:pt x="146150" y="1102089"/>
                </a:lnTo>
                <a:lnTo>
                  <a:pt x="141583" y="1102089"/>
                </a:lnTo>
                <a:lnTo>
                  <a:pt x="141583" y="1104371"/>
                </a:lnTo>
                <a:lnTo>
                  <a:pt x="137016" y="1108935"/>
                </a:lnTo>
                <a:lnTo>
                  <a:pt x="134732" y="1113499"/>
                </a:lnTo>
                <a:lnTo>
                  <a:pt x="132448" y="1118063"/>
                </a:lnTo>
                <a:lnTo>
                  <a:pt x="130165" y="1122626"/>
                </a:lnTo>
                <a:lnTo>
                  <a:pt x="125598" y="1120344"/>
                </a:lnTo>
                <a:lnTo>
                  <a:pt x="121031" y="1115781"/>
                </a:lnTo>
                <a:lnTo>
                  <a:pt x="116463" y="1113499"/>
                </a:lnTo>
                <a:lnTo>
                  <a:pt x="111896" y="1111217"/>
                </a:lnTo>
                <a:lnTo>
                  <a:pt x="109613" y="1115781"/>
                </a:lnTo>
                <a:lnTo>
                  <a:pt x="95911" y="1104371"/>
                </a:lnTo>
                <a:lnTo>
                  <a:pt x="82209" y="1092962"/>
                </a:lnTo>
                <a:lnTo>
                  <a:pt x="73075" y="1095244"/>
                </a:lnTo>
                <a:lnTo>
                  <a:pt x="61657" y="1095244"/>
                </a:lnTo>
                <a:lnTo>
                  <a:pt x="59373" y="1095244"/>
                </a:lnTo>
                <a:lnTo>
                  <a:pt x="45672" y="1092962"/>
                </a:lnTo>
                <a:lnTo>
                  <a:pt x="38821" y="1092962"/>
                </a:lnTo>
                <a:lnTo>
                  <a:pt x="34254" y="1092962"/>
                </a:lnTo>
                <a:lnTo>
                  <a:pt x="29687" y="1092962"/>
                </a:lnTo>
                <a:lnTo>
                  <a:pt x="20552" y="1092962"/>
                </a:lnTo>
                <a:lnTo>
                  <a:pt x="20552" y="1090680"/>
                </a:lnTo>
                <a:lnTo>
                  <a:pt x="20552" y="1088398"/>
                </a:lnTo>
                <a:lnTo>
                  <a:pt x="20552" y="1086116"/>
                </a:lnTo>
                <a:lnTo>
                  <a:pt x="20552" y="1083834"/>
                </a:lnTo>
                <a:lnTo>
                  <a:pt x="18269" y="1083834"/>
                </a:lnTo>
                <a:lnTo>
                  <a:pt x="15985" y="1083834"/>
                </a:lnTo>
                <a:lnTo>
                  <a:pt x="15985" y="1086116"/>
                </a:lnTo>
                <a:lnTo>
                  <a:pt x="15985" y="1083834"/>
                </a:lnTo>
                <a:lnTo>
                  <a:pt x="13701" y="1083834"/>
                </a:lnTo>
                <a:lnTo>
                  <a:pt x="13701" y="1081552"/>
                </a:lnTo>
                <a:lnTo>
                  <a:pt x="11418" y="1081552"/>
                </a:lnTo>
                <a:lnTo>
                  <a:pt x="11418" y="1079270"/>
                </a:lnTo>
                <a:lnTo>
                  <a:pt x="9134" y="1079270"/>
                </a:lnTo>
                <a:lnTo>
                  <a:pt x="9134" y="1076988"/>
                </a:lnTo>
                <a:lnTo>
                  <a:pt x="9134" y="1074706"/>
                </a:lnTo>
                <a:lnTo>
                  <a:pt x="9134" y="1072425"/>
                </a:lnTo>
                <a:lnTo>
                  <a:pt x="9134" y="1070143"/>
                </a:lnTo>
                <a:lnTo>
                  <a:pt x="9134" y="1067861"/>
                </a:lnTo>
                <a:lnTo>
                  <a:pt x="9134" y="1065579"/>
                </a:lnTo>
                <a:lnTo>
                  <a:pt x="6851" y="1065579"/>
                </a:lnTo>
                <a:lnTo>
                  <a:pt x="6851" y="1063297"/>
                </a:lnTo>
                <a:lnTo>
                  <a:pt x="6851" y="1061015"/>
                </a:lnTo>
                <a:lnTo>
                  <a:pt x="4567" y="1061015"/>
                </a:lnTo>
                <a:lnTo>
                  <a:pt x="4567" y="1058733"/>
                </a:lnTo>
                <a:lnTo>
                  <a:pt x="6851" y="1058733"/>
                </a:lnTo>
                <a:lnTo>
                  <a:pt x="6851" y="1056451"/>
                </a:lnTo>
                <a:lnTo>
                  <a:pt x="6851" y="1054169"/>
                </a:lnTo>
                <a:lnTo>
                  <a:pt x="4567" y="1054169"/>
                </a:lnTo>
                <a:lnTo>
                  <a:pt x="6851" y="1054169"/>
                </a:lnTo>
                <a:lnTo>
                  <a:pt x="6851" y="1051888"/>
                </a:lnTo>
                <a:lnTo>
                  <a:pt x="6851" y="1049606"/>
                </a:lnTo>
                <a:lnTo>
                  <a:pt x="6851" y="1047324"/>
                </a:lnTo>
                <a:lnTo>
                  <a:pt x="9134" y="1047324"/>
                </a:lnTo>
                <a:lnTo>
                  <a:pt x="9134" y="1045042"/>
                </a:lnTo>
                <a:lnTo>
                  <a:pt x="6851" y="1045042"/>
                </a:lnTo>
                <a:lnTo>
                  <a:pt x="6851" y="1042760"/>
                </a:lnTo>
                <a:lnTo>
                  <a:pt x="6851" y="1040478"/>
                </a:lnTo>
                <a:lnTo>
                  <a:pt x="6851" y="1038196"/>
                </a:lnTo>
                <a:lnTo>
                  <a:pt x="6851" y="1035914"/>
                </a:lnTo>
                <a:lnTo>
                  <a:pt x="6851" y="1033632"/>
                </a:lnTo>
                <a:lnTo>
                  <a:pt x="9134" y="1033632"/>
                </a:lnTo>
                <a:lnTo>
                  <a:pt x="9134" y="1031350"/>
                </a:lnTo>
                <a:lnTo>
                  <a:pt x="9134" y="1029069"/>
                </a:lnTo>
                <a:lnTo>
                  <a:pt x="6851" y="1029069"/>
                </a:lnTo>
                <a:lnTo>
                  <a:pt x="4567" y="1029069"/>
                </a:lnTo>
                <a:lnTo>
                  <a:pt x="2284" y="1029069"/>
                </a:lnTo>
                <a:lnTo>
                  <a:pt x="2284" y="1026787"/>
                </a:lnTo>
                <a:lnTo>
                  <a:pt x="0" y="1026787"/>
                </a:lnTo>
                <a:lnTo>
                  <a:pt x="2284" y="1024505"/>
                </a:lnTo>
                <a:lnTo>
                  <a:pt x="4567" y="1022223"/>
                </a:lnTo>
                <a:lnTo>
                  <a:pt x="6851" y="1019941"/>
                </a:lnTo>
                <a:lnTo>
                  <a:pt x="9134" y="1015377"/>
                </a:lnTo>
                <a:lnTo>
                  <a:pt x="9134" y="1013095"/>
                </a:lnTo>
                <a:lnTo>
                  <a:pt x="13701" y="1013095"/>
                </a:lnTo>
                <a:lnTo>
                  <a:pt x="13701" y="1010823"/>
                </a:lnTo>
                <a:lnTo>
                  <a:pt x="15985" y="1010823"/>
                </a:lnTo>
                <a:lnTo>
                  <a:pt x="18269" y="1008531"/>
                </a:lnTo>
                <a:lnTo>
                  <a:pt x="27403" y="1001695"/>
                </a:lnTo>
                <a:lnTo>
                  <a:pt x="27403" y="999413"/>
                </a:lnTo>
                <a:lnTo>
                  <a:pt x="27403" y="997131"/>
                </a:lnTo>
                <a:lnTo>
                  <a:pt x="34254" y="976594"/>
                </a:lnTo>
                <a:lnTo>
                  <a:pt x="36538" y="974313"/>
                </a:lnTo>
                <a:lnTo>
                  <a:pt x="38821" y="972031"/>
                </a:lnTo>
                <a:lnTo>
                  <a:pt x="38821" y="967467"/>
                </a:lnTo>
                <a:lnTo>
                  <a:pt x="43388" y="958339"/>
                </a:lnTo>
                <a:lnTo>
                  <a:pt x="50239" y="953775"/>
                </a:lnTo>
                <a:lnTo>
                  <a:pt x="52523" y="951494"/>
                </a:lnTo>
                <a:lnTo>
                  <a:pt x="52523" y="949211"/>
                </a:lnTo>
                <a:lnTo>
                  <a:pt x="54806" y="949211"/>
                </a:lnTo>
                <a:lnTo>
                  <a:pt x="57090" y="949211"/>
                </a:lnTo>
                <a:lnTo>
                  <a:pt x="57090" y="946929"/>
                </a:lnTo>
                <a:lnTo>
                  <a:pt x="57090" y="944647"/>
                </a:lnTo>
                <a:lnTo>
                  <a:pt x="59373" y="942365"/>
                </a:lnTo>
                <a:lnTo>
                  <a:pt x="61657" y="942365"/>
                </a:lnTo>
                <a:lnTo>
                  <a:pt x="61657" y="937801"/>
                </a:lnTo>
                <a:lnTo>
                  <a:pt x="63941" y="937801"/>
                </a:lnTo>
                <a:lnTo>
                  <a:pt x="66224" y="935520"/>
                </a:lnTo>
                <a:lnTo>
                  <a:pt x="68508" y="933238"/>
                </a:lnTo>
                <a:lnTo>
                  <a:pt x="70791" y="928675"/>
                </a:lnTo>
                <a:lnTo>
                  <a:pt x="70791" y="926393"/>
                </a:lnTo>
                <a:lnTo>
                  <a:pt x="75359" y="926393"/>
                </a:lnTo>
                <a:lnTo>
                  <a:pt x="77642" y="926393"/>
                </a:lnTo>
                <a:lnTo>
                  <a:pt x="82209" y="924112"/>
                </a:lnTo>
                <a:lnTo>
                  <a:pt x="82209" y="921830"/>
                </a:lnTo>
                <a:lnTo>
                  <a:pt x="84493" y="921830"/>
                </a:lnTo>
                <a:lnTo>
                  <a:pt x="86777" y="921830"/>
                </a:lnTo>
                <a:lnTo>
                  <a:pt x="89060" y="919548"/>
                </a:lnTo>
                <a:lnTo>
                  <a:pt x="91344" y="919548"/>
                </a:lnTo>
                <a:lnTo>
                  <a:pt x="95911" y="919548"/>
                </a:lnTo>
                <a:lnTo>
                  <a:pt x="98194" y="919548"/>
                </a:lnTo>
                <a:lnTo>
                  <a:pt x="100478" y="917266"/>
                </a:lnTo>
                <a:lnTo>
                  <a:pt x="102762" y="914984"/>
                </a:lnTo>
                <a:lnTo>
                  <a:pt x="100478" y="912702"/>
                </a:lnTo>
                <a:lnTo>
                  <a:pt x="100478" y="910420"/>
                </a:lnTo>
                <a:lnTo>
                  <a:pt x="100478" y="905857"/>
                </a:lnTo>
                <a:lnTo>
                  <a:pt x="100478" y="903576"/>
                </a:lnTo>
                <a:lnTo>
                  <a:pt x="102762" y="901294"/>
                </a:lnTo>
                <a:lnTo>
                  <a:pt x="105045" y="899012"/>
                </a:lnTo>
                <a:lnTo>
                  <a:pt x="107329" y="899012"/>
                </a:lnTo>
                <a:lnTo>
                  <a:pt x="107329" y="896730"/>
                </a:lnTo>
                <a:lnTo>
                  <a:pt x="109613" y="896730"/>
                </a:lnTo>
                <a:lnTo>
                  <a:pt x="111896" y="896730"/>
                </a:lnTo>
                <a:lnTo>
                  <a:pt x="114180" y="892166"/>
                </a:lnTo>
                <a:lnTo>
                  <a:pt x="114180" y="889885"/>
                </a:lnTo>
                <a:lnTo>
                  <a:pt x="118747" y="889885"/>
                </a:lnTo>
                <a:lnTo>
                  <a:pt x="121031" y="887602"/>
                </a:lnTo>
                <a:lnTo>
                  <a:pt x="123314" y="885321"/>
                </a:lnTo>
                <a:lnTo>
                  <a:pt x="125598" y="885321"/>
                </a:lnTo>
                <a:lnTo>
                  <a:pt x="127881" y="885321"/>
                </a:lnTo>
                <a:lnTo>
                  <a:pt x="132448" y="887602"/>
                </a:lnTo>
                <a:lnTo>
                  <a:pt x="134732" y="887602"/>
                </a:lnTo>
                <a:lnTo>
                  <a:pt x="137016" y="885321"/>
                </a:lnTo>
                <a:lnTo>
                  <a:pt x="141583" y="885321"/>
                </a:lnTo>
                <a:lnTo>
                  <a:pt x="143867" y="885321"/>
                </a:lnTo>
                <a:lnTo>
                  <a:pt x="143867" y="883040"/>
                </a:lnTo>
                <a:lnTo>
                  <a:pt x="148434" y="880758"/>
                </a:lnTo>
                <a:lnTo>
                  <a:pt x="153001" y="878476"/>
                </a:lnTo>
                <a:lnTo>
                  <a:pt x="155284" y="876194"/>
                </a:lnTo>
                <a:lnTo>
                  <a:pt x="157568" y="873912"/>
                </a:lnTo>
                <a:lnTo>
                  <a:pt x="157568" y="871631"/>
                </a:lnTo>
                <a:lnTo>
                  <a:pt x="159852" y="871631"/>
                </a:lnTo>
                <a:lnTo>
                  <a:pt x="162135" y="871631"/>
                </a:lnTo>
                <a:lnTo>
                  <a:pt x="164419" y="871631"/>
                </a:lnTo>
                <a:lnTo>
                  <a:pt x="166702" y="871631"/>
                </a:lnTo>
                <a:lnTo>
                  <a:pt x="168986" y="869349"/>
                </a:lnTo>
                <a:lnTo>
                  <a:pt x="173553" y="867067"/>
                </a:lnTo>
                <a:lnTo>
                  <a:pt x="173553" y="864785"/>
                </a:lnTo>
                <a:lnTo>
                  <a:pt x="173553" y="862503"/>
                </a:lnTo>
                <a:lnTo>
                  <a:pt x="173553" y="860222"/>
                </a:lnTo>
                <a:lnTo>
                  <a:pt x="173553" y="855659"/>
                </a:lnTo>
                <a:lnTo>
                  <a:pt x="171270" y="851095"/>
                </a:lnTo>
                <a:lnTo>
                  <a:pt x="171270" y="848813"/>
                </a:lnTo>
                <a:lnTo>
                  <a:pt x="173553" y="848813"/>
                </a:lnTo>
                <a:lnTo>
                  <a:pt x="175837" y="846532"/>
                </a:lnTo>
                <a:lnTo>
                  <a:pt x="175837" y="844250"/>
                </a:lnTo>
                <a:lnTo>
                  <a:pt x="178121" y="844250"/>
                </a:lnTo>
                <a:lnTo>
                  <a:pt x="178121" y="841968"/>
                </a:lnTo>
                <a:lnTo>
                  <a:pt x="178121" y="839686"/>
                </a:lnTo>
                <a:lnTo>
                  <a:pt x="175837" y="837404"/>
                </a:lnTo>
                <a:lnTo>
                  <a:pt x="173553" y="835123"/>
                </a:lnTo>
                <a:lnTo>
                  <a:pt x="173553" y="832841"/>
                </a:lnTo>
                <a:lnTo>
                  <a:pt x="175837" y="830559"/>
                </a:lnTo>
                <a:lnTo>
                  <a:pt x="178121" y="828277"/>
                </a:lnTo>
                <a:lnTo>
                  <a:pt x="178121" y="825996"/>
                </a:lnTo>
                <a:lnTo>
                  <a:pt x="180404" y="823714"/>
                </a:lnTo>
                <a:lnTo>
                  <a:pt x="178121" y="823714"/>
                </a:lnTo>
                <a:lnTo>
                  <a:pt x="178121" y="819150"/>
                </a:lnTo>
                <a:lnTo>
                  <a:pt x="173553" y="816868"/>
                </a:lnTo>
                <a:lnTo>
                  <a:pt x="173553" y="814586"/>
                </a:lnTo>
                <a:lnTo>
                  <a:pt x="173553" y="810024"/>
                </a:lnTo>
                <a:lnTo>
                  <a:pt x="173553" y="800896"/>
                </a:lnTo>
                <a:lnTo>
                  <a:pt x="178121" y="798614"/>
                </a:lnTo>
                <a:lnTo>
                  <a:pt x="180404" y="796333"/>
                </a:lnTo>
                <a:lnTo>
                  <a:pt x="182688" y="794050"/>
                </a:lnTo>
                <a:lnTo>
                  <a:pt x="182688" y="791769"/>
                </a:lnTo>
                <a:lnTo>
                  <a:pt x="184971" y="789487"/>
                </a:lnTo>
                <a:lnTo>
                  <a:pt x="184971" y="784924"/>
                </a:lnTo>
                <a:lnTo>
                  <a:pt x="184971" y="782642"/>
                </a:lnTo>
                <a:lnTo>
                  <a:pt x="184971" y="780361"/>
                </a:lnTo>
                <a:lnTo>
                  <a:pt x="189538" y="771233"/>
                </a:lnTo>
                <a:lnTo>
                  <a:pt x="191822" y="768951"/>
                </a:lnTo>
                <a:lnTo>
                  <a:pt x="191822" y="766670"/>
                </a:lnTo>
                <a:lnTo>
                  <a:pt x="191822" y="764389"/>
                </a:lnTo>
                <a:lnTo>
                  <a:pt x="191822" y="759825"/>
                </a:lnTo>
                <a:lnTo>
                  <a:pt x="191822" y="752979"/>
                </a:lnTo>
                <a:lnTo>
                  <a:pt x="191822" y="750697"/>
                </a:lnTo>
                <a:lnTo>
                  <a:pt x="194106" y="750697"/>
                </a:lnTo>
                <a:lnTo>
                  <a:pt x="196389" y="746134"/>
                </a:lnTo>
                <a:lnTo>
                  <a:pt x="198673" y="741571"/>
                </a:lnTo>
                <a:lnTo>
                  <a:pt x="198673" y="739289"/>
                </a:lnTo>
                <a:lnTo>
                  <a:pt x="198673" y="732444"/>
                </a:lnTo>
                <a:lnTo>
                  <a:pt x="198673" y="730162"/>
                </a:lnTo>
                <a:lnTo>
                  <a:pt x="198673" y="727880"/>
                </a:lnTo>
                <a:lnTo>
                  <a:pt x="200956" y="723316"/>
                </a:lnTo>
                <a:lnTo>
                  <a:pt x="203240" y="716472"/>
                </a:lnTo>
                <a:lnTo>
                  <a:pt x="203240" y="714190"/>
                </a:lnTo>
                <a:lnTo>
                  <a:pt x="205523" y="711908"/>
                </a:lnTo>
                <a:lnTo>
                  <a:pt x="205523" y="709626"/>
                </a:lnTo>
                <a:lnTo>
                  <a:pt x="205523" y="707344"/>
                </a:lnTo>
                <a:lnTo>
                  <a:pt x="205523" y="702780"/>
                </a:lnTo>
                <a:lnTo>
                  <a:pt x="203240" y="702780"/>
                </a:lnTo>
                <a:lnTo>
                  <a:pt x="200956" y="702780"/>
                </a:lnTo>
                <a:lnTo>
                  <a:pt x="200956" y="700499"/>
                </a:lnTo>
                <a:lnTo>
                  <a:pt x="200956" y="698217"/>
                </a:lnTo>
                <a:lnTo>
                  <a:pt x="207807" y="693654"/>
                </a:lnTo>
                <a:lnTo>
                  <a:pt x="207807" y="691373"/>
                </a:lnTo>
                <a:lnTo>
                  <a:pt x="207807" y="689091"/>
                </a:lnTo>
                <a:lnTo>
                  <a:pt x="205523" y="689091"/>
                </a:lnTo>
                <a:lnTo>
                  <a:pt x="205523" y="686808"/>
                </a:lnTo>
                <a:lnTo>
                  <a:pt x="205523" y="684527"/>
                </a:lnTo>
                <a:lnTo>
                  <a:pt x="205523" y="682245"/>
                </a:lnTo>
                <a:lnTo>
                  <a:pt x="205523" y="677681"/>
                </a:lnTo>
                <a:lnTo>
                  <a:pt x="205523" y="675399"/>
                </a:lnTo>
                <a:lnTo>
                  <a:pt x="207807" y="673117"/>
                </a:lnTo>
                <a:lnTo>
                  <a:pt x="210091" y="670837"/>
                </a:lnTo>
                <a:lnTo>
                  <a:pt x="210091" y="666273"/>
                </a:lnTo>
                <a:lnTo>
                  <a:pt x="210091" y="663991"/>
                </a:lnTo>
                <a:lnTo>
                  <a:pt x="210091" y="659427"/>
                </a:lnTo>
                <a:lnTo>
                  <a:pt x="210091" y="657146"/>
                </a:lnTo>
                <a:lnTo>
                  <a:pt x="210091" y="650300"/>
                </a:lnTo>
                <a:lnTo>
                  <a:pt x="212374" y="648019"/>
                </a:lnTo>
                <a:lnTo>
                  <a:pt x="212374" y="643455"/>
                </a:lnTo>
                <a:lnTo>
                  <a:pt x="214658" y="638892"/>
                </a:lnTo>
                <a:lnTo>
                  <a:pt x="216942" y="636610"/>
                </a:lnTo>
                <a:lnTo>
                  <a:pt x="221509" y="634328"/>
                </a:lnTo>
                <a:lnTo>
                  <a:pt x="223792" y="632047"/>
                </a:lnTo>
                <a:lnTo>
                  <a:pt x="223792" y="629765"/>
                </a:lnTo>
                <a:lnTo>
                  <a:pt x="223792" y="625201"/>
                </a:lnTo>
                <a:lnTo>
                  <a:pt x="223792" y="620637"/>
                </a:lnTo>
                <a:lnTo>
                  <a:pt x="223792" y="618356"/>
                </a:lnTo>
                <a:lnTo>
                  <a:pt x="226076" y="616074"/>
                </a:lnTo>
                <a:lnTo>
                  <a:pt x="226076" y="613792"/>
                </a:lnTo>
                <a:lnTo>
                  <a:pt x="228360" y="613792"/>
                </a:lnTo>
                <a:lnTo>
                  <a:pt x="230643" y="613792"/>
                </a:lnTo>
                <a:lnTo>
                  <a:pt x="230643" y="618356"/>
                </a:lnTo>
                <a:lnTo>
                  <a:pt x="232927" y="618356"/>
                </a:lnTo>
                <a:lnTo>
                  <a:pt x="232927" y="620637"/>
                </a:lnTo>
                <a:lnTo>
                  <a:pt x="235210" y="620637"/>
                </a:lnTo>
                <a:lnTo>
                  <a:pt x="237494" y="620637"/>
                </a:lnTo>
                <a:lnTo>
                  <a:pt x="237494" y="622919"/>
                </a:lnTo>
                <a:lnTo>
                  <a:pt x="237494" y="625201"/>
                </a:lnTo>
                <a:lnTo>
                  <a:pt x="235210" y="627483"/>
                </a:lnTo>
                <a:lnTo>
                  <a:pt x="235210" y="629765"/>
                </a:lnTo>
                <a:lnTo>
                  <a:pt x="237494" y="629765"/>
                </a:lnTo>
                <a:lnTo>
                  <a:pt x="239777" y="627483"/>
                </a:lnTo>
                <a:lnTo>
                  <a:pt x="246628" y="625201"/>
                </a:lnTo>
                <a:lnTo>
                  <a:pt x="248912" y="625201"/>
                </a:lnTo>
                <a:lnTo>
                  <a:pt x="251196" y="622919"/>
                </a:lnTo>
                <a:lnTo>
                  <a:pt x="251196" y="620637"/>
                </a:lnTo>
                <a:lnTo>
                  <a:pt x="253479" y="620637"/>
                </a:lnTo>
                <a:lnTo>
                  <a:pt x="253479" y="618356"/>
                </a:lnTo>
                <a:lnTo>
                  <a:pt x="253479" y="616074"/>
                </a:lnTo>
                <a:lnTo>
                  <a:pt x="253479" y="613792"/>
                </a:lnTo>
                <a:lnTo>
                  <a:pt x="253479" y="611510"/>
                </a:lnTo>
                <a:lnTo>
                  <a:pt x="251196" y="609228"/>
                </a:lnTo>
                <a:lnTo>
                  <a:pt x="248912" y="606946"/>
                </a:lnTo>
                <a:lnTo>
                  <a:pt x="248912" y="604665"/>
                </a:lnTo>
                <a:lnTo>
                  <a:pt x="246628" y="602383"/>
                </a:lnTo>
                <a:lnTo>
                  <a:pt x="251196" y="602383"/>
                </a:lnTo>
                <a:lnTo>
                  <a:pt x="255763" y="602383"/>
                </a:lnTo>
                <a:lnTo>
                  <a:pt x="255763" y="600102"/>
                </a:lnTo>
                <a:lnTo>
                  <a:pt x="255763" y="597821"/>
                </a:lnTo>
                <a:lnTo>
                  <a:pt x="258046" y="595539"/>
                </a:lnTo>
                <a:lnTo>
                  <a:pt x="260330" y="595539"/>
                </a:lnTo>
                <a:lnTo>
                  <a:pt x="262613" y="595539"/>
                </a:lnTo>
                <a:lnTo>
                  <a:pt x="262613" y="590975"/>
                </a:lnTo>
                <a:lnTo>
                  <a:pt x="262613" y="588693"/>
                </a:lnTo>
                <a:lnTo>
                  <a:pt x="264897" y="588693"/>
                </a:lnTo>
                <a:lnTo>
                  <a:pt x="264897" y="586411"/>
                </a:lnTo>
                <a:lnTo>
                  <a:pt x="267181" y="584129"/>
                </a:lnTo>
                <a:lnTo>
                  <a:pt x="269464" y="584129"/>
                </a:lnTo>
                <a:lnTo>
                  <a:pt x="271748" y="584129"/>
                </a:lnTo>
                <a:lnTo>
                  <a:pt x="274031" y="584129"/>
                </a:lnTo>
                <a:lnTo>
                  <a:pt x="278599" y="586411"/>
                </a:lnTo>
                <a:lnTo>
                  <a:pt x="280882" y="586411"/>
                </a:lnTo>
                <a:lnTo>
                  <a:pt x="280882" y="584129"/>
                </a:lnTo>
                <a:lnTo>
                  <a:pt x="283166" y="581847"/>
                </a:lnTo>
                <a:lnTo>
                  <a:pt x="283166" y="579565"/>
                </a:lnTo>
                <a:lnTo>
                  <a:pt x="283166" y="577285"/>
                </a:lnTo>
                <a:lnTo>
                  <a:pt x="280882" y="577285"/>
                </a:lnTo>
                <a:lnTo>
                  <a:pt x="278599" y="575003"/>
                </a:lnTo>
                <a:lnTo>
                  <a:pt x="276315" y="575003"/>
                </a:lnTo>
                <a:lnTo>
                  <a:pt x="276315" y="572721"/>
                </a:lnTo>
                <a:lnTo>
                  <a:pt x="274031" y="570439"/>
                </a:lnTo>
                <a:lnTo>
                  <a:pt x="274031" y="568157"/>
                </a:lnTo>
                <a:lnTo>
                  <a:pt x="276315" y="568157"/>
                </a:lnTo>
                <a:lnTo>
                  <a:pt x="276315" y="565875"/>
                </a:lnTo>
                <a:lnTo>
                  <a:pt x="278599" y="565875"/>
                </a:lnTo>
                <a:lnTo>
                  <a:pt x="280882" y="565875"/>
                </a:lnTo>
                <a:lnTo>
                  <a:pt x="283166" y="568157"/>
                </a:lnTo>
                <a:lnTo>
                  <a:pt x="283166" y="570439"/>
                </a:lnTo>
                <a:lnTo>
                  <a:pt x="285450" y="570439"/>
                </a:lnTo>
                <a:lnTo>
                  <a:pt x="287733" y="568157"/>
                </a:lnTo>
                <a:lnTo>
                  <a:pt x="290017" y="568157"/>
                </a:lnTo>
                <a:lnTo>
                  <a:pt x="290017" y="565875"/>
                </a:lnTo>
                <a:lnTo>
                  <a:pt x="292300" y="570439"/>
                </a:lnTo>
                <a:lnTo>
                  <a:pt x="294584" y="570439"/>
                </a:lnTo>
                <a:lnTo>
                  <a:pt x="296867" y="570439"/>
                </a:lnTo>
                <a:lnTo>
                  <a:pt x="299151" y="570439"/>
                </a:lnTo>
                <a:lnTo>
                  <a:pt x="301435" y="570439"/>
                </a:lnTo>
                <a:lnTo>
                  <a:pt x="303718" y="565875"/>
                </a:lnTo>
                <a:lnTo>
                  <a:pt x="303718" y="563594"/>
                </a:lnTo>
                <a:lnTo>
                  <a:pt x="301435" y="563594"/>
                </a:lnTo>
                <a:lnTo>
                  <a:pt x="299151" y="563594"/>
                </a:lnTo>
                <a:lnTo>
                  <a:pt x="299151" y="561312"/>
                </a:lnTo>
                <a:lnTo>
                  <a:pt x="296867" y="561312"/>
                </a:lnTo>
                <a:lnTo>
                  <a:pt x="296867" y="559030"/>
                </a:lnTo>
                <a:lnTo>
                  <a:pt x="296867" y="556747"/>
                </a:lnTo>
                <a:lnTo>
                  <a:pt x="301435" y="554466"/>
                </a:lnTo>
                <a:lnTo>
                  <a:pt x="303718" y="552185"/>
                </a:lnTo>
                <a:lnTo>
                  <a:pt x="306002" y="552185"/>
                </a:lnTo>
                <a:lnTo>
                  <a:pt x="310569" y="556747"/>
                </a:lnTo>
                <a:lnTo>
                  <a:pt x="312852" y="556747"/>
                </a:lnTo>
                <a:lnTo>
                  <a:pt x="312852" y="554466"/>
                </a:lnTo>
                <a:lnTo>
                  <a:pt x="315146" y="552185"/>
                </a:lnTo>
                <a:lnTo>
                  <a:pt x="315146" y="549903"/>
                </a:lnTo>
                <a:lnTo>
                  <a:pt x="317420" y="547621"/>
                </a:lnTo>
                <a:lnTo>
                  <a:pt x="324271" y="547621"/>
                </a:lnTo>
                <a:lnTo>
                  <a:pt x="328838" y="545340"/>
                </a:lnTo>
                <a:lnTo>
                  <a:pt x="333414" y="540776"/>
                </a:lnTo>
                <a:lnTo>
                  <a:pt x="335698" y="540776"/>
                </a:lnTo>
                <a:lnTo>
                  <a:pt x="337982" y="538494"/>
                </a:lnTo>
                <a:lnTo>
                  <a:pt x="340265" y="538494"/>
                </a:lnTo>
                <a:lnTo>
                  <a:pt x="340265" y="536212"/>
                </a:lnTo>
                <a:lnTo>
                  <a:pt x="342549" y="533931"/>
                </a:lnTo>
                <a:lnTo>
                  <a:pt x="342549" y="531649"/>
                </a:lnTo>
                <a:lnTo>
                  <a:pt x="342549" y="529368"/>
                </a:lnTo>
                <a:lnTo>
                  <a:pt x="342549" y="527086"/>
                </a:lnTo>
                <a:lnTo>
                  <a:pt x="342549" y="524804"/>
                </a:lnTo>
                <a:lnTo>
                  <a:pt x="344833" y="522522"/>
                </a:lnTo>
                <a:lnTo>
                  <a:pt x="347116" y="520240"/>
                </a:lnTo>
                <a:lnTo>
                  <a:pt x="347116" y="517958"/>
                </a:lnTo>
                <a:lnTo>
                  <a:pt x="349400" y="515676"/>
                </a:lnTo>
                <a:lnTo>
                  <a:pt x="351674" y="515676"/>
                </a:lnTo>
                <a:lnTo>
                  <a:pt x="353967" y="515676"/>
                </a:lnTo>
                <a:lnTo>
                  <a:pt x="356250" y="517958"/>
                </a:lnTo>
                <a:lnTo>
                  <a:pt x="356250" y="520240"/>
                </a:lnTo>
                <a:lnTo>
                  <a:pt x="356250" y="522522"/>
                </a:lnTo>
                <a:lnTo>
                  <a:pt x="356250" y="524804"/>
                </a:lnTo>
                <a:lnTo>
                  <a:pt x="356250" y="527086"/>
                </a:lnTo>
                <a:lnTo>
                  <a:pt x="358534" y="527086"/>
                </a:lnTo>
                <a:lnTo>
                  <a:pt x="363101" y="527086"/>
                </a:lnTo>
                <a:lnTo>
                  <a:pt x="365375" y="527086"/>
                </a:lnTo>
                <a:lnTo>
                  <a:pt x="367668" y="524804"/>
                </a:lnTo>
                <a:lnTo>
                  <a:pt x="367668" y="522522"/>
                </a:lnTo>
                <a:lnTo>
                  <a:pt x="367668" y="517958"/>
                </a:lnTo>
                <a:lnTo>
                  <a:pt x="367668" y="515676"/>
                </a:lnTo>
                <a:lnTo>
                  <a:pt x="372235" y="513394"/>
                </a:lnTo>
                <a:lnTo>
                  <a:pt x="374519" y="513394"/>
                </a:lnTo>
                <a:lnTo>
                  <a:pt x="376803" y="513394"/>
                </a:lnTo>
                <a:lnTo>
                  <a:pt x="379086" y="513394"/>
                </a:lnTo>
                <a:lnTo>
                  <a:pt x="379086" y="515676"/>
                </a:lnTo>
                <a:lnTo>
                  <a:pt x="376803" y="520240"/>
                </a:lnTo>
                <a:lnTo>
                  <a:pt x="374519" y="520240"/>
                </a:lnTo>
                <a:lnTo>
                  <a:pt x="374519" y="522522"/>
                </a:lnTo>
                <a:lnTo>
                  <a:pt x="376803" y="524804"/>
                </a:lnTo>
                <a:lnTo>
                  <a:pt x="379086" y="524804"/>
                </a:lnTo>
                <a:lnTo>
                  <a:pt x="381370" y="524804"/>
                </a:lnTo>
                <a:lnTo>
                  <a:pt x="383654" y="524804"/>
                </a:lnTo>
                <a:lnTo>
                  <a:pt x="385937" y="522522"/>
                </a:lnTo>
                <a:lnTo>
                  <a:pt x="388221" y="515676"/>
                </a:lnTo>
                <a:lnTo>
                  <a:pt x="388221" y="513394"/>
                </a:lnTo>
                <a:lnTo>
                  <a:pt x="390504" y="511113"/>
                </a:lnTo>
                <a:lnTo>
                  <a:pt x="392788" y="508831"/>
                </a:lnTo>
                <a:lnTo>
                  <a:pt x="399639" y="508831"/>
                </a:lnTo>
                <a:lnTo>
                  <a:pt x="417908" y="508831"/>
                </a:lnTo>
                <a:lnTo>
                  <a:pt x="422475" y="508831"/>
                </a:lnTo>
                <a:lnTo>
                  <a:pt x="424758" y="508831"/>
                </a:lnTo>
                <a:lnTo>
                  <a:pt x="424758" y="506550"/>
                </a:lnTo>
                <a:lnTo>
                  <a:pt x="427042" y="506550"/>
                </a:lnTo>
                <a:lnTo>
                  <a:pt x="429325" y="501986"/>
                </a:lnTo>
                <a:lnTo>
                  <a:pt x="433893" y="499704"/>
                </a:lnTo>
                <a:lnTo>
                  <a:pt x="436176" y="495141"/>
                </a:lnTo>
                <a:lnTo>
                  <a:pt x="438460" y="488296"/>
                </a:lnTo>
                <a:lnTo>
                  <a:pt x="438460" y="486013"/>
                </a:lnTo>
                <a:lnTo>
                  <a:pt x="438460" y="483732"/>
                </a:lnTo>
                <a:lnTo>
                  <a:pt x="436176" y="481451"/>
                </a:lnTo>
                <a:lnTo>
                  <a:pt x="436176" y="479169"/>
                </a:lnTo>
                <a:lnTo>
                  <a:pt x="438460" y="476887"/>
                </a:lnTo>
                <a:lnTo>
                  <a:pt x="440743" y="476887"/>
                </a:lnTo>
                <a:lnTo>
                  <a:pt x="443027" y="467760"/>
                </a:lnTo>
                <a:lnTo>
                  <a:pt x="443027" y="463196"/>
                </a:lnTo>
                <a:lnTo>
                  <a:pt x="440743" y="460914"/>
                </a:lnTo>
                <a:lnTo>
                  <a:pt x="443027" y="458633"/>
                </a:lnTo>
                <a:lnTo>
                  <a:pt x="449878" y="456352"/>
                </a:lnTo>
                <a:lnTo>
                  <a:pt x="449878" y="454070"/>
                </a:lnTo>
                <a:lnTo>
                  <a:pt x="452162" y="451788"/>
                </a:lnTo>
                <a:lnTo>
                  <a:pt x="449878" y="447223"/>
                </a:lnTo>
                <a:lnTo>
                  <a:pt x="449878" y="444942"/>
                </a:lnTo>
                <a:lnTo>
                  <a:pt x="452162" y="442660"/>
                </a:lnTo>
                <a:lnTo>
                  <a:pt x="454445" y="440378"/>
                </a:lnTo>
                <a:lnTo>
                  <a:pt x="456729" y="444942"/>
                </a:lnTo>
                <a:lnTo>
                  <a:pt x="459012" y="444942"/>
                </a:lnTo>
                <a:lnTo>
                  <a:pt x="461296" y="444942"/>
                </a:lnTo>
                <a:lnTo>
                  <a:pt x="463579" y="447223"/>
                </a:lnTo>
                <a:lnTo>
                  <a:pt x="468147" y="447223"/>
                </a:lnTo>
                <a:lnTo>
                  <a:pt x="470430" y="444942"/>
                </a:lnTo>
                <a:lnTo>
                  <a:pt x="472714" y="444942"/>
                </a:lnTo>
                <a:lnTo>
                  <a:pt x="474997" y="442660"/>
                </a:lnTo>
                <a:lnTo>
                  <a:pt x="477281" y="438096"/>
                </a:lnTo>
                <a:lnTo>
                  <a:pt x="479565" y="435815"/>
                </a:lnTo>
                <a:lnTo>
                  <a:pt x="481848" y="435815"/>
                </a:lnTo>
                <a:lnTo>
                  <a:pt x="486415" y="435815"/>
                </a:lnTo>
                <a:lnTo>
                  <a:pt x="488699" y="440378"/>
                </a:lnTo>
                <a:lnTo>
                  <a:pt x="488699" y="442660"/>
                </a:lnTo>
                <a:lnTo>
                  <a:pt x="493266" y="444942"/>
                </a:lnTo>
                <a:lnTo>
                  <a:pt x="495550" y="447223"/>
                </a:lnTo>
                <a:lnTo>
                  <a:pt x="495550" y="449505"/>
                </a:lnTo>
                <a:lnTo>
                  <a:pt x="497833" y="449505"/>
                </a:lnTo>
                <a:lnTo>
                  <a:pt x="500117" y="449505"/>
                </a:lnTo>
                <a:lnTo>
                  <a:pt x="502401" y="449505"/>
                </a:lnTo>
                <a:lnTo>
                  <a:pt x="504684" y="447223"/>
                </a:lnTo>
                <a:lnTo>
                  <a:pt x="506968" y="444942"/>
                </a:lnTo>
                <a:lnTo>
                  <a:pt x="509251" y="442660"/>
                </a:lnTo>
                <a:lnTo>
                  <a:pt x="509251" y="440378"/>
                </a:lnTo>
                <a:lnTo>
                  <a:pt x="509251" y="438096"/>
                </a:lnTo>
                <a:lnTo>
                  <a:pt x="509251" y="435815"/>
                </a:lnTo>
                <a:lnTo>
                  <a:pt x="509251" y="433534"/>
                </a:lnTo>
                <a:lnTo>
                  <a:pt x="513818" y="428970"/>
                </a:lnTo>
                <a:lnTo>
                  <a:pt x="516102" y="428970"/>
                </a:lnTo>
                <a:lnTo>
                  <a:pt x="520669" y="424407"/>
                </a:lnTo>
                <a:lnTo>
                  <a:pt x="522953" y="422125"/>
                </a:lnTo>
                <a:lnTo>
                  <a:pt x="522953" y="419843"/>
                </a:lnTo>
                <a:lnTo>
                  <a:pt x="520669" y="417561"/>
                </a:lnTo>
                <a:lnTo>
                  <a:pt x="516102" y="412998"/>
                </a:lnTo>
                <a:lnTo>
                  <a:pt x="516102" y="410716"/>
                </a:lnTo>
                <a:lnTo>
                  <a:pt x="513818" y="410716"/>
                </a:lnTo>
                <a:lnTo>
                  <a:pt x="513818" y="408434"/>
                </a:lnTo>
                <a:lnTo>
                  <a:pt x="516102" y="408434"/>
                </a:lnTo>
                <a:lnTo>
                  <a:pt x="518386" y="408434"/>
                </a:lnTo>
                <a:lnTo>
                  <a:pt x="518386" y="410716"/>
                </a:lnTo>
                <a:lnTo>
                  <a:pt x="522953" y="412998"/>
                </a:lnTo>
                <a:lnTo>
                  <a:pt x="525237" y="410716"/>
                </a:lnTo>
                <a:lnTo>
                  <a:pt x="529804" y="408434"/>
                </a:lnTo>
                <a:lnTo>
                  <a:pt x="532087" y="406153"/>
                </a:lnTo>
                <a:lnTo>
                  <a:pt x="534371" y="406153"/>
                </a:lnTo>
                <a:lnTo>
                  <a:pt x="534371" y="403871"/>
                </a:lnTo>
                <a:lnTo>
                  <a:pt x="534371" y="401589"/>
                </a:lnTo>
                <a:lnTo>
                  <a:pt x="534371" y="399307"/>
                </a:lnTo>
                <a:lnTo>
                  <a:pt x="536655" y="397026"/>
                </a:lnTo>
                <a:lnTo>
                  <a:pt x="541222" y="397026"/>
                </a:lnTo>
                <a:lnTo>
                  <a:pt x="548072" y="392461"/>
                </a:lnTo>
                <a:lnTo>
                  <a:pt x="552640" y="392461"/>
                </a:lnTo>
                <a:lnTo>
                  <a:pt x="554923" y="392461"/>
                </a:lnTo>
                <a:lnTo>
                  <a:pt x="557207" y="390180"/>
                </a:lnTo>
                <a:lnTo>
                  <a:pt x="564058" y="387899"/>
                </a:lnTo>
                <a:lnTo>
                  <a:pt x="566341" y="385617"/>
                </a:lnTo>
                <a:lnTo>
                  <a:pt x="570908" y="383335"/>
                </a:lnTo>
                <a:lnTo>
                  <a:pt x="573192" y="378771"/>
                </a:lnTo>
                <a:lnTo>
                  <a:pt x="577759" y="376489"/>
                </a:lnTo>
                <a:lnTo>
                  <a:pt x="577759" y="374208"/>
                </a:lnTo>
                <a:lnTo>
                  <a:pt x="580043" y="371926"/>
                </a:lnTo>
                <a:lnTo>
                  <a:pt x="580043" y="369644"/>
                </a:lnTo>
                <a:lnTo>
                  <a:pt x="580043" y="365081"/>
                </a:lnTo>
                <a:lnTo>
                  <a:pt x="580043" y="362799"/>
                </a:lnTo>
                <a:lnTo>
                  <a:pt x="580043" y="358236"/>
                </a:lnTo>
                <a:lnTo>
                  <a:pt x="580043" y="355954"/>
                </a:lnTo>
                <a:lnTo>
                  <a:pt x="580043" y="353672"/>
                </a:lnTo>
                <a:lnTo>
                  <a:pt x="582326" y="351389"/>
                </a:lnTo>
                <a:lnTo>
                  <a:pt x="584610" y="349108"/>
                </a:lnTo>
                <a:lnTo>
                  <a:pt x="584610" y="346826"/>
                </a:lnTo>
                <a:lnTo>
                  <a:pt x="580043" y="337700"/>
                </a:lnTo>
                <a:lnTo>
                  <a:pt x="580043" y="335418"/>
                </a:lnTo>
                <a:lnTo>
                  <a:pt x="582326" y="335418"/>
                </a:lnTo>
                <a:lnTo>
                  <a:pt x="586894" y="335418"/>
                </a:lnTo>
                <a:lnTo>
                  <a:pt x="589177" y="335418"/>
                </a:lnTo>
                <a:lnTo>
                  <a:pt x="593745" y="333136"/>
                </a:lnTo>
                <a:lnTo>
                  <a:pt x="600595" y="328572"/>
                </a:lnTo>
                <a:lnTo>
                  <a:pt x="609730" y="321727"/>
                </a:lnTo>
                <a:lnTo>
                  <a:pt x="614297" y="319446"/>
                </a:lnTo>
                <a:lnTo>
                  <a:pt x="621147" y="314883"/>
                </a:lnTo>
                <a:lnTo>
                  <a:pt x="621147" y="310319"/>
                </a:lnTo>
                <a:lnTo>
                  <a:pt x="623431" y="308037"/>
                </a:lnTo>
                <a:lnTo>
                  <a:pt x="623431" y="305755"/>
                </a:lnTo>
                <a:lnTo>
                  <a:pt x="623431" y="303473"/>
                </a:lnTo>
                <a:lnTo>
                  <a:pt x="621147" y="301191"/>
                </a:lnTo>
                <a:lnTo>
                  <a:pt x="621147" y="298909"/>
                </a:lnTo>
                <a:lnTo>
                  <a:pt x="621147" y="296628"/>
                </a:lnTo>
                <a:lnTo>
                  <a:pt x="621147" y="294347"/>
                </a:lnTo>
                <a:lnTo>
                  <a:pt x="621147" y="292065"/>
                </a:lnTo>
                <a:lnTo>
                  <a:pt x="621147" y="289783"/>
                </a:lnTo>
                <a:lnTo>
                  <a:pt x="621147" y="287501"/>
                </a:lnTo>
                <a:lnTo>
                  <a:pt x="621147" y="285219"/>
                </a:lnTo>
                <a:lnTo>
                  <a:pt x="623431" y="282938"/>
                </a:lnTo>
                <a:lnTo>
                  <a:pt x="625715" y="280656"/>
                </a:lnTo>
                <a:lnTo>
                  <a:pt x="627998" y="280656"/>
                </a:lnTo>
                <a:lnTo>
                  <a:pt x="630282" y="280656"/>
                </a:lnTo>
                <a:lnTo>
                  <a:pt x="637133" y="278374"/>
                </a:lnTo>
                <a:lnTo>
                  <a:pt x="639416" y="276092"/>
                </a:lnTo>
                <a:lnTo>
                  <a:pt x="641700" y="273810"/>
                </a:lnTo>
                <a:lnTo>
                  <a:pt x="646267" y="271529"/>
                </a:lnTo>
                <a:lnTo>
                  <a:pt x="648551" y="266966"/>
                </a:lnTo>
                <a:lnTo>
                  <a:pt x="650834" y="264684"/>
                </a:lnTo>
                <a:lnTo>
                  <a:pt x="662252" y="257838"/>
                </a:lnTo>
                <a:lnTo>
                  <a:pt x="664536" y="255557"/>
                </a:lnTo>
                <a:lnTo>
                  <a:pt x="664536" y="253275"/>
                </a:lnTo>
                <a:lnTo>
                  <a:pt x="666820" y="250993"/>
                </a:lnTo>
                <a:lnTo>
                  <a:pt x="666820" y="248711"/>
                </a:lnTo>
                <a:lnTo>
                  <a:pt x="664536" y="241866"/>
                </a:lnTo>
                <a:lnTo>
                  <a:pt x="664536" y="235020"/>
                </a:lnTo>
                <a:lnTo>
                  <a:pt x="664536" y="232739"/>
                </a:lnTo>
                <a:lnTo>
                  <a:pt x="669103" y="230457"/>
                </a:lnTo>
                <a:lnTo>
                  <a:pt x="669103" y="228175"/>
                </a:lnTo>
                <a:lnTo>
                  <a:pt x="671387" y="228175"/>
                </a:lnTo>
                <a:lnTo>
                  <a:pt x="675954" y="223612"/>
                </a:lnTo>
                <a:lnTo>
                  <a:pt x="675954" y="221330"/>
                </a:lnTo>
                <a:lnTo>
                  <a:pt x="678237" y="219048"/>
                </a:lnTo>
                <a:lnTo>
                  <a:pt x="680521" y="216766"/>
                </a:lnTo>
                <a:lnTo>
                  <a:pt x="682805" y="216766"/>
                </a:lnTo>
                <a:lnTo>
                  <a:pt x="685088" y="214485"/>
                </a:lnTo>
                <a:lnTo>
                  <a:pt x="689655" y="212203"/>
                </a:lnTo>
                <a:lnTo>
                  <a:pt x="696506" y="209921"/>
                </a:lnTo>
                <a:lnTo>
                  <a:pt x="698790" y="209921"/>
                </a:lnTo>
                <a:lnTo>
                  <a:pt x="703357" y="207639"/>
                </a:lnTo>
                <a:lnTo>
                  <a:pt x="705641" y="205357"/>
                </a:lnTo>
                <a:lnTo>
                  <a:pt x="705641" y="203076"/>
                </a:lnTo>
                <a:lnTo>
                  <a:pt x="707924" y="198513"/>
                </a:lnTo>
                <a:lnTo>
                  <a:pt x="710208" y="196231"/>
                </a:lnTo>
                <a:lnTo>
                  <a:pt x="714775" y="193949"/>
                </a:lnTo>
                <a:lnTo>
                  <a:pt x="719342" y="191668"/>
                </a:lnTo>
                <a:lnTo>
                  <a:pt x="723909" y="189386"/>
                </a:lnTo>
                <a:lnTo>
                  <a:pt x="726193" y="189386"/>
                </a:lnTo>
                <a:lnTo>
                  <a:pt x="728476" y="187104"/>
                </a:lnTo>
                <a:lnTo>
                  <a:pt x="730760" y="184822"/>
                </a:lnTo>
                <a:lnTo>
                  <a:pt x="733044" y="182540"/>
                </a:lnTo>
                <a:lnTo>
                  <a:pt x="733044" y="180258"/>
                </a:lnTo>
                <a:lnTo>
                  <a:pt x="735327" y="177976"/>
                </a:lnTo>
                <a:lnTo>
                  <a:pt x="739895" y="177976"/>
                </a:lnTo>
                <a:lnTo>
                  <a:pt x="746745" y="177976"/>
                </a:lnTo>
                <a:lnTo>
                  <a:pt x="753596" y="177976"/>
                </a:lnTo>
                <a:lnTo>
                  <a:pt x="760447" y="177976"/>
                </a:lnTo>
                <a:lnTo>
                  <a:pt x="762730" y="177976"/>
                </a:lnTo>
                <a:lnTo>
                  <a:pt x="769581" y="175696"/>
                </a:lnTo>
                <a:lnTo>
                  <a:pt x="776432" y="175696"/>
                </a:lnTo>
                <a:lnTo>
                  <a:pt x="778716" y="177976"/>
                </a:lnTo>
                <a:lnTo>
                  <a:pt x="780999" y="177976"/>
                </a:lnTo>
                <a:lnTo>
                  <a:pt x="783283" y="177976"/>
                </a:lnTo>
                <a:lnTo>
                  <a:pt x="787850" y="177976"/>
                </a:lnTo>
                <a:lnTo>
                  <a:pt x="792417" y="180258"/>
                </a:lnTo>
                <a:lnTo>
                  <a:pt x="794701" y="180258"/>
                </a:lnTo>
                <a:lnTo>
                  <a:pt x="796984" y="182540"/>
                </a:lnTo>
                <a:lnTo>
                  <a:pt x="799268" y="182540"/>
                </a:lnTo>
                <a:lnTo>
                  <a:pt x="803835" y="180258"/>
                </a:lnTo>
                <a:lnTo>
                  <a:pt x="810686" y="177976"/>
                </a:lnTo>
                <a:lnTo>
                  <a:pt x="815253" y="173414"/>
                </a:lnTo>
                <a:lnTo>
                  <a:pt x="817537" y="173414"/>
                </a:lnTo>
                <a:lnTo>
                  <a:pt x="819820" y="173414"/>
                </a:lnTo>
                <a:lnTo>
                  <a:pt x="822104" y="173414"/>
                </a:lnTo>
                <a:lnTo>
                  <a:pt x="826671" y="173414"/>
                </a:lnTo>
                <a:lnTo>
                  <a:pt x="828955" y="173414"/>
                </a:lnTo>
                <a:lnTo>
                  <a:pt x="831238" y="173414"/>
                </a:lnTo>
                <a:lnTo>
                  <a:pt x="833522" y="173414"/>
                </a:lnTo>
                <a:lnTo>
                  <a:pt x="835806" y="173414"/>
                </a:lnTo>
                <a:lnTo>
                  <a:pt x="842656" y="173414"/>
                </a:lnTo>
                <a:lnTo>
                  <a:pt x="844940" y="173414"/>
                </a:lnTo>
                <a:lnTo>
                  <a:pt x="849507" y="168850"/>
                </a:lnTo>
                <a:lnTo>
                  <a:pt x="854074" y="166568"/>
                </a:lnTo>
                <a:lnTo>
                  <a:pt x="856358" y="166568"/>
                </a:lnTo>
                <a:lnTo>
                  <a:pt x="856358" y="164286"/>
                </a:lnTo>
                <a:lnTo>
                  <a:pt x="858642" y="164286"/>
                </a:lnTo>
                <a:lnTo>
                  <a:pt x="858642" y="162004"/>
                </a:lnTo>
                <a:lnTo>
                  <a:pt x="863209" y="162004"/>
                </a:lnTo>
                <a:lnTo>
                  <a:pt x="867776" y="159723"/>
                </a:lnTo>
                <a:lnTo>
                  <a:pt x="872343" y="157441"/>
                </a:lnTo>
                <a:lnTo>
                  <a:pt x="874627" y="155159"/>
                </a:lnTo>
                <a:lnTo>
                  <a:pt x="879194" y="152877"/>
                </a:lnTo>
                <a:lnTo>
                  <a:pt x="881478" y="152877"/>
                </a:lnTo>
                <a:lnTo>
                  <a:pt x="883761" y="150595"/>
                </a:lnTo>
                <a:lnTo>
                  <a:pt x="888328" y="150595"/>
                </a:lnTo>
                <a:lnTo>
                  <a:pt x="895179" y="148315"/>
                </a:lnTo>
                <a:lnTo>
                  <a:pt x="899746" y="148315"/>
                </a:lnTo>
                <a:lnTo>
                  <a:pt x="904314" y="148315"/>
                </a:lnTo>
                <a:lnTo>
                  <a:pt x="915732" y="143751"/>
                </a:lnTo>
                <a:lnTo>
                  <a:pt x="920299" y="143751"/>
                </a:lnTo>
                <a:lnTo>
                  <a:pt x="920299" y="141469"/>
                </a:lnTo>
                <a:lnTo>
                  <a:pt x="922582" y="139187"/>
                </a:lnTo>
                <a:lnTo>
                  <a:pt x="920299" y="139187"/>
                </a:lnTo>
                <a:lnTo>
                  <a:pt x="920299" y="136904"/>
                </a:lnTo>
                <a:lnTo>
                  <a:pt x="920299" y="134623"/>
                </a:lnTo>
                <a:lnTo>
                  <a:pt x="922582" y="132341"/>
                </a:lnTo>
                <a:lnTo>
                  <a:pt x="927149" y="130060"/>
                </a:lnTo>
                <a:lnTo>
                  <a:pt x="929433" y="130060"/>
                </a:lnTo>
                <a:lnTo>
                  <a:pt x="936284" y="127778"/>
                </a:lnTo>
                <a:lnTo>
                  <a:pt x="938568" y="127778"/>
                </a:lnTo>
                <a:lnTo>
                  <a:pt x="940851" y="127778"/>
                </a:lnTo>
                <a:lnTo>
                  <a:pt x="943135" y="127778"/>
                </a:lnTo>
                <a:lnTo>
                  <a:pt x="945418" y="130060"/>
                </a:lnTo>
                <a:lnTo>
                  <a:pt x="952269" y="132341"/>
                </a:lnTo>
                <a:lnTo>
                  <a:pt x="954553" y="132341"/>
                </a:lnTo>
                <a:lnTo>
                  <a:pt x="956836" y="130060"/>
                </a:lnTo>
                <a:lnTo>
                  <a:pt x="956836" y="127778"/>
                </a:lnTo>
                <a:lnTo>
                  <a:pt x="959120" y="125497"/>
                </a:lnTo>
                <a:lnTo>
                  <a:pt x="961403" y="125497"/>
                </a:lnTo>
                <a:lnTo>
                  <a:pt x="963687" y="123214"/>
                </a:lnTo>
                <a:lnTo>
                  <a:pt x="968254" y="109523"/>
                </a:lnTo>
                <a:lnTo>
                  <a:pt x="968254" y="107242"/>
                </a:lnTo>
                <a:lnTo>
                  <a:pt x="975105" y="100397"/>
                </a:lnTo>
                <a:lnTo>
                  <a:pt x="975105" y="98115"/>
                </a:lnTo>
                <a:lnTo>
                  <a:pt x="975105" y="95833"/>
                </a:lnTo>
                <a:lnTo>
                  <a:pt x="975105" y="93552"/>
                </a:lnTo>
                <a:lnTo>
                  <a:pt x="975105" y="91270"/>
                </a:lnTo>
                <a:lnTo>
                  <a:pt x="975105" y="88989"/>
                </a:lnTo>
                <a:lnTo>
                  <a:pt x="972822" y="84425"/>
                </a:lnTo>
                <a:lnTo>
                  <a:pt x="972822" y="82143"/>
                </a:lnTo>
                <a:lnTo>
                  <a:pt x="972822" y="75298"/>
                </a:lnTo>
                <a:lnTo>
                  <a:pt x="972822" y="70734"/>
                </a:lnTo>
                <a:lnTo>
                  <a:pt x="977389" y="66171"/>
                </a:lnTo>
                <a:lnTo>
                  <a:pt x="977389" y="63889"/>
                </a:lnTo>
                <a:lnTo>
                  <a:pt x="977389" y="61607"/>
                </a:lnTo>
                <a:lnTo>
                  <a:pt x="979672" y="61607"/>
                </a:lnTo>
                <a:lnTo>
                  <a:pt x="981956" y="61607"/>
                </a:lnTo>
                <a:lnTo>
                  <a:pt x="984239" y="59325"/>
                </a:lnTo>
                <a:lnTo>
                  <a:pt x="986523" y="54762"/>
                </a:lnTo>
                <a:lnTo>
                  <a:pt x="988807" y="50198"/>
                </a:lnTo>
                <a:lnTo>
                  <a:pt x="991090" y="45634"/>
                </a:lnTo>
                <a:lnTo>
                  <a:pt x="991090" y="43353"/>
                </a:lnTo>
                <a:lnTo>
                  <a:pt x="993374" y="38789"/>
                </a:lnTo>
                <a:lnTo>
                  <a:pt x="995657" y="38789"/>
                </a:lnTo>
                <a:lnTo>
                  <a:pt x="995657" y="36508"/>
                </a:lnTo>
                <a:lnTo>
                  <a:pt x="997941" y="34226"/>
                </a:lnTo>
                <a:lnTo>
                  <a:pt x="1000224" y="34226"/>
                </a:lnTo>
                <a:lnTo>
                  <a:pt x="1004792" y="34226"/>
                </a:lnTo>
                <a:lnTo>
                  <a:pt x="1007075" y="34226"/>
                </a:lnTo>
                <a:lnTo>
                  <a:pt x="1009359" y="34226"/>
                </a:lnTo>
                <a:lnTo>
                  <a:pt x="1011643" y="34226"/>
                </a:lnTo>
                <a:lnTo>
                  <a:pt x="1013926" y="36508"/>
                </a:lnTo>
                <a:lnTo>
                  <a:pt x="1016210" y="36508"/>
                </a:lnTo>
                <a:lnTo>
                  <a:pt x="1020777" y="34226"/>
                </a:lnTo>
                <a:lnTo>
                  <a:pt x="1023061" y="34226"/>
                </a:lnTo>
                <a:lnTo>
                  <a:pt x="1025344" y="34226"/>
                </a:lnTo>
                <a:lnTo>
                  <a:pt x="1029911" y="34226"/>
                </a:lnTo>
                <a:lnTo>
                  <a:pt x="1032195" y="31945"/>
                </a:lnTo>
                <a:lnTo>
                  <a:pt x="1034478" y="31945"/>
                </a:lnTo>
                <a:lnTo>
                  <a:pt x="1036762" y="31945"/>
                </a:lnTo>
                <a:lnTo>
                  <a:pt x="1039046" y="31945"/>
                </a:lnTo>
                <a:lnTo>
                  <a:pt x="1041329" y="31945"/>
                </a:lnTo>
                <a:lnTo>
                  <a:pt x="1043613" y="34226"/>
                </a:lnTo>
                <a:lnTo>
                  <a:pt x="1045897" y="34226"/>
                </a:lnTo>
                <a:lnTo>
                  <a:pt x="1045897" y="31945"/>
                </a:lnTo>
                <a:lnTo>
                  <a:pt x="1048180" y="31945"/>
                </a:lnTo>
                <a:lnTo>
                  <a:pt x="1059598" y="22817"/>
                </a:lnTo>
                <a:lnTo>
                  <a:pt x="1059598" y="20536"/>
                </a:lnTo>
                <a:lnTo>
                  <a:pt x="1061882" y="20536"/>
                </a:lnTo>
                <a:lnTo>
                  <a:pt x="1064165" y="20536"/>
                </a:lnTo>
                <a:lnTo>
                  <a:pt x="1068732" y="20536"/>
                </a:lnTo>
                <a:lnTo>
                  <a:pt x="1071016" y="20536"/>
                </a:lnTo>
                <a:lnTo>
                  <a:pt x="1075583" y="20536"/>
                </a:lnTo>
                <a:lnTo>
                  <a:pt x="1077867" y="22817"/>
                </a:lnTo>
                <a:lnTo>
                  <a:pt x="1084718" y="25099"/>
                </a:lnTo>
                <a:lnTo>
                  <a:pt x="1087001" y="22817"/>
                </a:lnTo>
                <a:lnTo>
                  <a:pt x="1089285" y="25099"/>
                </a:lnTo>
                <a:lnTo>
                  <a:pt x="1091568" y="25099"/>
                </a:lnTo>
                <a:lnTo>
                  <a:pt x="1093852" y="25099"/>
                </a:lnTo>
                <a:lnTo>
                  <a:pt x="1096136" y="22817"/>
                </a:lnTo>
                <a:lnTo>
                  <a:pt x="1100703" y="25099"/>
                </a:lnTo>
                <a:lnTo>
                  <a:pt x="1102986" y="25099"/>
                </a:lnTo>
                <a:lnTo>
                  <a:pt x="1105270" y="25099"/>
                </a:lnTo>
                <a:lnTo>
                  <a:pt x="1107554" y="25099"/>
                </a:lnTo>
                <a:lnTo>
                  <a:pt x="1109837" y="25099"/>
                </a:lnTo>
                <a:lnTo>
                  <a:pt x="1109837" y="27381"/>
                </a:lnTo>
                <a:lnTo>
                  <a:pt x="1112121" y="29662"/>
                </a:lnTo>
                <a:lnTo>
                  <a:pt x="1114404" y="29662"/>
                </a:lnTo>
                <a:lnTo>
                  <a:pt x="1118972" y="27381"/>
                </a:lnTo>
                <a:lnTo>
                  <a:pt x="1123539" y="27381"/>
                </a:lnTo>
                <a:lnTo>
                  <a:pt x="1125822" y="27381"/>
                </a:lnTo>
                <a:lnTo>
                  <a:pt x="1128106" y="27381"/>
                </a:lnTo>
                <a:lnTo>
                  <a:pt x="1130390" y="27381"/>
                </a:lnTo>
                <a:lnTo>
                  <a:pt x="1132673" y="27381"/>
                </a:lnTo>
                <a:lnTo>
                  <a:pt x="1132673" y="25099"/>
                </a:lnTo>
                <a:lnTo>
                  <a:pt x="1134957" y="25099"/>
                </a:lnTo>
                <a:lnTo>
                  <a:pt x="1137240" y="22817"/>
                </a:lnTo>
                <a:lnTo>
                  <a:pt x="1141807" y="20536"/>
                </a:lnTo>
                <a:lnTo>
                  <a:pt x="1144091" y="20536"/>
                </a:lnTo>
                <a:lnTo>
                  <a:pt x="1146375" y="20536"/>
                </a:lnTo>
                <a:lnTo>
                  <a:pt x="1148658" y="18254"/>
                </a:lnTo>
                <a:lnTo>
                  <a:pt x="1153226" y="18254"/>
                </a:lnTo>
                <a:lnTo>
                  <a:pt x="1160076" y="15971"/>
                </a:lnTo>
                <a:lnTo>
                  <a:pt x="1162360" y="15971"/>
                </a:lnTo>
                <a:lnTo>
                  <a:pt x="1169211" y="15971"/>
                </a:lnTo>
                <a:lnTo>
                  <a:pt x="1173778" y="18254"/>
                </a:lnTo>
                <a:lnTo>
                  <a:pt x="1176061" y="18254"/>
                </a:lnTo>
                <a:lnTo>
                  <a:pt x="1180629" y="20536"/>
                </a:lnTo>
                <a:lnTo>
                  <a:pt x="1185196" y="20536"/>
                </a:lnTo>
                <a:lnTo>
                  <a:pt x="1187480" y="20536"/>
                </a:lnTo>
                <a:lnTo>
                  <a:pt x="1187480" y="18254"/>
                </a:lnTo>
                <a:lnTo>
                  <a:pt x="1189763" y="15971"/>
                </a:lnTo>
                <a:lnTo>
                  <a:pt x="1189763" y="13690"/>
                </a:lnTo>
                <a:lnTo>
                  <a:pt x="1192047" y="11408"/>
                </a:lnTo>
                <a:lnTo>
                  <a:pt x="1196614" y="9127"/>
                </a:lnTo>
                <a:lnTo>
                  <a:pt x="1201181" y="9127"/>
                </a:lnTo>
                <a:lnTo>
                  <a:pt x="1205748" y="6845"/>
                </a:lnTo>
                <a:lnTo>
                  <a:pt x="1208032" y="6845"/>
                </a:lnTo>
                <a:lnTo>
                  <a:pt x="1210315" y="6845"/>
                </a:lnTo>
                <a:lnTo>
                  <a:pt x="1212599" y="6845"/>
                </a:lnTo>
                <a:lnTo>
                  <a:pt x="1214883" y="9127"/>
                </a:lnTo>
                <a:lnTo>
                  <a:pt x="1217166" y="11408"/>
                </a:lnTo>
                <a:lnTo>
                  <a:pt x="1219450" y="11408"/>
                </a:lnTo>
                <a:lnTo>
                  <a:pt x="1221734" y="9127"/>
                </a:lnTo>
                <a:lnTo>
                  <a:pt x="1226301" y="4563"/>
                </a:lnTo>
                <a:lnTo>
                  <a:pt x="1230868" y="2282"/>
                </a:lnTo>
                <a:lnTo>
                  <a:pt x="1235435" y="0"/>
                </a:lnTo>
                <a:lnTo>
                  <a:pt x="1237719" y="2282"/>
                </a:lnTo>
                <a:lnTo>
                  <a:pt x="1240002" y="2282"/>
                </a:lnTo>
                <a:lnTo>
                  <a:pt x="1242286" y="4563"/>
                </a:lnTo>
                <a:lnTo>
                  <a:pt x="1244569" y="4563"/>
                </a:lnTo>
                <a:close/>
              </a:path>
            </a:pathLst>
          </a:custGeom>
          <a:solidFill>
            <a:srgbClr val="A5E98F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7" name="Freeform 9">
            <a:extLst>
              <a:ext uri="{FF2B5EF4-FFF2-40B4-BE49-F238E27FC236}">
                <a16:creationId xmlns:a16="http://schemas.microsoft.com/office/drawing/2014/main" id="{E3F79EAF-5651-4218-A92D-069F72E18503}"/>
              </a:ext>
            </a:extLst>
          </p:cNvPr>
          <p:cNvSpPr/>
          <p:nvPr/>
        </p:nvSpPr>
        <p:spPr>
          <a:xfrm>
            <a:off x="7633188" y="2039968"/>
            <a:ext cx="1377912" cy="1217875"/>
          </a:xfrm>
          <a:custGeom>
            <a:avLst/>
            <a:gdLst>
              <a:gd name="connsiteX0" fmla="*/ 1356466 w 1429540"/>
              <a:gd name="connsiteY0" fmla="*/ 6846 h 1426100"/>
              <a:gd name="connsiteX1" fmla="*/ 1358749 w 1429540"/>
              <a:gd name="connsiteY1" fmla="*/ 6846 h 1426100"/>
              <a:gd name="connsiteX2" fmla="*/ 1361033 w 1429540"/>
              <a:gd name="connsiteY2" fmla="*/ 6846 h 1426100"/>
              <a:gd name="connsiteX3" fmla="*/ 1363316 w 1429540"/>
              <a:gd name="connsiteY3" fmla="*/ 6846 h 1426100"/>
              <a:gd name="connsiteX4" fmla="*/ 1363316 w 1429540"/>
              <a:gd name="connsiteY4" fmla="*/ 4564 h 1426100"/>
              <a:gd name="connsiteX5" fmla="*/ 1363316 w 1429540"/>
              <a:gd name="connsiteY5" fmla="*/ 2282 h 1426100"/>
              <a:gd name="connsiteX6" fmla="*/ 1365600 w 1429540"/>
              <a:gd name="connsiteY6" fmla="*/ 2282 h 1426100"/>
              <a:gd name="connsiteX7" fmla="*/ 1370167 w 1429540"/>
              <a:gd name="connsiteY7" fmla="*/ 2282 h 1426100"/>
              <a:gd name="connsiteX8" fmla="*/ 1372451 w 1429540"/>
              <a:gd name="connsiteY8" fmla="*/ 2282 h 1426100"/>
              <a:gd name="connsiteX9" fmla="*/ 1374734 w 1429540"/>
              <a:gd name="connsiteY9" fmla="*/ 2282 h 1426100"/>
              <a:gd name="connsiteX10" fmla="*/ 1386152 w 1429540"/>
              <a:gd name="connsiteY10" fmla="*/ 2282 h 1426100"/>
              <a:gd name="connsiteX11" fmla="*/ 1386152 w 1429540"/>
              <a:gd name="connsiteY11" fmla="*/ 4564 h 1426100"/>
              <a:gd name="connsiteX12" fmla="*/ 1388436 w 1429540"/>
              <a:gd name="connsiteY12" fmla="*/ 9128 h 1426100"/>
              <a:gd name="connsiteX13" fmla="*/ 1388436 w 1429540"/>
              <a:gd name="connsiteY13" fmla="*/ 20536 h 1426100"/>
              <a:gd name="connsiteX14" fmla="*/ 1388436 w 1429540"/>
              <a:gd name="connsiteY14" fmla="*/ 22818 h 1426100"/>
              <a:gd name="connsiteX15" fmla="*/ 1390719 w 1429540"/>
              <a:gd name="connsiteY15" fmla="*/ 25100 h 1426100"/>
              <a:gd name="connsiteX16" fmla="*/ 1390719 w 1429540"/>
              <a:gd name="connsiteY16" fmla="*/ 31945 h 1426100"/>
              <a:gd name="connsiteX17" fmla="*/ 1390719 w 1429540"/>
              <a:gd name="connsiteY17" fmla="*/ 43354 h 1426100"/>
              <a:gd name="connsiteX18" fmla="*/ 1390719 w 1429540"/>
              <a:gd name="connsiteY18" fmla="*/ 45635 h 1426100"/>
              <a:gd name="connsiteX19" fmla="*/ 1390719 w 1429540"/>
              <a:gd name="connsiteY19" fmla="*/ 61608 h 1426100"/>
              <a:gd name="connsiteX20" fmla="*/ 1393003 w 1429540"/>
              <a:gd name="connsiteY20" fmla="*/ 68453 h 1426100"/>
              <a:gd name="connsiteX21" fmla="*/ 1393003 w 1429540"/>
              <a:gd name="connsiteY21" fmla="*/ 84425 h 1426100"/>
              <a:gd name="connsiteX22" fmla="*/ 1393003 w 1429540"/>
              <a:gd name="connsiteY22" fmla="*/ 88989 h 1426100"/>
              <a:gd name="connsiteX23" fmla="*/ 1395286 w 1429540"/>
              <a:gd name="connsiteY23" fmla="*/ 88989 h 1426100"/>
              <a:gd name="connsiteX24" fmla="*/ 1399854 w 1429540"/>
              <a:gd name="connsiteY24" fmla="*/ 95834 h 1426100"/>
              <a:gd name="connsiteX25" fmla="*/ 1402138 w 1429540"/>
              <a:gd name="connsiteY25" fmla="*/ 100398 h 1426100"/>
              <a:gd name="connsiteX26" fmla="*/ 1406705 w 1429540"/>
              <a:gd name="connsiteY26" fmla="*/ 109524 h 1426100"/>
              <a:gd name="connsiteX27" fmla="*/ 1406705 w 1429540"/>
              <a:gd name="connsiteY27" fmla="*/ 111806 h 1426100"/>
              <a:gd name="connsiteX28" fmla="*/ 1408988 w 1429540"/>
              <a:gd name="connsiteY28" fmla="*/ 114088 h 1426100"/>
              <a:gd name="connsiteX29" fmla="*/ 1413556 w 1429540"/>
              <a:gd name="connsiteY29" fmla="*/ 123215 h 1426100"/>
              <a:gd name="connsiteX30" fmla="*/ 1418123 w 1429540"/>
              <a:gd name="connsiteY30" fmla="*/ 132342 h 1426100"/>
              <a:gd name="connsiteX31" fmla="*/ 1420406 w 1429540"/>
              <a:gd name="connsiteY31" fmla="*/ 134624 h 1426100"/>
              <a:gd name="connsiteX32" fmla="*/ 1420406 w 1429540"/>
              <a:gd name="connsiteY32" fmla="*/ 136906 h 1426100"/>
              <a:gd name="connsiteX33" fmla="*/ 1420406 w 1429540"/>
              <a:gd name="connsiteY33" fmla="*/ 139188 h 1426100"/>
              <a:gd name="connsiteX34" fmla="*/ 1422690 w 1429540"/>
              <a:gd name="connsiteY34" fmla="*/ 141470 h 1426100"/>
              <a:gd name="connsiteX35" fmla="*/ 1422690 w 1429540"/>
              <a:gd name="connsiteY35" fmla="*/ 146033 h 1426100"/>
              <a:gd name="connsiteX36" fmla="*/ 1422690 w 1429540"/>
              <a:gd name="connsiteY36" fmla="*/ 152878 h 1426100"/>
              <a:gd name="connsiteX37" fmla="*/ 1422690 w 1429540"/>
              <a:gd name="connsiteY37" fmla="*/ 155159 h 1426100"/>
              <a:gd name="connsiteX38" fmla="*/ 1422690 w 1429540"/>
              <a:gd name="connsiteY38" fmla="*/ 166569 h 1426100"/>
              <a:gd name="connsiteX39" fmla="*/ 1422690 w 1429540"/>
              <a:gd name="connsiteY39" fmla="*/ 168852 h 1426100"/>
              <a:gd name="connsiteX40" fmla="*/ 1424974 w 1429540"/>
              <a:gd name="connsiteY40" fmla="*/ 173416 h 1426100"/>
              <a:gd name="connsiteX41" fmla="*/ 1424974 w 1429540"/>
              <a:gd name="connsiteY41" fmla="*/ 175697 h 1426100"/>
              <a:gd name="connsiteX42" fmla="*/ 1427257 w 1429540"/>
              <a:gd name="connsiteY42" fmla="*/ 191671 h 1426100"/>
              <a:gd name="connsiteX43" fmla="*/ 1427257 w 1429540"/>
              <a:gd name="connsiteY43" fmla="*/ 196234 h 1426100"/>
              <a:gd name="connsiteX44" fmla="*/ 1427257 w 1429540"/>
              <a:gd name="connsiteY44" fmla="*/ 198516 h 1426100"/>
              <a:gd name="connsiteX45" fmla="*/ 1427257 w 1429540"/>
              <a:gd name="connsiteY45" fmla="*/ 200798 h 1426100"/>
              <a:gd name="connsiteX46" fmla="*/ 1427257 w 1429540"/>
              <a:gd name="connsiteY46" fmla="*/ 207644 h 1426100"/>
              <a:gd name="connsiteX47" fmla="*/ 1427257 w 1429540"/>
              <a:gd name="connsiteY47" fmla="*/ 216772 h 1426100"/>
              <a:gd name="connsiteX48" fmla="*/ 1424974 w 1429540"/>
              <a:gd name="connsiteY48" fmla="*/ 223617 h 1426100"/>
              <a:gd name="connsiteX49" fmla="*/ 1424974 w 1429540"/>
              <a:gd name="connsiteY49" fmla="*/ 228181 h 1426100"/>
              <a:gd name="connsiteX50" fmla="*/ 1424974 w 1429540"/>
              <a:gd name="connsiteY50" fmla="*/ 230453 h 1426100"/>
              <a:gd name="connsiteX51" fmla="*/ 1424974 w 1429540"/>
              <a:gd name="connsiteY51" fmla="*/ 235017 h 1426100"/>
              <a:gd name="connsiteX52" fmla="*/ 1424974 w 1429540"/>
              <a:gd name="connsiteY52" fmla="*/ 239581 h 1426100"/>
              <a:gd name="connsiteX53" fmla="*/ 1422690 w 1429540"/>
              <a:gd name="connsiteY53" fmla="*/ 241863 h 1426100"/>
              <a:gd name="connsiteX54" fmla="*/ 1422690 w 1429540"/>
              <a:gd name="connsiteY54" fmla="*/ 244145 h 1426100"/>
              <a:gd name="connsiteX55" fmla="*/ 1422690 w 1429540"/>
              <a:gd name="connsiteY55" fmla="*/ 248709 h 1426100"/>
              <a:gd name="connsiteX56" fmla="*/ 1422690 w 1429540"/>
              <a:gd name="connsiteY56" fmla="*/ 255554 h 1426100"/>
              <a:gd name="connsiteX57" fmla="*/ 1422690 w 1429540"/>
              <a:gd name="connsiteY57" fmla="*/ 257836 h 1426100"/>
              <a:gd name="connsiteX58" fmla="*/ 1422690 w 1429540"/>
              <a:gd name="connsiteY58" fmla="*/ 262400 h 1426100"/>
              <a:gd name="connsiteX59" fmla="*/ 1422690 w 1429540"/>
              <a:gd name="connsiteY59" fmla="*/ 264682 h 1426100"/>
              <a:gd name="connsiteX60" fmla="*/ 1422690 w 1429540"/>
              <a:gd name="connsiteY60" fmla="*/ 269246 h 1426100"/>
              <a:gd name="connsiteX61" fmla="*/ 1420406 w 1429540"/>
              <a:gd name="connsiteY61" fmla="*/ 276091 h 1426100"/>
              <a:gd name="connsiteX62" fmla="*/ 1420406 w 1429540"/>
              <a:gd name="connsiteY62" fmla="*/ 280655 h 1426100"/>
              <a:gd name="connsiteX63" fmla="*/ 1420406 w 1429540"/>
              <a:gd name="connsiteY63" fmla="*/ 289783 h 1426100"/>
              <a:gd name="connsiteX64" fmla="*/ 1420406 w 1429540"/>
              <a:gd name="connsiteY64" fmla="*/ 294347 h 1426100"/>
              <a:gd name="connsiteX65" fmla="*/ 1420406 w 1429540"/>
              <a:gd name="connsiteY65" fmla="*/ 296628 h 1426100"/>
              <a:gd name="connsiteX66" fmla="*/ 1420406 w 1429540"/>
              <a:gd name="connsiteY66" fmla="*/ 301192 h 1426100"/>
              <a:gd name="connsiteX67" fmla="*/ 1420406 w 1429540"/>
              <a:gd name="connsiteY67" fmla="*/ 305756 h 1426100"/>
              <a:gd name="connsiteX68" fmla="*/ 1420406 w 1429540"/>
              <a:gd name="connsiteY68" fmla="*/ 310320 h 1426100"/>
              <a:gd name="connsiteX69" fmla="*/ 1422690 w 1429540"/>
              <a:gd name="connsiteY69" fmla="*/ 317165 h 1426100"/>
              <a:gd name="connsiteX70" fmla="*/ 1422690 w 1429540"/>
              <a:gd name="connsiteY70" fmla="*/ 324011 h 1426100"/>
              <a:gd name="connsiteX71" fmla="*/ 1422690 w 1429540"/>
              <a:gd name="connsiteY71" fmla="*/ 335421 h 1426100"/>
              <a:gd name="connsiteX72" fmla="*/ 1422690 w 1429540"/>
              <a:gd name="connsiteY72" fmla="*/ 337703 h 1426100"/>
              <a:gd name="connsiteX73" fmla="*/ 1422690 w 1429540"/>
              <a:gd name="connsiteY73" fmla="*/ 342266 h 1426100"/>
              <a:gd name="connsiteX74" fmla="*/ 1422690 w 1429540"/>
              <a:gd name="connsiteY74" fmla="*/ 351394 h 1426100"/>
              <a:gd name="connsiteX75" fmla="*/ 1422690 w 1429540"/>
              <a:gd name="connsiteY75" fmla="*/ 355958 h 1426100"/>
              <a:gd name="connsiteX76" fmla="*/ 1422690 w 1429540"/>
              <a:gd name="connsiteY76" fmla="*/ 358240 h 1426100"/>
              <a:gd name="connsiteX77" fmla="*/ 1422690 w 1429540"/>
              <a:gd name="connsiteY77" fmla="*/ 360521 h 1426100"/>
              <a:gd name="connsiteX78" fmla="*/ 1424974 w 1429540"/>
              <a:gd name="connsiteY78" fmla="*/ 362803 h 1426100"/>
              <a:gd name="connsiteX79" fmla="*/ 1424974 w 1429540"/>
              <a:gd name="connsiteY79" fmla="*/ 374213 h 1426100"/>
              <a:gd name="connsiteX80" fmla="*/ 1424974 w 1429540"/>
              <a:gd name="connsiteY80" fmla="*/ 376495 h 1426100"/>
              <a:gd name="connsiteX81" fmla="*/ 1424974 w 1429540"/>
              <a:gd name="connsiteY81" fmla="*/ 378777 h 1426100"/>
              <a:gd name="connsiteX82" fmla="*/ 1424974 w 1429540"/>
              <a:gd name="connsiteY82" fmla="*/ 381059 h 1426100"/>
              <a:gd name="connsiteX83" fmla="*/ 1424974 w 1429540"/>
              <a:gd name="connsiteY83" fmla="*/ 383331 h 1426100"/>
              <a:gd name="connsiteX84" fmla="*/ 1424974 w 1429540"/>
              <a:gd name="connsiteY84" fmla="*/ 385613 h 1426100"/>
              <a:gd name="connsiteX85" fmla="*/ 1424974 w 1429540"/>
              <a:gd name="connsiteY85" fmla="*/ 390177 h 1426100"/>
              <a:gd name="connsiteX86" fmla="*/ 1424974 w 1429540"/>
              <a:gd name="connsiteY86" fmla="*/ 392459 h 1426100"/>
              <a:gd name="connsiteX87" fmla="*/ 1424974 w 1429540"/>
              <a:gd name="connsiteY87" fmla="*/ 394740 h 1426100"/>
              <a:gd name="connsiteX88" fmla="*/ 1424974 w 1429540"/>
              <a:gd name="connsiteY88" fmla="*/ 406150 h 1426100"/>
              <a:gd name="connsiteX89" fmla="*/ 1427257 w 1429540"/>
              <a:gd name="connsiteY89" fmla="*/ 410714 h 1426100"/>
              <a:gd name="connsiteX90" fmla="*/ 1427257 w 1429540"/>
              <a:gd name="connsiteY90" fmla="*/ 415277 h 1426100"/>
              <a:gd name="connsiteX91" fmla="*/ 1427257 w 1429540"/>
              <a:gd name="connsiteY91" fmla="*/ 419841 h 1426100"/>
              <a:gd name="connsiteX92" fmla="*/ 1427257 w 1429540"/>
              <a:gd name="connsiteY92" fmla="*/ 422123 h 1426100"/>
              <a:gd name="connsiteX93" fmla="*/ 1424974 w 1429540"/>
              <a:gd name="connsiteY93" fmla="*/ 426687 h 1426100"/>
              <a:gd name="connsiteX94" fmla="*/ 1424974 w 1429540"/>
              <a:gd name="connsiteY94" fmla="*/ 428969 h 1426100"/>
              <a:gd name="connsiteX95" fmla="*/ 1427257 w 1429540"/>
              <a:gd name="connsiteY95" fmla="*/ 433533 h 1426100"/>
              <a:gd name="connsiteX96" fmla="*/ 1427257 w 1429540"/>
              <a:gd name="connsiteY96" fmla="*/ 440378 h 1426100"/>
              <a:gd name="connsiteX97" fmla="*/ 1427257 w 1429540"/>
              <a:gd name="connsiteY97" fmla="*/ 442660 h 1426100"/>
              <a:gd name="connsiteX98" fmla="*/ 1427257 w 1429540"/>
              <a:gd name="connsiteY98" fmla="*/ 447224 h 1426100"/>
              <a:gd name="connsiteX99" fmla="*/ 1427257 w 1429540"/>
              <a:gd name="connsiteY99" fmla="*/ 449506 h 1426100"/>
              <a:gd name="connsiteX100" fmla="*/ 1427257 w 1429540"/>
              <a:gd name="connsiteY100" fmla="*/ 454070 h 1426100"/>
              <a:gd name="connsiteX101" fmla="*/ 1427257 w 1429540"/>
              <a:gd name="connsiteY101" fmla="*/ 456352 h 1426100"/>
              <a:gd name="connsiteX102" fmla="*/ 1427257 w 1429540"/>
              <a:gd name="connsiteY102" fmla="*/ 460915 h 1426100"/>
              <a:gd name="connsiteX103" fmla="*/ 1429541 w 1429540"/>
              <a:gd name="connsiteY103" fmla="*/ 467761 h 1426100"/>
              <a:gd name="connsiteX104" fmla="*/ 1429541 w 1429540"/>
              <a:gd name="connsiteY104" fmla="*/ 470043 h 1426100"/>
              <a:gd name="connsiteX105" fmla="*/ 1429541 w 1429540"/>
              <a:gd name="connsiteY105" fmla="*/ 474607 h 1426100"/>
              <a:gd name="connsiteX106" fmla="*/ 1427257 w 1429540"/>
              <a:gd name="connsiteY106" fmla="*/ 479171 h 1426100"/>
              <a:gd name="connsiteX107" fmla="*/ 1427257 w 1429540"/>
              <a:gd name="connsiteY107" fmla="*/ 483734 h 1426100"/>
              <a:gd name="connsiteX108" fmla="*/ 1427257 w 1429540"/>
              <a:gd name="connsiteY108" fmla="*/ 488298 h 1426100"/>
              <a:gd name="connsiteX109" fmla="*/ 1424974 w 1429540"/>
              <a:gd name="connsiteY109" fmla="*/ 497426 h 1426100"/>
              <a:gd name="connsiteX110" fmla="*/ 1424974 w 1429540"/>
              <a:gd name="connsiteY110" fmla="*/ 499708 h 1426100"/>
              <a:gd name="connsiteX111" fmla="*/ 1424974 w 1429540"/>
              <a:gd name="connsiteY111" fmla="*/ 501989 h 1426100"/>
              <a:gd name="connsiteX112" fmla="*/ 1422690 w 1429540"/>
              <a:gd name="connsiteY112" fmla="*/ 517963 h 1426100"/>
              <a:gd name="connsiteX113" fmla="*/ 1422690 w 1429540"/>
              <a:gd name="connsiteY113" fmla="*/ 520245 h 1426100"/>
              <a:gd name="connsiteX114" fmla="*/ 1422690 w 1429540"/>
              <a:gd name="connsiteY114" fmla="*/ 527090 h 1426100"/>
              <a:gd name="connsiteX115" fmla="*/ 1422690 w 1429540"/>
              <a:gd name="connsiteY115" fmla="*/ 529372 h 1426100"/>
              <a:gd name="connsiteX116" fmla="*/ 1422690 w 1429540"/>
              <a:gd name="connsiteY116" fmla="*/ 531654 h 1426100"/>
              <a:gd name="connsiteX117" fmla="*/ 1422690 w 1429540"/>
              <a:gd name="connsiteY117" fmla="*/ 533926 h 1426100"/>
              <a:gd name="connsiteX118" fmla="*/ 1422690 w 1429540"/>
              <a:gd name="connsiteY118" fmla="*/ 538490 h 1426100"/>
              <a:gd name="connsiteX119" fmla="*/ 1420406 w 1429540"/>
              <a:gd name="connsiteY119" fmla="*/ 540772 h 1426100"/>
              <a:gd name="connsiteX120" fmla="*/ 1420406 w 1429540"/>
              <a:gd name="connsiteY120" fmla="*/ 545336 h 1426100"/>
              <a:gd name="connsiteX121" fmla="*/ 1420406 w 1429540"/>
              <a:gd name="connsiteY121" fmla="*/ 549900 h 1426100"/>
              <a:gd name="connsiteX122" fmla="*/ 1420406 w 1429540"/>
              <a:gd name="connsiteY122" fmla="*/ 556746 h 1426100"/>
              <a:gd name="connsiteX123" fmla="*/ 1420406 w 1429540"/>
              <a:gd name="connsiteY123" fmla="*/ 559027 h 1426100"/>
              <a:gd name="connsiteX124" fmla="*/ 1420406 w 1429540"/>
              <a:gd name="connsiteY124" fmla="*/ 561309 h 1426100"/>
              <a:gd name="connsiteX125" fmla="*/ 1418123 w 1429540"/>
              <a:gd name="connsiteY125" fmla="*/ 561309 h 1426100"/>
              <a:gd name="connsiteX126" fmla="*/ 1418123 w 1429540"/>
              <a:gd name="connsiteY126" fmla="*/ 563591 h 1426100"/>
              <a:gd name="connsiteX127" fmla="*/ 1418123 w 1429540"/>
              <a:gd name="connsiteY127" fmla="*/ 568155 h 1426100"/>
              <a:gd name="connsiteX128" fmla="*/ 1418123 w 1429540"/>
              <a:gd name="connsiteY128" fmla="*/ 570437 h 1426100"/>
              <a:gd name="connsiteX129" fmla="*/ 1418123 w 1429540"/>
              <a:gd name="connsiteY129" fmla="*/ 572719 h 1426100"/>
              <a:gd name="connsiteX130" fmla="*/ 1418123 w 1429540"/>
              <a:gd name="connsiteY130" fmla="*/ 575001 h 1426100"/>
              <a:gd name="connsiteX131" fmla="*/ 1418123 w 1429540"/>
              <a:gd name="connsiteY131" fmla="*/ 577283 h 1426100"/>
              <a:gd name="connsiteX132" fmla="*/ 1415839 w 1429540"/>
              <a:gd name="connsiteY132" fmla="*/ 579564 h 1426100"/>
              <a:gd name="connsiteX133" fmla="*/ 1411272 w 1429540"/>
              <a:gd name="connsiteY133" fmla="*/ 590974 h 1426100"/>
              <a:gd name="connsiteX134" fmla="*/ 1408988 w 1429540"/>
              <a:gd name="connsiteY134" fmla="*/ 593256 h 1426100"/>
              <a:gd name="connsiteX135" fmla="*/ 1406705 w 1429540"/>
              <a:gd name="connsiteY135" fmla="*/ 597820 h 1426100"/>
              <a:gd name="connsiteX136" fmla="*/ 1404421 w 1429540"/>
              <a:gd name="connsiteY136" fmla="*/ 602383 h 1426100"/>
              <a:gd name="connsiteX137" fmla="*/ 1404421 w 1429540"/>
              <a:gd name="connsiteY137" fmla="*/ 604665 h 1426100"/>
              <a:gd name="connsiteX138" fmla="*/ 1402138 w 1429540"/>
              <a:gd name="connsiteY138" fmla="*/ 611511 h 1426100"/>
              <a:gd name="connsiteX139" fmla="*/ 1402138 w 1429540"/>
              <a:gd name="connsiteY139" fmla="*/ 616075 h 1426100"/>
              <a:gd name="connsiteX140" fmla="*/ 1399854 w 1429540"/>
              <a:gd name="connsiteY140" fmla="*/ 620639 h 1426100"/>
              <a:gd name="connsiteX141" fmla="*/ 1399854 w 1429540"/>
              <a:gd name="connsiteY141" fmla="*/ 627484 h 1426100"/>
              <a:gd name="connsiteX142" fmla="*/ 1399854 w 1429540"/>
              <a:gd name="connsiteY142" fmla="*/ 634330 h 1426100"/>
              <a:gd name="connsiteX143" fmla="*/ 1399854 w 1429540"/>
              <a:gd name="connsiteY143" fmla="*/ 636612 h 1426100"/>
              <a:gd name="connsiteX144" fmla="*/ 1402138 w 1429540"/>
              <a:gd name="connsiteY144" fmla="*/ 636612 h 1426100"/>
              <a:gd name="connsiteX145" fmla="*/ 1406705 w 1429540"/>
              <a:gd name="connsiteY145" fmla="*/ 638894 h 1426100"/>
              <a:gd name="connsiteX146" fmla="*/ 1406705 w 1429540"/>
              <a:gd name="connsiteY146" fmla="*/ 648021 h 1426100"/>
              <a:gd name="connsiteX147" fmla="*/ 1408988 w 1429540"/>
              <a:gd name="connsiteY147" fmla="*/ 650303 h 1426100"/>
              <a:gd name="connsiteX148" fmla="*/ 1408988 w 1429540"/>
              <a:gd name="connsiteY148" fmla="*/ 666277 h 1426100"/>
              <a:gd name="connsiteX149" fmla="*/ 1411272 w 1429540"/>
              <a:gd name="connsiteY149" fmla="*/ 675404 h 1426100"/>
              <a:gd name="connsiteX150" fmla="*/ 1408988 w 1429540"/>
              <a:gd name="connsiteY150" fmla="*/ 677686 h 1426100"/>
              <a:gd name="connsiteX151" fmla="*/ 1408988 w 1429540"/>
              <a:gd name="connsiteY151" fmla="*/ 684532 h 1426100"/>
              <a:gd name="connsiteX152" fmla="*/ 1408988 w 1429540"/>
              <a:gd name="connsiteY152" fmla="*/ 691368 h 1426100"/>
              <a:gd name="connsiteX153" fmla="*/ 1406705 w 1429540"/>
              <a:gd name="connsiteY153" fmla="*/ 691368 h 1426100"/>
              <a:gd name="connsiteX154" fmla="*/ 1406705 w 1429540"/>
              <a:gd name="connsiteY154" fmla="*/ 695932 h 1426100"/>
              <a:gd name="connsiteX155" fmla="*/ 1404421 w 1429540"/>
              <a:gd name="connsiteY155" fmla="*/ 698214 h 1426100"/>
              <a:gd name="connsiteX156" fmla="*/ 1399854 w 1429540"/>
              <a:gd name="connsiteY156" fmla="*/ 705059 h 1426100"/>
              <a:gd name="connsiteX157" fmla="*/ 1397571 w 1429540"/>
              <a:gd name="connsiteY157" fmla="*/ 707341 h 1426100"/>
              <a:gd name="connsiteX158" fmla="*/ 1397571 w 1429540"/>
              <a:gd name="connsiteY158" fmla="*/ 709623 h 1426100"/>
              <a:gd name="connsiteX159" fmla="*/ 1395286 w 1429540"/>
              <a:gd name="connsiteY159" fmla="*/ 711905 h 1426100"/>
              <a:gd name="connsiteX160" fmla="*/ 1395286 w 1429540"/>
              <a:gd name="connsiteY160" fmla="*/ 714187 h 1426100"/>
              <a:gd name="connsiteX161" fmla="*/ 1393003 w 1429540"/>
              <a:gd name="connsiteY161" fmla="*/ 718751 h 1426100"/>
              <a:gd name="connsiteX162" fmla="*/ 1390719 w 1429540"/>
              <a:gd name="connsiteY162" fmla="*/ 723314 h 1426100"/>
              <a:gd name="connsiteX163" fmla="*/ 1390719 w 1429540"/>
              <a:gd name="connsiteY163" fmla="*/ 730160 h 1426100"/>
              <a:gd name="connsiteX164" fmla="*/ 1388436 w 1429540"/>
              <a:gd name="connsiteY164" fmla="*/ 734724 h 1426100"/>
              <a:gd name="connsiteX165" fmla="*/ 1388436 w 1429540"/>
              <a:gd name="connsiteY165" fmla="*/ 737006 h 1426100"/>
              <a:gd name="connsiteX166" fmla="*/ 1386152 w 1429540"/>
              <a:gd name="connsiteY166" fmla="*/ 739288 h 1426100"/>
              <a:gd name="connsiteX167" fmla="*/ 1383869 w 1429540"/>
              <a:gd name="connsiteY167" fmla="*/ 746133 h 1426100"/>
              <a:gd name="connsiteX168" fmla="*/ 1379301 w 1429540"/>
              <a:gd name="connsiteY168" fmla="*/ 762107 h 1426100"/>
              <a:gd name="connsiteX169" fmla="*/ 1379301 w 1429540"/>
              <a:gd name="connsiteY169" fmla="*/ 766670 h 1426100"/>
              <a:gd name="connsiteX170" fmla="*/ 1379301 w 1429540"/>
              <a:gd name="connsiteY170" fmla="*/ 768952 h 1426100"/>
              <a:gd name="connsiteX171" fmla="*/ 1383869 w 1429540"/>
              <a:gd name="connsiteY171" fmla="*/ 784926 h 1426100"/>
              <a:gd name="connsiteX172" fmla="*/ 1386152 w 1429540"/>
              <a:gd name="connsiteY172" fmla="*/ 787207 h 1426100"/>
              <a:gd name="connsiteX173" fmla="*/ 1388436 w 1429540"/>
              <a:gd name="connsiteY173" fmla="*/ 794053 h 1426100"/>
              <a:gd name="connsiteX174" fmla="*/ 1388436 w 1429540"/>
              <a:gd name="connsiteY174" fmla="*/ 796335 h 1426100"/>
              <a:gd name="connsiteX175" fmla="*/ 1388436 w 1429540"/>
              <a:gd name="connsiteY175" fmla="*/ 798617 h 1426100"/>
              <a:gd name="connsiteX176" fmla="*/ 1393003 w 1429540"/>
              <a:gd name="connsiteY176" fmla="*/ 812308 h 1426100"/>
              <a:gd name="connsiteX177" fmla="*/ 1388436 w 1429540"/>
              <a:gd name="connsiteY177" fmla="*/ 814590 h 1426100"/>
              <a:gd name="connsiteX178" fmla="*/ 1386152 w 1429540"/>
              <a:gd name="connsiteY178" fmla="*/ 816872 h 1426100"/>
              <a:gd name="connsiteX179" fmla="*/ 1372451 w 1429540"/>
              <a:gd name="connsiteY179" fmla="*/ 821436 h 1426100"/>
              <a:gd name="connsiteX180" fmla="*/ 1365600 w 1429540"/>
              <a:gd name="connsiteY180" fmla="*/ 823718 h 1426100"/>
              <a:gd name="connsiteX181" fmla="*/ 1361033 w 1429540"/>
              <a:gd name="connsiteY181" fmla="*/ 826000 h 1426100"/>
              <a:gd name="connsiteX182" fmla="*/ 1358749 w 1429540"/>
              <a:gd name="connsiteY182" fmla="*/ 826000 h 1426100"/>
              <a:gd name="connsiteX183" fmla="*/ 1354182 w 1429540"/>
              <a:gd name="connsiteY183" fmla="*/ 828282 h 1426100"/>
              <a:gd name="connsiteX184" fmla="*/ 1351898 w 1429540"/>
              <a:gd name="connsiteY184" fmla="*/ 830563 h 1426100"/>
              <a:gd name="connsiteX185" fmla="*/ 1349615 w 1429540"/>
              <a:gd name="connsiteY185" fmla="*/ 830563 h 1426100"/>
              <a:gd name="connsiteX186" fmla="*/ 1340481 w 1429540"/>
              <a:gd name="connsiteY186" fmla="*/ 823718 h 1426100"/>
              <a:gd name="connsiteX187" fmla="*/ 1338197 w 1429540"/>
              <a:gd name="connsiteY187" fmla="*/ 821436 h 1426100"/>
              <a:gd name="connsiteX188" fmla="*/ 1335913 w 1429540"/>
              <a:gd name="connsiteY188" fmla="*/ 819154 h 1426100"/>
              <a:gd name="connsiteX189" fmla="*/ 1331346 w 1429540"/>
              <a:gd name="connsiteY189" fmla="*/ 816872 h 1426100"/>
              <a:gd name="connsiteX190" fmla="*/ 1331346 w 1429540"/>
              <a:gd name="connsiteY190" fmla="*/ 814590 h 1426100"/>
              <a:gd name="connsiteX191" fmla="*/ 1324496 w 1429540"/>
              <a:gd name="connsiteY191" fmla="*/ 810026 h 1426100"/>
              <a:gd name="connsiteX192" fmla="*/ 1322211 w 1429540"/>
              <a:gd name="connsiteY192" fmla="*/ 810026 h 1426100"/>
              <a:gd name="connsiteX193" fmla="*/ 1322211 w 1429540"/>
              <a:gd name="connsiteY193" fmla="*/ 807745 h 1426100"/>
              <a:gd name="connsiteX194" fmla="*/ 1317644 w 1429540"/>
              <a:gd name="connsiteY194" fmla="*/ 805463 h 1426100"/>
              <a:gd name="connsiteX195" fmla="*/ 1313077 w 1429540"/>
              <a:gd name="connsiteY195" fmla="*/ 803181 h 1426100"/>
              <a:gd name="connsiteX196" fmla="*/ 1310794 w 1429540"/>
              <a:gd name="connsiteY196" fmla="*/ 800899 h 1426100"/>
              <a:gd name="connsiteX197" fmla="*/ 1308510 w 1429540"/>
              <a:gd name="connsiteY197" fmla="*/ 798617 h 1426100"/>
              <a:gd name="connsiteX198" fmla="*/ 1297092 w 1429540"/>
              <a:gd name="connsiteY198" fmla="*/ 791771 h 1426100"/>
              <a:gd name="connsiteX199" fmla="*/ 1297092 w 1429540"/>
              <a:gd name="connsiteY199" fmla="*/ 789489 h 1426100"/>
              <a:gd name="connsiteX200" fmla="*/ 1283391 w 1429540"/>
              <a:gd name="connsiteY200" fmla="*/ 780362 h 1426100"/>
              <a:gd name="connsiteX201" fmla="*/ 1274256 w 1429540"/>
              <a:gd name="connsiteY201" fmla="*/ 773516 h 1426100"/>
              <a:gd name="connsiteX202" fmla="*/ 1265122 w 1429540"/>
              <a:gd name="connsiteY202" fmla="*/ 766670 h 1426100"/>
              <a:gd name="connsiteX203" fmla="*/ 1262838 w 1429540"/>
              <a:gd name="connsiteY203" fmla="*/ 766670 h 1426100"/>
              <a:gd name="connsiteX204" fmla="*/ 1258271 w 1429540"/>
              <a:gd name="connsiteY204" fmla="*/ 764389 h 1426100"/>
              <a:gd name="connsiteX205" fmla="*/ 1258271 w 1429540"/>
              <a:gd name="connsiteY205" fmla="*/ 762107 h 1426100"/>
              <a:gd name="connsiteX206" fmla="*/ 1258271 w 1429540"/>
              <a:gd name="connsiteY206" fmla="*/ 759825 h 1426100"/>
              <a:gd name="connsiteX207" fmla="*/ 1253704 w 1429540"/>
              <a:gd name="connsiteY207" fmla="*/ 759825 h 1426100"/>
              <a:gd name="connsiteX208" fmla="*/ 1246853 w 1429540"/>
              <a:gd name="connsiteY208" fmla="*/ 752979 h 1426100"/>
              <a:gd name="connsiteX209" fmla="*/ 1244569 w 1429540"/>
              <a:gd name="connsiteY209" fmla="*/ 750697 h 1426100"/>
              <a:gd name="connsiteX210" fmla="*/ 1240002 w 1429540"/>
              <a:gd name="connsiteY210" fmla="*/ 746133 h 1426100"/>
              <a:gd name="connsiteX211" fmla="*/ 1237718 w 1429540"/>
              <a:gd name="connsiteY211" fmla="*/ 746133 h 1426100"/>
              <a:gd name="connsiteX212" fmla="*/ 1235435 w 1429540"/>
              <a:gd name="connsiteY212" fmla="*/ 743851 h 1426100"/>
              <a:gd name="connsiteX213" fmla="*/ 1235435 w 1429540"/>
              <a:gd name="connsiteY213" fmla="*/ 741570 h 1426100"/>
              <a:gd name="connsiteX214" fmla="*/ 1233151 w 1429540"/>
              <a:gd name="connsiteY214" fmla="*/ 741570 h 1426100"/>
              <a:gd name="connsiteX215" fmla="*/ 1230868 w 1429540"/>
              <a:gd name="connsiteY215" fmla="*/ 741570 h 1426100"/>
              <a:gd name="connsiteX216" fmla="*/ 1226301 w 1429540"/>
              <a:gd name="connsiteY216" fmla="*/ 737006 h 1426100"/>
              <a:gd name="connsiteX217" fmla="*/ 1224017 w 1429540"/>
              <a:gd name="connsiteY217" fmla="*/ 737006 h 1426100"/>
              <a:gd name="connsiteX218" fmla="*/ 1221733 w 1429540"/>
              <a:gd name="connsiteY218" fmla="*/ 734724 h 1426100"/>
              <a:gd name="connsiteX219" fmla="*/ 1214883 w 1429540"/>
              <a:gd name="connsiteY219" fmla="*/ 730160 h 1426100"/>
              <a:gd name="connsiteX220" fmla="*/ 1212599 w 1429540"/>
              <a:gd name="connsiteY220" fmla="*/ 727878 h 1426100"/>
              <a:gd name="connsiteX221" fmla="*/ 1210316 w 1429540"/>
              <a:gd name="connsiteY221" fmla="*/ 727878 h 1426100"/>
              <a:gd name="connsiteX222" fmla="*/ 1208032 w 1429540"/>
              <a:gd name="connsiteY222" fmla="*/ 723314 h 1426100"/>
              <a:gd name="connsiteX223" fmla="*/ 1201181 w 1429540"/>
              <a:gd name="connsiteY223" fmla="*/ 718751 h 1426100"/>
              <a:gd name="connsiteX224" fmla="*/ 1189763 w 1429540"/>
              <a:gd name="connsiteY224" fmla="*/ 709623 h 1426100"/>
              <a:gd name="connsiteX225" fmla="*/ 1187480 w 1429540"/>
              <a:gd name="connsiteY225" fmla="*/ 709623 h 1426100"/>
              <a:gd name="connsiteX226" fmla="*/ 1185196 w 1429540"/>
              <a:gd name="connsiteY226" fmla="*/ 709623 h 1426100"/>
              <a:gd name="connsiteX227" fmla="*/ 1182913 w 1429540"/>
              <a:gd name="connsiteY227" fmla="*/ 711905 h 1426100"/>
              <a:gd name="connsiteX228" fmla="*/ 1180628 w 1429540"/>
              <a:gd name="connsiteY228" fmla="*/ 711905 h 1426100"/>
              <a:gd name="connsiteX229" fmla="*/ 1178345 w 1429540"/>
              <a:gd name="connsiteY229" fmla="*/ 711905 h 1426100"/>
              <a:gd name="connsiteX230" fmla="*/ 1176061 w 1429540"/>
              <a:gd name="connsiteY230" fmla="*/ 711905 h 1426100"/>
              <a:gd name="connsiteX231" fmla="*/ 1173778 w 1429540"/>
              <a:gd name="connsiteY231" fmla="*/ 714187 h 1426100"/>
              <a:gd name="connsiteX232" fmla="*/ 1171494 w 1429540"/>
              <a:gd name="connsiteY232" fmla="*/ 714187 h 1426100"/>
              <a:gd name="connsiteX233" fmla="*/ 1169211 w 1429540"/>
              <a:gd name="connsiteY233" fmla="*/ 716469 h 1426100"/>
              <a:gd name="connsiteX234" fmla="*/ 1166927 w 1429540"/>
              <a:gd name="connsiteY234" fmla="*/ 716469 h 1426100"/>
              <a:gd name="connsiteX235" fmla="*/ 1164643 w 1429540"/>
              <a:gd name="connsiteY235" fmla="*/ 716469 h 1426100"/>
              <a:gd name="connsiteX236" fmla="*/ 1157793 w 1429540"/>
              <a:gd name="connsiteY236" fmla="*/ 716469 h 1426100"/>
              <a:gd name="connsiteX237" fmla="*/ 1153226 w 1429540"/>
              <a:gd name="connsiteY237" fmla="*/ 718751 h 1426100"/>
              <a:gd name="connsiteX238" fmla="*/ 1150942 w 1429540"/>
              <a:gd name="connsiteY238" fmla="*/ 718751 h 1426100"/>
              <a:gd name="connsiteX239" fmla="*/ 1146375 w 1429540"/>
              <a:gd name="connsiteY239" fmla="*/ 721032 h 1426100"/>
              <a:gd name="connsiteX240" fmla="*/ 1144091 w 1429540"/>
              <a:gd name="connsiteY240" fmla="*/ 725596 h 1426100"/>
              <a:gd name="connsiteX241" fmla="*/ 1137240 w 1429540"/>
              <a:gd name="connsiteY241" fmla="*/ 732442 h 1426100"/>
              <a:gd name="connsiteX242" fmla="*/ 1132673 w 1429540"/>
              <a:gd name="connsiteY242" fmla="*/ 741570 h 1426100"/>
              <a:gd name="connsiteX243" fmla="*/ 1130390 w 1429540"/>
              <a:gd name="connsiteY243" fmla="*/ 743851 h 1426100"/>
              <a:gd name="connsiteX244" fmla="*/ 1128106 w 1429540"/>
              <a:gd name="connsiteY244" fmla="*/ 748415 h 1426100"/>
              <a:gd name="connsiteX245" fmla="*/ 1118972 w 1429540"/>
              <a:gd name="connsiteY245" fmla="*/ 755261 h 1426100"/>
              <a:gd name="connsiteX246" fmla="*/ 1098419 w 1429540"/>
              <a:gd name="connsiteY246" fmla="*/ 771234 h 1426100"/>
              <a:gd name="connsiteX247" fmla="*/ 1093852 w 1429540"/>
              <a:gd name="connsiteY247" fmla="*/ 775798 h 1426100"/>
              <a:gd name="connsiteX248" fmla="*/ 1089285 w 1429540"/>
              <a:gd name="connsiteY248" fmla="*/ 778080 h 1426100"/>
              <a:gd name="connsiteX249" fmla="*/ 1087001 w 1429540"/>
              <a:gd name="connsiteY249" fmla="*/ 780362 h 1426100"/>
              <a:gd name="connsiteX250" fmla="*/ 1082434 w 1429540"/>
              <a:gd name="connsiteY250" fmla="*/ 782644 h 1426100"/>
              <a:gd name="connsiteX251" fmla="*/ 1082434 w 1429540"/>
              <a:gd name="connsiteY251" fmla="*/ 784926 h 1426100"/>
              <a:gd name="connsiteX252" fmla="*/ 1077867 w 1429540"/>
              <a:gd name="connsiteY252" fmla="*/ 789489 h 1426100"/>
              <a:gd name="connsiteX253" fmla="*/ 1075583 w 1429540"/>
              <a:gd name="connsiteY253" fmla="*/ 798617 h 1426100"/>
              <a:gd name="connsiteX254" fmla="*/ 1075583 w 1429540"/>
              <a:gd name="connsiteY254" fmla="*/ 800899 h 1426100"/>
              <a:gd name="connsiteX255" fmla="*/ 1075583 w 1429540"/>
              <a:gd name="connsiteY255" fmla="*/ 803181 h 1426100"/>
              <a:gd name="connsiteX256" fmla="*/ 1073300 w 1429540"/>
              <a:gd name="connsiteY256" fmla="*/ 805463 h 1426100"/>
              <a:gd name="connsiteX257" fmla="*/ 1073300 w 1429540"/>
              <a:gd name="connsiteY257" fmla="*/ 812308 h 1426100"/>
              <a:gd name="connsiteX258" fmla="*/ 1071016 w 1429540"/>
              <a:gd name="connsiteY258" fmla="*/ 814590 h 1426100"/>
              <a:gd name="connsiteX259" fmla="*/ 1068733 w 1429540"/>
              <a:gd name="connsiteY259" fmla="*/ 819154 h 1426100"/>
              <a:gd name="connsiteX260" fmla="*/ 1066449 w 1429540"/>
              <a:gd name="connsiteY260" fmla="*/ 826000 h 1426100"/>
              <a:gd name="connsiteX261" fmla="*/ 1064165 w 1429540"/>
              <a:gd name="connsiteY261" fmla="*/ 828282 h 1426100"/>
              <a:gd name="connsiteX262" fmla="*/ 1064165 w 1429540"/>
              <a:gd name="connsiteY262" fmla="*/ 830563 h 1426100"/>
              <a:gd name="connsiteX263" fmla="*/ 1061882 w 1429540"/>
              <a:gd name="connsiteY263" fmla="*/ 832845 h 1426100"/>
              <a:gd name="connsiteX264" fmla="*/ 1061882 w 1429540"/>
              <a:gd name="connsiteY264" fmla="*/ 835127 h 1426100"/>
              <a:gd name="connsiteX265" fmla="*/ 1059598 w 1429540"/>
              <a:gd name="connsiteY265" fmla="*/ 837409 h 1426100"/>
              <a:gd name="connsiteX266" fmla="*/ 1057315 w 1429540"/>
              <a:gd name="connsiteY266" fmla="*/ 839691 h 1426100"/>
              <a:gd name="connsiteX267" fmla="*/ 1055031 w 1429540"/>
              <a:gd name="connsiteY267" fmla="*/ 846527 h 1426100"/>
              <a:gd name="connsiteX268" fmla="*/ 1052747 w 1429540"/>
              <a:gd name="connsiteY268" fmla="*/ 848809 h 1426100"/>
              <a:gd name="connsiteX269" fmla="*/ 1050464 w 1429540"/>
              <a:gd name="connsiteY269" fmla="*/ 855655 h 1426100"/>
              <a:gd name="connsiteX270" fmla="*/ 1050464 w 1429540"/>
              <a:gd name="connsiteY270" fmla="*/ 857937 h 1426100"/>
              <a:gd name="connsiteX271" fmla="*/ 1048180 w 1429540"/>
              <a:gd name="connsiteY271" fmla="*/ 860219 h 1426100"/>
              <a:gd name="connsiteX272" fmla="*/ 1045897 w 1429540"/>
              <a:gd name="connsiteY272" fmla="*/ 864782 h 1426100"/>
              <a:gd name="connsiteX273" fmla="*/ 1043613 w 1429540"/>
              <a:gd name="connsiteY273" fmla="*/ 869346 h 1426100"/>
              <a:gd name="connsiteX274" fmla="*/ 1041330 w 1429540"/>
              <a:gd name="connsiteY274" fmla="*/ 871628 h 1426100"/>
              <a:gd name="connsiteX275" fmla="*/ 1036762 w 1429540"/>
              <a:gd name="connsiteY275" fmla="*/ 880756 h 1426100"/>
              <a:gd name="connsiteX276" fmla="*/ 1034478 w 1429540"/>
              <a:gd name="connsiteY276" fmla="*/ 887601 h 1426100"/>
              <a:gd name="connsiteX277" fmla="*/ 1032195 w 1429540"/>
              <a:gd name="connsiteY277" fmla="*/ 887601 h 1426100"/>
              <a:gd name="connsiteX278" fmla="*/ 1032195 w 1429540"/>
              <a:gd name="connsiteY278" fmla="*/ 889883 h 1426100"/>
              <a:gd name="connsiteX279" fmla="*/ 1025344 w 1429540"/>
              <a:gd name="connsiteY279" fmla="*/ 901293 h 1426100"/>
              <a:gd name="connsiteX280" fmla="*/ 1025344 w 1429540"/>
              <a:gd name="connsiteY280" fmla="*/ 903575 h 1426100"/>
              <a:gd name="connsiteX281" fmla="*/ 1023060 w 1429540"/>
              <a:gd name="connsiteY281" fmla="*/ 905857 h 1426100"/>
              <a:gd name="connsiteX282" fmla="*/ 1023060 w 1429540"/>
              <a:gd name="connsiteY282" fmla="*/ 908138 h 1426100"/>
              <a:gd name="connsiteX283" fmla="*/ 1020777 w 1429540"/>
              <a:gd name="connsiteY283" fmla="*/ 910420 h 1426100"/>
              <a:gd name="connsiteX284" fmla="*/ 1018493 w 1429540"/>
              <a:gd name="connsiteY284" fmla="*/ 914984 h 1426100"/>
              <a:gd name="connsiteX285" fmla="*/ 1016210 w 1429540"/>
              <a:gd name="connsiteY285" fmla="*/ 917266 h 1426100"/>
              <a:gd name="connsiteX286" fmla="*/ 1011643 w 1429540"/>
              <a:gd name="connsiteY286" fmla="*/ 926394 h 1426100"/>
              <a:gd name="connsiteX287" fmla="*/ 1002508 w 1429540"/>
              <a:gd name="connsiteY287" fmla="*/ 933239 h 1426100"/>
              <a:gd name="connsiteX288" fmla="*/ 1000225 w 1429540"/>
              <a:gd name="connsiteY288" fmla="*/ 935521 h 1426100"/>
              <a:gd name="connsiteX289" fmla="*/ 995657 w 1429540"/>
              <a:gd name="connsiteY289" fmla="*/ 940085 h 1426100"/>
              <a:gd name="connsiteX290" fmla="*/ 993374 w 1429540"/>
              <a:gd name="connsiteY290" fmla="*/ 942367 h 1426100"/>
              <a:gd name="connsiteX291" fmla="*/ 991090 w 1429540"/>
              <a:gd name="connsiteY291" fmla="*/ 944649 h 1426100"/>
              <a:gd name="connsiteX292" fmla="*/ 986523 w 1429540"/>
              <a:gd name="connsiteY292" fmla="*/ 949213 h 1426100"/>
              <a:gd name="connsiteX293" fmla="*/ 984240 w 1429540"/>
              <a:gd name="connsiteY293" fmla="*/ 951495 h 1426100"/>
              <a:gd name="connsiteX294" fmla="*/ 984240 w 1429540"/>
              <a:gd name="connsiteY294" fmla="*/ 953776 h 1426100"/>
              <a:gd name="connsiteX295" fmla="*/ 981956 w 1429540"/>
              <a:gd name="connsiteY295" fmla="*/ 958340 h 1426100"/>
              <a:gd name="connsiteX296" fmla="*/ 977389 w 1429540"/>
              <a:gd name="connsiteY296" fmla="*/ 965186 h 1426100"/>
              <a:gd name="connsiteX297" fmla="*/ 977389 w 1429540"/>
              <a:gd name="connsiteY297" fmla="*/ 967468 h 1426100"/>
              <a:gd name="connsiteX298" fmla="*/ 975105 w 1429540"/>
              <a:gd name="connsiteY298" fmla="*/ 972032 h 1426100"/>
              <a:gd name="connsiteX299" fmla="*/ 970538 w 1429540"/>
              <a:gd name="connsiteY299" fmla="*/ 976595 h 1426100"/>
              <a:gd name="connsiteX300" fmla="*/ 970538 w 1429540"/>
              <a:gd name="connsiteY300" fmla="*/ 978877 h 1426100"/>
              <a:gd name="connsiteX301" fmla="*/ 968255 w 1429540"/>
              <a:gd name="connsiteY301" fmla="*/ 978877 h 1426100"/>
              <a:gd name="connsiteX302" fmla="*/ 963687 w 1429540"/>
              <a:gd name="connsiteY302" fmla="*/ 985723 h 1426100"/>
              <a:gd name="connsiteX303" fmla="*/ 963687 w 1429540"/>
              <a:gd name="connsiteY303" fmla="*/ 988005 h 1426100"/>
              <a:gd name="connsiteX304" fmla="*/ 961403 w 1429540"/>
              <a:gd name="connsiteY304" fmla="*/ 990287 h 1426100"/>
              <a:gd name="connsiteX305" fmla="*/ 959120 w 1429540"/>
              <a:gd name="connsiteY305" fmla="*/ 994851 h 1426100"/>
              <a:gd name="connsiteX306" fmla="*/ 954553 w 1429540"/>
              <a:gd name="connsiteY306" fmla="*/ 1001687 h 1426100"/>
              <a:gd name="connsiteX307" fmla="*/ 954553 w 1429540"/>
              <a:gd name="connsiteY307" fmla="*/ 1013096 h 1426100"/>
              <a:gd name="connsiteX308" fmla="*/ 952269 w 1429540"/>
              <a:gd name="connsiteY308" fmla="*/ 1013096 h 1426100"/>
              <a:gd name="connsiteX309" fmla="*/ 952269 w 1429540"/>
              <a:gd name="connsiteY309" fmla="*/ 1015378 h 1426100"/>
              <a:gd name="connsiteX310" fmla="*/ 949985 w 1429540"/>
              <a:gd name="connsiteY310" fmla="*/ 1022224 h 1426100"/>
              <a:gd name="connsiteX311" fmla="*/ 949985 w 1429540"/>
              <a:gd name="connsiteY311" fmla="*/ 1026788 h 1426100"/>
              <a:gd name="connsiteX312" fmla="*/ 947702 w 1429540"/>
              <a:gd name="connsiteY312" fmla="*/ 1035915 h 1426100"/>
              <a:gd name="connsiteX313" fmla="*/ 945418 w 1429540"/>
              <a:gd name="connsiteY313" fmla="*/ 1047325 h 1426100"/>
              <a:gd name="connsiteX314" fmla="*/ 945418 w 1429540"/>
              <a:gd name="connsiteY314" fmla="*/ 1049606 h 1426100"/>
              <a:gd name="connsiteX315" fmla="*/ 943135 w 1429540"/>
              <a:gd name="connsiteY315" fmla="*/ 1061016 h 1426100"/>
              <a:gd name="connsiteX316" fmla="*/ 943135 w 1429540"/>
              <a:gd name="connsiteY316" fmla="*/ 1065580 h 1426100"/>
              <a:gd name="connsiteX317" fmla="*/ 943135 w 1429540"/>
              <a:gd name="connsiteY317" fmla="*/ 1074707 h 1426100"/>
              <a:gd name="connsiteX318" fmla="*/ 943135 w 1429540"/>
              <a:gd name="connsiteY318" fmla="*/ 1095244 h 1426100"/>
              <a:gd name="connsiteX319" fmla="*/ 943135 w 1429540"/>
              <a:gd name="connsiteY319" fmla="*/ 1102090 h 1426100"/>
              <a:gd name="connsiteX320" fmla="*/ 943135 w 1429540"/>
              <a:gd name="connsiteY320" fmla="*/ 1104372 h 1426100"/>
              <a:gd name="connsiteX321" fmla="*/ 943135 w 1429540"/>
              <a:gd name="connsiteY321" fmla="*/ 1113500 h 1426100"/>
              <a:gd name="connsiteX322" fmla="*/ 945418 w 1429540"/>
              <a:gd name="connsiteY322" fmla="*/ 1124909 h 1426100"/>
              <a:gd name="connsiteX323" fmla="*/ 945418 w 1429540"/>
              <a:gd name="connsiteY323" fmla="*/ 1127191 h 1426100"/>
              <a:gd name="connsiteX324" fmla="*/ 945418 w 1429540"/>
              <a:gd name="connsiteY324" fmla="*/ 1129473 h 1426100"/>
              <a:gd name="connsiteX325" fmla="*/ 945418 w 1429540"/>
              <a:gd name="connsiteY325" fmla="*/ 1131755 h 1426100"/>
              <a:gd name="connsiteX326" fmla="*/ 945418 w 1429540"/>
              <a:gd name="connsiteY326" fmla="*/ 1136319 h 1426100"/>
              <a:gd name="connsiteX327" fmla="*/ 947702 w 1429540"/>
              <a:gd name="connsiteY327" fmla="*/ 1156846 h 1426100"/>
              <a:gd name="connsiteX328" fmla="*/ 952269 w 1429540"/>
              <a:gd name="connsiteY328" fmla="*/ 1163692 h 1426100"/>
              <a:gd name="connsiteX329" fmla="*/ 954553 w 1429540"/>
              <a:gd name="connsiteY329" fmla="*/ 1163692 h 1426100"/>
              <a:gd name="connsiteX330" fmla="*/ 956836 w 1429540"/>
              <a:gd name="connsiteY330" fmla="*/ 1163692 h 1426100"/>
              <a:gd name="connsiteX331" fmla="*/ 959120 w 1429540"/>
              <a:gd name="connsiteY331" fmla="*/ 1161410 h 1426100"/>
              <a:gd name="connsiteX332" fmla="*/ 961403 w 1429540"/>
              <a:gd name="connsiteY332" fmla="*/ 1161410 h 1426100"/>
              <a:gd name="connsiteX333" fmla="*/ 965970 w 1429540"/>
              <a:gd name="connsiteY333" fmla="*/ 1156846 h 1426100"/>
              <a:gd name="connsiteX334" fmla="*/ 970538 w 1429540"/>
              <a:gd name="connsiteY334" fmla="*/ 1154564 h 1426100"/>
              <a:gd name="connsiteX335" fmla="*/ 972822 w 1429540"/>
              <a:gd name="connsiteY335" fmla="*/ 1150010 h 1426100"/>
              <a:gd name="connsiteX336" fmla="*/ 975105 w 1429540"/>
              <a:gd name="connsiteY336" fmla="*/ 1150010 h 1426100"/>
              <a:gd name="connsiteX337" fmla="*/ 975105 w 1429540"/>
              <a:gd name="connsiteY337" fmla="*/ 1147728 h 1426100"/>
              <a:gd name="connsiteX338" fmla="*/ 977389 w 1429540"/>
              <a:gd name="connsiteY338" fmla="*/ 1147728 h 1426100"/>
              <a:gd name="connsiteX339" fmla="*/ 981956 w 1429540"/>
              <a:gd name="connsiteY339" fmla="*/ 1143164 h 1426100"/>
              <a:gd name="connsiteX340" fmla="*/ 981956 w 1429540"/>
              <a:gd name="connsiteY340" fmla="*/ 1145446 h 1426100"/>
              <a:gd name="connsiteX341" fmla="*/ 981956 w 1429540"/>
              <a:gd name="connsiteY341" fmla="*/ 1152292 h 1426100"/>
              <a:gd name="connsiteX342" fmla="*/ 981956 w 1429540"/>
              <a:gd name="connsiteY342" fmla="*/ 1154564 h 1426100"/>
              <a:gd name="connsiteX343" fmla="*/ 981956 w 1429540"/>
              <a:gd name="connsiteY343" fmla="*/ 1156846 h 1426100"/>
              <a:gd name="connsiteX344" fmla="*/ 981956 w 1429540"/>
              <a:gd name="connsiteY344" fmla="*/ 1161410 h 1426100"/>
              <a:gd name="connsiteX345" fmla="*/ 984240 w 1429540"/>
              <a:gd name="connsiteY345" fmla="*/ 1168256 h 1426100"/>
              <a:gd name="connsiteX346" fmla="*/ 986523 w 1429540"/>
              <a:gd name="connsiteY346" fmla="*/ 1170538 h 1426100"/>
              <a:gd name="connsiteX347" fmla="*/ 988807 w 1429540"/>
              <a:gd name="connsiteY347" fmla="*/ 1175101 h 1426100"/>
              <a:gd name="connsiteX348" fmla="*/ 993374 w 1429540"/>
              <a:gd name="connsiteY348" fmla="*/ 1181947 h 1426100"/>
              <a:gd name="connsiteX349" fmla="*/ 995657 w 1429540"/>
              <a:gd name="connsiteY349" fmla="*/ 1184229 h 1426100"/>
              <a:gd name="connsiteX350" fmla="*/ 997941 w 1429540"/>
              <a:gd name="connsiteY350" fmla="*/ 1186511 h 1426100"/>
              <a:gd name="connsiteX351" fmla="*/ 1000225 w 1429540"/>
              <a:gd name="connsiteY351" fmla="*/ 1188793 h 1426100"/>
              <a:gd name="connsiteX352" fmla="*/ 1004792 w 1429540"/>
              <a:gd name="connsiteY352" fmla="*/ 1191075 h 1426100"/>
              <a:gd name="connsiteX353" fmla="*/ 1007075 w 1429540"/>
              <a:gd name="connsiteY353" fmla="*/ 1191075 h 1426100"/>
              <a:gd name="connsiteX354" fmla="*/ 1009359 w 1429540"/>
              <a:gd name="connsiteY354" fmla="*/ 1195638 h 1426100"/>
              <a:gd name="connsiteX355" fmla="*/ 1009359 w 1429540"/>
              <a:gd name="connsiteY355" fmla="*/ 1202484 h 1426100"/>
              <a:gd name="connsiteX356" fmla="*/ 1009359 w 1429540"/>
              <a:gd name="connsiteY356" fmla="*/ 1209330 h 1426100"/>
              <a:gd name="connsiteX357" fmla="*/ 1009359 w 1429540"/>
              <a:gd name="connsiteY357" fmla="*/ 1213894 h 1426100"/>
              <a:gd name="connsiteX358" fmla="*/ 1007075 w 1429540"/>
              <a:gd name="connsiteY358" fmla="*/ 1218457 h 1426100"/>
              <a:gd name="connsiteX359" fmla="*/ 1004792 w 1429540"/>
              <a:gd name="connsiteY359" fmla="*/ 1223021 h 1426100"/>
              <a:gd name="connsiteX360" fmla="*/ 1002508 w 1429540"/>
              <a:gd name="connsiteY360" fmla="*/ 1227585 h 1426100"/>
              <a:gd name="connsiteX361" fmla="*/ 1004792 w 1429540"/>
              <a:gd name="connsiteY361" fmla="*/ 1232149 h 1426100"/>
              <a:gd name="connsiteX362" fmla="*/ 1004792 w 1429540"/>
              <a:gd name="connsiteY362" fmla="*/ 1236712 h 1426100"/>
              <a:gd name="connsiteX363" fmla="*/ 1009359 w 1429540"/>
              <a:gd name="connsiteY363" fmla="*/ 1241276 h 1426100"/>
              <a:gd name="connsiteX364" fmla="*/ 1009359 w 1429540"/>
              <a:gd name="connsiteY364" fmla="*/ 1243558 h 1426100"/>
              <a:gd name="connsiteX365" fmla="*/ 1011643 w 1429540"/>
              <a:gd name="connsiteY365" fmla="*/ 1243558 h 1426100"/>
              <a:gd name="connsiteX366" fmla="*/ 1018493 w 1429540"/>
              <a:gd name="connsiteY366" fmla="*/ 1252686 h 1426100"/>
              <a:gd name="connsiteX367" fmla="*/ 1025344 w 1429540"/>
              <a:gd name="connsiteY367" fmla="*/ 1259531 h 1426100"/>
              <a:gd name="connsiteX368" fmla="*/ 1027628 w 1429540"/>
              <a:gd name="connsiteY368" fmla="*/ 1261813 h 1426100"/>
              <a:gd name="connsiteX369" fmla="*/ 1029911 w 1429540"/>
              <a:gd name="connsiteY369" fmla="*/ 1264095 h 1426100"/>
              <a:gd name="connsiteX370" fmla="*/ 1032195 w 1429540"/>
              <a:gd name="connsiteY370" fmla="*/ 1266377 h 1426100"/>
              <a:gd name="connsiteX371" fmla="*/ 1034478 w 1429540"/>
              <a:gd name="connsiteY371" fmla="*/ 1268659 h 1426100"/>
              <a:gd name="connsiteX372" fmla="*/ 1039046 w 1429540"/>
              <a:gd name="connsiteY372" fmla="*/ 1270941 h 1426100"/>
              <a:gd name="connsiteX373" fmla="*/ 1041330 w 1429540"/>
              <a:gd name="connsiteY373" fmla="*/ 1275505 h 1426100"/>
              <a:gd name="connsiteX374" fmla="*/ 1043613 w 1429540"/>
              <a:gd name="connsiteY374" fmla="*/ 1280069 h 1426100"/>
              <a:gd name="connsiteX375" fmla="*/ 1050464 w 1429540"/>
              <a:gd name="connsiteY375" fmla="*/ 1289196 h 1426100"/>
              <a:gd name="connsiteX376" fmla="*/ 1061882 w 1429540"/>
              <a:gd name="connsiteY376" fmla="*/ 1305169 h 1426100"/>
              <a:gd name="connsiteX377" fmla="*/ 1064165 w 1429540"/>
              <a:gd name="connsiteY377" fmla="*/ 1307451 h 1426100"/>
              <a:gd name="connsiteX378" fmla="*/ 1064165 w 1429540"/>
              <a:gd name="connsiteY378" fmla="*/ 1309724 h 1426100"/>
              <a:gd name="connsiteX379" fmla="*/ 1066449 w 1429540"/>
              <a:gd name="connsiteY379" fmla="*/ 1309724 h 1426100"/>
              <a:gd name="connsiteX380" fmla="*/ 1066449 w 1429540"/>
              <a:gd name="connsiteY380" fmla="*/ 1312015 h 1426100"/>
              <a:gd name="connsiteX381" fmla="*/ 1071016 w 1429540"/>
              <a:gd name="connsiteY381" fmla="*/ 1314297 h 1426100"/>
              <a:gd name="connsiteX382" fmla="*/ 1075583 w 1429540"/>
              <a:gd name="connsiteY382" fmla="*/ 1316569 h 1426100"/>
              <a:gd name="connsiteX383" fmla="*/ 1077867 w 1429540"/>
              <a:gd name="connsiteY383" fmla="*/ 1318851 h 1426100"/>
              <a:gd name="connsiteX384" fmla="*/ 1080150 w 1429540"/>
              <a:gd name="connsiteY384" fmla="*/ 1318851 h 1426100"/>
              <a:gd name="connsiteX385" fmla="*/ 1082434 w 1429540"/>
              <a:gd name="connsiteY385" fmla="*/ 1321133 h 1426100"/>
              <a:gd name="connsiteX386" fmla="*/ 1089285 w 1429540"/>
              <a:gd name="connsiteY386" fmla="*/ 1323415 h 1426100"/>
              <a:gd name="connsiteX387" fmla="*/ 1091568 w 1429540"/>
              <a:gd name="connsiteY387" fmla="*/ 1325697 h 1426100"/>
              <a:gd name="connsiteX388" fmla="*/ 1093852 w 1429540"/>
              <a:gd name="connsiteY388" fmla="*/ 1325697 h 1426100"/>
              <a:gd name="connsiteX389" fmla="*/ 1096136 w 1429540"/>
              <a:gd name="connsiteY389" fmla="*/ 1325697 h 1426100"/>
              <a:gd name="connsiteX390" fmla="*/ 1112121 w 1429540"/>
              <a:gd name="connsiteY390" fmla="*/ 1332543 h 1426100"/>
              <a:gd name="connsiteX391" fmla="*/ 1114405 w 1429540"/>
              <a:gd name="connsiteY391" fmla="*/ 1332543 h 1426100"/>
              <a:gd name="connsiteX392" fmla="*/ 1112121 w 1429540"/>
              <a:gd name="connsiteY392" fmla="*/ 1334824 h 1426100"/>
              <a:gd name="connsiteX393" fmla="*/ 1109837 w 1429540"/>
              <a:gd name="connsiteY393" fmla="*/ 1337106 h 1426100"/>
              <a:gd name="connsiteX394" fmla="*/ 1107553 w 1429540"/>
              <a:gd name="connsiteY394" fmla="*/ 1339388 h 1426100"/>
              <a:gd name="connsiteX395" fmla="*/ 1105270 w 1429540"/>
              <a:gd name="connsiteY395" fmla="*/ 1341670 h 1426100"/>
              <a:gd name="connsiteX396" fmla="*/ 1102986 w 1429540"/>
              <a:gd name="connsiteY396" fmla="*/ 1343952 h 1426100"/>
              <a:gd name="connsiteX397" fmla="*/ 1102986 w 1429540"/>
              <a:gd name="connsiteY397" fmla="*/ 1346234 h 1426100"/>
              <a:gd name="connsiteX398" fmla="*/ 1100703 w 1429540"/>
              <a:gd name="connsiteY398" fmla="*/ 1346234 h 1426100"/>
              <a:gd name="connsiteX399" fmla="*/ 1100703 w 1429540"/>
              <a:gd name="connsiteY399" fmla="*/ 1348516 h 1426100"/>
              <a:gd name="connsiteX400" fmla="*/ 1098419 w 1429540"/>
              <a:gd name="connsiteY400" fmla="*/ 1348516 h 1426100"/>
              <a:gd name="connsiteX401" fmla="*/ 1096136 w 1429540"/>
              <a:gd name="connsiteY401" fmla="*/ 1353080 h 1426100"/>
              <a:gd name="connsiteX402" fmla="*/ 1093852 w 1429540"/>
              <a:gd name="connsiteY402" fmla="*/ 1355362 h 1426100"/>
              <a:gd name="connsiteX403" fmla="*/ 1084718 w 1429540"/>
              <a:gd name="connsiteY403" fmla="*/ 1364489 h 1426100"/>
              <a:gd name="connsiteX404" fmla="*/ 1084718 w 1429540"/>
              <a:gd name="connsiteY404" fmla="*/ 1366771 h 1426100"/>
              <a:gd name="connsiteX405" fmla="*/ 1082434 w 1429540"/>
              <a:gd name="connsiteY405" fmla="*/ 1366771 h 1426100"/>
              <a:gd name="connsiteX406" fmla="*/ 1082434 w 1429540"/>
              <a:gd name="connsiteY406" fmla="*/ 1369053 h 1426100"/>
              <a:gd name="connsiteX407" fmla="*/ 1080150 w 1429540"/>
              <a:gd name="connsiteY407" fmla="*/ 1371335 h 1426100"/>
              <a:gd name="connsiteX408" fmla="*/ 1077867 w 1429540"/>
              <a:gd name="connsiteY408" fmla="*/ 1373617 h 1426100"/>
              <a:gd name="connsiteX409" fmla="*/ 1075583 w 1429540"/>
              <a:gd name="connsiteY409" fmla="*/ 1375899 h 1426100"/>
              <a:gd name="connsiteX410" fmla="*/ 1075583 w 1429540"/>
              <a:gd name="connsiteY410" fmla="*/ 1378181 h 1426100"/>
              <a:gd name="connsiteX411" fmla="*/ 1073300 w 1429540"/>
              <a:gd name="connsiteY411" fmla="*/ 1380462 h 1426100"/>
              <a:gd name="connsiteX412" fmla="*/ 1073300 w 1429540"/>
              <a:gd name="connsiteY412" fmla="*/ 1382744 h 1426100"/>
              <a:gd name="connsiteX413" fmla="*/ 1071016 w 1429540"/>
              <a:gd name="connsiteY413" fmla="*/ 1382744 h 1426100"/>
              <a:gd name="connsiteX414" fmla="*/ 1071016 w 1429540"/>
              <a:gd name="connsiteY414" fmla="*/ 1385026 h 1426100"/>
              <a:gd name="connsiteX415" fmla="*/ 1066449 w 1429540"/>
              <a:gd name="connsiteY415" fmla="*/ 1382744 h 1426100"/>
              <a:gd name="connsiteX416" fmla="*/ 1061882 w 1429540"/>
              <a:gd name="connsiteY416" fmla="*/ 1382744 h 1426100"/>
              <a:gd name="connsiteX417" fmla="*/ 1059598 w 1429540"/>
              <a:gd name="connsiteY417" fmla="*/ 1380462 h 1426100"/>
              <a:gd name="connsiteX418" fmla="*/ 1057315 w 1429540"/>
              <a:gd name="connsiteY418" fmla="*/ 1378181 h 1426100"/>
              <a:gd name="connsiteX419" fmla="*/ 1055031 w 1429540"/>
              <a:gd name="connsiteY419" fmla="*/ 1375899 h 1426100"/>
              <a:gd name="connsiteX420" fmla="*/ 1052747 w 1429540"/>
              <a:gd name="connsiteY420" fmla="*/ 1375899 h 1426100"/>
              <a:gd name="connsiteX421" fmla="*/ 1052747 w 1429540"/>
              <a:gd name="connsiteY421" fmla="*/ 1373617 h 1426100"/>
              <a:gd name="connsiteX422" fmla="*/ 1050464 w 1429540"/>
              <a:gd name="connsiteY422" fmla="*/ 1373617 h 1426100"/>
              <a:gd name="connsiteX423" fmla="*/ 1050464 w 1429540"/>
              <a:gd name="connsiteY423" fmla="*/ 1371335 h 1426100"/>
              <a:gd name="connsiteX424" fmla="*/ 1048180 w 1429540"/>
              <a:gd name="connsiteY424" fmla="*/ 1371335 h 1426100"/>
              <a:gd name="connsiteX425" fmla="*/ 1048180 w 1429540"/>
              <a:gd name="connsiteY425" fmla="*/ 1369053 h 1426100"/>
              <a:gd name="connsiteX426" fmla="*/ 1045897 w 1429540"/>
              <a:gd name="connsiteY426" fmla="*/ 1369053 h 1426100"/>
              <a:gd name="connsiteX427" fmla="*/ 1045897 w 1429540"/>
              <a:gd name="connsiteY427" fmla="*/ 1366771 h 1426100"/>
              <a:gd name="connsiteX428" fmla="*/ 1045897 w 1429540"/>
              <a:gd name="connsiteY428" fmla="*/ 1369053 h 1426100"/>
              <a:gd name="connsiteX429" fmla="*/ 1043613 w 1429540"/>
              <a:gd name="connsiteY429" fmla="*/ 1369053 h 1426100"/>
              <a:gd name="connsiteX430" fmla="*/ 1041330 w 1429540"/>
              <a:gd name="connsiteY430" fmla="*/ 1369053 h 1426100"/>
              <a:gd name="connsiteX431" fmla="*/ 1041330 w 1429540"/>
              <a:gd name="connsiteY431" fmla="*/ 1371335 h 1426100"/>
              <a:gd name="connsiteX432" fmla="*/ 1039046 w 1429540"/>
              <a:gd name="connsiteY432" fmla="*/ 1371335 h 1426100"/>
              <a:gd name="connsiteX433" fmla="*/ 1039046 w 1429540"/>
              <a:gd name="connsiteY433" fmla="*/ 1373617 h 1426100"/>
              <a:gd name="connsiteX434" fmla="*/ 1036762 w 1429540"/>
              <a:gd name="connsiteY434" fmla="*/ 1373617 h 1426100"/>
              <a:gd name="connsiteX435" fmla="*/ 1036762 w 1429540"/>
              <a:gd name="connsiteY435" fmla="*/ 1371335 h 1426100"/>
              <a:gd name="connsiteX436" fmla="*/ 1034478 w 1429540"/>
              <a:gd name="connsiteY436" fmla="*/ 1371335 h 1426100"/>
              <a:gd name="connsiteX437" fmla="*/ 1032195 w 1429540"/>
              <a:gd name="connsiteY437" fmla="*/ 1371335 h 1426100"/>
              <a:gd name="connsiteX438" fmla="*/ 1029911 w 1429540"/>
              <a:gd name="connsiteY438" fmla="*/ 1371335 h 1426100"/>
              <a:gd name="connsiteX439" fmla="*/ 1029911 w 1429540"/>
              <a:gd name="connsiteY439" fmla="*/ 1373617 h 1426100"/>
              <a:gd name="connsiteX440" fmla="*/ 1027628 w 1429540"/>
              <a:gd name="connsiteY440" fmla="*/ 1373617 h 1426100"/>
              <a:gd name="connsiteX441" fmla="*/ 1027628 w 1429540"/>
              <a:gd name="connsiteY441" fmla="*/ 1375899 h 1426100"/>
              <a:gd name="connsiteX442" fmla="*/ 1025344 w 1429540"/>
              <a:gd name="connsiteY442" fmla="*/ 1375899 h 1426100"/>
              <a:gd name="connsiteX443" fmla="*/ 1023060 w 1429540"/>
              <a:gd name="connsiteY443" fmla="*/ 1375899 h 1426100"/>
              <a:gd name="connsiteX444" fmla="*/ 1023060 w 1429540"/>
              <a:gd name="connsiteY444" fmla="*/ 1373617 h 1426100"/>
              <a:gd name="connsiteX445" fmla="*/ 1020777 w 1429540"/>
              <a:gd name="connsiteY445" fmla="*/ 1373617 h 1426100"/>
              <a:gd name="connsiteX446" fmla="*/ 1020777 w 1429540"/>
              <a:gd name="connsiteY446" fmla="*/ 1375899 h 1426100"/>
              <a:gd name="connsiteX447" fmla="*/ 1018493 w 1429540"/>
              <a:gd name="connsiteY447" fmla="*/ 1375899 h 1426100"/>
              <a:gd name="connsiteX448" fmla="*/ 1018493 w 1429540"/>
              <a:gd name="connsiteY448" fmla="*/ 1378181 h 1426100"/>
              <a:gd name="connsiteX449" fmla="*/ 1018493 w 1429540"/>
              <a:gd name="connsiteY449" fmla="*/ 1380462 h 1426100"/>
              <a:gd name="connsiteX450" fmla="*/ 1016210 w 1429540"/>
              <a:gd name="connsiteY450" fmla="*/ 1380462 h 1426100"/>
              <a:gd name="connsiteX451" fmla="*/ 1016210 w 1429540"/>
              <a:gd name="connsiteY451" fmla="*/ 1378181 h 1426100"/>
              <a:gd name="connsiteX452" fmla="*/ 1013926 w 1429540"/>
              <a:gd name="connsiteY452" fmla="*/ 1375899 h 1426100"/>
              <a:gd name="connsiteX453" fmla="*/ 1013926 w 1429540"/>
              <a:gd name="connsiteY453" fmla="*/ 1373617 h 1426100"/>
              <a:gd name="connsiteX454" fmla="*/ 1011643 w 1429540"/>
              <a:gd name="connsiteY454" fmla="*/ 1373617 h 1426100"/>
              <a:gd name="connsiteX455" fmla="*/ 1011643 w 1429540"/>
              <a:gd name="connsiteY455" fmla="*/ 1375899 h 1426100"/>
              <a:gd name="connsiteX456" fmla="*/ 1011643 w 1429540"/>
              <a:gd name="connsiteY456" fmla="*/ 1378181 h 1426100"/>
              <a:gd name="connsiteX457" fmla="*/ 1009359 w 1429540"/>
              <a:gd name="connsiteY457" fmla="*/ 1378181 h 1426100"/>
              <a:gd name="connsiteX458" fmla="*/ 1007075 w 1429540"/>
              <a:gd name="connsiteY458" fmla="*/ 1378181 h 1426100"/>
              <a:gd name="connsiteX459" fmla="*/ 1004792 w 1429540"/>
              <a:gd name="connsiteY459" fmla="*/ 1378181 h 1426100"/>
              <a:gd name="connsiteX460" fmla="*/ 1002508 w 1429540"/>
              <a:gd name="connsiteY460" fmla="*/ 1378181 h 1426100"/>
              <a:gd name="connsiteX461" fmla="*/ 1000225 w 1429540"/>
              <a:gd name="connsiteY461" fmla="*/ 1378181 h 1426100"/>
              <a:gd name="connsiteX462" fmla="*/ 1000225 w 1429540"/>
              <a:gd name="connsiteY462" fmla="*/ 1380462 h 1426100"/>
              <a:gd name="connsiteX463" fmla="*/ 997941 w 1429540"/>
              <a:gd name="connsiteY463" fmla="*/ 1380462 h 1426100"/>
              <a:gd name="connsiteX464" fmla="*/ 995657 w 1429540"/>
              <a:gd name="connsiteY464" fmla="*/ 1380462 h 1426100"/>
              <a:gd name="connsiteX465" fmla="*/ 995657 w 1429540"/>
              <a:gd name="connsiteY465" fmla="*/ 1378181 h 1426100"/>
              <a:gd name="connsiteX466" fmla="*/ 993374 w 1429540"/>
              <a:gd name="connsiteY466" fmla="*/ 1378181 h 1426100"/>
              <a:gd name="connsiteX467" fmla="*/ 991090 w 1429540"/>
              <a:gd name="connsiteY467" fmla="*/ 1378181 h 1426100"/>
              <a:gd name="connsiteX468" fmla="*/ 991090 w 1429540"/>
              <a:gd name="connsiteY468" fmla="*/ 1380462 h 1426100"/>
              <a:gd name="connsiteX469" fmla="*/ 988807 w 1429540"/>
              <a:gd name="connsiteY469" fmla="*/ 1380462 h 1426100"/>
              <a:gd name="connsiteX470" fmla="*/ 988807 w 1429540"/>
              <a:gd name="connsiteY470" fmla="*/ 1378181 h 1426100"/>
              <a:gd name="connsiteX471" fmla="*/ 986523 w 1429540"/>
              <a:gd name="connsiteY471" fmla="*/ 1378181 h 1426100"/>
              <a:gd name="connsiteX472" fmla="*/ 986523 w 1429540"/>
              <a:gd name="connsiteY472" fmla="*/ 1375899 h 1426100"/>
              <a:gd name="connsiteX473" fmla="*/ 986523 w 1429540"/>
              <a:gd name="connsiteY473" fmla="*/ 1373617 h 1426100"/>
              <a:gd name="connsiteX474" fmla="*/ 988807 w 1429540"/>
              <a:gd name="connsiteY474" fmla="*/ 1373617 h 1426100"/>
              <a:gd name="connsiteX475" fmla="*/ 986523 w 1429540"/>
              <a:gd name="connsiteY475" fmla="*/ 1371335 h 1426100"/>
              <a:gd name="connsiteX476" fmla="*/ 984240 w 1429540"/>
              <a:gd name="connsiteY476" fmla="*/ 1371335 h 1426100"/>
              <a:gd name="connsiteX477" fmla="*/ 984240 w 1429540"/>
              <a:gd name="connsiteY477" fmla="*/ 1369053 h 1426100"/>
              <a:gd name="connsiteX478" fmla="*/ 984240 w 1429540"/>
              <a:gd name="connsiteY478" fmla="*/ 1366771 h 1426100"/>
              <a:gd name="connsiteX479" fmla="*/ 981956 w 1429540"/>
              <a:gd name="connsiteY479" fmla="*/ 1366771 h 1426100"/>
              <a:gd name="connsiteX480" fmla="*/ 981956 w 1429540"/>
              <a:gd name="connsiteY480" fmla="*/ 1364489 h 1426100"/>
              <a:gd name="connsiteX481" fmla="*/ 981956 w 1429540"/>
              <a:gd name="connsiteY481" fmla="*/ 1362207 h 1426100"/>
              <a:gd name="connsiteX482" fmla="*/ 981956 w 1429540"/>
              <a:gd name="connsiteY482" fmla="*/ 1359925 h 1426100"/>
              <a:gd name="connsiteX483" fmla="*/ 981956 w 1429540"/>
              <a:gd name="connsiteY483" fmla="*/ 1357643 h 1426100"/>
              <a:gd name="connsiteX484" fmla="*/ 981956 w 1429540"/>
              <a:gd name="connsiteY484" fmla="*/ 1355362 h 1426100"/>
              <a:gd name="connsiteX485" fmla="*/ 979672 w 1429540"/>
              <a:gd name="connsiteY485" fmla="*/ 1355362 h 1426100"/>
              <a:gd name="connsiteX486" fmla="*/ 977389 w 1429540"/>
              <a:gd name="connsiteY486" fmla="*/ 1355362 h 1426100"/>
              <a:gd name="connsiteX487" fmla="*/ 977389 w 1429540"/>
              <a:gd name="connsiteY487" fmla="*/ 1357643 h 1426100"/>
              <a:gd name="connsiteX488" fmla="*/ 977389 w 1429540"/>
              <a:gd name="connsiteY488" fmla="*/ 1355362 h 1426100"/>
              <a:gd name="connsiteX489" fmla="*/ 975105 w 1429540"/>
              <a:gd name="connsiteY489" fmla="*/ 1355362 h 1426100"/>
              <a:gd name="connsiteX490" fmla="*/ 972822 w 1429540"/>
              <a:gd name="connsiteY490" fmla="*/ 1355362 h 1426100"/>
              <a:gd name="connsiteX491" fmla="*/ 972822 w 1429540"/>
              <a:gd name="connsiteY491" fmla="*/ 1357643 h 1426100"/>
              <a:gd name="connsiteX492" fmla="*/ 970538 w 1429540"/>
              <a:gd name="connsiteY492" fmla="*/ 1357643 h 1426100"/>
              <a:gd name="connsiteX493" fmla="*/ 968255 w 1429540"/>
              <a:gd name="connsiteY493" fmla="*/ 1357643 h 1426100"/>
              <a:gd name="connsiteX494" fmla="*/ 968255 w 1429540"/>
              <a:gd name="connsiteY494" fmla="*/ 1355362 h 1426100"/>
              <a:gd name="connsiteX495" fmla="*/ 968255 w 1429540"/>
              <a:gd name="connsiteY495" fmla="*/ 1357643 h 1426100"/>
              <a:gd name="connsiteX496" fmla="*/ 965970 w 1429540"/>
              <a:gd name="connsiteY496" fmla="*/ 1357643 h 1426100"/>
              <a:gd name="connsiteX497" fmla="*/ 963687 w 1429540"/>
              <a:gd name="connsiteY497" fmla="*/ 1357643 h 1426100"/>
              <a:gd name="connsiteX498" fmla="*/ 961403 w 1429540"/>
              <a:gd name="connsiteY498" fmla="*/ 1357643 h 1426100"/>
              <a:gd name="connsiteX499" fmla="*/ 961403 w 1429540"/>
              <a:gd name="connsiteY499" fmla="*/ 1359925 h 1426100"/>
              <a:gd name="connsiteX500" fmla="*/ 961403 w 1429540"/>
              <a:gd name="connsiteY500" fmla="*/ 1362207 h 1426100"/>
              <a:gd name="connsiteX501" fmla="*/ 959120 w 1429540"/>
              <a:gd name="connsiteY501" fmla="*/ 1362207 h 1426100"/>
              <a:gd name="connsiteX502" fmla="*/ 961403 w 1429540"/>
              <a:gd name="connsiteY502" fmla="*/ 1362207 h 1426100"/>
              <a:gd name="connsiteX503" fmla="*/ 961403 w 1429540"/>
              <a:gd name="connsiteY503" fmla="*/ 1364489 h 1426100"/>
              <a:gd name="connsiteX504" fmla="*/ 961403 w 1429540"/>
              <a:gd name="connsiteY504" fmla="*/ 1366771 h 1426100"/>
              <a:gd name="connsiteX505" fmla="*/ 959120 w 1429540"/>
              <a:gd name="connsiteY505" fmla="*/ 1366771 h 1426100"/>
              <a:gd name="connsiteX506" fmla="*/ 959120 w 1429540"/>
              <a:gd name="connsiteY506" fmla="*/ 1369053 h 1426100"/>
              <a:gd name="connsiteX507" fmla="*/ 959120 w 1429540"/>
              <a:gd name="connsiteY507" fmla="*/ 1366771 h 1426100"/>
              <a:gd name="connsiteX508" fmla="*/ 956836 w 1429540"/>
              <a:gd name="connsiteY508" fmla="*/ 1366771 h 1426100"/>
              <a:gd name="connsiteX509" fmla="*/ 956836 w 1429540"/>
              <a:gd name="connsiteY509" fmla="*/ 1369053 h 1426100"/>
              <a:gd name="connsiteX510" fmla="*/ 956836 w 1429540"/>
              <a:gd name="connsiteY510" fmla="*/ 1371335 h 1426100"/>
              <a:gd name="connsiteX511" fmla="*/ 954553 w 1429540"/>
              <a:gd name="connsiteY511" fmla="*/ 1371335 h 1426100"/>
              <a:gd name="connsiteX512" fmla="*/ 952269 w 1429540"/>
              <a:gd name="connsiteY512" fmla="*/ 1371335 h 1426100"/>
              <a:gd name="connsiteX513" fmla="*/ 952269 w 1429540"/>
              <a:gd name="connsiteY513" fmla="*/ 1373617 h 1426100"/>
              <a:gd name="connsiteX514" fmla="*/ 949985 w 1429540"/>
              <a:gd name="connsiteY514" fmla="*/ 1373617 h 1426100"/>
              <a:gd name="connsiteX515" fmla="*/ 947702 w 1429540"/>
              <a:gd name="connsiteY515" fmla="*/ 1373617 h 1426100"/>
              <a:gd name="connsiteX516" fmla="*/ 945418 w 1429540"/>
              <a:gd name="connsiteY516" fmla="*/ 1373617 h 1426100"/>
              <a:gd name="connsiteX517" fmla="*/ 945418 w 1429540"/>
              <a:gd name="connsiteY517" fmla="*/ 1371335 h 1426100"/>
              <a:gd name="connsiteX518" fmla="*/ 947702 w 1429540"/>
              <a:gd name="connsiteY518" fmla="*/ 1371335 h 1426100"/>
              <a:gd name="connsiteX519" fmla="*/ 947702 w 1429540"/>
              <a:gd name="connsiteY519" fmla="*/ 1369053 h 1426100"/>
              <a:gd name="connsiteX520" fmla="*/ 945418 w 1429540"/>
              <a:gd name="connsiteY520" fmla="*/ 1369053 h 1426100"/>
              <a:gd name="connsiteX521" fmla="*/ 945418 w 1429540"/>
              <a:gd name="connsiteY521" fmla="*/ 1366771 h 1426100"/>
              <a:gd name="connsiteX522" fmla="*/ 943135 w 1429540"/>
              <a:gd name="connsiteY522" fmla="*/ 1366771 h 1426100"/>
              <a:gd name="connsiteX523" fmla="*/ 943135 w 1429540"/>
              <a:gd name="connsiteY523" fmla="*/ 1369053 h 1426100"/>
              <a:gd name="connsiteX524" fmla="*/ 940851 w 1429540"/>
              <a:gd name="connsiteY524" fmla="*/ 1369053 h 1426100"/>
              <a:gd name="connsiteX525" fmla="*/ 938567 w 1429540"/>
              <a:gd name="connsiteY525" fmla="*/ 1366771 h 1426100"/>
              <a:gd name="connsiteX526" fmla="*/ 940851 w 1429540"/>
              <a:gd name="connsiteY526" fmla="*/ 1366771 h 1426100"/>
              <a:gd name="connsiteX527" fmla="*/ 940851 w 1429540"/>
              <a:gd name="connsiteY527" fmla="*/ 1364489 h 1426100"/>
              <a:gd name="connsiteX528" fmla="*/ 938567 w 1429540"/>
              <a:gd name="connsiteY528" fmla="*/ 1364489 h 1426100"/>
              <a:gd name="connsiteX529" fmla="*/ 938567 w 1429540"/>
              <a:gd name="connsiteY529" fmla="*/ 1366771 h 1426100"/>
              <a:gd name="connsiteX530" fmla="*/ 938567 w 1429540"/>
              <a:gd name="connsiteY530" fmla="*/ 1364489 h 1426100"/>
              <a:gd name="connsiteX531" fmla="*/ 940851 w 1429540"/>
              <a:gd name="connsiteY531" fmla="*/ 1364489 h 1426100"/>
              <a:gd name="connsiteX532" fmla="*/ 938567 w 1429540"/>
              <a:gd name="connsiteY532" fmla="*/ 1364489 h 1426100"/>
              <a:gd name="connsiteX533" fmla="*/ 938567 w 1429540"/>
              <a:gd name="connsiteY533" fmla="*/ 1362207 h 1426100"/>
              <a:gd name="connsiteX534" fmla="*/ 936284 w 1429540"/>
              <a:gd name="connsiteY534" fmla="*/ 1362207 h 1426100"/>
              <a:gd name="connsiteX535" fmla="*/ 936284 w 1429540"/>
              <a:gd name="connsiteY535" fmla="*/ 1359925 h 1426100"/>
              <a:gd name="connsiteX536" fmla="*/ 934000 w 1429540"/>
              <a:gd name="connsiteY536" fmla="*/ 1359925 h 1426100"/>
              <a:gd name="connsiteX537" fmla="*/ 934000 w 1429540"/>
              <a:gd name="connsiteY537" fmla="*/ 1357643 h 1426100"/>
              <a:gd name="connsiteX538" fmla="*/ 931717 w 1429540"/>
              <a:gd name="connsiteY538" fmla="*/ 1357643 h 1426100"/>
              <a:gd name="connsiteX539" fmla="*/ 929433 w 1429540"/>
              <a:gd name="connsiteY539" fmla="*/ 1357643 h 1426100"/>
              <a:gd name="connsiteX540" fmla="*/ 929433 w 1429540"/>
              <a:gd name="connsiteY540" fmla="*/ 1359925 h 1426100"/>
              <a:gd name="connsiteX541" fmla="*/ 931717 w 1429540"/>
              <a:gd name="connsiteY541" fmla="*/ 1359925 h 1426100"/>
              <a:gd name="connsiteX542" fmla="*/ 931717 w 1429540"/>
              <a:gd name="connsiteY542" fmla="*/ 1362207 h 1426100"/>
              <a:gd name="connsiteX543" fmla="*/ 929433 w 1429540"/>
              <a:gd name="connsiteY543" fmla="*/ 1362207 h 1426100"/>
              <a:gd name="connsiteX544" fmla="*/ 927150 w 1429540"/>
              <a:gd name="connsiteY544" fmla="*/ 1362207 h 1426100"/>
              <a:gd name="connsiteX545" fmla="*/ 924866 w 1429540"/>
              <a:gd name="connsiteY545" fmla="*/ 1362207 h 1426100"/>
              <a:gd name="connsiteX546" fmla="*/ 924866 w 1429540"/>
              <a:gd name="connsiteY546" fmla="*/ 1359925 h 1426100"/>
              <a:gd name="connsiteX547" fmla="*/ 924866 w 1429540"/>
              <a:gd name="connsiteY547" fmla="*/ 1357643 h 1426100"/>
              <a:gd name="connsiteX548" fmla="*/ 922582 w 1429540"/>
              <a:gd name="connsiteY548" fmla="*/ 1357643 h 1426100"/>
              <a:gd name="connsiteX549" fmla="*/ 922582 w 1429540"/>
              <a:gd name="connsiteY549" fmla="*/ 1355362 h 1426100"/>
              <a:gd name="connsiteX550" fmla="*/ 922582 w 1429540"/>
              <a:gd name="connsiteY550" fmla="*/ 1353080 h 1426100"/>
              <a:gd name="connsiteX551" fmla="*/ 920299 w 1429540"/>
              <a:gd name="connsiteY551" fmla="*/ 1353080 h 1426100"/>
              <a:gd name="connsiteX552" fmla="*/ 920299 w 1429540"/>
              <a:gd name="connsiteY552" fmla="*/ 1350798 h 1426100"/>
              <a:gd name="connsiteX553" fmla="*/ 918015 w 1429540"/>
              <a:gd name="connsiteY553" fmla="*/ 1350798 h 1426100"/>
              <a:gd name="connsiteX554" fmla="*/ 918015 w 1429540"/>
              <a:gd name="connsiteY554" fmla="*/ 1353080 h 1426100"/>
              <a:gd name="connsiteX555" fmla="*/ 915732 w 1429540"/>
              <a:gd name="connsiteY555" fmla="*/ 1353080 h 1426100"/>
              <a:gd name="connsiteX556" fmla="*/ 915732 w 1429540"/>
              <a:gd name="connsiteY556" fmla="*/ 1350798 h 1426100"/>
              <a:gd name="connsiteX557" fmla="*/ 915732 w 1429540"/>
              <a:gd name="connsiteY557" fmla="*/ 1348516 h 1426100"/>
              <a:gd name="connsiteX558" fmla="*/ 913448 w 1429540"/>
              <a:gd name="connsiteY558" fmla="*/ 1348516 h 1426100"/>
              <a:gd name="connsiteX559" fmla="*/ 913448 w 1429540"/>
              <a:gd name="connsiteY559" fmla="*/ 1350798 h 1426100"/>
              <a:gd name="connsiteX560" fmla="*/ 911165 w 1429540"/>
              <a:gd name="connsiteY560" fmla="*/ 1350798 h 1426100"/>
              <a:gd name="connsiteX561" fmla="*/ 908881 w 1429540"/>
              <a:gd name="connsiteY561" fmla="*/ 1348516 h 1426100"/>
              <a:gd name="connsiteX562" fmla="*/ 911165 w 1429540"/>
              <a:gd name="connsiteY562" fmla="*/ 1348516 h 1426100"/>
              <a:gd name="connsiteX563" fmla="*/ 908881 w 1429540"/>
              <a:gd name="connsiteY563" fmla="*/ 1348516 h 1426100"/>
              <a:gd name="connsiteX564" fmla="*/ 908881 w 1429540"/>
              <a:gd name="connsiteY564" fmla="*/ 1346234 h 1426100"/>
              <a:gd name="connsiteX565" fmla="*/ 908881 w 1429540"/>
              <a:gd name="connsiteY565" fmla="*/ 1348516 h 1426100"/>
              <a:gd name="connsiteX566" fmla="*/ 908881 w 1429540"/>
              <a:gd name="connsiteY566" fmla="*/ 1346234 h 1426100"/>
              <a:gd name="connsiteX567" fmla="*/ 906597 w 1429540"/>
              <a:gd name="connsiteY567" fmla="*/ 1346234 h 1426100"/>
              <a:gd name="connsiteX568" fmla="*/ 906597 w 1429540"/>
              <a:gd name="connsiteY568" fmla="*/ 1343952 h 1426100"/>
              <a:gd name="connsiteX569" fmla="*/ 906597 w 1429540"/>
              <a:gd name="connsiteY569" fmla="*/ 1346234 h 1426100"/>
              <a:gd name="connsiteX570" fmla="*/ 904314 w 1429540"/>
              <a:gd name="connsiteY570" fmla="*/ 1346234 h 1426100"/>
              <a:gd name="connsiteX571" fmla="*/ 904314 w 1429540"/>
              <a:gd name="connsiteY571" fmla="*/ 1343952 h 1426100"/>
              <a:gd name="connsiteX572" fmla="*/ 902030 w 1429540"/>
              <a:gd name="connsiteY572" fmla="*/ 1343952 h 1426100"/>
              <a:gd name="connsiteX573" fmla="*/ 899746 w 1429540"/>
              <a:gd name="connsiteY573" fmla="*/ 1343952 h 1426100"/>
              <a:gd name="connsiteX574" fmla="*/ 897463 w 1429540"/>
              <a:gd name="connsiteY574" fmla="*/ 1343952 h 1426100"/>
              <a:gd name="connsiteX575" fmla="*/ 895179 w 1429540"/>
              <a:gd name="connsiteY575" fmla="*/ 1343952 h 1426100"/>
              <a:gd name="connsiteX576" fmla="*/ 890612 w 1429540"/>
              <a:gd name="connsiteY576" fmla="*/ 1346234 h 1426100"/>
              <a:gd name="connsiteX577" fmla="*/ 888328 w 1429540"/>
              <a:gd name="connsiteY577" fmla="*/ 1346234 h 1426100"/>
              <a:gd name="connsiteX578" fmla="*/ 886045 w 1429540"/>
              <a:gd name="connsiteY578" fmla="*/ 1346234 h 1426100"/>
              <a:gd name="connsiteX579" fmla="*/ 883761 w 1429540"/>
              <a:gd name="connsiteY579" fmla="*/ 1346234 h 1426100"/>
              <a:gd name="connsiteX580" fmla="*/ 879194 w 1429540"/>
              <a:gd name="connsiteY580" fmla="*/ 1348516 h 1426100"/>
              <a:gd name="connsiteX581" fmla="*/ 872343 w 1429540"/>
              <a:gd name="connsiteY581" fmla="*/ 1353080 h 1426100"/>
              <a:gd name="connsiteX582" fmla="*/ 870060 w 1429540"/>
              <a:gd name="connsiteY582" fmla="*/ 1353080 h 1426100"/>
              <a:gd name="connsiteX583" fmla="*/ 867776 w 1429540"/>
              <a:gd name="connsiteY583" fmla="*/ 1355362 h 1426100"/>
              <a:gd name="connsiteX584" fmla="*/ 865492 w 1429540"/>
              <a:gd name="connsiteY584" fmla="*/ 1355362 h 1426100"/>
              <a:gd name="connsiteX585" fmla="*/ 863209 w 1429540"/>
              <a:gd name="connsiteY585" fmla="*/ 1357643 h 1426100"/>
              <a:gd name="connsiteX586" fmla="*/ 860925 w 1429540"/>
              <a:gd name="connsiteY586" fmla="*/ 1357643 h 1426100"/>
              <a:gd name="connsiteX587" fmla="*/ 858642 w 1429540"/>
              <a:gd name="connsiteY587" fmla="*/ 1359925 h 1426100"/>
              <a:gd name="connsiteX588" fmla="*/ 856358 w 1429540"/>
              <a:gd name="connsiteY588" fmla="*/ 1359925 h 1426100"/>
              <a:gd name="connsiteX589" fmla="*/ 854075 w 1429540"/>
              <a:gd name="connsiteY589" fmla="*/ 1359925 h 1426100"/>
              <a:gd name="connsiteX590" fmla="*/ 851791 w 1429540"/>
              <a:gd name="connsiteY590" fmla="*/ 1359925 h 1426100"/>
              <a:gd name="connsiteX591" fmla="*/ 849507 w 1429540"/>
              <a:gd name="connsiteY591" fmla="*/ 1359925 h 1426100"/>
              <a:gd name="connsiteX592" fmla="*/ 847224 w 1429540"/>
              <a:gd name="connsiteY592" fmla="*/ 1359925 h 1426100"/>
              <a:gd name="connsiteX593" fmla="*/ 844940 w 1429540"/>
              <a:gd name="connsiteY593" fmla="*/ 1359925 h 1426100"/>
              <a:gd name="connsiteX594" fmla="*/ 842657 w 1429540"/>
              <a:gd name="connsiteY594" fmla="*/ 1359925 h 1426100"/>
              <a:gd name="connsiteX595" fmla="*/ 842657 w 1429540"/>
              <a:gd name="connsiteY595" fmla="*/ 1357643 h 1426100"/>
              <a:gd name="connsiteX596" fmla="*/ 840373 w 1429540"/>
              <a:gd name="connsiteY596" fmla="*/ 1357643 h 1426100"/>
              <a:gd name="connsiteX597" fmla="*/ 838089 w 1429540"/>
              <a:gd name="connsiteY597" fmla="*/ 1357643 h 1426100"/>
              <a:gd name="connsiteX598" fmla="*/ 838089 w 1429540"/>
              <a:gd name="connsiteY598" fmla="*/ 1355362 h 1426100"/>
              <a:gd name="connsiteX599" fmla="*/ 835806 w 1429540"/>
              <a:gd name="connsiteY599" fmla="*/ 1355362 h 1426100"/>
              <a:gd name="connsiteX600" fmla="*/ 833522 w 1429540"/>
              <a:gd name="connsiteY600" fmla="*/ 1355362 h 1426100"/>
              <a:gd name="connsiteX601" fmla="*/ 831238 w 1429540"/>
              <a:gd name="connsiteY601" fmla="*/ 1355362 h 1426100"/>
              <a:gd name="connsiteX602" fmla="*/ 828955 w 1429540"/>
              <a:gd name="connsiteY602" fmla="*/ 1355362 h 1426100"/>
              <a:gd name="connsiteX603" fmla="*/ 826671 w 1429540"/>
              <a:gd name="connsiteY603" fmla="*/ 1353080 h 1426100"/>
              <a:gd name="connsiteX604" fmla="*/ 824387 w 1429540"/>
              <a:gd name="connsiteY604" fmla="*/ 1353080 h 1426100"/>
              <a:gd name="connsiteX605" fmla="*/ 824387 w 1429540"/>
              <a:gd name="connsiteY605" fmla="*/ 1355362 h 1426100"/>
              <a:gd name="connsiteX606" fmla="*/ 822095 w 1429540"/>
              <a:gd name="connsiteY606" fmla="*/ 1355362 h 1426100"/>
              <a:gd name="connsiteX607" fmla="*/ 819820 w 1429540"/>
              <a:gd name="connsiteY607" fmla="*/ 1355362 h 1426100"/>
              <a:gd name="connsiteX608" fmla="*/ 817537 w 1429540"/>
              <a:gd name="connsiteY608" fmla="*/ 1355362 h 1426100"/>
              <a:gd name="connsiteX609" fmla="*/ 817537 w 1429540"/>
              <a:gd name="connsiteY609" fmla="*/ 1357643 h 1426100"/>
              <a:gd name="connsiteX610" fmla="*/ 815253 w 1429540"/>
              <a:gd name="connsiteY610" fmla="*/ 1357643 h 1426100"/>
              <a:gd name="connsiteX611" fmla="*/ 815253 w 1429540"/>
              <a:gd name="connsiteY611" fmla="*/ 1359925 h 1426100"/>
              <a:gd name="connsiteX612" fmla="*/ 812970 w 1429540"/>
              <a:gd name="connsiteY612" fmla="*/ 1359925 h 1426100"/>
              <a:gd name="connsiteX613" fmla="*/ 812970 w 1429540"/>
              <a:gd name="connsiteY613" fmla="*/ 1357643 h 1426100"/>
              <a:gd name="connsiteX614" fmla="*/ 812970 w 1429540"/>
              <a:gd name="connsiteY614" fmla="*/ 1359925 h 1426100"/>
              <a:gd name="connsiteX615" fmla="*/ 810686 w 1429540"/>
              <a:gd name="connsiteY615" fmla="*/ 1359925 h 1426100"/>
              <a:gd name="connsiteX616" fmla="*/ 810686 w 1429540"/>
              <a:gd name="connsiteY616" fmla="*/ 1357643 h 1426100"/>
              <a:gd name="connsiteX617" fmla="*/ 808393 w 1429540"/>
              <a:gd name="connsiteY617" fmla="*/ 1357643 h 1426100"/>
              <a:gd name="connsiteX618" fmla="*/ 808393 w 1429540"/>
              <a:gd name="connsiteY618" fmla="*/ 1359925 h 1426100"/>
              <a:gd name="connsiteX619" fmla="*/ 806110 w 1429540"/>
              <a:gd name="connsiteY619" fmla="*/ 1359925 h 1426100"/>
              <a:gd name="connsiteX620" fmla="*/ 803835 w 1429540"/>
              <a:gd name="connsiteY620" fmla="*/ 1359925 h 1426100"/>
              <a:gd name="connsiteX621" fmla="*/ 803835 w 1429540"/>
              <a:gd name="connsiteY621" fmla="*/ 1357643 h 1426100"/>
              <a:gd name="connsiteX622" fmla="*/ 801552 w 1429540"/>
              <a:gd name="connsiteY622" fmla="*/ 1357643 h 1426100"/>
              <a:gd name="connsiteX623" fmla="*/ 801552 w 1429540"/>
              <a:gd name="connsiteY623" fmla="*/ 1355362 h 1426100"/>
              <a:gd name="connsiteX624" fmla="*/ 799268 w 1429540"/>
              <a:gd name="connsiteY624" fmla="*/ 1355362 h 1426100"/>
              <a:gd name="connsiteX625" fmla="*/ 799268 w 1429540"/>
              <a:gd name="connsiteY625" fmla="*/ 1353080 h 1426100"/>
              <a:gd name="connsiteX626" fmla="*/ 799268 w 1429540"/>
              <a:gd name="connsiteY626" fmla="*/ 1350798 h 1426100"/>
              <a:gd name="connsiteX627" fmla="*/ 799268 w 1429540"/>
              <a:gd name="connsiteY627" fmla="*/ 1348516 h 1426100"/>
              <a:gd name="connsiteX628" fmla="*/ 799268 w 1429540"/>
              <a:gd name="connsiteY628" fmla="*/ 1346234 h 1426100"/>
              <a:gd name="connsiteX629" fmla="*/ 799268 w 1429540"/>
              <a:gd name="connsiteY629" fmla="*/ 1343952 h 1426100"/>
              <a:gd name="connsiteX630" fmla="*/ 799268 w 1429540"/>
              <a:gd name="connsiteY630" fmla="*/ 1341670 h 1426100"/>
              <a:gd name="connsiteX631" fmla="*/ 799268 w 1429540"/>
              <a:gd name="connsiteY631" fmla="*/ 1339388 h 1426100"/>
              <a:gd name="connsiteX632" fmla="*/ 799268 w 1429540"/>
              <a:gd name="connsiteY632" fmla="*/ 1337106 h 1426100"/>
              <a:gd name="connsiteX633" fmla="*/ 799268 w 1429540"/>
              <a:gd name="connsiteY633" fmla="*/ 1334824 h 1426100"/>
              <a:gd name="connsiteX634" fmla="*/ 796975 w 1429540"/>
              <a:gd name="connsiteY634" fmla="*/ 1334824 h 1426100"/>
              <a:gd name="connsiteX635" fmla="*/ 796975 w 1429540"/>
              <a:gd name="connsiteY635" fmla="*/ 1337106 h 1426100"/>
              <a:gd name="connsiteX636" fmla="*/ 794691 w 1429540"/>
              <a:gd name="connsiteY636" fmla="*/ 1337106 h 1426100"/>
              <a:gd name="connsiteX637" fmla="*/ 792408 w 1429540"/>
              <a:gd name="connsiteY637" fmla="*/ 1337106 h 1426100"/>
              <a:gd name="connsiteX638" fmla="*/ 790134 w 1429540"/>
              <a:gd name="connsiteY638" fmla="*/ 1337106 h 1426100"/>
              <a:gd name="connsiteX639" fmla="*/ 787841 w 1429540"/>
              <a:gd name="connsiteY639" fmla="*/ 1337106 h 1426100"/>
              <a:gd name="connsiteX640" fmla="*/ 785557 w 1429540"/>
              <a:gd name="connsiteY640" fmla="*/ 1334824 h 1426100"/>
              <a:gd name="connsiteX641" fmla="*/ 783283 w 1429540"/>
              <a:gd name="connsiteY641" fmla="*/ 1334824 h 1426100"/>
              <a:gd name="connsiteX642" fmla="*/ 780999 w 1429540"/>
              <a:gd name="connsiteY642" fmla="*/ 1334824 h 1426100"/>
              <a:gd name="connsiteX643" fmla="*/ 778706 w 1429540"/>
              <a:gd name="connsiteY643" fmla="*/ 1334824 h 1426100"/>
              <a:gd name="connsiteX644" fmla="*/ 778706 w 1429540"/>
              <a:gd name="connsiteY644" fmla="*/ 1337106 h 1426100"/>
              <a:gd name="connsiteX645" fmla="*/ 778706 w 1429540"/>
              <a:gd name="connsiteY645" fmla="*/ 1339388 h 1426100"/>
              <a:gd name="connsiteX646" fmla="*/ 778706 w 1429540"/>
              <a:gd name="connsiteY646" fmla="*/ 1341670 h 1426100"/>
              <a:gd name="connsiteX647" fmla="*/ 778706 w 1429540"/>
              <a:gd name="connsiteY647" fmla="*/ 1343952 h 1426100"/>
              <a:gd name="connsiteX648" fmla="*/ 778706 w 1429540"/>
              <a:gd name="connsiteY648" fmla="*/ 1346234 h 1426100"/>
              <a:gd name="connsiteX649" fmla="*/ 778706 w 1429540"/>
              <a:gd name="connsiteY649" fmla="*/ 1348516 h 1426100"/>
              <a:gd name="connsiteX650" fmla="*/ 778706 w 1429540"/>
              <a:gd name="connsiteY650" fmla="*/ 1350798 h 1426100"/>
              <a:gd name="connsiteX651" fmla="*/ 778706 w 1429540"/>
              <a:gd name="connsiteY651" fmla="*/ 1353080 h 1426100"/>
              <a:gd name="connsiteX652" fmla="*/ 774139 w 1429540"/>
              <a:gd name="connsiteY652" fmla="*/ 1350798 h 1426100"/>
              <a:gd name="connsiteX653" fmla="*/ 771855 w 1429540"/>
              <a:gd name="connsiteY653" fmla="*/ 1348516 h 1426100"/>
              <a:gd name="connsiteX654" fmla="*/ 769582 w 1429540"/>
              <a:gd name="connsiteY654" fmla="*/ 1348516 h 1426100"/>
              <a:gd name="connsiteX655" fmla="*/ 767288 w 1429540"/>
              <a:gd name="connsiteY655" fmla="*/ 1348516 h 1426100"/>
              <a:gd name="connsiteX656" fmla="*/ 765005 w 1429540"/>
              <a:gd name="connsiteY656" fmla="*/ 1348516 h 1426100"/>
              <a:gd name="connsiteX657" fmla="*/ 765005 w 1429540"/>
              <a:gd name="connsiteY657" fmla="*/ 1346234 h 1426100"/>
              <a:gd name="connsiteX658" fmla="*/ 762721 w 1429540"/>
              <a:gd name="connsiteY658" fmla="*/ 1346234 h 1426100"/>
              <a:gd name="connsiteX659" fmla="*/ 760438 w 1429540"/>
              <a:gd name="connsiteY659" fmla="*/ 1348516 h 1426100"/>
              <a:gd name="connsiteX660" fmla="*/ 758154 w 1429540"/>
              <a:gd name="connsiteY660" fmla="*/ 1348516 h 1426100"/>
              <a:gd name="connsiteX661" fmla="*/ 758154 w 1429540"/>
              <a:gd name="connsiteY661" fmla="*/ 1350798 h 1426100"/>
              <a:gd name="connsiteX662" fmla="*/ 755880 w 1429540"/>
              <a:gd name="connsiteY662" fmla="*/ 1350798 h 1426100"/>
              <a:gd name="connsiteX663" fmla="*/ 755880 w 1429540"/>
              <a:gd name="connsiteY663" fmla="*/ 1353080 h 1426100"/>
              <a:gd name="connsiteX664" fmla="*/ 753587 w 1429540"/>
              <a:gd name="connsiteY664" fmla="*/ 1353080 h 1426100"/>
              <a:gd name="connsiteX665" fmla="*/ 751303 w 1429540"/>
              <a:gd name="connsiteY665" fmla="*/ 1353080 h 1426100"/>
              <a:gd name="connsiteX666" fmla="*/ 749020 w 1429540"/>
              <a:gd name="connsiteY666" fmla="*/ 1353080 h 1426100"/>
              <a:gd name="connsiteX667" fmla="*/ 746736 w 1429540"/>
              <a:gd name="connsiteY667" fmla="*/ 1353080 h 1426100"/>
              <a:gd name="connsiteX668" fmla="*/ 746736 w 1429540"/>
              <a:gd name="connsiteY668" fmla="*/ 1355362 h 1426100"/>
              <a:gd name="connsiteX669" fmla="*/ 746736 w 1429540"/>
              <a:gd name="connsiteY669" fmla="*/ 1357643 h 1426100"/>
              <a:gd name="connsiteX670" fmla="*/ 744452 w 1429540"/>
              <a:gd name="connsiteY670" fmla="*/ 1359925 h 1426100"/>
              <a:gd name="connsiteX671" fmla="*/ 744452 w 1429540"/>
              <a:gd name="connsiteY671" fmla="*/ 1362207 h 1426100"/>
              <a:gd name="connsiteX672" fmla="*/ 746736 w 1429540"/>
              <a:gd name="connsiteY672" fmla="*/ 1362207 h 1426100"/>
              <a:gd name="connsiteX673" fmla="*/ 746736 w 1429540"/>
              <a:gd name="connsiteY673" fmla="*/ 1364489 h 1426100"/>
              <a:gd name="connsiteX674" fmla="*/ 746736 w 1429540"/>
              <a:gd name="connsiteY674" fmla="*/ 1366771 h 1426100"/>
              <a:gd name="connsiteX675" fmla="*/ 746736 w 1429540"/>
              <a:gd name="connsiteY675" fmla="*/ 1369053 h 1426100"/>
              <a:gd name="connsiteX676" fmla="*/ 746736 w 1429540"/>
              <a:gd name="connsiteY676" fmla="*/ 1371335 h 1426100"/>
              <a:gd name="connsiteX677" fmla="*/ 744452 w 1429540"/>
              <a:gd name="connsiteY677" fmla="*/ 1373617 h 1426100"/>
              <a:gd name="connsiteX678" fmla="*/ 744452 w 1429540"/>
              <a:gd name="connsiteY678" fmla="*/ 1375899 h 1426100"/>
              <a:gd name="connsiteX679" fmla="*/ 742169 w 1429540"/>
              <a:gd name="connsiteY679" fmla="*/ 1375899 h 1426100"/>
              <a:gd name="connsiteX680" fmla="*/ 739885 w 1429540"/>
              <a:gd name="connsiteY680" fmla="*/ 1375899 h 1426100"/>
              <a:gd name="connsiteX681" fmla="*/ 737602 w 1429540"/>
              <a:gd name="connsiteY681" fmla="*/ 1375899 h 1426100"/>
              <a:gd name="connsiteX682" fmla="*/ 735318 w 1429540"/>
              <a:gd name="connsiteY682" fmla="*/ 1375899 h 1426100"/>
              <a:gd name="connsiteX683" fmla="*/ 733034 w 1429540"/>
              <a:gd name="connsiteY683" fmla="*/ 1375899 h 1426100"/>
              <a:gd name="connsiteX684" fmla="*/ 733034 w 1429540"/>
              <a:gd name="connsiteY684" fmla="*/ 1378181 h 1426100"/>
              <a:gd name="connsiteX685" fmla="*/ 730751 w 1429540"/>
              <a:gd name="connsiteY685" fmla="*/ 1378181 h 1426100"/>
              <a:gd name="connsiteX686" fmla="*/ 728467 w 1429540"/>
              <a:gd name="connsiteY686" fmla="*/ 1378181 h 1426100"/>
              <a:gd name="connsiteX687" fmla="*/ 728467 w 1429540"/>
              <a:gd name="connsiteY687" fmla="*/ 1375899 h 1426100"/>
              <a:gd name="connsiteX688" fmla="*/ 726183 w 1429540"/>
              <a:gd name="connsiteY688" fmla="*/ 1375899 h 1426100"/>
              <a:gd name="connsiteX689" fmla="*/ 726183 w 1429540"/>
              <a:gd name="connsiteY689" fmla="*/ 1373617 h 1426100"/>
              <a:gd name="connsiteX690" fmla="*/ 726183 w 1429540"/>
              <a:gd name="connsiteY690" fmla="*/ 1371335 h 1426100"/>
              <a:gd name="connsiteX691" fmla="*/ 723900 w 1429540"/>
              <a:gd name="connsiteY691" fmla="*/ 1371335 h 1426100"/>
              <a:gd name="connsiteX692" fmla="*/ 721616 w 1429540"/>
              <a:gd name="connsiteY692" fmla="*/ 1371335 h 1426100"/>
              <a:gd name="connsiteX693" fmla="*/ 719333 w 1429540"/>
              <a:gd name="connsiteY693" fmla="*/ 1371335 h 1426100"/>
              <a:gd name="connsiteX694" fmla="*/ 719333 w 1429540"/>
              <a:gd name="connsiteY694" fmla="*/ 1369053 h 1426100"/>
              <a:gd name="connsiteX695" fmla="*/ 717049 w 1429540"/>
              <a:gd name="connsiteY695" fmla="*/ 1369053 h 1426100"/>
              <a:gd name="connsiteX696" fmla="*/ 714765 w 1429540"/>
              <a:gd name="connsiteY696" fmla="*/ 1369053 h 1426100"/>
              <a:gd name="connsiteX697" fmla="*/ 714765 w 1429540"/>
              <a:gd name="connsiteY697" fmla="*/ 1371335 h 1426100"/>
              <a:gd name="connsiteX698" fmla="*/ 712482 w 1429540"/>
              <a:gd name="connsiteY698" fmla="*/ 1371335 h 1426100"/>
              <a:gd name="connsiteX699" fmla="*/ 712482 w 1429540"/>
              <a:gd name="connsiteY699" fmla="*/ 1373617 h 1426100"/>
              <a:gd name="connsiteX700" fmla="*/ 712482 w 1429540"/>
              <a:gd name="connsiteY700" fmla="*/ 1375899 h 1426100"/>
              <a:gd name="connsiteX701" fmla="*/ 710198 w 1429540"/>
              <a:gd name="connsiteY701" fmla="*/ 1375899 h 1426100"/>
              <a:gd name="connsiteX702" fmla="*/ 707915 w 1429540"/>
              <a:gd name="connsiteY702" fmla="*/ 1375899 h 1426100"/>
              <a:gd name="connsiteX703" fmla="*/ 707915 w 1429540"/>
              <a:gd name="connsiteY703" fmla="*/ 1378181 h 1426100"/>
              <a:gd name="connsiteX704" fmla="*/ 705631 w 1429540"/>
              <a:gd name="connsiteY704" fmla="*/ 1378181 h 1426100"/>
              <a:gd name="connsiteX705" fmla="*/ 705631 w 1429540"/>
              <a:gd name="connsiteY705" fmla="*/ 1380462 h 1426100"/>
              <a:gd name="connsiteX706" fmla="*/ 703348 w 1429540"/>
              <a:gd name="connsiteY706" fmla="*/ 1380462 h 1426100"/>
              <a:gd name="connsiteX707" fmla="*/ 701064 w 1429540"/>
              <a:gd name="connsiteY707" fmla="*/ 1380462 h 1426100"/>
              <a:gd name="connsiteX708" fmla="*/ 701064 w 1429540"/>
              <a:gd name="connsiteY708" fmla="*/ 1382744 h 1426100"/>
              <a:gd name="connsiteX709" fmla="*/ 698780 w 1429540"/>
              <a:gd name="connsiteY709" fmla="*/ 1382744 h 1426100"/>
              <a:gd name="connsiteX710" fmla="*/ 698780 w 1429540"/>
              <a:gd name="connsiteY710" fmla="*/ 1385026 h 1426100"/>
              <a:gd name="connsiteX711" fmla="*/ 698780 w 1429540"/>
              <a:gd name="connsiteY711" fmla="*/ 1387308 h 1426100"/>
              <a:gd name="connsiteX712" fmla="*/ 698780 w 1429540"/>
              <a:gd name="connsiteY712" fmla="*/ 1389590 h 1426100"/>
              <a:gd name="connsiteX713" fmla="*/ 696497 w 1429540"/>
              <a:gd name="connsiteY713" fmla="*/ 1389590 h 1426100"/>
              <a:gd name="connsiteX714" fmla="*/ 696497 w 1429540"/>
              <a:gd name="connsiteY714" fmla="*/ 1391872 h 1426100"/>
              <a:gd name="connsiteX715" fmla="*/ 694213 w 1429540"/>
              <a:gd name="connsiteY715" fmla="*/ 1391872 h 1426100"/>
              <a:gd name="connsiteX716" fmla="*/ 689646 w 1429540"/>
              <a:gd name="connsiteY716" fmla="*/ 1387308 h 1426100"/>
              <a:gd name="connsiteX717" fmla="*/ 689646 w 1429540"/>
              <a:gd name="connsiteY717" fmla="*/ 1385026 h 1426100"/>
              <a:gd name="connsiteX718" fmla="*/ 687362 w 1429540"/>
              <a:gd name="connsiteY718" fmla="*/ 1385026 h 1426100"/>
              <a:gd name="connsiteX719" fmla="*/ 685079 w 1429540"/>
              <a:gd name="connsiteY719" fmla="*/ 1382744 h 1426100"/>
              <a:gd name="connsiteX720" fmla="*/ 685079 w 1429540"/>
              <a:gd name="connsiteY720" fmla="*/ 1380462 h 1426100"/>
              <a:gd name="connsiteX721" fmla="*/ 682795 w 1429540"/>
              <a:gd name="connsiteY721" fmla="*/ 1380462 h 1426100"/>
              <a:gd name="connsiteX722" fmla="*/ 682795 w 1429540"/>
              <a:gd name="connsiteY722" fmla="*/ 1378181 h 1426100"/>
              <a:gd name="connsiteX723" fmla="*/ 680512 w 1429540"/>
              <a:gd name="connsiteY723" fmla="*/ 1378181 h 1426100"/>
              <a:gd name="connsiteX724" fmla="*/ 678228 w 1429540"/>
              <a:gd name="connsiteY724" fmla="*/ 1375899 h 1426100"/>
              <a:gd name="connsiteX725" fmla="*/ 675945 w 1429540"/>
              <a:gd name="connsiteY725" fmla="*/ 1373617 h 1426100"/>
              <a:gd name="connsiteX726" fmla="*/ 673661 w 1429540"/>
              <a:gd name="connsiteY726" fmla="*/ 1373617 h 1426100"/>
              <a:gd name="connsiteX727" fmla="*/ 671377 w 1429540"/>
              <a:gd name="connsiteY727" fmla="*/ 1373617 h 1426100"/>
              <a:gd name="connsiteX728" fmla="*/ 669094 w 1429540"/>
              <a:gd name="connsiteY728" fmla="*/ 1371335 h 1426100"/>
              <a:gd name="connsiteX729" fmla="*/ 666810 w 1429540"/>
              <a:gd name="connsiteY729" fmla="*/ 1371335 h 1426100"/>
              <a:gd name="connsiteX730" fmla="*/ 666810 w 1429540"/>
              <a:gd name="connsiteY730" fmla="*/ 1373617 h 1426100"/>
              <a:gd name="connsiteX731" fmla="*/ 664526 w 1429540"/>
              <a:gd name="connsiteY731" fmla="*/ 1373617 h 1426100"/>
              <a:gd name="connsiteX732" fmla="*/ 664526 w 1429540"/>
              <a:gd name="connsiteY732" fmla="*/ 1375899 h 1426100"/>
              <a:gd name="connsiteX733" fmla="*/ 662243 w 1429540"/>
              <a:gd name="connsiteY733" fmla="*/ 1375899 h 1426100"/>
              <a:gd name="connsiteX734" fmla="*/ 662243 w 1429540"/>
              <a:gd name="connsiteY734" fmla="*/ 1378181 h 1426100"/>
              <a:gd name="connsiteX735" fmla="*/ 659959 w 1429540"/>
              <a:gd name="connsiteY735" fmla="*/ 1378181 h 1426100"/>
              <a:gd name="connsiteX736" fmla="*/ 659959 w 1429540"/>
              <a:gd name="connsiteY736" fmla="*/ 1380462 h 1426100"/>
              <a:gd name="connsiteX737" fmla="*/ 657675 w 1429540"/>
              <a:gd name="connsiteY737" fmla="*/ 1380462 h 1426100"/>
              <a:gd name="connsiteX738" fmla="*/ 655392 w 1429540"/>
              <a:gd name="connsiteY738" fmla="*/ 1380462 h 1426100"/>
              <a:gd name="connsiteX739" fmla="*/ 653108 w 1429540"/>
              <a:gd name="connsiteY739" fmla="*/ 1380462 h 1426100"/>
              <a:gd name="connsiteX740" fmla="*/ 653108 w 1429540"/>
              <a:gd name="connsiteY740" fmla="*/ 1382744 h 1426100"/>
              <a:gd name="connsiteX741" fmla="*/ 650825 w 1429540"/>
              <a:gd name="connsiteY741" fmla="*/ 1382744 h 1426100"/>
              <a:gd name="connsiteX742" fmla="*/ 648541 w 1429540"/>
              <a:gd name="connsiteY742" fmla="*/ 1382744 h 1426100"/>
              <a:gd name="connsiteX743" fmla="*/ 648541 w 1429540"/>
              <a:gd name="connsiteY743" fmla="*/ 1385026 h 1426100"/>
              <a:gd name="connsiteX744" fmla="*/ 646258 w 1429540"/>
              <a:gd name="connsiteY744" fmla="*/ 1382744 h 1426100"/>
              <a:gd name="connsiteX745" fmla="*/ 643974 w 1429540"/>
              <a:gd name="connsiteY745" fmla="*/ 1382744 h 1426100"/>
              <a:gd name="connsiteX746" fmla="*/ 643974 w 1429540"/>
              <a:gd name="connsiteY746" fmla="*/ 1380462 h 1426100"/>
              <a:gd name="connsiteX747" fmla="*/ 641690 w 1429540"/>
              <a:gd name="connsiteY747" fmla="*/ 1380462 h 1426100"/>
              <a:gd name="connsiteX748" fmla="*/ 639407 w 1429540"/>
              <a:gd name="connsiteY748" fmla="*/ 1380462 h 1426100"/>
              <a:gd name="connsiteX749" fmla="*/ 639407 w 1429540"/>
              <a:gd name="connsiteY749" fmla="*/ 1378181 h 1426100"/>
              <a:gd name="connsiteX750" fmla="*/ 637123 w 1429540"/>
              <a:gd name="connsiteY750" fmla="*/ 1375899 h 1426100"/>
              <a:gd name="connsiteX751" fmla="*/ 634840 w 1429540"/>
              <a:gd name="connsiteY751" fmla="*/ 1373617 h 1426100"/>
              <a:gd name="connsiteX752" fmla="*/ 632556 w 1429540"/>
              <a:gd name="connsiteY752" fmla="*/ 1373617 h 1426100"/>
              <a:gd name="connsiteX753" fmla="*/ 627989 w 1429540"/>
              <a:gd name="connsiteY753" fmla="*/ 1371335 h 1426100"/>
              <a:gd name="connsiteX754" fmla="*/ 625705 w 1429540"/>
              <a:gd name="connsiteY754" fmla="*/ 1369053 h 1426100"/>
              <a:gd name="connsiteX755" fmla="*/ 623422 w 1429540"/>
              <a:gd name="connsiteY755" fmla="*/ 1369053 h 1426100"/>
              <a:gd name="connsiteX756" fmla="*/ 621138 w 1429540"/>
              <a:gd name="connsiteY756" fmla="*/ 1369053 h 1426100"/>
              <a:gd name="connsiteX757" fmla="*/ 618855 w 1429540"/>
              <a:gd name="connsiteY757" fmla="*/ 1366771 h 1426100"/>
              <a:gd name="connsiteX758" fmla="*/ 616571 w 1429540"/>
              <a:gd name="connsiteY758" fmla="*/ 1366771 h 1426100"/>
              <a:gd name="connsiteX759" fmla="*/ 614287 w 1429540"/>
              <a:gd name="connsiteY759" fmla="*/ 1366771 h 1426100"/>
              <a:gd name="connsiteX760" fmla="*/ 612004 w 1429540"/>
              <a:gd name="connsiteY760" fmla="*/ 1364489 h 1426100"/>
              <a:gd name="connsiteX761" fmla="*/ 612004 w 1429540"/>
              <a:gd name="connsiteY761" fmla="*/ 1366771 h 1426100"/>
              <a:gd name="connsiteX762" fmla="*/ 609720 w 1429540"/>
              <a:gd name="connsiteY762" fmla="*/ 1371335 h 1426100"/>
              <a:gd name="connsiteX763" fmla="*/ 609720 w 1429540"/>
              <a:gd name="connsiteY763" fmla="*/ 1373617 h 1426100"/>
              <a:gd name="connsiteX764" fmla="*/ 607437 w 1429540"/>
              <a:gd name="connsiteY764" fmla="*/ 1375899 h 1426100"/>
              <a:gd name="connsiteX765" fmla="*/ 607437 w 1429540"/>
              <a:gd name="connsiteY765" fmla="*/ 1378181 h 1426100"/>
              <a:gd name="connsiteX766" fmla="*/ 605153 w 1429540"/>
              <a:gd name="connsiteY766" fmla="*/ 1378181 h 1426100"/>
              <a:gd name="connsiteX767" fmla="*/ 602870 w 1429540"/>
              <a:gd name="connsiteY767" fmla="*/ 1378181 h 1426100"/>
              <a:gd name="connsiteX768" fmla="*/ 600585 w 1429540"/>
              <a:gd name="connsiteY768" fmla="*/ 1378181 h 1426100"/>
              <a:gd name="connsiteX769" fmla="*/ 600585 w 1429540"/>
              <a:gd name="connsiteY769" fmla="*/ 1375899 h 1426100"/>
              <a:gd name="connsiteX770" fmla="*/ 600585 w 1429540"/>
              <a:gd name="connsiteY770" fmla="*/ 1373617 h 1426100"/>
              <a:gd name="connsiteX771" fmla="*/ 598302 w 1429540"/>
              <a:gd name="connsiteY771" fmla="*/ 1373617 h 1426100"/>
              <a:gd name="connsiteX772" fmla="*/ 598302 w 1429540"/>
              <a:gd name="connsiteY772" fmla="*/ 1375899 h 1426100"/>
              <a:gd name="connsiteX773" fmla="*/ 596018 w 1429540"/>
              <a:gd name="connsiteY773" fmla="*/ 1375899 h 1426100"/>
              <a:gd name="connsiteX774" fmla="*/ 593735 w 1429540"/>
              <a:gd name="connsiteY774" fmla="*/ 1375899 h 1426100"/>
              <a:gd name="connsiteX775" fmla="*/ 593735 w 1429540"/>
              <a:gd name="connsiteY775" fmla="*/ 1378181 h 1426100"/>
              <a:gd name="connsiteX776" fmla="*/ 593735 w 1429540"/>
              <a:gd name="connsiteY776" fmla="*/ 1375899 h 1426100"/>
              <a:gd name="connsiteX777" fmla="*/ 591451 w 1429540"/>
              <a:gd name="connsiteY777" fmla="*/ 1375899 h 1426100"/>
              <a:gd name="connsiteX778" fmla="*/ 589168 w 1429540"/>
              <a:gd name="connsiteY778" fmla="*/ 1375899 h 1426100"/>
              <a:gd name="connsiteX779" fmla="*/ 586884 w 1429540"/>
              <a:gd name="connsiteY779" fmla="*/ 1375899 h 1426100"/>
              <a:gd name="connsiteX780" fmla="*/ 584600 w 1429540"/>
              <a:gd name="connsiteY780" fmla="*/ 1375899 h 1426100"/>
              <a:gd name="connsiteX781" fmla="*/ 582317 w 1429540"/>
              <a:gd name="connsiteY781" fmla="*/ 1375899 h 1426100"/>
              <a:gd name="connsiteX782" fmla="*/ 582317 w 1429540"/>
              <a:gd name="connsiteY782" fmla="*/ 1378181 h 1426100"/>
              <a:gd name="connsiteX783" fmla="*/ 582317 w 1429540"/>
              <a:gd name="connsiteY783" fmla="*/ 1380462 h 1426100"/>
              <a:gd name="connsiteX784" fmla="*/ 582317 w 1429540"/>
              <a:gd name="connsiteY784" fmla="*/ 1382744 h 1426100"/>
              <a:gd name="connsiteX785" fmla="*/ 582317 w 1429540"/>
              <a:gd name="connsiteY785" fmla="*/ 1385026 h 1426100"/>
              <a:gd name="connsiteX786" fmla="*/ 580033 w 1429540"/>
              <a:gd name="connsiteY786" fmla="*/ 1385026 h 1426100"/>
              <a:gd name="connsiteX787" fmla="*/ 577750 w 1429540"/>
              <a:gd name="connsiteY787" fmla="*/ 1385026 h 1426100"/>
              <a:gd name="connsiteX788" fmla="*/ 577750 w 1429540"/>
              <a:gd name="connsiteY788" fmla="*/ 1387308 h 1426100"/>
              <a:gd name="connsiteX789" fmla="*/ 577750 w 1429540"/>
              <a:gd name="connsiteY789" fmla="*/ 1389590 h 1426100"/>
              <a:gd name="connsiteX790" fmla="*/ 577750 w 1429540"/>
              <a:gd name="connsiteY790" fmla="*/ 1391872 h 1426100"/>
              <a:gd name="connsiteX791" fmla="*/ 577750 w 1429540"/>
              <a:gd name="connsiteY791" fmla="*/ 1394154 h 1426100"/>
              <a:gd name="connsiteX792" fmla="*/ 575466 w 1429540"/>
              <a:gd name="connsiteY792" fmla="*/ 1394154 h 1426100"/>
              <a:gd name="connsiteX793" fmla="*/ 575466 w 1429540"/>
              <a:gd name="connsiteY793" fmla="*/ 1396436 h 1426100"/>
              <a:gd name="connsiteX794" fmla="*/ 573183 w 1429540"/>
              <a:gd name="connsiteY794" fmla="*/ 1396436 h 1426100"/>
              <a:gd name="connsiteX795" fmla="*/ 573183 w 1429540"/>
              <a:gd name="connsiteY795" fmla="*/ 1398718 h 1426100"/>
              <a:gd name="connsiteX796" fmla="*/ 573183 w 1429540"/>
              <a:gd name="connsiteY796" fmla="*/ 1400999 h 1426100"/>
              <a:gd name="connsiteX797" fmla="*/ 573183 w 1429540"/>
              <a:gd name="connsiteY797" fmla="*/ 1403281 h 1426100"/>
              <a:gd name="connsiteX798" fmla="*/ 570899 w 1429540"/>
              <a:gd name="connsiteY798" fmla="*/ 1403281 h 1426100"/>
              <a:gd name="connsiteX799" fmla="*/ 568615 w 1429540"/>
              <a:gd name="connsiteY799" fmla="*/ 1403281 h 1426100"/>
              <a:gd name="connsiteX800" fmla="*/ 568615 w 1429540"/>
              <a:gd name="connsiteY800" fmla="*/ 1405563 h 1426100"/>
              <a:gd name="connsiteX801" fmla="*/ 566332 w 1429540"/>
              <a:gd name="connsiteY801" fmla="*/ 1405563 h 1426100"/>
              <a:gd name="connsiteX802" fmla="*/ 566332 w 1429540"/>
              <a:gd name="connsiteY802" fmla="*/ 1407845 h 1426100"/>
              <a:gd name="connsiteX803" fmla="*/ 564048 w 1429540"/>
              <a:gd name="connsiteY803" fmla="*/ 1407845 h 1426100"/>
              <a:gd name="connsiteX804" fmla="*/ 564048 w 1429540"/>
              <a:gd name="connsiteY804" fmla="*/ 1405563 h 1426100"/>
              <a:gd name="connsiteX805" fmla="*/ 561764 w 1429540"/>
              <a:gd name="connsiteY805" fmla="*/ 1405563 h 1426100"/>
              <a:gd name="connsiteX806" fmla="*/ 559481 w 1429540"/>
              <a:gd name="connsiteY806" fmla="*/ 1405563 h 1426100"/>
              <a:gd name="connsiteX807" fmla="*/ 557197 w 1429540"/>
              <a:gd name="connsiteY807" fmla="*/ 1405563 h 1426100"/>
              <a:gd name="connsiteX808" fmla="*/ 557197 w 1429540"/>
              <a:gd name="connsiteY808" fmla="*/ 1403281 h 1426100"/>
              <a:gd name="connsiteX809" fmla="*/ 554914 w 1429540"/>
              <a:gd name="connsiteY809" fmla="*/ 1403281 h 1426100"/>
              <a:gd name="connsiteX810" fmla="*/ 554914 w 1429540"/>
              <a:gd name="connsiteY810" fmla="*/ 1400999 h 1426100"/>
              <a:gd name="connsiteX811" fmla="*/ 552630 w 1429540"/>
              <a:gd name="connsiteY811" fmla="*/ 1400999 h 1426100"/>
              <a:gd name="connsiteX812" fmla="*/ 552630 w 1429540"/>
              <a:gd name="connsiteY812" fmla="*/ 1398718 h 1426100"/>
              <a:gd name="connsiteX813" fmla="*/ 550347 w 1429540"/>
              <a:gd name="connsiteY813" fmla="*/ 1398718 h 1426100"/>
              <a:gd name="connsiteX814" fmla="*/ 550347 w 1429540"/>
              <a:gd name="connsiteY814" fmla="*/ 1396436 h 1426100"/>
              <a:gd name="connsiteX815" fmla="*/ 548063 w 1429540"/>
              <a:gd name="connsiteY815" fmla="*/ 1396436 h 1426100"/>
              <a:gd name="connsiteX816" fmla="*/ 545779 w 1429540"/>
              <a:gd name="connsiteY816" fmla="*/ 1396436 h 1426100"/>
              <a:gd name="connsiteX817" fmla="*/ 543496 w 1429540"/>
              <a:gd name="connsiteY817" fmla="*/ 1396436 h 1426100"/>
              <a:gd name="connsiteX818" fmla="*/ 541212 w 1429540"/>
              <a:gd name="connsiteY818" fmla="*/ 1396436 h 1426100"/>
              <a:gd name="connsiteX819" fmla="*/ 538929 w 1429540"/>
              <a:gd name="connsiteY819" fmla="*/ 1396436 h 1426100"/>
              <a:gd name="connsiteX820" fmla="*/ 538929 w 1429540"/>
              <a:gd name="connsiteY820" fmla="*/ 1398718 h 1426100"/>
              <a:gd name="connsiteX821" fmla="*/ 536645 w 1429540"/>
              <a:gd name="connsiteY821" fmla="*/ 1398718 h 1426100"/>
              <a:gd name="connsiteX822" fmla="*/ 536645 w 1429540"/>
              <a:gd name="connsiteY822" fmla="*/ 1400999 h 1426100"/>
              <a:gd name="connsiteX823" fmla="*/ 534362 w 1429540"/>
              <a:gd name="connsiteY823" fmla="*/ 1400999 h 1426100"/>
              <a:gd name="connsiteX824" fmla="*/ 532078 w 1429540"/>
              <a:gd name="connsiteY824" fmla="*/ 1400999 h 1426100"/>
              <a:gd name="connsiteX825" fmla="*/ 532078 w 1429540"/>
              <a:gd name="connsiteY825" fmla="*/ 1403281 h 1426100"/>
              <a:gd name="connsiteX826" fmla="*/ 532078 w 1429540"/>
              <a:gd name="connsiteY826" fmla="*/ 1405563 h 1426100"/>
              <a:gd name="connsiteX827" fmla="*/ 532078 w 1429540"/>
              <a:gd name="connsiteY827" fmla="*/ 1407845 h 1426100"/>
              <a:gd name="connsiteX828" fmla="*/ 532078 w 1429540"/>
              <a:gd name="connsiteY828" fmla="*/ 1410127 h 1426100"/>
              <a:gd name="connsiteX829" fmla="*/ 532078 w 1429540"/>
              <a:gd name="connsiteY829" fmla="*/ 1412409 h 1426100"/>
              <a:gd name="connsiteX830" fmla="*/ 529794 w 1429540"/>
              <a:gd name="connsiteY830" fmla="*/ 1412409 h 1426100"/>
              <a:gd name="connsiteX831" fmla="*/ 532078 w 1429540"/>
              <a:gd name="connsiteY831" fmla="*/ 1412409 h 1426100"/>
              <a:gd name="connsiteX832" fmla="*/ 532078 w 1429540"/>
              <a:gd name="connsiteY832" fmla="*/ 1414691 h 1426100"/>
              <a:gd name="connsiteX833" fmla="*/ 534362 w 1429540"/>
              <a:gd name="connsiteY833" fmla="*/ 1414691 h 1426100"/>
              <a:gd name="connsiteX834" fmla="*/ 534362 w 1429540"/>
              <a:gd name="connsiteY834" fmla="*/ 1416973 h 1426100"/>
              <a:gd name="connsiteX835" fmla="*/ 534362 w 1429540"/>
              <a:gd name="connsiteY835" fmla="*/ 1419255 h 1426100"/>
              <a:gd name="connsiteX836" fmla="*/ 532078 w 1429540"/>
              <a:gd name="connsiteY836" fmla="*/ 1419255 h 1426100"/>
              <a:gd name="connsiteX837" fmla="*/ 532078 w 1429540"/>
              <a:gd name="connsiteY837" fmla="*/ 1421537 h 1426100"/>
              <a:gd name="connsiteX838" fmla="*/ 529794 w 1429540"/>
              <a:gd name="connsiteY838" fmla="*/ 1421537 h 1426100"/>
              <a:gd name="connsiteX839" fmla="*/ 529794 w 1429540"/>
              <a:gd name="connsiteY839" fmla="*/ 1419255 h 1426100"/>
              <a:gd name="connsiteX840" fmla="*/ 529794 w 1429540"/>
              <a:gd name="connsiteY840" fmla="*/ 1421537 h 1426100"/>
              <a:gd name="connsiteX841" fmla="*/ 527511 w 1429540"/>
              <a:gd name="connsiteY841" fmla="*/ 1421537 h 1426100"/>
              <a:gd name="connsiteX842" fmla="*/ 525227 w 1429540"/>
              <a:gd name="connsiteY842" fmla="*/ 1421537 h 1426100"/>
              <a:gd name="connsiteX843" fmla="*/ 527511 w 1429540"/>
              <a:gd name="connsiteY843" fmla="*/ 1421537 h 1426100"/>
              <a:gd name="connsiteX844" fmla="*/ 525227 w 1429540"/>
              <a:gd name="connsiteY844" fmla="*/ 1421537 h 1426100"/>
              <a:gd name="connsiteX845" fmla="*/ 525227 w 1429540"/>
              <a:gd name="connsiteY845" fmla="*/ 1423818 h 1426100"/>
              <a:gd name="connsiteX846" fmla="*/ 525227 w 1429540"/>
              <a:gd name="connsiteY846" fmla="*/ 1421537 h 1426100"/>
              <a:gd name="connsiteX847" fmla="*/ 522943 w 1429540"/>
              <a:gd name="connsiteY847" fmla="*/ 1421537 h 1426100"/>
              <a:gd name="connsiteX848" fmla="*/ 520660 w 1429540"/>
              <a:gd name="connsiteY848" fmla="*/ 1421537 h 1426100"/>
              <a:gd name="connsiteX849" fmla="*/ 518376 w 1429540"/>
              <a:gd name="connsiteY849" fmla="*/ 1421537 h 1426100"/>
              <a:gd name="connsiteX850" fmla="*/ 516093 w 1429540"/>
              <a:gd name="connsiteY850" fmla="*/ 1421537 h 1426100"/>
              <a:gd name="connsiteX851" fmla="*/ 513809 w 1429540"/>
              <a:gd name="connsiteY851" fmla="*/ 1421537 h 1426100"/>
              <a:gd name="connsiteX852" fmla="*/ 513809 w 1429540"/>
              <a:gd name="connsiteY852" fmla="*/ 1423818 h 1426100"/>
              <a:gd name="connsiteX853" fmla="*/ 511525 w 1429540"/>
              <a:gd name="connsiteY853" fmla="*/ 1423818 h 1426100"/>
              <a:gd name="connsiteX854" fmla="*/ 509242 w 1429540"/>
              <a:gd name="connsiteY854" fmla="*/ 1423818 h 1426100"/>
              <a:gd name="connsiteX855" fmla="*/ 509242 w 1429540"/>
              <a:gd name="connsiteY855" fmla="*/ 1426100 h 1426100"/>
              <a:gd name="connsiteX856" fmla="*/ 509242 w 1429540"/>
              <a:gd name="connsiteY856" fmla="*/ 1423818 h 1426100"/>
              <a:gd name="connsiteX857" fmla="*/ 509242 w 1429540"/>
              <a:gd name="connsiteY857" fmla="*/ 1426100 h 1426100"/>
              <a:gd name="connsiteX858" fmla="*/ 509242 w 1429540"/>
              <a:gd name="connsiteY858" fmla="*/ 1423818 h 1426100"/>
              <a:gd name="connsiteX859" fmla="*/ 506958 w 1429540"/>
              <a:gd name="connsiteY859" fmla="*/ 1423818 h 1426100"/>
              <a:gd name="connsiteX860" fmla="*/ 504675 w 1429540"/>
              <a:gd name="connsiteY860" fmla="*/ 1423818 h 1426100"/>
              <a:gd name="connsiteX861" fmla="*/ 504675 w 1429540"/>
              <a:gd name="connsiteY861" fmla="*/ 1426100 h 1426100"/>
              <a:gd name="connsiteX862" fmla="*/ 502391 w 1429540"/>
              <a:gd name="connsiteY862" fmla="*/ 1426100 h 1426100"/>
              <a:gd name="connsiteX863" fmla="*/ 502391 w 1429540"/>
              <a:gd name="connsiteY863" fmla="*/ 1423818 h 1426100"/>
              <a:gd name="connsiteX864" fmla="*/ 500108 w 1429540"/>
              <a:gd name="connsiteY864" fmla="*/ 1423818 h 1426100"/>
              <a:gd name="connsiteX865" fmla="*/ 500108 w 1429540"/>
              <a:gd name="connsiteY865" fmla="*/ 1421537 h 1426100"/>
              <a:gd name="connsiteX866" fmla="*/ 497824 w 1429540"/>
              <a:gd name="connsiteY866" fmla="*/ 1421537 h 1426100"/>
              <a:gd name="connsiteX867" fmla="*/ 495540 w 1429540"/>
              <a:gd name="connsiteY867" fmla="*/ 1421537 h 1426100"/>
              <a:gd name="connsiteX868" fmla="*/ 495540 w 1429540"/>
              <a:gd name="connsiteY868" fmla="*/ 1419255 h 1426100"/>
              <a:gd name="connsiteX869" fmla="*/ 497824 w 1429540"/>
              <a:gd name="connsiteY869" fmla="*/ 1419255 h 1426100"/>
              <a:gd name="connsiteX870" fmla="*/ 495540 w 1429540"/>
              <a:gd name="connsiteY870" fmla="*/ 1419255 h 1426100"/>
              <a:gd name="connsiteX871" fmla="*/ 497824 w 1429540"/>
              <a:gd name="connsiteY871" fmla="*/ 1419255 h 1426100"/>
              <a:gd name="connsiteX872" fmla="*/ 495540 w 1429540"/>
              <a:gd name="connsiteY872" fmla="*/ 1419255 h 1426100"/>
              <a:gd name="connsiteX873" fmla="*/ 495540 w 1429540"/>
              <a:gd name="connsiteY873" fmla="*/ 1416973 h 1426100"/>
              <a:gd name="connsiteX874" fmla="*/ 497824 w 1429540"/>
              <a:gd name="connsiteY874" fmla="*/ 1416973 h 1426100"/>
              <a:gd name="connsiteX875" fmla="*/ 495540 w 1429540"/>
              <a:gd name="connsiteY875" fmla="*/ 1416973 h 1426100"/>
              <a:gd name="connsiteX876" fmla="*/ 495540 w 1429540"/>
              <a:gd name="connsiteY876" fmla="*/ 1414691 h 1426100"/>
              <a:gd name="connsiteX877" fmla="*/ 495540 w 1429540"/>
              <a:gd name="connsiteY877" fmla="*/ 1412409 h 1426100"/>
              <a:gd name="connsiteX878" fmla="*/ 495540 w 1429540"/>
              <a:gd name="connsiteY878" fmla="*/ 1410127 h 1426100"/>
              <a:gd name="connsiteX879" fmla="*/ 495540 w 1429540"/>
              <a:gd name="connsiteY879" fmla="*/ 1412409 h 1426100"/>
              <a:gd name="connsiteX880" fmla="*/ 495540 w 1429540"/>
              <a:gd name="connsiteY880" fmla="*/ 1410127 h 1426100"/>
              <a:gd name="connsiteX881" fmla="*/ 493257 w 1429540"/>
              <a:gd name="connsiteY881" fmla="*/ 1410127 h 1426100"/>
              <a:gd name="connsiteX882" fmla="*/ 490973 w 1429540"/>
              <a:gd name="connsiteY882" fmla="*/ 1410127 h 1426100"/>
              <a:gd name="connsiteX883" fmla="*/ 490973 w 1429540"/>
              <a:gd name="connsiteY883" fmla="*/ 1407845 h 1426100"/>
              <a:gd name="connsiteX884" fmla="*/ 488689 w 1429540"/>
              <a:gd name="connsiteY884" fmla="*/ 1407845 h 1426100"/>
              <a:gd name="connsiteX885" fmla="*/ 488689 w 1429540"/>
              <a:gd name="connsiteY885" fmla="*/ 1405563 h 1426100"/>
              <a:gd name="connsiteX886" fmla="*/ 486406 w 1429540"/>
              <a:gd name="connsiteY886" fmla="*/ 1405563 h 1426100"/>
              <a:gd name="connsiteX887" fmla="*/ 486406 w 1429540"/>
              <a:gd name="connsiteY887" fmla="*/ 1403281 h 1426100"/>
              <a:gd name="connsiteX888" fmla="*/ 488689 w 1429540"/>
              <a:gd name="connsiteY888" fmla="*/ 1403281 h 1426100"/>
              <a:gd name="connsiteX889" fmla="*/ 486406 w 1429540"/>
              <a:gd name="connsiteY889" fmla="*/ 1403281 h 1426100"/>
              <a:gd name="connsiteX890" fmla="*/ 486406 w 1429540"/>
              <a:gd name="connsiteY890" fmla="*/ 1400999 h 1426100"/>
              <a:gd name="connsiteX891" fmla="*/ 484122 w 1429540"/>
              <a:gd name="connsiteY891" fmla="*/ 1400999 h 1426100"/>
              <a:gd name="connsiteX892" fmla="*/ 484122 w 1429540"/>
              <a:gd name="connsiteY892" fmla="*/ 1398718 h 1426100"/>
              <a:gd name="connsiteX893" fmla="*/ 481839 w 1429540"/>
              <a:gd name="connsiteY893" fmla="*/ 1398718 h 1426100"/>
              <a:gd name="connsiteX894" fmla="*/ 481839 w 1429540"/>
              <a:gd name="connsiteY894" fmla="*/ 1396436 h 1426100"/>
              <a:gd name="connsiteX895" fmla="*/ 481839 w 1429540"/>
              <a:gd name="connsiteY895" fmla="*/ 1394154 h 1426100"/>
              <a:gd name="connsiteX896" fmla="*/ 479555 w 1429540"/>
              <a:gd name="connsiteY896" fmla="*/ 1394154 h 1426100"/>
              <a:gd name="connsiteX897" fmla="*/ 477272 w 1429540"/>
              <a:gd name="connsiteY897" fmla="*/ 1394154 h 1426100"/>
              <a:gd name="connsiteX898" fmla="*/ 474988 w 1429540"/>
              <a:gd name="connsiteY898" fmla="*/ 1394154 h 1426100"/>
              <a:gd name="connsiteX899" fmla="*/ 474988 w 1429540"/>
              <a:gd name="connsiteY899" fmla="*/ 1391872 h 1426100"/>
              <a:gd name="connsiteX900" fmla="*/ 477272 w 1429540"/>
              <a:gd name="connsiteY900" fmla="*/ 1391872 h 1426100"/>
              <a:gd name="connsiteX901" fmla="*/ 477272 w 1429540"/>
              <a:gd name="connsiteY901" fmla="*/ 1389590 h 1426100"/>
              <a:gd name="connsiteX902" fmla="*/ 474988 w 1429540"/>
              <a:gd name="connsiteY902" fmla="*/ 1389590 h 1426100"/>
              <a:gd name="connsiteX903" fmla="*/ 474988 w 1429540"/>
              <a:gd name="connsiteY903" fmla="*/ 1387308 h 1426100"/>
              <a:gd name="connsiteX904" fmla="*/ 477272 w 1429540"/>
              <a:gd name="connsiteY904" fmla="*/ 1387308 h 1426100"/>
              <a:gd name="connsiteX905" fmla="*/ 477272 w 1429540"/>
              <a:gd name="connsiteY905" fmla="*/ 1385026 h 1426100"/>
              <a:gd name="connsiteX906" fmla="*/ 477272 w 1429540"/>
              <a:gd name="connsiteY906" fmla="*/ 1382744 h 1426100"/>
              <a:gd name="connsiteX907" fmla="*/ 477272 w 1429540"/>
              <a:gd name="connsiteY907" fmla="*/ 1380462 h 1426100"/>
              <a:gd name="connsiteX908" fmla="*/ 474988 w 1429540"/>
              <a:gd name="connsiteY908" fmla="*/ 1380462 h 1426100"/>
              <a:gd name="connsiteX909" fmla="*/ 474988 w 1429540"/>
              <a:gd name="connsiteY909" fmla="*/ 1378181 h 1426100"/>
              <a:gd name="connsiteX910" fmla="*/ 472704 w 1429540"/>
              <a:gd name="connsiteY910" fmla="*/ 1375899 h 1426100"/>
              <a:gd name="connsiteX911" fmla="*/ 470421 w 1429540"/>
              <a:gd name="connsiteY911" fmla="*/ 1375899 h 1426100"/>
              <a:gd name="connsiteX912" fmla="*/ 470421 w 1429540"/>
              <a:gd name="connsiteY912" fmla="*/ 1378181 h 1426100"/>
              <a:gd name="connsiteX913" fmla="*/ 468137 w 1429540"/>
              <a:gd name="connsiteY913" fmla="*/ 1378181 h 1426100"/>
              <a:gd name="connsiteX914" fmla="*/ 468137 w 1429540"/>
              <a:gd name="connsiteY914" fmla="*/ 1375899 h 1426100"/>
              <a:gd name="connsiteX915" fmla="*/ 470421 w 1429540"/>
              <a:gd name="connsiteY915" fmla="*/ 1375899 h 1426100"/>
              <a:gd name="connsiteX916" fmla="*/ 470421 w 1429540"/>
              <a:gd name="connsiteY916" fmla="*/ 1373617 h 1426100"/>
              <a:gd name="connsiteX917" fmla="*/ 470421 w 1429540"/>
              <a:gd name="connsiteY917" fmla="*/ 1371335 h 1426100"/>
              <a:gd name="connsiteX918" fmla="*/ 468137 w 1429540"/>
              <a:gd name="connsiteY918" fmla="*/ 1371335 h 1426100"/>
              <a:gd name="connsiteX919" fmla="*/ 465854 w 1429540"/>
              <a:gd name="connsiteY919" fmla="*/ 1371335 h 1426100"/>
              <a:gd name="connsiteX920" fmla="*/ 465854 w 1429540"/>
              <a:gd name="connsiteY920" fmla="*/ 1373617 h 1426100"/>
              <a:gd name="connsiteX921" fmla="*/ 468137 w 1429540"/>
              <a:gd name="connsiteY921" fmla="*/ 1373617 h 1426100"/>
              <a:gd name="connsiteX922" fmla="*/ 465854 w 1429540"/>
              <a:gd name="connsiteY922" fmla="*/ 1373617 h 1426100"/>
              <a:gd name="connsiteX923" fmla="*/ 463570 w 1429540"/>
              <a:gd name="connsiteY923" fmla="*/ 1373617 h 1426100"/>
              <a:gd name="connsiteX924" fmla="*/ 463570 w 1429540"/>
              <a:gd name="connsiteY924" fmla="*/ 1371335 h 1426100"/>
              <a:gd name="connsiteX925" fmla="*/ 463570 w 1429540"/>
              <a:gd name="connsiteY925" fmla="*/ 1369053 h 1426100"/>
              <a:gd name="connsiteX926" fmla="*/ 463570 w 1429540"/>
              <a:gd name="connsiteY926" fmla="*/ 1366771 h 1426100"/>
              <a:gd name="connsiteX927" fmla="*/ 461286 w 1429540"/>
              <a:gd name="connsiteY927" fmla="*/ 1366771 h 1426100"/>
              <a:gd name="connsiteX928" fmla="*/ 461286 w 1429540"/>
              <a:gd name="connsiteY928" fmla="*/ 1364489 h 1426100"/>
              <a:gd name="connsiteX929" fmla="*/ 459003 w 1429540"/>
              <a:gd name="connsiteY929" fmla="*/ 1364489 h 1426100"/>
              <a:gd name="connsiteX930" fmla="*/ 456719 w 1429540"/>
              <a:gd name="connsiteY930" fmla="*/ 1364489 h 1426100"/>
              <a:gd name="connsiteX931" fmla="*/ 454435 w 1429540"/>
              <a:gd name="connsiteY931" fmla="*/ 1364489 h 1426100"/>
              <a:gd name="connsiteX932" fmla="*/ 452152 w 1429540"/>
              <a:gd name="connsiteY932" fmla="*/ 1364489 h 1426100"/>
              <a:gd name="connsiteX933" fmla="*/ 452152 w 1429540"/>
              <a:gd name="connsiteY933" fmla="*/ 1362207 h 1426100"/>
              <a:gd name="connsiteX934" fmla="*/ 454435 w 1429540"/>
              <a:gd name="connsiteY934" fmla="*/ 1362207 h 1426100"/>
              <a:gd name="connsiteX935" fmla="*/ 454435 w 1429540"/>
              <a:gd name="connsiteY935" fmla="*/ 1359925 h 1426100"/>
              <a:gd name="connsiteX936" fmla="*/ 454435 w 1429540"/>
              <a:gd name="connsiteY936" fmla="*/ 1357643 h 1426100"/>
              <a:gd name="connsiteX937" fmla="*/ 456719 w 1429540"/>
              <a:gd name="connsiteY937" fmla="*/ 1357643 h 1426100"/>
              <a:gd name="connsiteX938" fmla="*/ 456719 w 1429540"/>
              <a:gd name="connsiteY938" fmla="*/ 1355362 h 1426100"/>
              <a:gd name="connsiteX939" fmla="*/ 454435 w 1429540"/>
              <a:gd name="connsiteY939" fmla="*/ 1355362 h 1426100"/>
              <a:gd name="connsiteX940" fmla="*/ 454435 w 1429540"/>
              <a:gd name="connsiteY940" fmla="*/ 1357643 h 1426100"/>
              <a:gd name="connsiteX941" fmla="*/ 454435 w 1429540"/>
              <a:gd name="connsiteY941" fmla="*/ 1355362 h 1426100"/>
              <a:gd name="connsiteX942" fmla="*/ 454435 w 1429540"/>
              <a:gd name="connsiteY942" fmla="*/ 1353080 h 1426100"/>
              <a:gd name="connsiteX943" fmla="*/ 454435 w 1429540"/>
              <a:gd name="connsiteY943" fmla="*/ 1350798 h 1426100"/>
              <a:gd name="connsiteX944" fmla="*/ 452152 w 1429540"/>
              <a:gd name="connsiteY944" fmla="*/ 1350798 h 1426100"/>
              <a:gd name="connsiteX945" fmla="*/ 452152 w 1429540"/>
              <a:gd name="connsiteY945" fmla="*/ 1353080 h 1426100"/>
              <a:gd name="connsiteX946" fmla="*/ 454435 w 1429540"/>
              <a:gd name="connsiteY946" fmla="*/ 1353080 h 1426100"/>
              <a:gd name="connsiteX947" fmla="*/ 452152 w 1429540"/>
              <a:gd name="connsiteY947" fmla="*/ 1353080 h 1426100"/>
              <a:gd name="connsiteX948" fmla="*/ 449868 w 1429540"/>
              <a:gd name="connsiteY948" fmla="*/ 1350798 h 1426100"/>
              <a:gd name="connsiteX949" fmla="*/ 447585 w 1429540"/>
              <a:gd name="connsiteY949" fmla="*/ 1350798 h 1426100"/>
              <a:gd name="connsiteX950" fmla="*/ 447585 w 1429540"/>
              <a:gd name="connsiteY950" fmla="*/ 1348516 h 1426100"/>
              <a:gd name="connsiteX951" fmla="*/ 449868 w 1429540"/>
              <a:gd name="connsiteY951" fmla="*/ 1348516 h 1426100"/>
              <a:gd name="connsiteX952" fmla="*/ 447585 w 1429540"/>
              <a:gd name="connsiteY952" fmla="*/ 1348516 h 1426100"/>
              <a:gd name="connsiteX953" fmla="*/ 447585 w 1429540"/>
              <a:gd name="connsiteY953" fmla="*/ 1346234 h 1426100"/>
              <a:gd name="connsiteX954" fmla="*/ 447585 w 1429540"/>
              <a:gd name="connsiteY954" fmla="*/ 1343952 h 1426100"/>
              <a:gd name="connsiteX955" fmla="*/ 449868 w 1429540"/>
              <a:gd name="connsiteY955" fmla="*/ 1343952 h 1426100"/>
              <a:gd name="connsiteX956" fmla="*/ 449868 w 1429540"/>
              <a:gd name="connsiteY956" fmla="*/ 1341670 h 1426100"/>
              <a:gd name="connsiteX957" fmla="*/ 449868 w 1429540"/>
              <a:gd name="connsiteY957" fmla="*/ 1339388 h 1426100"/>
              <a:gd name="connsiteX958" fmla="*/ 447585 w 1429540"/>
              <a:gd name="connsiteY958" fmla="*/ 1339388 h 1426100"/>
              <a:gd name="connsiteX959" fmla="*/ 449868 w 1429540"/>
              <a:gd name="connsiteY959" fmla="*/ 1339388 h 1426100"/>
              <a:gd name="connsiteX960" fmla="*/ 447585 w 1429540"/>
              <a:gd name="connsiteY960" fmla="*/ 1339388 h 1426100"/>
              <a:gd name="connsiteX961" fmla="*/ 447585 w 1429540"/>
              <a:gd name="connsiteY961" fmla="*/ 1337106 h 1426100"/>
              <a:gd name="connsiteX962" fmla="*/ 447585 w 1429540"/>
              <a:gd name="connsiteY962" fmla="*/ 1334824 h 1426100"/>
              <a:gd name="connsiteX963" fmla="*/ 445301 w 1429540"/>
              <a:gd name="connsiteY963" fmla="*/ 1334824 h 1426100"/>
              <a:gd name="connsiteX964" fmla="*/ 445301 w 1429540"/>
              <a:gd name="connsiteY964" fmla="*/ 1332543 h 1426100"/>
              <a:gd name="connsiteX965" fmla="*/ 445301 w 1429540"/>
              <a:gd name="connsiteY965" fmla="*/ 1334824 h 1426100"/>
              <a:gd name="connsiteX966" fmla="*/ 445301 w 1429540"/>
              <a:gd name="connsiteY966" fmla="*/ 1332543 h 1426100"/>
              <a:gd name="connsiteX967" fmla="*/ 443018 w 1429540"/>
              <a:gd name="connsiteY967" fmla="*/ 1332543 h 1426100"/>
              <a:gd name="connsiteX968" fmla="*/ 445301 w 1429540"/>
              <a:gd name="connsiteY968" fmla="*/ 1332543 h 1426100"/>
              <a:gd name="connsiteX969" fmla="*/ 443018 w 1429540"/>
              <a:gd name="connsiteY969" fmla="*/ 1332543 h 1426100"/>
              <a:gd name="connsiteX970" fmla="*/ 443018 w 1429540"/>
              <a:gd name="connsiteY970" fmla="*/ 1330261 h 1426100"/>
              <a:gd name="connsiteX971" fmla="*/ 440734 w 1429540"/>
              <a:gd name="connsiteY971" fmla="*/ 1330261 h 1426100"/>
              <a:gd name="connsiteX972" fmla="*/ 443018 w 1429540"/>
              <a:gd name="connsiteY972" fmla="*/ 1330261 h 1426100"/>
              <a:gd name="connsiteX973" fmla="*/ 440734 w 1429540"/>
              <a:gd name="connsiteY973" fmla="*/ 1327979 h 1426100"/>
              <a:gd name="connsiteX974" fmla="*/ 440734 w 1429540"/>
              <a:gd name="connsiteY974" fmla="*/ 1330261 h 1426100"/>
              <a:gd name="connsiteX975" fmla="*/ 440734 w 1429540"/>
              <a:gd name="connsiteY975" fmla="*/ 1327979 h 1426100"/>
              <a:gd name="connsiteX976" fmla="*/ 440734 w 1429540"/>
              <a:gd name="connsiteY976" fmla="*/ 1325697 h 1426100"/>
              <a:gd name="connsiteX977" fmla="*/ 438450 w 1429540"/>
              <a:gd name="connsiteY977" fmla="*/ 1325697 h 1426100"/>
              <a:gd name="connsiteX978" fmla="*/ 438450 w 1429540"/>
              <a:gd name="connsiteY978" fmla="*/ 1323415 h 1426100"/>
              <a:gd name="connsiteX979" fmla="*/ 436167 w 1429540"/>
              <a:gd name="connsiteY979" fmla="*/ 1323415 h 1426100"/>
              <a:gd name="connsiteX980" fmla="*/ 433883 w 1429540"/>
              <a:gd name="connsiteY980" fmla="*/ 1323415 h 1426100"/>
              <a:gd name="connsiteX981" fmla="*/ 433883 w 1429540"/>
              <a:gd name="connsiteY981" fmla="*/ 1321133 h 1426100"/>
              <a:gd name="connsiteX982" fmla="*/ 431600 w 1429540"/>
              <a:gd name="connsiteY982" fmla="*/ 1321133 h 1426100"/>
              <a:gd name="connsiteX983" fmla="*/ 433883 w 1429540"/>
              <a:gd name="connsiteY983" fmla="*/ 1321133 h 1426100"/>
              <a:gd name="connsiteX984" fmla="*/ 431600 w 1429540"/>
              <a:gd name="connsiteY984" fmla="*/ 1321133 h 1426100"/>
              <a:gd name="connsiteX985" fmla="*/ 429316 w 1429540"/>
              <a:gd name="connsiteY985" fmla="*/ 1321133 h 1426100"/>
              <a:gd name="connsiteX986" fmla="*/ 429316 w 1429540"/>
              <a:gd name="connsiteY986" fmla="*/ 1318851 h 1426100"/>
              <a:gd name="connsiteX987" fmla="*/ 427033 w 1429540"/>
              <a:gd name="connsiteY987" fmla="*/ 1318851 h 1426100"/>
              <a:gd name="connsiteX988" fmla="*/ 424749 w 1429540"/>
              <a:gd name="connsiteY988" fmla="*/ 1318851 h 1426100"/>
              <a:gd name="connsiteX989" fmla="*/ 424749 w 1429540"/>
              <a:gd name="connsiteY989" fmla="*/ 1316569 h 1426100"/>
              <a:gd name="connsiteX990" fmla="*/ 422465 w 1429540"/>
              <a:gd name="connsiteY990" fmla="*/ 1316569 h 1426100"/>
              <a:gd name="connsiteX991" fmla="*/ 424749 w 1429540"/>
              <a:gd name="connsiteY991" fmla="*/ 1316569 h 1426100"/>
              <a:gd name="connsiteX992" fmla="*/ 422465 w 1429540"/>
              <a:gd name="connsiteY992" fmla="*/ 1316569 h 1426100"/>
              <a:gd name="connsiteX993" fmla="*/ 420182 w 1429540"/>
              <a:gd name="connsiteY993" fmla="*/ 1316569 h 1426100"/>
              <a:gd name="connsiteX994" fmla="*/ 417898 w 1429540"/>
              <a:gd name="connsiteY994" fmla="*/ 1316569 h 1426100"/>
              <a:gd name="connsiteX995" fmla="*/ 420182 w 1429540"/>
              <a:gd name="connsiteY995" fmla="*/ 1316569 h 1426100"/>
              <a:gd name="connsiteX996" fmla="*/ 420182 w 1429540"/>
              <a:gd name="connsiteY996" fmla="*/ 1318851 h 1426100"/>
              <a:gd name="connsiteX997" fmla="*/ 417898 w 1429540"/>
              <a:gd name="connsiteY997" fmla="*/ 1318851 h 1426100"/>
              <a:gd name="connsiteX998" fmla="*/ 420182 w 1429540"/>
              <a:gd name="connsiteY998" fmla="*/ 1318851 h 1426100"/>
              <a:gd name="connsiteX999" fmla="*/ 420182 w 1429540"/>
              <a:gd name="connsiteY999" fmla="*/ 1316569 h 1426100"/>
              <a:gd name="connsiteX1000" fmla="*/ 417898 w 1429540"/>
              <a:gd name="connsiteY1000" fmla="*/ 1316569 h 1426100"/>
              <a:gd name="connsiteX1001" fmla="*/ 417898 w 1429540"/>
              <a:gd name="connsiteY1001" fmla="*/ 1318851 h 1426100"/>
              <a:gd name="connsiteX1002" fmla="*/ 417898 w 1429540"/>
              <a:gd name="connsiteY1002" fmla="*/ 1316569 h 1426100"/>
              <a:gd name="connsiteX1003" fmla="*/ 415614 w 1429540"/>
              <a:gd name="connsiteY1003" fmla="*/ 1316569 h 1426100"/>
              <a:gd name="connsiteX1004" fmla="*/ 415614 w 1429540"/>
              <a:gd name="connsiteY1004" fmla="*/ 1318851 h 1426100"/>
              <a:gd name="connsiteX1005" fmla="*/ 413331 w 1429540"/>
              <a:gd name="connsiteY1005" fmla="*/ 1318851 h 1426100"/>
              <a:gd name="connsiteX1006" fmla="*/ 411047 w 1429540"/>
              <a:gd name="connsiteY1006" fmla="*/ 1318851 h 1426100"/>
              <a:gd name="connsiteX1007" fmla="*/ 411047 w 1429540"/>
              <a:gd name="connsiteY1007" fmla="*/ 1316569 h 1426100"/>
              <a:gd name="connsiteX1008" fmla="*/ 408764 w 1429540"/>
              <a:gd name="connsiteY1008" fmla="*/ 1316569 h 1426100"/>
              <a:gd name="connsiteX1009" fmla="*/ 408764 w 1429540"/>
              <a:gd name="connsiteY1009" fmla="*/ 1318851 h 1426100"/>
              <a:gd name="connsiteX1010" fmla="*/ 406480 w 1429540"/>
              <a:gd name="connsiteY1010" fmla="*/ 1318851 h 1426100"/>
              <a:gd name="connsiteX1011" fmla="*/ 404196 w 1429540"/>
              <a:gd name="connsiteY1011" fmla="*/ 1318851 h 1426100"/>
              <a:gd name="connsiteX1012" fmla="*/ 404196 w 1429540"/>
              <a:gd name="connsiteY1012" fmla="*/ 1316569 h 1426100"/>
              <a:gd name="connsiteX1013" fmla="*/ 401913 w 1429540"/>
              <a:gd name="connsiteY1013" fmla="*/ 1316569 h 1426100"/>
              <a:gd name="connsiteX1014" fmla="*/ 401913 w 1429540"/>
              <a:gd name="connsiteY1014" fmla="*/ 1318851 h 1426100"/>
              <a:gd name="connsiteX1015" fmla="*/ 401913 w 1429540"/>
              <a:gd name="connsiteY1015" fmla="*/ 1321133 h 1426100"/>
              <a:gd name="connsiteX1016" fmla="*/ 401913 w 1429540"/>
              <a:gd name="connsiteY1016" fmla="*/ 1323415 h 1426100"/>
              <a:gd name="connsiteX1017" fmla="*/ 399629 w 1429540"/>
              <a:gd name="connsiteY1017" fmla="*/ 1323415 h 1426100"/>
              <a:gd name="connsiteX1018" fmla="*/ 397346 w 1429540"/>
              <a:gd name="connsiteY1018" fmla="*/ 1323415 h 1426100"/>
              <a:gd name="connsiteX1019" fmla="*/ 397346 w 1429540"/>
              <a:gd name="connsiteY1019" fmla="*/ 1321133 h 1426100"/>
              <a:gd name="connsiteX1020" fmla="*/ 397346 w 1429540"/>
              <a:gd name="connsiteY1020" fmla="*/ 1318851 h 1426100"/>
              <a:gd name="connsiteX1021" fmla="*/ 395062 w 1429540"/>
              <a:gd name="connsiteY1021" fmla="*/ 1318851 h 1426100"/>
              <a:gd name="connsiteX1022" fmla="*/ 397346 w 1429540"/>
              <a:gd name="connsiteY1022" fmla="*/ 1318851 h 1426100"/>
              <a:gd name="connsiteX1023" fmla="*/ 397346 w 1429540"/>
              <a:gd name="connsiteY1023" fmla="*/ 1316569 h 1426100"/>
              <a:gd name="connsiteX1024" fmla="*/ 399629 w 1429540"/>
              <a:gd name="connsiteY1024" fmla="*/ 1316569 h 1426100"/>
              <a:gd name="connsiteX1025" fmla="*/ 399629 w 1429540"/>
              <a:gd name="connsiteY1025" fmla="*/ 1314297 h 1426100"/>
              <a:gd name="connsiteX1026" fmla="*/ 399629 w 1429540"/>
              <a:gd name="connsiteY1026" fmla="*/ 1312015 h 1426100"/>
              <a:gd name="connsiteX1027" fmla="*/ 401913 w 1429540"/>
              <a:gd name="connsiteY1027" fmla="*/ 1312015 h 1426100"/>
              <a:gd name="connsiteX1028" fmla="*/ 399629 w 1429540"/>
              <a:gd name="connsiteY1028" fmla="*/ 1312015 h 1426100"/>
              <a:gd name="connsiteX1029" fmla="*/ 399629 w 1429540"/>
              <a:gd name="connsiteY1029" fmla="*/ 1309724 h 1426100"/>
              <a:gd name="connsiteX1030" fmla="*/ 399629 w 1429540"/>
              <a:gd name="connsiteY1030" fmla="*/ 1307451 h 1426100"/>
              <a:gd name="connsiteX1031" fmla="*/ 401913 w 1429540"/>
              <a:gd name="connsiteY1031" fmla="*/ 1307451 h 1426100"/>
              <a:gd name="connsiteX1032" fmla="*/ 399629 w 1429540"/>
              <a:gd name="connsiteY1032" fmla="*/ 1307451 h 1426100"/>
              <a:gd name="connsiteX1033" fmla="*/ 399629 w 1429540"/>
              <a:gd name="connsiteY1033" fmla="*/ 1305169 h 1426100"/>
              <a:gd name="connsiteX1034" fmla="*/ 399629 w 1429540"/>
              <a:gd name="connsiteY1034" fmla="*/ 1302887 h 1426100"/>
              <a:gd name="connsiteX1035" fmla="*/ 399629 w 1429540"/>
              <a:gd name="connsiteY1035" fmla="*/ 1305169 h 1426100"/>
              <a:gd name="connsiteX1036" fmla="*/ 399629 w 1429540"/>
              <a:gd name="connsiteY1036" fmla="*/ 1302887 h 1426100"/>
              <a:gd name="connsiteX1037" fmla="*/ 399629 w 1429540"/>
              <a:gd name="connsiteY1037" fmla="*/ 1300606 h 1426100"/>
              <a:gd name="connsiteX1038" fmla="*/ 397346 w 1429540"/>
              <a:gd name="connsiteY1038" fmla="*/ 1300606 h 1426100"/>
              <a:gd name="connsiteX1039" fmla="*/ 399629 w 1429540"/>
              <a:gd name="connsiteY1039" fmla="*/ 1300606 h 1426100"/>
              <a:gd name="connsiteX1040" fmla="*/ 399629 w 1429540"/>
              <a:gd name="connsiteY1040" fmla="*/ 1298324 h 1426100"/>
              <a:gd name="connsiteX1041" fmla="*/ 397346 w 1429540"/>
              <a:gd name="connsiteY1041" fmla="*/ 1298324 h 1426100"/>
              <a:gd name="connsiteX1042" fmla="*/ 397346 w 1429540"/>
              <a:gd name="connsiteY1042" fmla="*/ 1300606 h 1426100"/>
              <a:gd name="connsiteX1043" fmla="*/ 395062 w 1429540"/>
              <a:gd name="connsiteY1043" fmla="*/ 1300606 h 1426100"/>
              <a:gd name="connsiteX1044" fmla="*/ 395062 w 1429540"/>
              <a:gd name="connsiteY1044" fmla="*/ 1302887 h 1426100"/>
              <a:gd name="connsiteX1045" fmla="*/ 392779 w 1429540"/>
              <a:gd name="connsiteY1045" fmla="*/ 1302887 h 1426100"/>
              <a:gd name="connsiteX1046" fmla="*/ 392779 w 1429540"/>
              <a:gd name="connsiteY1046" fmla="*/ 1300606 h 1426100"/>
              <a:gd name="connsiteX1047" fmla="*/ 392779 w 1429540"/>
              <a:gd name="connsiteY1047" fmla="*/ 1302887 h 1426100"/>
              <a:gd name="connsiteX1048" fmla="*/ 390495 w 1429540"/>
              <a:gd name="connsiteY1048" fmla="*/ 1302887 h 1426100"/>
              <a:gd name="connsiteX1049" fmla="*/ 390495 w 1429540"/>
              <a:gd name="connsiteY1049" fmla="*/ 1305169 h 1426100"/>
              <a:gd name="connsiteX1050" fmla="*/ 390495 w 1429540"/>
              <a:gd name="connsiteY1050" fmla="*/ 1302887 h 1426100"/>
              <a:gd name="connsiteX1051" fmla="*/ 388211 w 1429540"/>
              <a:gd name="connsiteY1051" fmla="*/ 1302887 h 1426100"/>
              <a:gd name="connsiteX1052" fmla="*/ 388211 w 1429540"/>
              <a:gd name="connsiteY1052" fmla="*/ 1300606 h 1426100"/>
              <a:gd name="connsiteX1053" fmla="*/ 385928 w 1429540"/>
              <a:gd name="connsiteY1053" fmla="*/ 1300606 h 1426100"/>
              <a:gd name="connsiteX1054" fmla="*/ 385928 w 1429540"/>
              <a:gd name="connsiteY1054" fmla="*/ 1298324 h 1426100"/>
              <a:gd name="connsiteX1055" fmla="*/ 383644 w 1429540"/>
              <a:gd name="connsiteY1055" fmla="*/ 1298324 h 1426100"/>
              <a:gd name="connsiteX1056" fmla="*/ 383644 w 1429540"/>
              <a:gd name="connsiteY1056" fmla="*/ 1296042 h 1426100"/>
              <a:gd name="connsiteX1057" fmla="*/ 383644 w 1429540"/>
              <a:gd name="connsiteY1057" fmla="*/ 1293760 h 1426100"/>
              <a:gd name="connsiteX1058" fmla="*/ 381360 w 1429540"/>
              <a:gd name="connsiteY1058" fmla="*/ 1293760 h 1426100"/>
              <a:gd name="connsiteX1059" fmla="*/ 383644 w 1429540"/>
              <a:gd name="connsiteY1059" fmla="*/ 1293760 h 1426100"/>
              <a:gd name="connsiteX1060" fmla="*/ 381360 w 1429540"/>
              <a:gd name="connsiteY1060" fmla="*/ 1293760 h 1426100"/>
              <a:gd name="connsiteX1061" fmla="*/ 381360 w 1429540"/>
              <a:gd name="connsiteY1061" fmla="*/ 1296042 h 1426100"/>
              <a:gd name="connsiteX1062" fmla="*/ 379077 w 1429540"/>
              <a:gd name="connsiteY1062" fmla="*/ 1296042 h 1426100"/>
              <a:gd name="connsiteX1063" fmla="*/ 381360 w 1429540"/>
              <a:gd name="connsiteY1063" fmla="*/ 1296042 h 1426100"/>
              <a:gd name="connsiteX1064" fmla="*/ 379077 w 1429540"/>
              <a:gd name="connsiteY1064" fmla="*/ 1296042 h 1426100"/>
              <a:gd name="connsiteX1065" fmla="*/ 376793 w 1429540"/>
              <a:gd name="connsiteY1065" fmla="*/ 1296042 h 1426100"/>
              <a:gd name="connsiteX1066" fmla="*/ 376793 w 1429540"/>
              <a:gd name="connsiteY1066" fmla="*/ 1293760 h 1426100"/>
              <a:gd name="connsiteX1067" fmla="*/ 379077 w 1429540"/>
              <a:gd name="connsiteY1067" fmla="*/ 1293760 h 1426100"/>
              <a:gd name="connsiteX1068" fmla="*/ 376793 w 1429540"/>
              <a:gd name="connsiteY1068" fmla="*/ 1293760 h 1426100"/>
              <a:gd name="connsiteX1069" fmla="*/ 376793 w 1429540"/>
              <a:gd name="connsiteY1069" fmla="*/ 1296042 h 1426100"/>
              <a:gd name="connsiteX1070" fmla="*/ 374510 w 1429540"/>
              <a:gd name="connsiteY1070" fmla="*/ 1296042 h 1426100"/>
              <a:gd name="connsiteX1071" fmla="*/ 376793 w 1429540"/>
              <a:gd name="connsiteY1071" fmla="*/ 1296042 h 1426100"/>
              <a:gd name="connsiteX1072" fmla="*/ 376793 w 1429540"/>
              <a:gd name="connsiteY1072" fmla="*/ 1293760 h 1426100"/>
              <a:gd name="connsiteX1073" fmla="*/ 374510 w 1429540"/>
              <a:gd name="connsiteY1073" fmla="*/ 1293760 h 1426100"/>
              <a:gd name="connsiteX1074" fmla="*/ 374510 w 1429540"/>
              <a:gd name="connsiteY1074" fmla="*/ 1291478 h 1426100"/>
              <a:gd name="connsiteX1075" fmla="*/ 376793 w 1429540"/>
              <a:gd name="connsiteY1075" fmla="*/ 1291478 h 1426100"/>
              <a:gd name="connsiteX1076" fmla="*/ 374510 w 1429540"/>
              <a:gd name="connsiteY1076" fmla="*/ 1291478 h 1426100"/>
              <a:gd name="connsiteX1077" fmla="*/ 372226 w 1429540"/>
              <a:gd name="connsiteY1077" fmla="*/ 1291478 h 1426100"/>
              <a:gd name="connsiteX1078" fmla="*/ 372226 w 1429540"/>
              <a:gd name="connsiteY1078" fmla="*/ 1289196 h 1426100"/>
              <a:gd name="connsiteX1079" fmla="*/ 374510 w 1429540"/>
              <a:gd name="connsiteY1079" fmla="*/ 1289196 h 1426100"/>
              <a:gd name="connsiteX1080" fmla="*/ 374510 w 1429540"/>
              <a:gd name="connsiteY1080" fmla="*/ 1291478 h 1426100"/>
              <a:gd name="connsiteX1081" fmla="*/ 374510 w 1429540"/>
              <a:gd name="connsiteY1081" fmla="*/ 1289196 h 1426100"/>
              <a:gd name="connsiteX1082" fmla="*/ 372226 w 1429540"/>
              <a:gd name="connsiteY1082" fmla="*/ 1289196 h 1426100"/>
              <a:gd name="connsiteX1083" fmla="*/ 372226 w 1429540"/>
              <a:gd name="connsiteY1083" fmla="*/ 1291478 h 1426100"/>
              <a:gd name="connsiteX1084" fmla="*/ 372226 w 1429540"/>
              <a:gd name="connsiteY1084" fmla="*/ 1293760 h 1426100"/>
              <a:gd name="connsiteX1085" fmla="*/ 372226 w 1429540"/>
              <a:gd name="connsiteY1085" fmla="*/ 1296042 h 1426100"/>
              <a:gd name="connsiteX1086" fmla="*/ 369943 w 1429540"/>
              <a:gd name="connsiteY1086" fmla="*/ 1296042 h 1426100"/>
              <a:gd name="connsiteX1087" fmla="*/ 369943 w 1429540"/>
              <a:gd name="connsiteY1087" fmla="*/ 1293760 h 1426100"/>
              <a:gd name="connsiteX1088" fmla="*/ 367659 w 1429540"/>
              <a:gd name="connsiteY1088" fmla="*/ 1293760 h 1426100"/>
              <a:gd name="connsiteX1089" fmla="*/ 367659 w 1429540"/>
              <a:gd name="connsiteY1089" fmla="*/ 1291478 h 1426100"/>
              <a:gd name="connsiteX1090" fmla="*/ 365375 w 1429540"/>
              <a:gd name="connsiteY1090" fmla="*/ 1291478 h 1426100"/>
              <a:gd name="connsiteX1091" fmla="*/ 367659 w 1429540"/>
              <a:gd name="connsiteY1091" fmla="*/ 1291478 h 1426100"/>
              <a:gd name="connsiteX1092" fmla="*/ 367659 w 1429540"/>
              <a:gd name="connsiteY1092" fmla="*/ 1289196 h 1426100"/>
              <a:gd name="connsiteX1093" fmla="*/ 365375 w 1429540"/>
              <a:gd name="connsiteY1093" fmla="*/ 1289196 h 1426100"/>
              <a:gd name="connsiteX1094" fmla="*/ 363092 w 1429540"/>
              <a:gd name="connsiteY1094" fmla="*/ 1289196 h 1426100"/>
              <a:gd name="connsiteX1095" fmla="*/ 363092 w 1429540"/>
              <a:gd name="connsiteY1095" fmla="*/ 1286914 h 1426100"/>
              <a:gd name="connsiteX1096" fmla="*/ 363092 w 1429540"/>
              <a:gd name="connsiteY1096" fmla="*/ 1284632 h 1426100"/>
              <a:gd name="connsiteX1097" fmla="*/ 360808 w 1429540"/>
              <a:gd name="connsiteY1097" fmla="*/ 1284632 h 1426100"/>
              <a:gd name="connsiteX1098" fmla="*/ 360808 w 1429540"/>
              <a:gd name="connsiteY1098" fmla="*/ 1282350 h 1426100"/>
              <a:gd name="connsiteX1099" fmla="*/ 363092 w 1429540"/>
              <a:gd name="connsiteY1099" fmla="*/ 1282350 h 1426100"/>
              <a:gd name="connsiteX1100" fmla="*/ 363092 w 1429540"/>
              <a:gd name="connsiteY1100" fmla="*/ 1280069 h 1426100"/>
              <a:gd name="connsiteX1101" fmla="*/ 360808 w 1429540"/>
              <a:gd name="connsiteY1101" fmla="*/ 1280069 h 1426100"/>
              <a:gd name="connsiteX1102" fmla="*/ 360808 w 1429540"/>
              <a:gd name="connsiteY1102" fmla="*/ 1277787 h 1426100"/>
              <a:gd name="connsiteX1103" fmla="*/ 360808 w 1429540"/>
              <a:gd name="connsiteY1103" fmla="*/ 1275505 h 1426100"/>
              <a:gd name="connsiteX1104" fmla="*/ 360808 w 1429540"/>
              <a:gd name="connsiteY1104" fmla="*/ 1273223 h 1426100"/>
              <a:gd name="connsiteX1105" fmla="*/ 358525 w 1429540"/>
              <a:gd name="connsiteY1105" fmla="*/ 1273223 h 1426100"/>
              <a:gd name="connsiteX1106" fmla="*/ 358525 w 1429540"/>
              <a:gd name="connsiteY1106" fmla="*/ 1275505 h 1426100"/>
              <a:gd name="connsiteX1107" fmla="*/ 356241 w 1429540"/>
              <a:gd name="connsiteY1107" fmla="*/ 1275505 h 1426100"/>
              <a:gd name="connsiteX1108" fmla="*/ 356241 w 1429540"/>
              <a:gd name="connsiteY1108" fmla="*/ 1273223 h 1426100"/>
              <a:gd name="connsiteX1109" fmla="*/ 353957 w 1429540"/>
              <a:gd name="connsiteY1109" fmla="*/ 1273223 h 1426100"/>
              <a:gd name="connsiteX1110" fmla="*/ 351674 w 1429540"/>
              <a:gd name="connsiteY1110" fmla="*/ 1273223 h 1426100"/>
              <a:gd name="connsiteX1111" fmla="*/ 349390 w 1429540"/>
              <a:gd name="connsiteY1111" fmla="*/ 1273223 h 1426100"/>
              <a:gd name="connsiteX1112" fmla="*/ 349390 w 1429540"/>
              <a:gd name="connsiteY1112" fmla="*/ 1270941 h 1426100"/>
              <a:gd name="connsiteX1113" fmla="*/ 347106 w 1429540"/>
              <a:gd name="connsiteY1113" fmla="*/ 1270941 h 1426100"/>
              <a:gd name="connsiteX1114" fmla="*/ 349390 w 1429540"/>
              <a:gd name="connsiteY1114" fmla="*/ 1270941 h 1426100"/>
              <a:gd name="connsiteX1115" fmla="*/ 349390 w 1429540"/>
              <a:gd name="connsiteY1115" fmla="*/ 1273223 h 1426100"/>
              <a:gd name="connsiteX1116" fmla="*/ 347106 w 1429540"/>
              <a:gd name="connsiteY1116" fmla="*/ 1273223 h 1426100"/>
              <a:gd name="connsiteX1117" fmla="*/ 344823 w 1429540"/>
              <a:gd name="connsiteY1117" fmla="*/ 1273223 h 1426100"/>
              <a:gd name="connsiteX1118" fmla="*/ 342539 w 1429540"/>
              <a:gd name="connsiteY1118" fmla="*/ 1273223 h 1426100"/>
              <a:gd name="connsiteX1119" fmla="*/ 342539 w 1429540"/>
              <a:gd name="connsiteY1119" fmla="*/ 1275505 h 1426100"/>
              <a:gd name="connsiteX1120" fmla="*/ 342539 w 1429540"/>
              <a:gd name="connsiteY1120" fmla="*/ 1273223 h 1426100"/>
              <a:gd name="connsiteX1121" fmla="*/ 340256 w 1429540"/>
              <a:gd name="connsiteY1121" fmla="*/ 1273223 h 1426100"/>
              <a:gd name="connsiteX1122" fmla="*/ 337972 w 1429540"/>
              <a:gd name="connsiteY1122" fmla="*/ 1273223 h 1426100"/>
              <a:gd name="connsiteX1123" fmla="*/ 335689 w 1429540"/>
              <a:gd name="connsiteY1123" fmla="*/ 1273223 h 1426100"/>
              <a:gd name="connsiteX1124" fmla="*/ 335689 w 1429540"/>
              <a:gd name="connsiteY1124" fmla="*/ 1275505 h 1426100"/>
              <a:gd name="connsiteX1125" fmla="*/ 335689 w 1429540"/>
              <a:gd name="connsiteY1125" fmla="*/ 1273223 h 1426100"/>
              <a:gd name="connsiteX1126" fmla="*/ 333405 w 1429540"/>
              <a:gd name="connsiteY1126" fmla="*/ 1273223 h 1426100"/>
              <a:gd name="connsiteX1127" fmla="*/ 333405 w 1429540"/>
              <a:gd name="connsiteY1127" fmla="*/ 1275505 h 1426100"/>
              <a:gd name="connsiteX1128" fmla="*/ 333405 w 1429540"/>
              <a:gd name="connsiteY1128" fmla="*/ 1277787 h 1426100"/>
              <a:gd name="connsiteX1129" fmla="*/ 333405 w 1429540"/>
              <a:gd name="connsiteY1129" fmla="*/ 1275505 h 1426100"/>
              <a:gd name="connsiteX1130" fmla="*/ 331121 w 1429540"/>
              <a:gd name="connsiteY1130" fmla="*/ 1275505 h 1426100"/>
              <a:gd name="connsiteX1131" fmla="*/ 331121 w 1429540"/>
              <a:gd name="connsiteY1131" fmla="*/ 1277787 h 1426100"/>
              <a:gd name="connsiteX1132" fmla="*/ 328838 w 1429540"/>
              <a:gd name="connsiteY1132" fmla="*/ 1277787 h 1426100"/>
              <a:gd name="connsiteX1133" fmla="*/ 326554 w 1429540"/>
              <a:gd name="connsiteY1133" fmla="*/ 1277787 h 1426100"/>
              <a:gd name="connsiteX1134" fmla="*/ 328838 w 1429540"/>
              <a:gd name="connsiteY1134" fmla="*/ 1277787 h 1426100"/>
              <a:gd name="connsiteX1135" fmla="*/ 328838 w 1429540"/>
              <a:gd name="connsiteY1135" fmla="*/ 1280069 h 1426100"/>
              <a:gd name="connsiteX1136" fmla="*/ 326554 w 1429540"/>
              <a:gd name="connsiteY1136" fmla="*/ 1280069 h 1426100"/>
              <a:gd name="connsiteX1137" fmla="*/ 324271 w 1429540"/>
              <a:gd name="connsiteY1137" fmla="*/ 1280069 h 1426100"/>
              <a:gd name="connsiteX1138" fmla="*/ 324271 w 1429540"/>
              <a:gd name="connsiteY1138" fmla="*/ 1282350 h 1426100"/>
              <a:gd name="connsiteX1139" fmla="*/ 324271 w 1429540"/>
              <a:gd name="connsiteY1139" fmla="*/ 1284632 h 1426100"/>
              <a:gd name="connsiteX1140" fmla="*/ 324271 w 1429540"/>
              <a:gd name="connsiteY1140" fmla="*/ 1282350 h 1426100"/>
              <a:gd name="connsiteX1141" fmla="*/ 321987 w 1429540"/>
              <a:gd name="connsiteY1141" fmla="*/ 1282350 h 1426100"/>
              <a:gd name="connsiteX1142" fmla="*/ 321987 w 1429540"/>
              <a:gd name="connsiteY1142" fmla="*/ 1284632 h 1426100"/>
              <a:gd name="connsiteX1143" fmla="*/ 319703 w 1429540"/>
              <a:gd name="connsiteY1143" fmla="*/ 1284632 h 1426100"/>
              <a:gd name="connsiteX1144" fmla="*/ 319703 w 1429540"/>
              <a:gd name="connsiteY1144" fmla="*/ 1282350 h 1426100"/>
              <a:gd name="connsiteX1145" fmla="*/ 319703 w 1429540"/>
              <a:gd name="connsiteY1145" fmla="*/ 1280069 h 1426100"/>
              <a:gd name="connsiteX1146" fmla="*/ 319703 w 1429540"/>
              <a:gd name="connsiteY1146" fmla="*/ 1277787 h 1426100"/>
              <a:gd name="connsiteX1147" fmla="*/ 319703 w 1429540"/>
              <a:gd name="connsiteY1147" fmla="*/ 1275505 h 1426100"/>
              <a:gd name="connsiteX1148" fmla="*/ 317420 w 1429540"/>
              <a:gd name="connsiteY1148" fmla="*/ 1275505 h 1426100"/>
              <a:gd name="connsiteX1149" fmla="*/ 317420 w 1429540"/>
              <a:gd name="connsiteY1149" fmla="*/ 1273223 h 1426100"/>
              <a:gd name="connsiteX1150" fmla="*/ 317420 w 1429540"/>
              <a:gd name="connsiteY1150" fmla="*/ 1270941 h 1426100"/>
              <a:gd name="connsiteX1151" fmla="*/ 315136 w 1429540"/>
              <a:gd name="connsiteY1151" fmla="*/ 1270941 h 1426100"/>
              <a:gd name="connsiteX1152" fmla="*/ 315136 w 1429540"/>
              <a:gd name="connsiteY1152" fmla="*/ 1268659 h 1426100"/>
              <a:gd name="connsiteX1153" fmla="*/ 315136 w 1429540"/>
              <a:gd name="connsiteY1153" fmla="*/ 1266377 h 1426100"/>
              <a:gd name="connsiteX1154" fmla="*/ 312853 w 1429540"/>
              <a:gd name="connsiteY1154" fmla="*/ 1266377 h 1426100"/>
              <a:gd name="connsiteX1155" fmla="*/ 312853 w 1429540"/>
              <a:gd name="connsiteY1155" fmla="*/ 1264095 h 1426100"/>
              <a:gd name="connsiteX1156" fmla="*/ 310569 w 1429540"/>
              <a:gd name="connsiteY1156" fmla="*/ 1264095 h 1426100"/>
              <a:gd name="connsiteX1157" fmla="*/ 310569 w 1429540"/>
              <a:gd name="connsiteY1157" fmla="*/ 1261813 h 1426100"/>
              <a:gd name="connsiteX1158" fmla="*/ 312853 w 1429540"/>
              <a:gd name="connsiteY1158" fmla="*/ 1261813 h 1426100"/>
              <a:gd name="connsiteX1159" fmla="*/ 310569 w 1429540"/>
              <a:gd name="connsiteY1159" fmla="*/ 1261813 h 1426100"/>
              <a:gd name="connsiteX1160" fmla="*/ 308285 w 1429540"/>
              <a:gd name="connsiteY1160" fmla="*/ 1261813 h 1426100"/>
              <a:gd name="connsiteX1161" fmla="*/ 310569 w 1429540"/>
              <a:gd name="connsiteY1161" fmla="*/ 1261813 h 1426100"/>
              <a:gd name="connsiteX1162" fmla="*/ 310569 w 1429540"/>
              <a:gd name="connsiteY1162" fmla="*/ 1259531 h 1426100"/>
              <a:gd name="connsiteX1163" fmla="*/ 308285 w 1429540"/>
              <a:gd name="connsiteY1163" fmla="*/ 1259531 h 1426100"/>
              <a:gd name="connsiteX1164" fmla="*/ 308285 w 1429540"/>
              <a:gd name="connsiteY1164" fmla="*/ 1257250 h 1426100"/>
              <a:gd name="connsiteX1165" fmla="*/ 310569 w 1429540"/>
              <a:gd name="connsiteY1165" fmla="*/ 1257250 h 1426100"/>
              <a:gd name="connsiteX1166" fmla="*/ 308285 w 1429540"/>
              <a:gd name="connsiteY1166" fmla="*/ 1257250 h 1426100"/>
              <a:gd name="connsiteX1167" fmla="*/ 308285 w 1429540"/>
              <a:gd name="connsiteY1167" fmla="*/ 1254968 h 1426100"/>
              <a:gd name="connsiteX1168" fmla="*/ 306002 w 1429540"/>
              <a:gd name="connsiteY1168" fmla="*/ 1254968 h 1426100"/>
              <a:gd name="connsiteX1169" fmla="*/ 306002 w 1429540"/>
              <a:gd name="connsiteY1169" fmla="*/ 1252686 h 1426100"/>
              <a:gd name="connsiteX1170" fmla="*/ 306002 w 1429540"/>
              <a:gd name="connsiteY1170" fmla="*/ 1250404 h 1426100"/>
              <a:gd name="connsiteX1171" fmla="*/ 306002 w 1429540"/>
              <a:gd name="connsiteY1171" fmla="*/ 1252686 h 1426100"/>
              <a:gd name="connsiteX1172" fmla="*/ 306002 w 1429540"/>
              <a:gd name="connsiteY1172" fmla="*/ 1250404 h 1426100"/>
              <a:gd name="connsiteX1173" fmla="*/ 303718 w 1429540"/>
              <a:gd name="connsiteY1173" fmla="*/ 1250404 h 1426100"/>
              <a:gd name="connsiteX1174" fmla="*/ 303718 w 1429540"/>
              <a:gd name="connsiteY1174" fmla="*/ 1248122 h 1426100"/>
              <a:gd name="connsiteX1175" fmla="*/ 301435 w 1429540"/>
              <a:gd name="connsiteY1175" fmla="*/ 1248122 h 1426100"/>
              <a:gd name="connsiteX1176" fmla="*/ 299151 w 1429540"/>
              <a:gd name="connsiteY1176" fmla="*/ 1248122 h 1426100"/>
              <a:gd name="connsiteX1177" fmla="*/ 299151 w 1429540"/>
              <a:gd name="connsiteY1177" fmla="*/ 1245840 h 1426100"/>
              <a:gd name="connsiteX1178" fmla="*/ 301435 w 1429540"/>
              <a:gd name="connsiteY1178" fmla="*/ 1245840 h 1426100"/>
              <a:gd name="connsiteX1179" fmla="*/ 301435 w 1429540"/>
              <a:gd name="connsiteY1179" fmla="*/ 1243558 h 1426100"/>
              <a:gd name="connsiteX1180" fmla="*/ 301435 w 1429540"/>
              <a:gd name="connsiteY1180" fmla="*/ 1241276 h 1426100"/>
              <a:gd name="connsiteX1181" fmla="*/ 303718 w 1429540"/>
              <a:gd name="connsiteY1181" fmla="*/ 1241276 h 1426100"/>
              <a:gd name="connsiteX1182" fmla="*/ 303718 w 1429540"/>
              <a:gd name="connsiteY1182" fmla="*/ 1238994 h 1426100"/>
              <a:gd name="connsiteX1183" fmla="*/ 303718 w 1429540"/>
              <a:gd name="connsiteY1183" fmla="*/ 1241276 h 1426100"/>
              <a:gd name="connsiteX1184" fmla="*/ 306002 w 1429540"/>
              <a:gd name="connsiteY1184" fmla="*/ 1241276 h 1426100"/>
              <a:gd name="connsiteX1185" fmla="*/ 306002 w 1429540"/>
              <a:gd name="connsiteY1185" fmla="*/ 1238994 h 1426100"/>
              <a:gd name="connsiteX1186" fmla="*/ 303718 w 1429540"/>
              <a:gd name="connsiteY1186" fmla="*/ 1238994 h 1426100"/>
              <a:gd name="connsiteX1187" fmla="*/ 303718 w 1429540"/>
              <a:gd name="connsiteY1187" fmla="*/ 1236712 h 1426100"/>
              <a:gd name="connsiteX1188" fmla="*/ 301435 w 1429540"/>
              <a:gd name="connsiteY1188" fmla="*/ 1236712 h 1426100"/>
              <a:gd name="connsiteX1189" fmla="*/ 301435 w 1429540"/>
              <a:gd name="connsiteY1189" fmla="*/ 1234431 h 1426100"/>
              <a:gd name="connsiteX1190" fmla="*/ 301435 w 1429540"/>
              <a:gd name="connsiteY1190" fmla="*/ 1232149 h 1426100"/>
              <a:gd name="connsiteX1191" fmla="*/ 301435 w 1429540"/>
              <a:gd name="connsiteY1191" fmla="*/ 1229867 h 1426100"/>
              <a:gd name="connsiteX1192" fmla="*/ 299151 w 1429540"/>
              <a:gd name="connsiteY1192" fmla="*/ 1229867 h 1426100"/>
              <a:gd name="connsiteX1193" fmla="*/ 299151 w 1429540"/>
              <a:gd name="connsiteY1193" fmla="*/ 1227585 h 1426100"/>
              <a:gd name="connsiteX1194" fmla="*/ 296867 w 1429540"/>
              <a:gd name="connsiteY1194" fmla="*/ 1227585 h 1426100"/>
              <a:gd name="connsiteX1195" fmla="*/ 296867 w 1429540"/>
              <a:gd name="connsiteY1195" fmla="*/ 1225303 h 1426100"/>
              <a:gd name="connsiteX1196" fmla="*/ 299151 w 1429540"/>
              <a:gd name="connsiteY1196" fmla="*/ 1225303 h 1426100"/>
              <a:gd name="connsiteX1197" fmla="*/ 299151 w 1429540"/>
              <a:gd name="connsiteY1197" fmla="*/ 1223021 h 1426100"/>
              <a:gd name="connsiteX1198" fmla="*/ 299151 w 1429540"/>
              <a:gd name="connsiteY1198" fmla="*/ 1220739 h 1426100"/>
              <a:gd name="connsiteX1199" fmla="*/ 299151 w 1429540"/>
              <a:gd name="connsiteY1199" fmla="*/ 1218457 h 1426100"/>
              <a:gd name="connsiteX1200" fmla="*/ 299151 w 1429540"/>
              <a:gd name="connsiteY1200" fmla="*/ 1216175 h 1426100"/>
              <a:gd name="connsiteX1201" fmla="*/ 296867 w 1429540"/>
              <a:gd name="connsiteY1201" fmla="*/ 1216175 h 1426100"/>
              <a:gd name="connsiteX1202" fmla="*/ 294584 w 1429540"/>
              <a:gd name="connsiteY1202" fmla="*/ 1216175 h 1426100"/>
              <a:gd name="connsiteX1203" fmla="*/ 292300 w 1429540"/>
              <a:gd name="connsiteY1203" fmla="*/ 1216175 h 1426100"/>
              <a:gd name="connsiteX1204" fmla="*/ 292300 w 1429540"/>
              <a:gd name="connsiteY1204" fmla="*/ 1218457 h 1426100"/>
              <a:gd name="connsiteX1205" fmla="*/ 292300 w 1429540"/>
              <a:gd name="connsiteY1205" fmla="*/ 1220739 h 1426100"/>
              <a:gd name="connsiteX1206" fmla="*/ 292300 w 1429540"/>
              <a:gd name="connsiteY1206" fmla="*/ 1223021 h 1426100"/>
              <a:gd name="connsiteX1207" fmla="*/ 292300 w 1429540"/>
              <a:gd name="connsiteY1207" fmla="*/ 1225303 h 1426100"/>
              <a:gd name="connsiteX1208" fmla="*/ 290017 w 1429540"/>
              <a:gd name="connsiteY1208" fmla="*/ 1225303 h 1426100"/>
              <a:gd name="connsiteX1209" fmla="*/ 290017 w 1429540"/>
              <a:gd name="connsiteY1209" fmla="*/ 1223021 h 1426100"/>
              <a:gd name="connsiteX1210" fmla="*/ 287733 w 1429540"/>
              <a:gd name="connsiteY1210" fmla="*/ 1223021 h 1426100"/>
              <a:gd name="connsiteX1211" fmla="*/ 287733 w 1429540"/>
              <a:gd name="connsiteY1211" fmla="*/ 1220739 h 1426100"/>
              <a:gd name="connsiteX1212" fmla="*/ 285450 w 1429540"/>
              <a:gd name="connsiteY1212" fmla="*/ 1220739 h 1426100"/>
              <a:gd name="connsiteX1213" fmla="*/ 285450 w 1429540"/>
              <a:gd name="connsiteY1213" fmla="*/ 1218457 h 1426100"/>
              <a:gd name="connsiteX1214" fmla="*/ 283166 w 1429540"/>
              <a:gd name="connsiteY1214" fmla="*/ 1218457 h 1426100"/>
              <a:gd name="connsiteX1215" fmla="*/ 283166 w 1429540"/>
              <a:gd name="connsiteY1215" fmla="*/ 1216175 h 1426100"/>
              <a:gd name="connsiteX1216" fmla="*/ 280882 w 1429540"/>
              <a:gd name="connsiteY1216" fmla="*/ 1216175 h 1426100"/>
              <a:gd name="connsiteX1217" fmla="*/ 278599 w 1429540"/>
              <a:gd name="connsiteY1217" fmla="*/ 1216175 h 1426100"/>
              <a:gd name="connsiteX1218" fmla="*/ 276315 w 1429540"/>
              <a:gd name="connsiteY1218" fmla="*/ 1216175 h 1426100"/>
              <a:gd name="connsiteX1219" fmla="*/ 276315 w 1429540"/>
              <a:gd name="connsiteY1219" fmla="*/ 1213894 h 1426100"/>
              <a:gd name="connsiteX1220" fmla="*/ 274031 w 1429540"/>
              <a:gd name="connsiteY1220" fmla="*/ 1213894 h 1426100"/>
              <a:gd name="connsiteX1221" fmla="*/ 271748 w 1429540"/>
              <a:gd name="connsiteY1221" fmla="*/ 1213894 h 1426100"/>
              <a:gd name="connsiteX1222" fmla="*/ 271748 w 1429540"/>
              <a:gd name="connsiteY1222" fmla="*/ 1211612 h 1426100"/>
              <a:gd name="connsiteX1223" fmla="*/ 269464 w 1429540"/>
              <a:gd name="connsiteY1223" fmla="*/ 1211612 h 1426100"/>
              <a:gd name="connsiteX1224" fmla="*/ 269464 w 1429540"/>
              <a:gd name="connsiteY1224" fmla="*/ 1209330 h 1426100"/>
              <a:gd name="connsiteX1225" fmla="*/ 267181 w 1429540"/>
              <a:gd name="connsiteY1225" fmla="*/ 1209330 h 1426100"/>
              <a:gd name="connsiteX1226" fmla="*/ 267181 w 1429540"/>
              <a:gd name="connsiteY1226" fmla="*/ 1211612 h 1426100"/>
              <a:gd name="connsiteX1227" fmla="*/ 264897 w 1429540"/>
              <a:gd name="connsiteY1227" fmla="*/ 1211612 h 1426100"/>
              <a:gd name="connsiteX1228" fmla="*/ 264897 w 1429540"/>
              <a:gd name="connsiteY1228" fmla="*/ 1213894 h 1426100"/>
              <a:gd name="connsiteX1229" fmla="*/ 262613 w 1429540"/>
              <a:gd name="connsiteY1229" fmla="*/ 1213894 h 1426100"/>
              <a:gd name="connsiteX1230" fmla="*/ 262613 w 1429540"/>
              <a:gd name="connsiteY1230" fmla="*/ 1216175 h 1426100"/>
              <a:gd name="connsiteX1231" fmla="*/ 262613 w 1429540"/>
              <a:gd name="connsiteY1231" fmla="*/ 1218457 h 1426100"/>
              <a:gd name="connsiteX1232" fmla="*/ 260330 w 1429540"/>
              <a:gd name="connsiteY1232" fmla="*/ 1218457 h 1426100"/>
              <a:gd name="connsiteX1233" fmla="*/ 258046 w 1429540"/>
              <a:gd name="connsiteY1233" fmla="*/ 1218457 h 1426100"/>
              <a:gd name="connsiteX1234" fmla="*/ 255763 w 1429540"/>
              <a:gd name="connsiteY1234" fmla="*/ 1218457 h 1426100"/>
              <a:gd name="connsiteX1235" fmla="*/ 253479 w 1429540"/>
              <a:gd name="connsiteY1235" fmla="*/ 1218457 h 1426100"/>
              <a:gd name="connsiteX1236" fmla="*/ 251196 w 1429540"/>
              <a:gd name="connsiteY1236" fmla="*/ 1218457 h 1426100"/>
              <a:gd name="connsiteX1237" fmla="*/ 248912 w 1429540"/>
              <a:gd name="connsiteY1237" fmla="*/ 1218457 h 1426100"/>
              <a:gd name="connsiteX1238" fmla="*/ 246628 w 1429540"/>
              <a:gd name="connsiteY1238" fmla="*/ 1218457 h 1426100"/>
              <a:gd name="connsiteX1239" fmla="*/ 246628 w 1429540"/>
              <a:gd name="connsiteY1239" fmla="*/ 1220739 h 1426100"/>
              <a:gd name="connsiteX1240" fmla="*/ 244345 w 1429540"/>
              <a:gd name="connsiteY1240" fmla="*/ 1220739 h 1426100"/>
              <a:gd name="connsiteX1241" fmla="*/ 242061 w 1429540"/>
              <a:gd name="connsiteY1241" fmla="*/ 1220739 h 1426100"/>
              <a:gd name="connsiteX1242" fmla="*/ 239777 w 1429540"/>
              <a:gd name="connsiteY1242" fmla="*/ 1218457 h 1426100"/>
              <a:gd name="connsiteX1243" fmla="*/ 237494 w 1429540"/>
              <a:gd name="connsiteY1243" fmla="*/ 1218457 h 1426100"/>
              <a:gd name="connsiteX1244" fmla="*/ 237494 w 1429540"/>
              <a:gd name="connsiteY1244" fmla="*/ 1220739 h 1426100"/>
              <a:gd name="connsiteX1245" fmla="*/ 237494 w 1429540"/>
              <a:gd name="connsiteY1245" fmla="*/ 1223021 h 1426100"/>
              <a:gd name="connsiteX1246" fmla="*/ 235210 w 1429540"/>
              <a:gd name="connsiteY1246" fmla="*/ 1223021 h 1426100"/>
              <a:gd name="connsiteX1247" fmla="*/ 237494 w 1429540"/>
              <a:gd name="connsiteY1247" fmla="*/ 1223021 h 1426100"/>
              <a:gd name="connsiteX1248" fmla="*/ 239777 w 1429540"/>
              <a:gd name="connsiteY1248" fmla="*/ 1223021 h 1426100"/>
              <a:gd name="connsiteX1249" fmla="*/ 239777 w 1429540"/>
              <a:gd name="connsiteY1249" fmla="*/ 1225303 h 1426100"/>
              <a:gd name="connsiteX1250" fmla="*/ 242061 w 1429540"/>
              <a:gd name="connsiteY1250" fmla="*/ 1225303 h 1426100"/>
              <a:gd name="connsiteX1251" fmla="*/ 242061 w 1429540"/>
              <a:gd name="connsiteY1251" fmla="*/ 1227585 h 1426100"/>
              <a:gd name="connsiteX1252" fmla="*/ 239777 w 1429540"/>
              <a:gd name="connsiteY1252" fmla="*/ 1227585 h 1426100"/>
              <a:gd name="connsiteX1253" fmla="*/ 239777 w 1429540"/>
              <a:gd name="connsiteY1253" fmla="*/ 1229867 h 1426100"/>
              <a:gd name="connsiteX1254" fmla="*/ 239777 w 1429540"/>
              <a:gd name="connsiteY1254" fmla="*/ 1232149 h 1426100"/>
              <a:gd name="connsiteX1255" fmla="*/ 242061 w 1429540"/>
              <a:gd name="connsiteY1255" fmla="*/ 1232149 h 1426100"/>
              <a:gd name="connsiteX1256" fmla="*/ 242061 w 1429540"/>
              <a:gd name="connsiteY1256" fmla="*/ 1234431 h 1426100"/>
              <a:gd name="connsiteX1257" fmla="*/ 239777 w 1429540"/>
              <a:gd name="connsiteY1257" fmla="*/ 1234431 h 1426100"/>
              <a:gd name="connsiteX1258" fmla="*/ 239777 w 1429540"/>
              <a:gd name="connsiteY1258" fmla="*/ 1236712 h 1426100"/>
              <a:gd name="connsiteX1259" fmla="*/ 237494 w 1429540"/>
              <a:gd name="connsiteY1259" fmla="*/ 1236712 h 1426100"/>
              <a:gd name="connsiteX1260" fmla="*/ 235210 w 1429540"/>
              <a:gd name="connsiteY1260" fmla="*/ 1236712 h 1426100"/>
              <a:gd name="connsiteX1261" fmla="*/ 232927 w 1429540"/>
              <a:gd name="connsiteY1261" fmla="*/ 1236712 h 1426100"/>
              <a:gd name="connsiteX1262" fmla="*/ 232927 w 1429540"/>
              <a:gd name="connsiteY1262" fmla="*/ 1234431 h 1426100"/>
              <a:gd name="connsiteX1263" fmla="*/ 232927 w 1429540"/>
              <a:gd name="connsiteY1263" fmla="*/ 1232149 h 1426100"/>
              <a:gd name="connsiteX1264" fmla="*/ 232927 w 1429540"/>
              <a:gd name="connsiteY1264" fmla="*/ 1229867 h 1426100"/>
              <a:gd name="connsiteX1265" fmla="*/ 230643 w 1429540"/>
              <a:gd name="connsiteY1265" fmla="*/ 1229867 h 1426100"/>
              <a:gd name="connsiteX1266" fmla="*/ 230643 w 1429540"/>
              <a:gd name="connsiteY1266" fmla="*/ 1227585 h 1426100"/>
              <a:gd name="connsiteX1267" fmla="*/ 230643 w 1429540"/>
              <a:gd name="connsiteY1267" fmla="*/ 1225303 h 1426100"/>
              <a:gd name="connsiteX1268" fmla="*/ 228360 w 1429540"/>
              <a:gd name="connsiteY1268" fmla="*/ 1225303 h 1426100"/>
              <a:gd name="connsiteX1269" fmla="*/ 226076 w 1429540"/>
              <a:gd name="connsiteY1269" fmla="*/ 1225303 h 1426100"/>
              <a:gd name="connsiteX1270" fmla="*/ 226076 w 1429540"/>
              <a:gd name="connsiteY1270" fmla="*/ 1223021 h 1426100"/>
              <a:gd name="connsiteX1271" fmla="*/ 223792 w 1429540"/>
              <a:gd name="connsiteY1271" fmla="*/ 1223021 h 1426100"/>
              <a:gd name="connsiteX1272" fmla="*/ 223792 w 1429540"/>
              <a:gd name="connsiteY1272" fmla="*/ 1225303 h 1426100"/>
              <a:gd name="connsiteX1273" fmla="*/ 221509 w 1429540"/>
              <a:gd name="connsiteY1273" fmla="*/ 1225303 h 1426100"/>
              <a:gd name="connsiteX1274" fmla="*/ 221509 w 1429540"/>
              <a:gd name="connsiteY1274" fmla="*/ 1227585 h 1426100"/>
              <a:gd name="connsiteX1275" fmla="*/ 221509 w 1429540"/>
              <a:gd name="connsiteY1275" fmla="*/ 1229867 h 1426100"/>
              <a:gd name="connsiteX1276" fmla="*/ 219225 w 1429540"/>
              <a:gd name="connsiteY1276" fmla="*/ 1229867 h 1426100"/>
              <a:gd name="connsiteX1277" fmla="*/ 216942 w 1429540"/>
              <a:gd name="connsiteY1277" fmla="*/ 1229867 h 1426100"/>
              <a:gd name="connsiteX1278" fmla="*/ 214658 w 1429540"/>
              <a:gd name="connsiteY1278" fmla="*/ 1227585 h 1426100"/>
              <a:gd name="connsiteX1279" fmla="*/ 212374 w 1429540"/>
              <a:gd name="connsiteY1279" fmla="*/ 1227585 h 1426100"/>
              <a:gd name="connsiteX1280" fmla="*/ 212374 w 1429540"/>
              <a:gd name="connsiteY1280" fmla="*/ 1229867 h 1426100"/>
              <a:gd name="connsiteX1281" fmla="*/ 210091 w 1429540"/>
              <a:gd name="connsiteY1281" fmla="*/ 1229867 h 1426100"/>
              <a:gd name="connsiteX1282" fmla="*/ 207807 w 1429540"/>
              <a:gd name="connsiteY1282" fmla="*/ 1229867 h 1426100"/>
              <a:gd name="connsiteX1283" fmla="*/ 207807 w 1429540"/>
              <a:gd name="connsiteY1283" fmla="*/ 1227585 h 1426100"/>
              <a:gd name="connsiteX1284" fmla="*/ 207807 w 1429540"/>
              <a:gd name="connsiteY1284" fmla="*/ 1225303 h 1426100"/>
              <a:gd name="connsiteX1285" fmla="*/ 207807 w 1429540"/>
              <a:gd name="connsiteY1285" fmla="*/ 1223021 h 1426100"/>
              <a:gd name="connsiteX1286" fmla="*/ 207807 w 1429540"/>
              <a:gd name="connsiteY1286" fmla="*/ 1220739 h 1426100"/>
              <a:gd name="connsiteX1287" fmla="*/ 207807 w 1429540"/>
              <a:gd name="connsiteY1287" fmla="*/ 1218457 h 1426100"/>
              <a:gd name="connsiteX1288" fmla="*/ 207807 w 1429540"/>
              <a:gd name="connsiteY1288" fmla="*/ 1216175 h 1426100"/>
              <a:gd name="connsiteX1289" fmla="*/ 205523 w 1429540"/>
              <a:gd name="connsiteY1289" fmla="*/ 1216175 h 1426100"/>
              <a:gd name="connsiteX1290" fmla="*/ 205523 w 1429540"/>
              <a:gd name="connsiteY1290" fmla="*/ 1218457 h 1426100"/>
              <a:gd name="connsiteX1291" fmla="*/ 205523 w 1429540"/>
              <a:gd name="connsiteY1291" fmla="*/ 1220739 h 1426100"/>
              <a:gd name="connsiteX1292" fmla="*/ 203240 w 1429540"/>
              <a:gd name="connsiteY1292" fmla="*/ 1220739 h 1426100"/>
              <a:gd name="connsiteX1293" fmla="*/ 203240 w 1429540"/>
              <a:gd name="connsiteY1293" fmla="*/ 1223021 h 1426100"/>
              <a:gd name="connsiteX1294" fmla="*/ 203240 w 1429540"/>
              <a:gd name="connsiteY1294" fmla="*/ 1225303 h 1426100"/>
              <a:gd name="connsiteX1295" fmla="*/ 203240 w 1429540"/>
              <a:gd name="connsiteY1295" fmla="*/ 1223021 h 1426100"/>
              <a:gd name="connsiteX1296" fmla="*/ 200956 w 1429540"/>
              <a:gd name="connsiteY1296" fmla="*/ 1223021 h 1426100"/>
              <a:gd name="connsiteX1297" fmla="*/ 198673 w 1429540"/>
              <a:gd name="connsiteY1297" fmla="*/ 1223021 h 1426100"/>
              <a:gd name="connsiteX1298" fmla="*/ 198673 w 1429540"/>
              <a:gd name="connsiteY1298" fmla="*/ 1220739 h 1426100"/>
              <a:gd name="connsiteX1299" fmla="*/ 196389 w 1429540"/>
              <a:gd name="connsiteY1299" fmla="*/ 1220739 h 1426100"/>
              <a:gd name="connsiteX1300" fmla="*/ 194106 w 1429540"/>
              <a:gd name="connsiteY1300" fmla="*/ 1220739 h 1426100"/>
              <a:gd name="connsiteX1301" fmla="*/ 194106 w 1429540"/>
              <a:gd name="connsiteY1301" fmla="*/ 1218457 h 1426100"/>
              <a:gd name="connsiteX1302" fmla="*/ 196389 w 1429540"/>
              <a:gd name="connsiteY1302" fmla="*/ 1218457 h 1426100"/>
              <a:gd name="connsiteX1303" fmla="*/ 196389 w 1429540"/>
              <a:gd name="connsiteY1303" fmla="*/ 1216175 h 1426100"/>
              <a:gd name="connsiteX1304" fmla="*/ 196389 w 1429540"/>
              <a:gd name="connsiteY1304" fmla="*/ 1213894 h 1426100"/>
              <a:gd name="connsiteX1305" fmla="*/ 194106 w 1429540"/>
              <a:gd name="connsiteY1305" fmla="*/ 1213894 h 1426100"/>
              <a:gd name="connsiteX1306" fmla="*/ 191822 w 1429540"/>
              <a:gd name="connsiteY1306" fmla="*/ 1213894 h 1426100"/>
              <a:gd name="connsiteX1307" fmla="*/ 191822 w 1429540"/>
              <a:gd name="connsiteY1307" fmla="*/ 1211612 h 1426100"/>
              <a:gd name="connsiteX1308" fmla="*/ 189538 w 1429540"/>
              <a:gd name="connsiteY1308" fmla="*/ 1211612 h 1426100"/>
              <a:gd name="connsiteX1309" fmla="*/ 187255 w 1429540"/>
              <a:gd name="connsiteY1309" fmla="*/ 1211612 h 1426100"/>
              <a:gd name="connsiteX1310" fmla="*/ 184971 w 1429540"/>
              <a:gd name="connsiteY1310" fmla="*/ 1211612 h 1426100"/>
              <a:gd name="connsiteX1311" fmla="*/ 184971 w 1429540"/>
              <a:gd name="connsiteY1311" fmla="*/ 1213894 h 1426100"/>
              <a:gd name="connsiteX1312" fmla="*/ 182688 w 1429540"/>
              <a:gd name="connsiteY1312" fmla="*/ 1213894 h 1426100"/>
              <a:gd name="connsiteX1313" fmla="*/ 180404 w 1429540"/>
              <a:gd name="connsiteY1313" fmla="*/ 1211612 h 1426100"/>
              <a:gd name="connsiteX1314" fmla="*/ 180404 w 1429540"/>
              <a:gd name="connsiteY1314" fmla="*/ 1209330 h 1426100"/>
              <a:gd name="connsiteX1315" fmla="*/ 178121 w 1429540"/>
              <a:gd name="connsiteY1315" fmla="*/ 1209330 h 1426100"/>
              <a:gd name="connsiteX1316" fmla="*/ 178121 w 1429540"/>
              <a:gd name="connsiteY1316" fmla="*/ 1207048 h 1426100"/>
              <a:gd name="connsiteX1317" fmla="*/ 178121 w 1429540"/>
              <a:gd name="connsiteY1317" fmla="*/ 1204766 h 1426100"/>
              <a:gd name="connsiteX1318" fmla="*/ 175837 w 1429540"/>
              <a:gd name="connsiteY1318" fmla="*/ 1204766 h 1426100"/>
              <a:gd name="connsiteX1319" fmla="*/ 173553 w 1429540"/>
              <a:gd name="connsiteY1319" fmla="*/ 1204766 h 1426100"/>
              <a:gd name="connsiteX1320" fmla="*/ 173553 w 1429540"/>
              <a:gd name="connsiteY1320" fmla="*/ 1202484 h 1426100"/>
              <a:gd name="connsiteX1321" fmla="*/ 173553 w 1429540"/>
              <a:gd name="connsiteY1321" fmla="*/ 1200202 h 1426100"/>
              <a:gd name="connsiteX1322" fmla="*/ 171270 w 1429540"/>
              <a:gd name="connsiteY1322" fmla="*/ 1200202 h 1426100"/>
              <a:gd name="connsiteX1323" fmla="*/ 171270 w 1429540"/>
              <a:gd name="connsiteY1323" fmla="*/ 1197920 h 1426100"/>
              <a:gd name="connsiteX1324" fmla="*/ 171270 w 1429540"/>
              <a:gd name="connsiteY1324" fmla="*/ 1200202 h 1426100"/>
              <a:gd name="connsiteX1325" fmla="*/ 168986 w 1429540"/>
              <a:gd name="connsiteY1325" fmla="*/ 1200202 h 1426100"/>
              <a:gd name="connsiteX1326" fmla="*/ 168986 w 1429540"/>
              <a:gd name="connsiteY1326" fmla="*/ 1202484 h 1426100"/>
              <a:gd name="connsiteX1327" fmla="*/ 166702 w 1429540"/>
              <a:gd name="connsiteY1327" fmla="*/ 1202484 h 1426100"/>
              <a:gd name="connsiteX1328" fmla="*/ 164419 w 1429540"/>
              <a:gd name="connsiteY1328" fmla="*/ 1202484 h 1426100"/>
              <a:gd name="connsiteX1329" fmla="*/ 162135 w 1429540"/>
              <a:gd name="connsiteY1329" fmla="*/ 1202484 h 1426100"/>
              <a:gd name="connsiteX1330" fmla="*/ 162135 w 1429540"/>
              <a:gd name="connsiteY1330" fmla="*/ 1200202 h 1426100"/>
              <a:gd name="connsiteX1331" fmla="*/ 159852 w 1429540"/>
              <a:gd name="connsiteY1331" fmla="*/ 1200202 h 1426100"/>
              <a:gd name="connsiteX1332" fmla="*/ 157568 w 1429540"/>
              <a:gd name="connsiteY1332" fmla="*/ 1197920 h 1426100"/>
              <a:gd name="connsiteX1333" fmla="*/ 155284 w 1429540"/>
              <a:gd name="connsiteY1333" fmla="*/ 1197920 h 1426100"/>
              <a:gd name="connsiteX1334" fmla="*/ 155284 w 1429540"/>
              <a:gd name="connsiteY1334" fmla="*/ 1195638 h 1426100"/>
              <a:gd name="connsiteX1335" fmla="*/ 153001 w 1429540"/>
              <a:gd name="connsiteY1335" fmla="*/ 1195638 h 1426100"/>
              <a:gd name="connsiteX1336" fmla="*/ 150717 w 1429540"/>
              <a:gd name="connsiteY1336" fmla="*/ 1195638 h 1426100"/>
              <a:gd name="connsiteX1337" fmla="*/ 150717 w 1429540"/>
              <a:gd name="connsiteY1337" fmla="*/ 1193356 h 1426100"/>
              <a:gd name="connsiteX1338" fmla="*/ 148434 w 1429540"/>
              <a:gd name="connsiteY1338" fmla="*/ 1193356 h 1426100"/>
              <a:gd name="connsiteX1339" fmla="*/ 148434 w 1429540"/>
              <a:gd name="connsiteY1339" fmla="*/ 1191075 h 1426100"/>
              <a:gd name="connsiteX1340" fmla="*/ 148434 w 1429540"/>
              <a:gd name="connsiteY1340" fmla="*/ 1193356 h 1426100"/>
              <a:gd name="connsiteX1341" fmla="*/ 146150 w 1429540"/>
              <a:gd name="connsiteY1341" fmla="*/ 1193356 h 1426100"/>
              <a:gd name="connsiteX1342" fmla="*/ 143867 w 1429540"/>
              <a:gd name="connsiteY1342" fmla="*/ 1193356 h 1426100"/>
              <a:gd name="connsiteX1343" fmla="*/ 143867 w 1429540"/>
              <a:gd name="connsiteY1343" fmla="*/ 1195638 h 1426100"/>
              <a:gd name="connsiteX1344" fmla="*/ 141583 w 1429540"/>
              <a:gd name="connsiteY1344" fmla="*/ 1197920 h 1426100"/>
              <a:gd name="connsiteX1345" fmla="*/ 139299 w 1429540"/>
              <a:gd name="connsiteY1345" fmla="*/ 1197920 h 1426100"/>
              <a:gd name="connsiteX1346" fmla="*/ 139299 w 1429540"/>
              <a:gd name="connsiteY1346" fmla="*/ 1200202 h 1426100"/>
              <a:gd name="connsiteX1347" fmla="*/ 137016 w 1429540"/>
              <a:gd name="connsiteY1347" fmla="*/ 1200202 h 1426100"/>
              <a:gd name="connsiteX1348" fmla="*/ 137016 w 1429540"/>
              <a:gd name="connsiteY1348" fmla="*/ 1202484 h 1426100"/>
              <a:gd name="connsiteX1349" fmla="*/ 137016 w 1429540"/>
              <a:gd name="connsiteY1349" fmla="*/ 1204766 h 1426100"/>
              <a:gd name="connsiteX1350" fmla="*/ 134732 w 1429540"/>
              <a:gd name="connsiteY1350" fmla="*/ 1204766 h 1426100"/>
              <a:gd name="connsiteX1351" fmla="*/ 134732 w 1429540"/>
              <a:gd name="connsiteY1351" fmla="*/ 1207048 h 1426100"/>
              <a:gd name="connsiteX1352" fmla="*/ 132448 w 1429540"/>
              <a:gd name="connsiteY1352" fmla="*/ 1207048 h 1426100"/>
              <a:gd name="connsiteX1353" fmla="*/ 132448 w 1429540"/>
              <a:gd name="connsiteY1353" fmla="*/ 1209330 h 1426100"/>
              <a:gd name="connsiteX1354" fmla="*/ 134732 w 1429540"/>
              <a:gd name="connsiteY1354" fmla="*/ 1209330 h 1426100"/>
              <a:gd name="connsiteX1355" fmla="*/ 137016 w 1429540"/>
              <a:gd name="connsiteY1355" fmla="*/ 1209330 h 1426100"/>
              <a:gd name="connsiteX1356" fmla="*/ 137016 w 1429540"/>
              <a:gd name="connsiteY1356" fmla="*/ 1211612 h 1426100"/>
              <a:gd name="connsiteX1357" fmla="*/ 139299 w 1429540"/>
              <a:gd name="connsiteY1357" fmla="*/ 1211612 h 1426100"/>
              <a:gd name="connsiteX1358" fmla="*/ 139299 w 1429540"/>
              <a:gd name="connsiteY1358" fmla="*/ 1209330 h 1426100"/>
              <a:gd name="connsiteX1359" fmla="*/ 141583 w 1429540"/>
              <a:gd name="connsiteY1359" fmla="*/ 1209330 h 1426100"/>
              <a:gd name="connsiteX1360" fmla="*/ 141583 w 1429540"/>
              <a:gd name="connsiteY1360" fmla="*/ 1207048 h 1426100"/>
              <a:gd name="connsiteX1361" fmla="*/ 143867 w 1429540"/>
              <a:gd name="connsiteY1361" fmla="*/ 1207048 h 1426100"/>
              <a:gd name="connsiteX1362" fmla="*/ 146150 w 1429540"/>
              <a:gd name="connsiteY1362" fmla="*/ 1207048 h 1426100"/>
              <a:gd name="connsiteX1363" fmla="*/ 146150 w 1429540"/>
              <a:gd name="connsiteY1363" fmla="*/ 1209330 h 1426100"/>
              <a:gd name="connsiteX1364" fmla="*/ 148434 w 1429540"/>
              <a:gd name="connsiteY1364" fmla="*/ 1209330 h 1426100"/>
              <a:gd name="connsiteX1365" fmla="*/ 150717 w 1429540"/>
              <a:gd name="connsiteY1365" fmla="*/ 1209330 h 1426100"/>
              <a:gd name="connsiteX1366" fmla="*/ 150717 w 1429540"/>
              <a:gd name="connsiteY1366" fmla="*/ 1211612 h 1426100"/>
              <a:gd name="connsiteX1367" fmla="*/ 150717 w 1429540"/>
              <a:gd name="connsiteY1367" fmla="*/ 1213894 h 1426100"/>
              <a:gd name="connsiteX1368" fmla="*/ 150717 w 1429540"/>
              <a:gd name="connsiteY1368" fmla="*/ 1216175 h 1426100"/>
              <a:gd name="connsiteX1369" fmla="*/ 148434 w 1429540"/>
              <a:gd name="connsiteY1369" fmla="*/ 1216175 h 1426100"/>
              <a:gd name="connsiteX1370" fmla="*/ 148434 w 1429540"/>
              <a:gd name="connsiteY1370" fmla="*/ 1218457 h 1426100"/>
              <a:gd name="connsiteX1371" fmla="*/ 148434 w 1429540"/>
              <a:gd name="connsiteY1371" fmla="*/ 1220739 h 1426100"/>
              <a:gd name="connsiteX1372" fmla="*/ 146150 w 1429540"/>
              <a:gd name="connsiteY1372" fmla="*/ 1220739 h 1426100"/>
              <a:gd name="connsiteX1373" fmla="*/ 146150 w 1429540"/>
              <a:gd name="connsiteY1373" fmla="*/ 1218457 h 1426100"/>
              <a:gd name="connsiteX1374" fmla="*/ 143867 w 1429540"/>
              <a:gd name="connsiteY1374" fmla="*/ 1218457 h 1426100"/>
              <a:gd name="connsiteX1375" fmla="*/ 143867 w 1429540"/>
              <a:gd name="connsiteY1375" fmla="*/ 1216175 h 1426100"/>
              <a:gd name="connsiteX1376" fmla="*/ 141583 w 1429540"/>
              <a:gd name="connsiteY1376" fmla="*/ 1216175 h 1426100"/>
              <a:gd name="connsiteX1377" fmla="*/ 139299 w 1429540"/>
              <a:gd name="connsiteY1377" fmla="*/ 1216175 h 1426100"/>
              <a:gd name="connsiteX1378" fmla="*/ 137016 w 1429540"/>
              <a:gd name="connsiteY1378" fmla="*/ 1216175 h 1426100"/>
              <a:gd name="connsiteX1379" fmla="*/ 137016 w 1429540"/>
              <a:gd name="connsiteY1379" fmla="*/ 1213894 h 1426100"/>
              <a:gd name="connsiteX1380" fmla="*/ 134732 w 1429540"/>
              <a:gd name="connsiteY1380" fmla="*/ 1213894 h 1426100"/>
              <a:gd name="connsiteX1381" fmla="*/ 134732 w 1429540"/>
              <a:gd name="connsiteY1381" fmla="*/ 1216175 h 1426100"/>
              <a:gd name="connsiteX1382" fmla="*/ 134732 w 1429540"/>
              <a:gd name="connsiteY1382" fmla="*/ 1218457 h 1426100"/>
              <a:gd name="connsiteX1383" fmla="*/ 134732 w 1429540"/>
              <a:gd name="connsiteY1383" fmla="*/ 1220739 h 1426100"/>
              <a:gd name="connsiteX1384" fmla="*/ 132448 w 1429540"/>
              <a:gd name="connsiteY1384" fmla="*/ 1220739 h 1426100"/>
              <a:gd name="connsiteX1385" fmla="*/ 130165 w 1429540"/>
              <a:gd name="connsiteY1385" fmla="*/ 1220739 h 1426100"/>
              <a:gd name="connsiteX1386" fmla="*/ 127881 w 1429540"/>
              <a:gd name="connsiteY1386" fmla="*/ 1220739 h 1426100"/>
              <a:gd name="connsiteX1387" fmla="*/ 127881 w 1429540"/>
              <a:gd name="connsiteY1387" fmla="*/ 1223021 h 1426100"/>
              <a:gd name="connsiteX1388" fmla="*/ 125598 w 1429540"/>
              <a:gd name="connsiteY1388" fmla="*/ 1225303 h 1426100"/>
              <a:gd name="connsiteX1389" fmla="*/ 125598 w 1429540"/>
              <a:gd name="connsiteY1389" fmla="*/ 1227585 h 1426100"/>
              <a:gd name="connsiteX1390" fmla="*/ 123314 w 1429540"/>
              <a:gd name="connsiteY1390" fmla="*/ 1227585 h 1426100"/>
              <a:gd name="connsiteX1391" fmla="*/ 121031 w 1429540"/>
              <a:gd name="connsiteY1391" fmla="*/ 1227585 h 1426100"/>
              <a:gd name="connsiteX1392" fmla="*/ 121031 w 1429540"/>
              <a:gd name="connsiteY1392" fmla="*/ 1225303 h 1426100"/>
              <a:gd name="connsiteX1393" fmla="*/ 118747 w 1429540"/>
              <a:gd name="connsiteY1393" fmla="*/ 1225303 h 1426100"/>
              <a:gd name="connsiteX1394" fmla="*/ 118747 w 1429540"/>
              <a:gd name="connsiteY1394" fmla="*/ 1227585 h 1426100"/>
              <a:gd name="connsiteX1395" fmla="*/ 116463 w 1429540"/>
              <a:gd name="connsiteY1395" fmla="*/ 1227585 h 1426100"/>
              <a:gd name="connsiteX1396" fmla="*/ 116463 w 1429540"/>
              <a:gd name="connsiteY1396" fmla="*/ 1229867 h 1426100"/>
              <a:gd name="connsiteX1397" fmla="*/ 116463 w 1429540"/>
              <a:gd name="connsiteY1397" fmla="*/ 1232149 h 1426100"/>
              <a:gd name="connsiteX1398" fmla="*/ 116463 w 1429540"/>
              <a:gd name="connsiteY1398" fmla="*/ 1234431 h 1426100"/>
              <a:gd name="connsiteX1399" fmla="*/ 114180 w 1429540"/>
              <a:gd name="connsiteY1399" fmla="*/ 1234431 h 1426100"/>
              <a:gd name="connsiteX1400" fmla="*/ 114180 w 1429540"/>
              <a:gd name="connsiteY1400" fmla="*/ 1236712 h 1426100"/>
              <a:gd name="connsiteX1401" fmla="*/ 111896 w 1429540"/>
              <a:gd name="connsiteY1401" fmla="*/ 1236712 h 1426100"/>
              <a:gd name="connsiteX1402" fmla="*/ 109613 w 1429540"/>
              <a:gd name="connsiteY1402" fmla="*/ 1236712 h 1426100"/>
              <a:gd name="connsiteX1403" fmla="*/ 109613 w 1429540"/>
              <a:gd name="connsiteY1403" fmla="*/ 1238994 h 1426100"/>
              <a:gd name="connsiteX1404" fmla="*/ 107329 w 1429540"/>
              <a:gd name="connsiteY1404" fmla="*/ 1238994 h 1426100"/>
              <a:gd name="connsiteX1405" fmla="*/ 105045 w 1429540"/>
              <a:gd name="connsiteY1405" fmla="*/ 1238994 h 1426100"/>
              <a:gd name="connsiteX1406" fmla="*/ 105045 w 1429540"/>
              <a:gd name="connsiteY1406" fmla="*/ 1236712 h 1426100"/>
              <a:gd name="connsiteX1407" fmla="*/ 107329 w 1429540"/>
              <a:gd name="connsiteY1407" fmla="*/ 1236712 h 1426100"/>
              <a:gd name="connsiteX1408" fmla="*/ 107329 w 1429540"/>
              <a:gd name="connsiteY1408" fmla="*/ 1234431 h 1426100"/>
              <a:gd name="connsiteX1409" fmla="*/ 109613 w 1429540"/>
              <a:gd name="connsiteY1409" fmla="*/ 1234431 h 1426100"/>
              <a:gd name="connsiteX1410" fmla="*/ 109613 w 1429540"/>
              <a:gd name="connsiteY1410" fmla="*/ 1232149 h 1426100"/>
              <a:gd name="connsiteX1411" fmla="*/ 111896 w 1429540"/>
              <a:gd name="connsiteY1411" fmla="*/ 1232149 h 1426100"/>
              <a:gd name="connsiteX1412" fmla="*/ 111896 w 1429540"/>
              <a:gd name="connsiteY1412" fmla="*/ 1229867 h 1426100"/>
              <a:gd name="connsiteX1413" fmla="*/ 111896 w 1429540"/>
              <a:gd name="connsiteY1413" fmla="*/ 1227585 h 1426100"/>
              <a:gd name="connsiteX1414" fmla="*/ 111896 w 1429540"/>
              <a:gd name="connsiteY1414" fmla="*/ 1225303 h 1426100"/>
              <a:gd name="connsiteX1415" fmla="*/ 109613 w 1429540"/>
              <a:gd name="connsiteY1415" fmla="*/ 1225303 h 1426100"/>
              <a:gd name="connsiteX1416" fmla="*/ 107329 w 1429540"/>
              <a:gd name="connsiteY1416" fmla="*/ 1225303 h 1426100"/>
              <a:gd name="connsiteX1417" fmla="*/ 107329 w 1429540"/>
              <a:gd name="connsiteY1417" fmla="*/ 1223021 h 1426100"/>
              <a:gd name="connsiteX1418" fmla="*/ 105045 w 1429540"/>
              <a:gd name="connsiteY1418" fmla="*/ 1223021 h 1426100"/>
              <a:gd name="connsiteX1419" fmla="*/ 105045 w 1429540"/>
              <a:gd name="connsiteY1419" fmla="*/ 1220739 h 1426100"/>
              <a:gd name="connsiteX1420" fmla="*/ 105045 w 1429540"/>
              <a:gd name="connsiteY1420" fmla="*/ 1218457 h 1426100"/>
              <a:gd name="connsiteX1421" fmla="*/ 102762 w 1429540"/>
              <a:gd name="connsiteY1421" fmla="*/ 1218457 h 1426100"/>
              <a:gd name="connsiteX1422" fmla="*/ 102762 w 1429540"/>
              <a:gd name="connsiteY1422" fmla="*/ 1216175 h 1426100"/>
              <a:gd name="connsiteX1423" fmla="*/ 100478 w 1429540"/>
              <a:gd name="connsiteY1423" fmla="*/ 1216175 h 1426100"/>
              <a:gd name="connsiteX1424" fmla="*/ 98194 w 1429540"/>
              <a:gd name="connsiteY1424" fmla="*/ 1216175 h 1426100"/>
              <a:gd name="connsiteX1425" fmla="*/ 98194 w 1429540"/>
              <a:gd name="connsiteY1425" fmla="*/ 1213894 h 1426100"/>
              <a:gd name="connsiteX1426" fmla="*/ 95911 w 1429540"/>
              <a:gd name="connsiteY1426" fmla="*/ 1213894 h 1426100"/>
              <a:gd name="connsiteX1427" fmla="*/ 95911 w 1429540"/>
              <a:gd name="connsiteY1427" fmla="*/ 1211612 h 1426100"/>
              <a:gd name="connsiteX1428" fmla="*/ 95911 w 1429540"/>
              <a:gd name="connsiteY1428" fmla="*/ 1209330 h 1426100"/>
              <a:gd name="connsiteX1429" fmla="*/ 98194 w 1429540"/>
              <a:gd name="connsiteY1429" fmla="*/ 1209330 h 1426100"/>
              <a:gd name="connsiteX1430" fmla="*/ 98194 w 1429540"/>
              <a:gd name="connsiteY1430" fmla="*/ 1207048 h 1426100"/>
              <a:gd name="connsiteX1431" fmla="*/ 98194 w 1429540"/>
              <a:gd name="connsiteY1431" fmla="*/ 1204766 h 1426100"/>
              <a:gd name="connsiteX1432" fmla="*/ 95911 w 1429540"/>
              <a:gd name="connsiteY1432" fmla="*/ 1204766 h 1426100"/>
              <a:gd name="connsiteX1433" fmla="*/ 95911 w 1429540"/>
              <a:gd name="connsiteY1433" fmla="*/ 1202484 h 1426100"/>
              <a:gd name="connsiteX1434" fmla="*/ 93627 w 1429540"/>
              <a:gd name="connsiteY1434" fmla="*/ 1202484 h 1426100"/>
              <a:gd name="connsiteX1435" fmla="*/ 93627 w 1429540"/>
              <a:gd name="connsiteY1435" fmla="*/ 1200202 h 1426100"/>
              <a:gd name="connsiteX1436" fmla="*/ 91344 w 1429540"/>
              <a:gd name="connsiteY1436" fmla="*/ 1200202 h 1426100"/>
              <a:gd name="connsiteX1437" fmla="*/ 89060 w 1429540"/>
              <a:gd name="connsiteY1437" fmla="*/ 1200202 h 1426100"/>
              <a:gd name="connsiteX1438" fmla="*/ 89060 w 1429540"/>
              <a:gd name="connsiteY1438" fmla="*/ 1197920 h 1426100"/>
              <a:gd name="connsiteX1439" fmla="*/ 89060 w 1429540"/>
              <a:gd name="connsiteY1439" fmla="*/ 1195638 h 1426100"/>
              <a:gd name="connsiteX1440" fmla="*/ 89060 w 1429540"/>
              <a:gd name="connsiteY1440" fmla="*/ 1193356 h 1426100"/>
              <a:gd name="connsiteX1441" fmla="*/ 86777 w 1429540"/>
              <a:gd name="connsiteY1441" fmla="*/ 1193356 h 1426100"/>
              <a:gd name="connsiteX1442" fmla="*/ 86777 w 1429540"/>
              <a:gd name="connsiteY1442" fmla="*/ 1191075 h 1426100"/>
              <a:gd name="connsiteX1443" fmla="*/ 84493 w 1429540"/>
              <a:gd name="connsiteY1443" fmla="*/ 1191075 h 1426100"/>
              <a:gd name="connsiteX1444" fmla="*/ 84493 w 1429540"/>
              <a:gd name="connsiteY1444" fmla="*/ 1193356 h 1426100"/>
              <a:gd name="connsiteX1445" fmla="*/ 86777 w 1429540"/>
              <a:gd name="connsiteY1445" fmla="*/ 1193356 h 1426100"/>
              <a:gd name="connsiteX1446" fmla="*/ 86777 w 1429540"/>
              <a:gd name="connsiteY1446" fmla="*/ 1195638 h 1426100"/>
              <a:gd name="connsiteX1447" fmla="*/ 84493 w 1429540"/>
              <a:gd name="connsiteY1447" fmla="*/ 1195638 h 1426100"/>
              <a:gd name="connsiteX1448" fmla="*/ 84493 w 1429540"/>
              <a:gd name="connsiteY1448" fmla="*/ 1197920 h 1426100"/>
              <a:gd name="connsiteX1449" fmla="*/ 84493 w 1429540"/>
              <a:gd name="connsiteY1449" fmla="*/ 1200202 h 1426100"/>
              <a:gd name="connsiteX1450" fmla="*/ 84493 w 1429540"/>
              <a:gd name="connsiteY1450" fmla="*/ 1202484 h 1426100"/>
              <a:gd name="connsiteX1451" fmla="*/ 82209 w 1429540"/>
              <a:gd name="connsiteY1451" fmla="*/ 1202484 h 1426100"/>
              <a:gd name="connsiteX1452" fmla="*/ 82209 w 1429540"/>
              <a:gd name="connsiteY1452" fmla="*/ 1204766 h 1426100"/>
              <a:gd name="connsiteX1453" fmla="*/ 82209 w 1429540"/>
              <a:gd name="connsiteY1453" fmla="*/ 1202484 h 1426100"/>
              <a:gd name="connsiteX1454" fmla="*/ 79926 w 1429540"/>
              <a:gd name="connsiteY1454" fmla="*/ 1202484 h 1426100"/>
              <a:gd name="connsiteX1455" fmla="*/ 79926 w 1429540"/>
              <a:gd name="connsiteY1455" fmla="*/ 1200202 h 1426100"/>
              <a:gd name="connsiteX1456" fmla="*/ 79926 w 1429540"/>
              <a:gd name="connsiteY1456" fmla="*/ 1197920 h 1426100"/>
              <a:gd name="connsiteX1457" fmla="*/ 77642 w 1429540"/>
              <a:gd name="connsiteY1457" fmla="*/ 1197920 h 1426100"/>
              <a:gd name="connsiteX1458" fmla="*/ 77642 w 1429540"/>
              <a:gd name="connsiteY1458" fmla="*/ 1195638 h 1426100"/>
              <a:gd name="connsiteX1459" fmla="*/ 75359 w 1429540"/>
              <a:gd name="connsiteY1459" fmla="*/ 1195638 h 1426100"/>
              <a:gd name="connsiteX1460" fmla="*/ 75359 w 1429540"/>
              <a:gd name="connsiteY1460" fmla="*/ 1193356 h 1426100"/>
              <a:gd name="connsiteX1461" fmla="*/ 73075 w 1429540"/>
              <a:gd name="connsiteY1461" fmla="*/ 1193356 h 1426100"/>
              <a:gd name="connsiteX1462" fmla="*/ 73075 w 1429540"/>
              <a:gd name="connsiteY1462" fmla="*/ 1195638 h 1426100"/>
              <a:gd name="connsiteX1463" fmla="*/ 70792 w 1429540"/>
              <a:gd name="connsiteY1463" fmla="*/ 1195638 h 1426100"/>
              <a:gd name="connsiteX1464" fmla="*/ 70792 w 1429540"/>
              <a:gd name="connsiteY1464" fmla="*/ 1197920 h 1426100"/>
              <a:gd name="connsiteX1465" fmla="*/ 73075 w 1429540"/>
              <a:gd name="connsiteY1465" fmla="*/ 1197920 h 1426100"/>
              <a:gd name="connsiteX1466" fmla="*/ 73075 w 1429540"/>
              <a:gd name="connsiteY1466" fmla="*/ 1200202 h 1426100"/>
              <a:gd name="connsiteX1467" fmla="*/ 75359 w 1429540"/>
              <a:gd name="connsiteY1467" fmla="*/ 1200202 h 1426100"/>
              <a:gd name="connsiteX1468" fmla="*/ 75359 w 1429540"/>
              <a:gd name="connsiteY1468" fmla="*/ 1202484 h 1426100"/>
              <a:gd name="connsiteX1469" fmla="*/ 77642 w 1429540"/>
              <a:gd name="connsiteY1469" fmla="*/ 1202484 h 1426100"/>
              <a:gd name="connsiteX1470" fmla="*/ 75359 w 1429540"/>
              <a:gd name="connsiteY1470" fmla="*/ 1202484 h 1426100"/>
              <a:gd name="connsiteX1471" fmla="*/ 75359 w 1429540"/>
              <a:gd name="connsiteY1471" fmla="*/ 1204766 h 1426100"/>
              <a:gd name="connsiteX1472" fmla="*/ 75359 w 1429540"/>
              <a:gd name="connsiteY1472" fmla="*/ 1207048 h 1426100"/>
              <a:gd name="connsiteX1473" fmla="*/ 73075 w 1429540"/>
              <a:gd name="connsiteY1473" fmla="*/ 1207048 h 1426100"/>
              <a:gd name="connsiteX1474" fmla="*/ 73075 w 1429540"/>
              <a:gd name="connsiteY1474" fmla="*/ 1209330 h 1426100"/>
              <a:gd name="connsiteX1475" fmla="*/ 70792 w 1429540"/>
              <a:gd name="connsiteY1475" fmla="*/ 1209330 h 1426100"/>
              <a:gd name="connsiteX1476" fmla="*/ 70792 w 1429540"/>
              <a:gd name="connsiteY1476" fmla="*/ 1211612 h 1426100"/>
              <a:gd name="connsiteX1477" fmla="*/ 68508 w 1429540"/>
              <a:gd name="connsiteY1477" fmla="*/ 1211612 h 1426100"/>
              <a:gd name="connsiteX1478" fmla="*/ 68508 w 1429540"/>
              <a:gd name="connsiteY1478" fmla="*/ 1213894 h 1426100"/>
              <a:gd name="connsiteX1479" fmla="*/ 66224 w 1429540"/>
              <a:gd name="connsiteY1479" fmla="*/ 1213894 h 1426100"/>
              <a:gd name="connsiteX1480" fmla="*/ 66224 w 1429540"/>
              <a:gd name="connsiteY1480" fmla="*/ 1216175 h 1426100"/>
              <a:gd name="connsiteX1481" fmla="*/ 63941 w 1429540"/>
              <a:gd name="connsiteY1481" fmla="*/ 1216175 h 1426100"/>
              <a:gd name="connsiteX1482" fmla="*/ 63941 w 1429540"/>
              <a:gd name="connsiteY1482" fmla="*/ 1213894 h 1426100"/>
              <a:gd name="connsiteX1483" fmla="*/ 61657 w 1429540"/>
              <a:gd name="connsiteY1483" fmla="*/ 1213894 h 1426100"/>
              <a:gd name="connsiteX1484" fmla="*/ 61657 w 1429540"/>
              <a:gd name="connsiteY1484" fmla="*/ 1211612 h 1426100"/>
              <a:gd name="connsiteX1485" fmla="*/ 63941 w 1429540"/>
              <a:gd name="connsiteY1485" fmla="*/ 1211612 h 1426100"/>
              <a:gd name="connsiteX1486" fmla="*/ 63941 w 1429540"/>
              <a:gd name="connsiteY1486" fmla="*/ 1209330 h 1426100"/>
              <a:gd name="connsiteX1487" fmla="*/ 66224 w 1429540"/>
              <a:gd name="connsiteY1487" fmla="*/ 1209330 h 1426100"/>
              <a:gd name="connsiteX1488" fmla="*/ 66224 w 1429540"/>
              <a:gd name="connsiteY1488" fmla="*/ 1207048 h 1426100"/>
              <a:gd name="connsiteX1489" fmla="*/ 68508 w 1429540"/>
              <a:gd name="connsiteY1489" fmla="*/ 1207048 h 1426100"/>
              <a:gd name="connsiteX1490" fmla="*/ 68508 w 1429540"/>
              <a:gd name="connsiteY1490" fmla="*/ 1204766 h 1426100"/>
              <a:gd name="connsiteX1491" fmla="*/ 66224 w 1429540"/>
              <a:gd name="connsiteY1491" fmla="*/ 1204766 h 1426100"/>
              <a:gd name="connsiteX1492" fmla="*/ 66224 w 1429540"/>
              <a:gd name="connsiteY1492" fmla="*/ 1202484 h 1426100"/>
              <a:gd name="connsiteX1493" fmla="*/ 63941 w 1429540"/>
              <a:gd name="connsiteY1493" fmla="*/ 1200202 h 1426100"/>
              <a:gd name="connsiteX1494" fmla="*/ 63941 w 1429540"/>
              <a:gd name="connsiteY1494" fmla="*/ 1197920 h 1426100"/>
              <a:gd name="connsiteX1495" fmla="*/ 61657 w 1429540"/>
              <a:gd name="connsiteY1495" fmla="*/ 1197920 h 1426100"/>
              <a:gd name="connsiteX1496" fmla="*/ 61657 w 1429540"/>
              <a:gd name="connsiteY1496" fmla="*/ 1195638 h 1426100"/>
              <a:gd name="connsiteX1497" fmla="*/ 61657 w 1429540"/>
              <a:gd name="connsiteY1497" fmla="*/ 1193356 h 1426100"/>
              <a:gd name="connsiteX1498" fmla="*/ 59373 w 1429540"/>
              <a:gd name="connsiteY1498" fmla="*/ 1193356 h 1426100"/>
              <a:gd name="connsiteX1499" fmla="*/ 59373 w 1429540"/>
              <a:gd name="connsiteY1499" fmla="*/ 1191075 h 1426100"/>
              <a:gd name="connsiteX1500" fmla="*/ 57090 w 1429540"/>
              <a:gd name="connsiteY1500" fmla="*/ 1191075 h 1426100"/>
              <a:gd name="connsiteX1501" fmla="*/ 57090 w 1429540"/>
              <a:gd name="connsiteY1501" fmla="*/ 1188793 h 1426100"/>
              <a:gd name="connsiteX1502" fmla="*/ 59373 w 1429540"/>
              <a:gd name="connsiteY1502" fmla="*/ 1188793 h 1426100"/>
              <a:gd name="connsiteX1503" fmla="*/ 59373 w 1429540"/>
              <a:gd name="connsiteY1503" fmla="*/ 1186511 h 1426100"/>
              <a:gd name="connsiteX1504" fmla="*/ 59373 w 1429540"/>
              <a:gd name="connsiteY1504" fmla="*/ 1184229 h 1426100"/>
              <a:gd name="connsiteX1505" fmla="*/ 57090 w 1429540"/>
              <a:gd name="connsiteY1505" fmla="*/ 1184229 h 1426100"/>
              <a:gd name="connsiteX1506" fmla="*/ 57090 w 1429540"/>
              <a:gd name="connsiteY1506" fmla="*/ 1181947 h 1426100"/>
              <a:gd name="connsiteX1507" fmla="*/ 54806 w 1429540"/>
              <a:gd name="connsiteY1507" fmla="*/ 1181947 h 1426100"/>
              <a:gd name="connsiteX1508" fmla="*/ 52523 w 1429540"/>
              <a:gd name="connsiteY1508" fmla="*/ 1181947 h 1426100"/>
              <a:gd name="connsiteX1509" fmla="*/ 50239 w 1429540"/>
              <a:gd name="connsiteY1509" fmla="*/ 1181947 h 1426100"/>
              <a:gd name="connsiteX1510" fmla="*/ 50239 w 1429540"/>
              <a:gd name="connsiteY1510" fmla="*/ 1184229 h 1426100"/>
              <a:gd name="connsiteX1511" fmla="*/ 47955 w 1429540"/>
              <a:gd name="connsiteY1511" fmla="*/ 1184229 h 1426100"/>
              <a:gd name="connsiteX1512" fmla="*/ 45672 w 1429540"/>
              <a:gd name="connsiteY1512" fmla="*/ 1184229 h 1426100"/>
              <a:gd name="connsiteX1513" fmla="*/ 45672 w 1429540"/>
              <a:gd name="connsiteY1513" fmla="*/ 1181947 h 1426100"/>
              <a:gd name="connsiteX1514" fmla="*/ 43388 w 1429540"/>
              <a:gd name="connsiteY1514" fmla="*/ 1181947 h 1426100"/>
              <a:gd name="connsiteX1515" fmla="*/ 41105 w 1429540"/>
              <a:gd name="connsiteY1515" fmla="*/ 1181947 h 1426100"/>
              <a:gd name="connsiteX1516" fmla="*/ 38821 w 1429540"/>
              <a:gd name="connsiteY1516" fmla="*/ 1181947 h 1426100"/>
              <a:gd name="connsiteX1517" fmla="*/ 38821 w 1429540"/>
              <a:gd name="connsiteY1517" fmla="*/ 1184229 h 1426100"/>
              <a:gd name="connsiteX1518" fmla="*/ 36538 w 1429540"/>
              <a:gd name="connsiteY1518" fmla="*/ 1184229 h 1426100"/>
              <a:gd name="connsiteX1519" fmla="*/ 36538 w 1429540"/>
              <a:gd name="connsiteY1519" fmla="*/ 1186511 h 1426100"/>
              <a:gd name="connsiteX1520" fmla="*/ 34254 w 1429540"/>
              <a:gd name="connsiteY1520" fmla="*/ 1186511 h 1426100"/>
              <a:gd name="connsiteX1521" fmla="*/ 31970 w 1429540"/>
              <a:gd name="connsiteY1521" fmla="*/ 1188793 h 1426100"/>
              <a:gd name="connsiteX1522" fmla="*/ 29687 w 1429540"/>
              <a:gd name="connsiteY1522" fmla="*/ 1188793 h 1426100"/>
              <a:gd name="connsiteX1523" fmla="*/ 29687 w 1429540"/>
              <a:gd name="connsiteY1523" fmla="*/ 1186511 h 1426100"/>
              <a:gd name="connsiteX1524" fmla="*/ 27403 w 1429540"/>
              <a:gd name="connsiteY1524" fmla="*/ 1186511 h 1426100"/>
              <a:gd name="connsiteX1525" fmla="*/ 27403 w 1429540"/>
              <a:gd name="connsiteY1525" fmla="*/ 1184229 h 1426100"/>
              <a:gd name="connsiteX1526" fmla="*/ 29687 w 1429540"/>
              <a:gd name="connsiteY1526" fmla="*/ 1184229 h 1426100"/>
              <a:gd name="connsiteX1527" fmla="*/ 29687 w 1429540"/>
              <a:gd name="connsiteY1527" fmla="*/ 1181947 h 1426100"/>
              <a:gd name="connsiteX1528" fmla="*/ 31970 w 1429540"/>
              <a:gd name="connsiteY1528" fmla="*/ 1181947 h 1426100"/>
              <a:gd name="connsiteX1529" fmla="*/ 31970 w 1429540"/>
              <a:gd name="connsiteY1529" fmla="*/ 1179665 h 1426100"/>
              <a:gd name="connsiteX1530" fmla="*/ 31970 w 1429540"/>
              <a:gd name="connsiteY1530" fmla="*/ 1177383 h 1426100"/>
              <a:gd name="connsiteX1531" fmla="*/ 29687 w 1429540"/>
              <a:gd name="connsiteY1531" fmla="*/ 1177383 h 1426100"/>
              <a:gd name="connsiteX1532" fmla="*/ 27403 w 1429540"/>
              <a:gd name="connsiteY1532" fmla="*/ 1179665 h 1426100"/>
              <a:gd name="connsiteX1533" fmla="*/ 25119 w 1429540"/>
              <a:gd name="connsiteY1533" fmla="*/ 1179665 h 1426100"/>
              <a:gd name="connsiteX1534" fmla="*/ 25119 w 1429540"/>
              <a:gd name="connsiteY1534" fmla="*/ 1181947 h 1426100"/>
              <a:gd name="connsiteX1535" fmla="*/ 25119 w 1429540"/>
              <a:gd name="connsiteY1535" fmla="*/ 1184229 h 1426100"/>
              <a:gd name="connsiteX1536" fmla="*/ 22836 w 1429540"/>
              <a:gd name="connsiteY1536" fmla="*/ 1184229 h 1426100"/>
              <a:gd name="connsiteX1537" fmla="*/ 22836 w 1429540"/>
              <a:gd name="connsiteY1537" fmla="*/ 1186511 h 1426100"/>
              <a:gd name="connsiteX1538" fmla="*/ 20552 w 1429540"/>
              <a:gd name="connsiteY1538" fmla="*/ 1186511 h 1426100"/>
              <a:gd name="connsiteX1539" fmla="*/ 20552 w 1429540"/>
              <a:gd name="connsiteY1539" fmla="*/ 1184229 h 1426100"/>
              <a:gd name="connsiteX1540" fmla="*/ 18269 w 1429540"/>
              <a:gd name="connsiteY1540" fmla="*/ 1181947 h 1426100"/>
              <a:gd name="connsiteX1541" fmla="*/ 15985 w 1429540"/>
              <a:gd name="connsiteY1541" fmla="*/ 1179665 h 1426100"/>
              <a:gd name="connsiteX1542" fmla="*/ 15985 w 1429540"/>
              <a:gd name="connsiteY1542" fmla="*/ 1177383 h 1426100"/>
              <a:gd name="connsiteX1543" fmla="*/ 15985 w 1429540"/>
              <a:gd name="connsiteY1543" fmla="*/ 1175101 h 1426100"/>
              <a:gd name="connsiteX1544" fmla="*/ 13702 w 1429540"/>
              <a:gd name="connsiteY1544" fmla="*/ 1175101 h 1426100"/>
              <a:gd name="connsiteX1545" fmla="*/ 13702 w 1429540"/>
              <a:gd name="connsiteY1545" fmla="*/ 1172819 h 1426100"/>
              <a:gd name="connsiteX1546" fmla="*/ 13702 w 1429540"/>
              <a:gd name="connsiteY1546" fmla="*/ 1170538 h 1426100"/>
              <a:gd name="connsiteX1547" fmla="*/ 13702 w 1429540"/>
              <a:gd name="connsiteY1547" fmla="*/ 1172819 h 1426100"/>
              <a:gd name="connsiteX1548" fmla="*/ 11418 w 1429540"/>
              <a:gd name="connsiteY1548" fmla="*/ 1172819 h 1426100"/>
              <a:gd name="connsiteX1549" fmla="*/ 9134 w 1429540"/>
              <a:gd name="connsiteY1549" fmla="*/ 1172819 h 1426100"/>
              <a:gd name="connsiteX1550" fmla="*/ 9134 w 1429540"/>
              <a:gd name="connsiteY1550" fmla="*/ 1175101 h 1426100"/>
              <a:gd name="connsiteX1551" fmla="*/ 6851 w 1429540"/>
              <a:gd name="connsiteY1551" fmla="*/ 1175101 h 1426100"/>
              <a:gd name="connsiteX1552" fmla="*/ 6851 w 1429540"/>
              <a:gd name="connsiteY1552" fmla="*/ 1172819 h 1426100"/>
              <a:gd name="connsiteX1553" fmla="*/ 6851 w 1429540"/>
              <a:gd name="connsiteY1553" fmla="*/ 1170538 h 1426100"/>
              <a:gd name="connsiteX1554" fmla="*/ 6851 w 1429540"/>
              <a:gd name="connsiteY1554" fmla="*/ 1168256 h 1426100"/>
              <a:gd name="connsiteX1555" fmla="*/ 4567 w 1429540"/>
              <a:gd name="connsiteY1555" fmla="*/ 1168256 h 1426100"/>
              <a:gd name="connsiteX1556" fmla="*/ 4567 w 1429540"/>
              <a:gd name="connsiteY1556" fmla="*/ 1165974 h 1426100"/>
              <a:gd name="connsiteX1557" fmla="*/ 2284 w 1429540"/>
              <a:gd name="connsiteY1557" fmla="*/ 1165974 h 1426100"/>
              <a:gd name="connsiteX1558" fmla="*/ 4567 w 1429540"/>
              <a:gd name="connsiteY1558" fmla="*/ 1165974 h 1426100"/>
              <a:gd name="connsiteX1559" fmla="*/ 4567 w 1429540"/>
              <a:gd name="connsiteY1559" fmla="*/ 1163692 h 1426100"/>
              <a:gd name="connsiteX1560" fmla="*/ 2284 w 1429540"/>
              <a:gd name="connsiteY1560" fmla="*/ 1163692 h 1426100"/>
              <a:gd name="connsiteX1561" fmla="*/ 0 w 1429540"/>
              <a:gd name="connsiteY1561" fmla="*/ 1163692 h 1426100"/>
              <a:gd name="connsiteX1562" fmla="*/ 2284 w 1429540"/>
              <a:gd name="connsiteY1562" fmla="*/ 1161410 h 1426100"/>
              <a:gd name="connsiteX1563" fmla="*/ 2284 w 1429540"/>
              <a:gd name="connsiteY1563" fmla="*/ 1159137 h 1426100"/>
              <a:gd name="connsiteX1564" fmla="*/ 0 w 1429540"/>
              <a:gd name="connsiteY1564" fmla="*/ 1159137 h 1426100"/>
              <a:gd name="connsiteX1565" fmla="*/ 4567 w 1429540"/>
              <a:gd name="connsiteY1565" fmla="*/ 1159137 h 1426100"/>
              <a:gd name="connsiteX1566" fmla="*/ 6851 w 1429540"/>
              <a:gd name="connsiteY1566" fmla="*/ 1159137 h 1426100"/>
              <a:gd name="connsiteX1567" fmla="*/ 6851 w 1429540"/>
              <a:gd name="connsiteY1567" fmla="*/ 1156846 h 1426100"/>
              <a:gd name="connsiteX1568" fmla="*/ 6851 w 1429540"/>
              <a:gd name="connsiteY1568" fmla="*/ 1154564 h 1426100"/>
              <a:gd name="connsiteX1569" fmla="*/ 9134 w 1429540"/>
              <a:gd name="connsiteY1569" fmla="*/ 1154564 h 1426100"/>
              <a:gd name="connsiteX1570" fmla="*/ 11418 w 1429540"/>
              <a:gd name="connsiteY1570" fmla="*/ 1154564 h 1426100"/>
              <a:gd name="connsiteX1571" fmla="*/ 13702 w 1429540"/>
              <a:gd name="connsiteY1571" fmla="*/ 1154564 h 1426100"/>
              <a:gd name="connsiteX1572" fmla="*/ 15985 w 1429540"/>
              <a:gd name="connsiteY1572" fmla="*/ 1154564 h 1426100"/>
              <a:gd name="connsiteX1573" fmla="*/ 15985 w 1429540"/>
              <a:gd name="connsiteY1573" fmla="*/ 1156846 h 1426100"/>
              <a:gd name="connsiteX1574" fmla="*/ 15985 w 1429540"/>
              <a:gd name="connsiteY1574" fmla="*/ 1159137 h 1426100"/>
              <a:gd name="connsiteX1575" fmla="*/ 18269 w 1429540"/>
              <a:gd name="connsiteY1575" fmla="*/ 1159137 h 1426100"/>
              <a:gd name="connsiteX1576" fmla="*/ 20552 w 1429540"/>
              <a:gd name="connsiteY1576" fmla="*/ 1159137 h 1426100"/>
              <a:gd name="connsiteX1577" fmla="*/ 22836 w 1429540"/>
              <a:gd name="connsiteY1577" fmla="*/ 1161410 h 1426100"/>
              <a:gd name="connsiteX1578" fmla="*/ 25119 w 1429540"/>
              <a:gd name="connsiteY1578" fmla="*/ 1161410 h 1426100"/>
              <a:gd name="connsiteX1579" fmla="*/ 25119 w 1429540"/>
              <a:gd name="connsiteY1579" fmla="*/ 1159137 h 1426100"/>
              <a:gd name="connsiteX1580" fmla="*/ 27403 w 1429540"/>
              <a:gd name="connsiteY1580" fmla="*/ 1156846 h 1426100"/>
              <a:gd name="connsiteX1581" fmla="*/ 27403 w 1429540"/>
              <a:gd name="connsiteY1581" fmla="*/ 1154564 h 1426100"/>
              <a:gd name="connsiteX1582" fmla="*/ 27403 w 1429540"/>
              <a:gd name="connsiteY1582" fmla="*/ 1152292 h 1426100"/>
              <a:gd name="connsiteX1583" fmla="*/ 29687 w 1429540"/>
              <a:gd name="connsiteY1583" fmla="*/ 1150010 h 1426100"/>
              <a:gd name="connsiteX1584" fmla="*/ 29687 w 1429540"/>
              <a:gd name="connsiteY1584" fmla="*/ 1147728 h 1426100"/>
              <a:gd name="connsiteX1585" fmla="*/ 29687 w 1429540"/>
              <a:gd name="connsiteY1585" fmla="*/ 1145446 h 1426100"/>
              <a:gd name="connsiteX1586" fmla="*/ 29687 w 1429540"/>
              <a:gd name="connsiteY1586" fmla="*/ 1140882 h 1426100"/>
              <a:gd name="connsiteX1587" fmla="*/ 29687 w 1429540"/>
              <a:gd name="connsiteY1587" fmla="*/ 1136319 h 1426100"/>
              <a:gd name="connsiteX1588" fmla="*/ 27403 w 1429540"/>
              <a:gd name="connsiteY1588" fmla="*/ 1134037 h 1426100"/>
              <a:gd name="connsiteX1589" fmla="*/ 29687 w 1429540"/>
              <a:gd name="connsiteY1589" fmla="*/ 1134037 h 1426100"/>
              <a:gd name="connsiteX1590" fmla="*/ 29687 w 1429540"/>
              <a:gd name="connsiteY1590" fmla="*/ 1131755 h 1426100"/>
              <a:gd name="connsiteX1591" fmla="*/ 29687 w 1429540"/>
              <a:gd name="connsiteY1591" fmla="*/ 1124909 h 1426100"/>
              <a:gd name="connsiteX1592" fmla="*/ 36538 w 1429540"/>
              <a:gd name="connsiteY1592" fmla="*/ 1122627 h 1426100"/>
              <a:gd name="connsiteX1593" fmla="*/ 38821 w 1429540"/>
              <a:gd name="connsiteY1593" fmla="*/ 1122627 h 1426100"/>
              <a:gd name="connsiteX1594" fmla="*/ 36538 w 1429540"/>
              <a:gd name="connsiteY1594" fmla="*/ 1120345 h 1426100"/>
              <a:gd name="connsiteX1595" fmla="*/ 38821 w 1429540"/>
              <a:gd name="connsiteY1595" fmla="*/ 1118063 h 1426100"/>
              <a:gd name="connsiteX1596" fmla="*/ 43388 w 1429540"/>
              <a:gd name="connsiteY1596" fmla="*/ 1115782 h 1426100"/>
              <a:gd name="connsiteX1597" fmla="*/ 50239 w 1429540"/>
              <a:gd name="connsiteY1597" fmla="*/ 1115782 h 1426100"/>
              <a:gd name="connsiteX1598" fmla="*/ 52523 w 1429540"/>
              <a:gd name="connsiteY1598" fmla="*/ 1113500 h 1426100"/>
              <a:gd name="connsiteX1599" fmla="*/ 54806 w 1429540"/>
              <a:gd name="connsiteY1599" fmla="*/ 1113500 h 1426100"/>
              <a:gd name="connsiteX1600" fmla="*/ 57090 w 1429540"/>
              <a:gd name="connsiteY1600" fmla="*/ 1113500 h 1426100"/>
              <a:gd name="connsiteX1601" fmla="*/ 59373 w 1429540"/>
              <a:gd name="connsiteY1601" fmla="*/ 1113500 h 1426100"/>
              <a:gd name="connsiteX1602" fmla="*/ 61657 w 1429540"/>
              <a:gd name="connsiteY1602" fmla="*/ 1113500 h 1426100"/>
              <a:gd name="connsiteX1603" fmla="*/ 59373 w 1429540"/>
              <a:gd name="connsiteY1603" fmla="*/ 1108936 h 1426100"/>
              <a:gd name="connsiteX1604" fmla="*/ 59373 w 1429540"/>
              <a:gd name="connsiteY1604" fmla="*/ 1106654 h 1426100"/>
              <a:gd name="connsiteX1605" fmla="*/ 59373 w 1429540"/>
              <a:gd name="connsiteY1605" fmla="*/ 1104372 h 1426100"/>
              <a:gd name="connsiteX1606" fmla="*/ 57090 w 1429540"/>
              <a:gd name="connsiteY1606" fmla="*/ 1097526 h 1426100"/>
              <a:gd name="connsiteX1607" fmla="*/ 57090 w 1429540"/>
              <a:gd name="connsiteY1607" fmla="*/ 1095244 h 1426100"/>
              <a:gd name="connsiteX1608" fmla="*/ 52523 w 1429540"/>
              <a:gd name="connsiteY1608" fmla="*/ 1095244 h 1426100"/>
              <a:gd name="connsiteX1609" fmla="*/ 57090 w 1429540"/>
              <a:gd name="connsiteY1609" fmla="*/ 1076989 h 1426100"/>
              <a:gd name="connsiteX1610" fmla="*/ 59373 w 1429540"/>
              <a:gd name="connsiteY1610" fmla="*/ 1072426 h 1426100"/>
              <a:gd name="connsiteX1611" fmla="*/ 59373 w 1429540"/>
              <a:gd name="connsiteY1611" fmla="*/ 1067862 h 1426100"/>
              <a:gd name="connsiteX1612" fmla="*/ 63941 w 1429540"/>
              <a:gd name="connsiteY1612" fmla="*/ 1070144 h 1426100"/>
              <a:gd name="connsiteX1613" fmla="*/ 66224 w 1429540"/>
              <a:gd name="connsiteY1613" fmla="*/ 1067862 h 1426100"/>
              <a:gd name="connsiteX1614" fmla="*/ 68508 w 1429540"/>
              <a:gd name="connsiteY1614" fmla="*/ 1067862 h 1426100"/>
              <a:gd name="connsiteX1615" fmla="*/ 75359 w 1429540"/>
              <a:gd name="connsiteY1615" fmla="*/ 1067862 h 1426100"/>
              <a:gd name="connsiteX1616" fmla="*/ 75359 w 1429540"/>
              <a:gd name="connsiteY1616" fmla="*/ 1063298 h 1426100"/>
              <a:gd name="connsiteX1617" fmla="*/ 77642 w 1429540"/>
              <a:gd name="connsiteY1617" fmla="*/ 1063298 h 1426100"/>
              <a:gd name="connsiteX1618" fmla="*/ 93627 w 1429540"/>
              <a:gd name="connsiteY1618" fmla="*/ 1061016 h 1426100"/>
              <a:gd name="connsiteX1619" fmla="*/ 89060 w 1429540"/>
              <a:gd name="connsiteY1619" fmla="*/ 1054170 h 1426100"/>
              <a:gd name="connsiteX1620" fmla="*/ 91344 w 1429540"/>
              <a:gd name="connsiteY1620" fmla="*/ 1054170 h 1426100"/>
              <a:gd name="connsiteX1621" fmla="*/ 91344 w 1429540"/>
              <a:gd name="connsiteY1621" fmla="*/ 1051888 h 1426100"/>
              <a:gd name="connsiteX1622" fmla="*/ 91344 w 1429540"/>
              <a:gd name="connsiteY1622" fmla="*/ 1049606 h 1426100"/>
              <a:gd name="connsiteX1623" fmla="*/ 93627 w 1429540"/>
              <a:gd name="connsiteY1623" fmla="*/ 1051888 h 1426100"/>
              <a:gd name="connsiteX1624" fmla="*/ 93627 w 1429540"/>
              <a:gd name="connsiteY1624" fmla="*/ 1049606 h 1426100"/>
              <a:gd name="connsiteX1625" fmla="*/ 95911 w 1429540"/>
              <a:gd name="connsiteY1625" fmla="*/ 1049606 h 1426100"/>
              <a:gd name="connsiteX1626" fmla="*/ 95911 w 1429540"/>
              <a:gd name="connsiteY1626" fmla="*/ 1047325 h 1426100"/>
              <a:gd name="connsiteX1627" fmla="*/ 98194 w 1429540"/>
              <a:gd name="connsiteY1627" fmla="*/ 1047325 h 1426100"/>
              <a:gd name="connsiteX1628" fmla="*/ 98194 w 1429540"/>
              <a:gd name="connsiteY1628" fmla="*/ 1049606 h 1426100"/>
              <a:gd name="connsiteX1629" fmla="*/ 98194 w 1429540"/>
              <a:gd name="connsiteY1629" fmla="*/ 1047325 h 1426100"/>
              <a:gd name="connsiteX1630" fmla="*/ 98194 w 1429540"/>
              <a:gd name="connsiteY1630" fmla="*/ 1045043 h 1426100"/>
              <a:gd name="connsiteX1631" fmla="*/ 100478 w 1429540"/>
              <a:gd name="connsiteY1631" fmla="*/ 1045043 h 1426100"/>
              <a:gd name="connsiteX1632" fmla="*/ 100478 w 1429540"/>
              <a:gd name="connsiteY1632" fmla="*/ 1042761 h 1426100"/>
              <a:gd name="connsiteX1633" fmla="*/ 98194 w 1429540"/>
              <a:gd name="connsiteY1633" fmla="*/ 1042761 h 1426100"/>
              <a:gd name="connsiteX1634" fmla="*/ 105045 w 1429540"/>
              <a:gd name="connsiteY1634" fmla="*/ 1042761 h 1426100"/>
              <a:gd name="connsiteX1635" fmla="*/ 107329 w 1429540"/>
              <a:gd name="connsiteY1635" fmla="*/ 1042761 h 1426100"/>
              <a:gd name="connsiteX1636" fmla="*/ 107329 w 1429540"/>
              <a:gd name="connsiteY1636" fmla="*/ 1040479 h 1426100"/>
              <a:gd name="connsiteX1637" fmla="*/ 109613 w 1429540"/>
              <a:gd name="connsiteY1637" fmla="*/ 1038197 h 1426100"/>
              <a:gd name="connsiteX1638" fmla="*/ 107329 w 1429540"/>
              <a:gd name="connsiteY1638" fmla="*/ 1035915 h 1426100"/>
              <a:gd name="connsiteX1639" fmla="*/ 107329 w 1429540"/>
              <a:gd name="connsiteY1639" fmla="*/ 1033633 h 1426100"/>
              <a:gd name="connsiteX1640" fmla="*/ 107329 w 1429540"/>
              <a:gd name="connsiteY1640" fmla="*/ 1031351 h 1426100"/>
              <a:gd name="connsiteX1641" fmla="*/ 105045 w 1429540"/>
              <a:gd name="connsiteY1641" fmla="*/ 1031351 h 1426100"/>
              <a:gd name="connsiteX1642" fmla="*/ 107329 w 1429540"/>
              <a:gd name="connsiteY1642" fmla="*/ 1029069 h 1426100"/>
              <a:gd name="connsiteX1643" fmla="*/ 107329 w 1429540"/>
              <a:gd name="connsiteY1643" fmla="*/ 1026788 h 1426100"/>
              <a:gd name="connsiteX1644" fmla="*/ 105045 w 1429540"/>
              <a:gd name="connsiteY1644" fmla="*/ 1026788 h 1426100"/>
              <a:gd name="connsiteX1645" fmla="*/ 105045 w 1429540"/>
              <a:gd name="connsiteY1645" fmla="*/ 1024506 h 1426100"/>
              <a:gd name="connsiteX1646" fmla="*/ 105045 w 1429540"/>
              <a:gd name="connsiteY1646" fmla="*/ 1019942 h 1426100"/>
              <a:gd name="connsiteX1647" fmla="*/ 105045 w 1429540"/>
              <a:gd name="connsiteY1647" fmla="*/ 1017660 h 1426100"/>
              <a:gd name="connsiteX1648" fmla="*/ 105045 w 1429540"/>
              <a:gd name="connsiteY1648" fmla="*/ 1015378 h 1426100"/>
              <a:gd name="connsiteX1649" fmla="*/ 107329 w 1429540"/>
              <a:gd name="connsiteY1649" fmla="*/ 1013096 h 1426100"/>
              <a:gd name="connsiteX1650" fmla="*/ 107329 w 1429540"/>
              <a:gd name="connsiteY1650" fmla="*/ 1010814 h 1426100"/>
              <a:gd name="connsiteX1651" fmla="*/ 107329 w 1429540"/>
              <a:gd name="connsiteY1651" fmla="*/ 1008532 h 1426100"/>
              <a:gd name="connsiteX1652" fmla="*/ 107329 w 1429540"/>
              <a:gd name="connsiteY1652" fmla="*/ 1006250 h 1426100"/>
              <a:gd name="connsiteX1653" fmla="*/ 109613 w 1429540"/>
              <a:gd name="connsiteY1653" fmla="*/ 1006250 h 1426100"/>
              <a:gd name="connsiteX1654" fmla="*/ 111896 w 1429540"/>
              <a:gd name="connsiteY1654" fmla="*/ 1006250 h 1426100"/>
              <a:gd name="connsiteX1655" fmla="*/ 111896 w 1429540"/>
              <a:gd name="connsiteY1655" fmla="*/ 1008532 h 1426100"/>
              <a:gd name="connsiteX1656" fmla="*/ 114180 w 1429540"/>
              <a:gd name="connsiteY1656" fmla="*/ 1008532 h 1426100"/>
              <a:gd name="connsiteX1657" fmla="*/ 116463 w 1429540"/>
              <a:gd name="connsiteY1657" fmla="*/ 1010814 h 1426100"/>
              <a:gd name="connsiteX1658" fmla="*/ 118747 w 1429540"/>
              <a:gd name="connsiteY1658" fmla="*/ 1010814 h 1426100"/>
              <a:gd name="connsiteX1659" fmla="*/ 121031 w 1429540"/>
              <a:gd name="connsiteY1659" fmla="*/ 1010814 h 1426100"/>
              <a:gd name="connsiteX1660" fmla="*/ 123314 w 1429540"/>
              <a:gd name="connsiteY1660" fmla="*/ 1013096 h 1426100"/>
              <a:gd name="connsiteX1661" fmla="*/ 123314 w 1429540"/>
              <a:gd name="connsiteY1661" fmla="*/ 1015378 h 1426100"/>
              <a:gd name="connsiteX1662" fmla="*/ 123314 w 1429540"/>
              <a:gd name="connsiteY1662" fmla="*/ 1017660 h 1426100"/>
              <a:gd name="connsiteX1663" fmla="*/ 125598 w 1429540"/>
              <a:gd name="connsiteY1663" fmla="*/ 1017660 h 1426100"/>
              <a:gd name="connsiteX1664" fmla="*/ 125598 w 1429540"/>
              <a:gd name="connsiteY1664" fmla="*/ 1013096 h 1426100"/>
              <a:gd name="connsiteX1665" fmla="*/ 127881 w 1429540"/>
              <a:gd name="connsiteY1665" fmla="*/ 1013096 h 1426100"/>
              <a:gd name="connsiteX1666" fmla="*/ 127881 w 1429540"/>
              <a:gd name="connsiteY1666" fmla="*/ 1015378 h 1426100"/>
              <a:gd name="connsiteX1667" fmla="*/ 127881 w 1429540"/>
              <a:gd name="connsiteY1667" fmla="*/ 1017660 h 1426100"/>
              <a:gd name="connsiteX1668" fmla="*/ 127881 w 1429540"/>
              <a:gd name="connsiteY1668" fmla="*/ 1019942 h 1426100"/>
              <a:gd name="connsiteX1669" fmla="*/ 127881 w 1429540"/>
              <a:gd name="connsiteY1669" fmla="*/ 1022224 h 1426100"/>
              <a:gd name="connsiteX1670" fmla="*/ 130165 w 1429540"/>
              <a:gd name="connsiteY1670" fmla="*/ 1022224 h 1426100"/>
              <a:gd name="connsiteX1671" fmla="*/ 132448 w 1429540"/>
              <a:gd name="connsiteY1671" fmla="*/ 1022224 h 1426100"/>
              <a:gd name="connsiteX1672" fmla="*/ 134732 w 1429540"/>
              <a:gd name="connsiteY1672" fmla="*/ 1024506 h 1426100"/>
              <a:gd name="connsiteX1673" fmla="*/ 137016 w 1429540"/>
              <a:gd name="connsiteY1673" fmla="*/ 1024506 h 1426100"/>
              <a:gd name="connsiteX1674" fmla="*/ 139299 w 1429540"/>
              <a:gd name="connsiteY1674" fmla="*/ 1024506 h 1426100"/>
              <a:gd name="connsiteX1675" fmla="*/ 141583 w 1429540"/>
              <a:gd name="connsiteY1675" fmla="*/ 1024506 h 1426100"/>
              <a:gd name="connsiteX1676" fmla="*/ 143867 w 1429540"/>
              <a:gd name="connsiteY1676" fmla="*/ 1024506 h 1426100"/>
              <a:gd name="connsiteX1677" fmla="*/ 146150 w 1429540"/>
              <a:gd name="connsiteY1677" fmla="*/ 1024506 h 1426100"/>
              <a:gd name="connsiteX1678" fmla="*/ 148434 w 1429540"/>
              <a:gd name="connsiteY1678" fmla="*/ 1026788 h 1426100"/>
              <a:gd name="connsiteX1679" fmla="*/ 146150 w 1429540"/>
              <a:gd name="connsiteY1679" fmla="*/ 1022224 h 1426100"/>
              <a:gd name="connsiteX1680" fmla="*/ 146150 w 1429540"/>
              <a:gd name="connsiteY1680" fmla="*/ 1019942 h 1426100"/>
              <a:gd name="connsiteX1681" fmla="*/ 146150 w 1429540"/>
              <a:gd name="connsiteY1681" fmla="*/ 1017660 h 1426100"/>
              <a:gd name="connsiteX1682" fmla="*/ 146150 w 1429540"/>
              <a:gd name="connsiteY1682" fmla="*/ 1015378 h 1426100"/>
              <a:gd name="connsiteX1683" fmla="*/ 146150 w 1429540"/>
              <a:gd name="connsiteY1683" fmla="*/ 1013096 h 1426100"/>
              <a:gd name="connsiteX1684" fmla="*/ 148434 w 1429540"/>
              <a:gd name="connsiteY1684" fmla="*/ 1013096 h 1426100"/>
              <a:gd name="connsiteX1685" fmla="*/ 148434 w 1429540"/>
              <a:gd name="connsiteY1685" fmla="*/ 1008532 h 1426100"/>
              <a:gd name="connsiteX1686" fmla="*/ 150717 w 1429540"/>
              <a:gd name="connsiteY1686" fmla="*/ 1008532 h 1426100"/>
              <a:gd name="connsiteX1687" fmla="*/ 150717 w 1429540"/>
              <a:gd name="connsiteY1687" fmla="*/ 1010814 h 1426100"/>
              <a:gd name="connsiteX1688" fmla="*/ 153001 w 1429540"/>
              <a:gd name="connsiteY1688" fmla="*/ 1010814 h 1426100"/>
              <a:gd name="connsiteX1689" fmla="*/ 155284 w 1429540"/>
              <a:gd name="connsiteY1689" fmla="*/ 1008532 h 1426100"/>
              <a:gd name="connsiteX1690" fmla="*/ 157568 w 1429540"/>
              <a:gd name="connsiteY1690" fmla="*/ 1008532 h 1426100"/>
              <a:gd name="connsiteX1691" fmla="*/ 162135 w 1429540"/>
              <a:gd name="connsiteY1691" fmla="*/ 1010814 h 1426100"/>
              <a:gd name="connsiteX1692" fmla="*/ 166702 w 1429540"/>
              <a:gd name="connsiteY1692" fmla="*/ 1013096 h 1426100"/>
              <a:gd name="connsiteX1693" fmla="*/ 171270 w 1429540"/>
              <a:gd name="connsiteY1693" fmla="*/ 1013096 h 1426100"/>
              <a:gd name="connsiteX1694" fmla="*/ 173553 w 1429540"/>
              <a:gd name="connsiteY1694" fmla="*/ 1013096 h 1426100"/>
              <a:gd name="connsiteX1695" fmla="*/ 180404 w 1429540"/>
              <a:gd name="connsiteY1695" fmla="*/ 1013096 h 1426100"/>
              <a:gd name="connsiteX1696" fmla="*/ 182688 w 1429540"/>
              <a:gd name="connsiteY1696" fmla="*/ 1013096 h 1426100"/>
              <a:gd name="connsiteX1697" fmla="*/ 189538 w 1429540"/>
              <a:gd name="connsiteY1697" fmla="*/ 1013096 h 1426100"/>
              <a:gd name="connsiteX1698" fmla="*/ 194106 w 1429540"/>
              <a:gd name="connsiteY1698" fmla="*/ 1015378 h 1426100"/>
              <a:gd name="connsiteX1699" fmla="*/ 194106 w 1429540"/>
              <a:gd name="connsiteY1699" fmla="*/ 1010814 h 1426100"/>
              <a:gd name="connsiteX1700" fmla="*/ 194106 w 1429540"/>
              <a:gd name="connsiteY1700" fmla="*/ 1003978 h 1426100"/>
              <a:gd name="connsiteX1701" fmla="*/ 194106 w 1429540"/>
              <a:gd name="connsiteY1701" fmla="*/ 999414 h 1426100"/>
              <a:gd name="connsiteX1702" fmla="*/ 196389 w 1429540"/>
              <a:gd name="connsiteY1702" fmla="*/ 994851 h 1426100"/>
              <a:gd name="connsiteX1703" fmla="*/ 196389 w 1429540"/>
              <a:gd name="connsiteY1703" fmla="*/ 992569 h 1426100"/>
              <a:gd name="connsiteX1704" fmla="*/ 198673 w 1429540"/>
              <a:gd name="connsiteY1704" fmla="*/ 990287 h 1426100"/>
              <a:gd name="connsiteX1705" fmla="*/ 200956 w 1429540"/>
              <a:gd name="connsiteY1705" fmla="*/ 985723 h 1426100"/>
              <a:gd name="connsiteX1706" fmla="*/ 203240 w 1429540"/>
              <a:gd name="connsiteY1706" fmla="*/ 985723 h 1426100"/>
              <a:gd name="connsiteX1707" fmla="*/ 203240 w 1429540"/>
              <a:gd name="connsiteY1707" fmla="*/ 983441 h 1426100"/>
              <a:gd name="connsiteX1708" fmla="*/ 200956 w 1429540"/>
              <a:gd name="connsiteY1708" fmla="*/ 981159 h 1426100"/>
              <a:gd name="connsiteX1709" fmla="*/ 203240 w 1429540"/>
              <a:gd name="connsiteY1709" fmla="*/ 981159 h 1426100"/>
              <a:gd name="connsiteX1710" fmla="*/ 205523 w 1429540"/>
              <a:gd name="connsiteY1710" fmla="*/ 976595 h 1426100"/>
              <a:gd name="connsiteX1711" fmla="*/ 207807 w 1429540"/>
              <a:gd name="connsiteY1711" fmla="*/ 976595 h 1426100"/>
              <a:gd name="connsiteX1712" fmla="*/ 207807 w 1429540"/>
              <a:gd name="connsiteY1712" fmla="*/ 974313 h 1426100"/>
              <a:gd name="connsiteX1713" fmla="*/ 210091 w 1429540"/>
              <a:gd name="connsiteY1713" fmla="*/ 974313 h 1426100"/>
              <a:gd name="connsiteX1714" fmla="*/ 219225 w 1429540"/>
              <a:gd name="connsiteY1714" fmla="*/ 969750 h 1426100"/>
              <a:gd name="connsiteX1715" fmla="*/ 226076 w 1429540"/>
              <a:gd name="connsiteY1715" fmla="*/ 967468 h 1426100"/>
              <a:gd name="connsiteX1716" fmla="*/ 230643 w 1429540"/>
              <a:gd name="connsiteY1716" fmla="*/ 965186 h 1426100"/>
              <a:gd name="connsiteX1717" fmla="*/ 230643 w 1429540"/>
              <a:gd name="connsiteY1717" fmla="*/ 962904 h 1426100"/>
              <a:gd name="connsiteX1718" fmla="*/ 228360 w 1429540"/>
              <a:gd name="connsiteY1718" fmla="*/ 960622 h 1426100"/>
              <a:gd name="connsiteX1719" fmla="*/ 228360 w 1429540"/>
              <a:gd name="connsiteY1719" fmla="*/ 958340 h 1426100"/>
              <a:gd name="connsiteX1720" fmla="*/ 228360 w 1429540"/>
              <a:gd name="connsiteY1720" fmla="*/ 956058 h 1426100"/>
              <a:gd name="connsiteX1721" fmla="*/ 226076 w 1429540"/>
              <a:gd name="connsiteY1721" fmla="*/ 953776 h 1426100"/>
              <a:gd name="connsiteX1722" fmla="*/ 226076 w 1429540"/>
              <a:gd name="connsiteY1722" fmla="*/ 949213 h 1426100"/>
              <a:gd name="connsiteX1723" fmla="*/ 226076 w 1429540"/>
              <a:gd name="connsiteY1723" fmla="*/ 946931 h 1426100"/>
              <a:gd name="connsiteX1724" fmla="*/ 223792 w 1429540"/>
              <a:gd name="connsiteY1724" fmla="*/ 944649 h 1426100"/>
              <a:gd name="connsiteX1725" fmla="*/ 223792 w 1429540"/>
              <a:gd name="connsiteY1725" fmla="*/ 942367 h 1426100"/>
              <a:gd name="connsiteX1726" fmla="*/ 219225 w 1429540"/>
              <a:gd name="connsiteY1726" fmla="*/ 942367 h 1426100"/>
              <a:gd name="connsiteX1727" fmla="*/ 214658 w 1429540"/>
              <a:gd name="connsiteY1727" fmla="*/ 944649 h 1426100"/>
              <a:gd name="connsiteX1728" fmla="*/ 214658 w 1429540"/>
              <a:gd name="connsiteY1728" fmla="*/ 937803 h 1426100"/>
              <a:gd name="connsiteX1729" fmla="*/ 210091 w 1429540"/>
              <a:gd name="connsiteY1729" fmla="*/ 928676 h 1426100"/>
              <a:gd name="connsiteX1730" fmla="*/ 207807 w 1429540"/>
              <a:gd name="connsiteY1730" fmla="*/ 928676 h 1426100"/>
              <a:gd name="connsiteX1731" fmla="*/ 205523 w 1429540"/>
              <a:gd name="connsiteY1731" fmla="*/ 930957 h 1426100"/>
              <a:gd name="connsiteX1732" fmla="*/ 203240 w 1429540"/>
              <a:gd name="connsiteY1732" fmla="*/ 930957 h 1426100"/>
              <a:gd name="connsiteX1733" fmla="*/ 200956 w 1429540"/>
              <a:gd name="connsiteY1733" fmla="*/ 930957 h 1426100"/>
              <a:gd name="connsiteX1734" fmla="*/ 198673 w 1429540"/>
              <a:gd name="connsiteY1734" fmla="*/ 933239 h 1426100"/>
              <a:gd name="connsiteX1735" fmla="*/ 191822 w 1429540"/>
              <a:gd name="connsiteY1735" fmla="*/ 933239 h 1426100"/>
              <a:gd name="connsiteX1736" fmla="*/ 187255 w 1429540"/>
              <a:gd name="connsiteY1736" fmla="*/ 935521 h 1426100"/>
              <a:gd name="connsiteX1737" fmla="*/ 180404 w 1429540"/>
              <a:gd name="connsiteY1737" fmla="*/ 937803 h 1426100"/>
              <a:gd name="connsiteX1738" fmla="*/ 175837 w 1429540"/>
              <a:gd name="connsiteY1738" fmla="*/ 942367 h 1426100"/>
              <a:gd name="connsiteX1739" fmla="*/ 171270 w 1429540"/>
              <a:gd name="connsiteY1739" fmla="*/ 937803 h 1426100"/>
              <a:gd name="connsiteX1740" fmla="*/ 168986 w 1429540"/>
              <a:gd name="connsiteY1740" fmla="*/ 937803 h 1426100"/>
              <a:gd name="connsiteX1741" fmla="*/ 162135 w 1429540"/>
              <a:gd name="connsiteY1741" fmla="*/ 933239 h 1426100"/>
              <a:gd name="connsiteX1742" fmla="*/ 162135 w 1429540"/>
              <a:gd name="connsiteY1742" fmla="*/ 928676 h 1426100"/>
              <a:gd name="connsiteX1743" fmla="*/ 157568 w 1429540"/>
              <a:gd name="connsiteY1743" fmla="*/ 926394 h 1426100"/>
              <a:gd name="connsiteX1744" fmla="*/ 155284 w 1429540"/>
              <a:gd name="connsiteY1744" fmla="*/ 926394 h 1426100"/>
              <a:gd name="connsiteX1745" fmla="*/ 153001 w 1429540"/>
              <a:gd name="connsiteY1745" fmla="*/ 926394 h 1426100"/>
              <a:gd name="connsiteX1746" fmla="*/ 148434 w 1429540"/>
              <a:gd name="connsiteY1746" fmla="*/ 924112 h 1426100"/>
              <a:gd name="connsiteX1747" fmla="*/ 143867 w 1429540"/>
              <a:gd name="connsiteY1747" fmla="*/ 921830 h 1426100"/>
              <a:gd name="connsiteX1748" fmla="*/ 143867 w 1429540"/>
              <a:gd name="connsiteY1748" fmla="*/ 919548 h 1426100"/>
              <a:gd name="connsiteX1749" fmla="*/ 143867 w 1429540"/>
              <a:gd name="connsiteY1749" fmla="*/ 917266 h 1426100"/>
              <a:gd name="connsiteX1750" fmla="*/ 143867 w 1429540"/>
              <a:gd name="connsiteY1750" fmla="*/ 914984 h 1426100"/>
              <a:gd name="connsiteX1751" fmla="*/ 143867 w 1429540"/>
              <a:gd name="connsiteY1751" fmla="*/ 912702 h 1426100"/>
              <a:gd name="connsiteX1752" fmla="*/ 143867 w 1429540"/>
              <a:gd name="connsiteY1752" fmla="*/ 910420 h 1426100"/>
              <a:gd name="connsiteX1753" fmla="*/ 143867 w 1429540"/>
              <a:gd name="connsiteY1753" fmla="*/ 908138 h 1426100"/>
              <a:gd name="connsiteX1754" fmla="*/ 143867 w 1429540"/>
              <a:gd name="connsiteY1754" fmla="*/ 905857 h 1426100"/>
              <a:gd name="connsiteX1755" fmla="*/ 143867 w 1429540"/>
              <a:gd name="connsiteY1755" fmla="*/ 903575 h 1426100"/>
              <a:gd name="connsiteX1756" fmla="*/ 137016 w 1429540"/>
              <a:gd name="connsiteY1756" fmla="*/ 901293 h 1426100"/>
              <a:gd name="connsiteX1757" fmla="*/ 134732 w 1429540"/>
              <a:gd name="connsiteY1757" fmla="*/ 901293 h 1426100"/>
              <a:gd name="connsiteX1758" fmla="*/ 132448 w 1429540"/>
              <a:gd name="connsiteY1758" fmla="*/ 899011 h 1426100"/>
              <a:gd name="connsiteX1759" fmla="*/ 127881 w 1429540"/>
              <a:gd name="connsiteY1759" fmla="*/ 899011 h 1426100"/>
              <a:gd name="connsiteX1760" fmla="*/ 125598 w 1429540"/>
              <a:gd name="connsiteY1760" fmla="*/ 896729 h 1426100"/>
              <a:gd name="connsiteX1761" fmla="*/ 121031 w 1429540"/>
              <a:gd name="connsiteY1761" fmla="*/ 896729 h 1426100"/>
              <a:gd name="connsiteX1762" fmla="*/ 116463 w 1429540"/>
              <a:gd name="connsiteY1762" fmla="*/ 894447 h 1426100"/>
              <a:gd name="connsiteX1763" fmla="*/ 114180 w 1429540"/>
              <a:gd name="connsiteY1763" fmla="*/ 894447 h 1426100"/>
              <a:gd name="connsiteX1764" fmla="*/ 111896 w 1429540"/>
              <a:gd name="connsiteY1764" fmla="*/ 894447 h 1426100"/>
              <a:gd name="connsiteX1765" fmla="*/ 109613 w 1429540"/>
              <a:gd name="connsiteY1765" fmla="*/ 894447 h 1426100"/>
              <a:gd name="connsiteX1766" fmla="*/ 109613 w 1429540"/>
              <a:gd name="connsiteY1766" fmla="*/ 892165 h 1426100"/>
              <a:gd name="connsiteX1767" fmla="*/ 109613 w 1429540"/>
              <a:gd name="connsiteY1767" fmla="*/ 889883 h 1426100"/>
              <a:gd name="connsiteX1768" fmla="*/ 109613 w 1429540"/>
              <a:gd name="connsiteY1768" fmla="*/ 887601 h 1426100"/>
              <a:gd name="connsiteX1769" fmla="*/ 109613 w 1429540"/>
              <a:gd name="connsiteY1769" fmla="*/ 885320 h 1426100"/>
              <a:gd name="connsiteX1770" fmla="*/ 109613 w 1429540"/>
              <a:gd name="connsiteY1770" fmla="*/ 883038 h 1426100"/>
              <a:gd name="connsiteX1771" fmla="*/ 109613 w 1429540"/>
              <a:gd name="connsiteY1771" fmla="*/ 880756 h 1426100"/>
              <a:gd name="connsiteX1772" fmla="*/ 109613 w 1429540"/>
              <a:gd name="connsiteY1772" fmla="*/ 878474 h 1426100"/>
              <a:gd name="connsiteX1773" fmla="*/ 109613 w 1429540"/>
              <a:gd name="connsiteY1773" fmla="*/ 876192 h 1426100"/>
              <a:gd name="connsiteX1774" fmla="*/ 111896 w 1429540"/>
              <a:gd name="connsiteY1774" fmla="*/ 876192 h 1426100"/>
              <a:gd name="connsiteX1775" fmla="*/ 111896 w 1429540"/>
              <a:gd name="connsiteY1775" fmla="*/ 873910 h 1426100"/>
              <a:gd name="connsiteX1776" fmla="*/ 111896 w 1429540"/>
              <a:gd name="connsiteY1776" fmla="*/ 871628 h 1426100"/>
              <a:gd name="connsiteX1777" fmla="*/ 109613 w 1429540"/>
              <a:gd name="connsiteY1777" fmla="*/ 871628 h 1426100"/>
              <a:gd name="connsiteX1778" fmla="*/ 109613 w 1429540"/>
              <a:gd name="connsiteY1778" fmla="*/ 873910 h 1426100"/>
              <a:gd name="connsiteX1779" fmla="*/ 107329 w 1429540"/>
              <a:gd name="connsiteY1779" fmla="*/ 873910 h 1426100"/>
              <a:gd name="connsiteX1780" fmla="*/ 107329 w 1429540"/>
              <a:gd name="connsiteY1780" fmla="*/ 871628 h 1426100"/>
              <a:gd name="connsiteX1781" fmla="*/ 107329 w 1429540"/>
              <a:gd name="connsiteY1781" fmla="*/ 869346 h 1426100"/>
              <a:gd name="connsiteX1782" fmla="*/ 107329 w 1429540"/>
              <a:gd name="connsiteY1782" fmla="*/ 867064 h 1426100"/>
              <a:gd name="connsiteX1783" fmla="*/ 107329 w 1429540"/>
              <a:gd name="connsiteY1783" fmla="*/ 864782 h 1426100"/>
              <a:gd name="connsiteX1784" fmla="*/ 107329 w 1429540"/>
              <a:gd name="connsiteY1784" fmla="*/ 862501 h 1426100"/>
              <a:gd name="connsiteX1785" fmla="*/ 107329 w 1429540"/>
              <a:gd name="connsiteY1785" fmla="*/ 860219 h 1426100"/>
              <a:gd name="connsiteX1786" fmla="*/ 105045 w 1429540"/>
              <a:gd name="connsiteY1786" fmla="*/ 857937 h 1426100"/>
              <a:gd name="connsiteX1787" fmla="*/ 102762 w 1429540"/>
              <a:gd name="connsiteY1787" fmla="*/ 857937 h 1426100"/>
              <a:gd name="connsiteX1788" fmla="*/ 100478 w 1429540"/>
              <a:gd name="connsiteY1788" fmla="*/ 855655 h 1426100"/>
              <a:gd name="connsiteX1789" fmla="*/ 98194 w 1429540"/>
              <a:gd name="connsiteY1789" fmla="*/ 853373 h 1426100"/>
              <a:gd name="connsiteX1790" fmla="*/ 95911 w 1429540"/>
              <a:gd name="connsiteY1790" fmla="*/ 853373 h 1426100"/>
              <a:gd name="connsiteX1791" fmla="*/ 95911 w 1429540"/>
              <a:gd name="connsiteY1791" fmla="*/ 851091 h 1426100"/>
              <a:gd name="connsiteX1792" fmla="*/ 95911 w 1429540"/>
              <a:gd name="connsiteY1792" fmla="*/ 846527 h 1426100"/>
              <a:gd name="connsiteX1793" fmla="*/ 98194 w 1429540"/>
              <a:gd name="connsiteY1793" fmla="*/ 844255 h 1426100"/>
              <a:gd name="connsiteX1794" fmla="*/ 100478 w 1429540"/>
              <a:gd name="connsiteY1794" fmla="*/ 841973 h 1426100"/>
              <a:gd name="connsiteX1795" fmla="*/ 98194 w 1429540"/>
              <a:gd name="connsiteY1795" fmla="*/ 837409 h 1426100"/>
              <a:gd name="connsiteX1796" fmla="*/ 102762 w 1429540"/>
              <a:gd name="connsiteY1796" fmla="*/ 835127 h 1426100"/>
              <a:gd name="connsiteX1797" fmla="*/ 105045 w 1429540"/>
              <a:gd name="connsiteY1797" fmla="*/ 835127 h 1426100"/>
              <a:gd name="connsiteX1798" fmla="*/ 102762 w 1429540"/>
              <a:gd name="connsiteY1798" fmla="*/ 830563 h 1426100"/>
              <a:gd name="connsiteX1799" fmla="*/ 100478 w 1429540"/>
              <a:gd name="connsiteY1799" fmla="*/ 828282 h 1426100"/>
              <a:gd name="connsiteX1800" fmla="*/ 100478 w 1429540"/>
              <a:gd name="connsiteY1800" fmla="*/ 826000 h 1426100"/>
              <a:gd name="connsiteX1801" fmla="*/ 105045 w 1429540"/>
              <a:gd name="connsiteY1801" fmla="*/ 823718 h 1426100"/>
              <a:gd name="connsiteX1802" fmla="*/ 109613 w 1429540"/>
              <a:gd name="connsiteY1802" fmla="*/ 826000 h 1426100"/>
              <a:gd name="connsiteX1803" fmla="*/ 114180 w 1429540"/>
              <a:gd name="connsiteY1803" fmla="*/ 821436 h 1426100"/>
              <a:gd name="connsiteX1804" fmla="*/ 118747 w 1429540"/>
              <a:gd name="connsiteY1804" fmla="*/ 821436 h 1426100"/>
              <a:gd name="connsiteX1805" fmla="*/ 121031 w 1429540"/>
              <a:gd name="connsiteY1805" fmla="*/ 823718 h 1426100"/>
              <a:gd name="connsiteX1806" fmla="*/ 123314 w 1429540"/>
              <a:gd name="connsiteY1806" fmla="*/ 823718 h 1426100"/>
              <a:gd name="connsiteX1807" fmla="*/ 127881 w 1429540"/>
              <a:gd name="connsiteY1807" fmla="*/ 826000 h 1426100"/>
              <a:gd name="connsiteX1808" fmla="*/ 130165 w 1429540"/>
              <a:gd name="connsiteY1808" fmla="*/ 814590 h 1426100"/>
              <a:gd name="connsiteX1809" fmla="*/ 130165 w 1429540"/>
              <a:gd name="connsiteY1809" fmla="*/ 812308 h 1426100"/>
              <a:gd name="connsiteX1810" fmla="*/ 130165 w 1429540"/>
              <a:gd name="connsiteY1810" fmla="*/ 807745 h 1426100"/>
              <a:gd name="connsiteX1811" fmla="*/ 132448 w 1429540"/>
              <a:gd name="connsiteY1811" fmla="*/ 807745 h 1426100"/>
              <a:gd name="connsiteX1812" fmla="*/ 132448 w 1429540"/>
              <a:gd name="connsiteY1812" fmla="*/ 800899 h 1426100"/>
              <a:gd name="connsiteX1813" fmla="*/ 137016 w 1429540"/>
              <a:gd name="connsiteY1813" fmla="*/ 798617 h 1426100"/>
              <a:gd name="connsiteX1814" fmla="*/ 148434 w 1429540"/>
              <a:gd name="connsiteY1814" fmla="*/ 789489 h 1426100"/>
              <a:gd name="connsiteX1815" fmla="*/ 155284 w 1429540"/>
              <a:gd name="connsiteY1815" fmla="*/ 789489 h 1426100"/>
              <a:gd name="connsiteX1816" fmla="*/ 155284 w 1429540"/>
              <a:gd name="connsiteY1816" fmla="*/ 791771 h 1426100"/>
              <a:gd name="connsiteX1817" fmla="*/ 162135 w 1429540"/>
              <a:gd name="connsiteY1817" fmla="*/ 791771 h 1426100"/>
              <a:gd name="connsiteX1818" fmla="*/ 164419 w 1429540"/>
              <a:gd name="connsiteY1818" fmla="*/ 794053 h 1426100"/>
              <a:gd name="connsiteX1819" fmla="*/ 166702 w 1429540"/>
              <a:gd name="connsiteY1819" fmla="*/ 794053 h 1426100"/>
              <a:gd name="connsiteX1820" fmla="*/ 168986 w 1429540"/>
              <a:gd name="connsiteY1820" fmla="*/ 796335 h 1426100"/>
              <a:gd name="connsiteX1821" fmla="*/ 178121 w 1429540"/>
              <a:gd name="connsiteY1821" fmla="*/ 798617 h 1426100"/>
              <a:gd name="connsiteX1822" fmla="*/ 187255 w 1429540"/>
              <a:gd name="connsiteY1822" fmla="*/ 798617 h 1426100"/>
              <a:gd name="connsiteX1823" fmla="*/ 189538 w 1429540"/>
              <a:gd name="connsiteY1823" fmla="*/ 798617 h 1426100"/>
              <a:gd name="connsiteX1824" fmla="*/ 191822 w 1429540"/>
              <a:gd name="connsiteY1824" fmla="*/ 798617 h 1426100"/>
              <a:gd name="connsiteX1825" fmla="*/ 194106 w 1429540"/>
              <a:gd name="connsiteY1825" fmla="*/ 798617 h 1426100"/>
              <a:gd name="connsiteX1826" fmla="*/ 194106 w 1429540"/>
              <a:gd name="connsiteY1826" fmla="*/ 794053 h 1426100"/>
              <a:gd name="connsiteX1827" fmla="*/ 196389 w 1429540"/>
              <a:gd name="connsiteY1827" fmla="*/ 794053 h 1426100"/>
              <a:gd name="connsiteX1828" fmla="*/ 200956 w 1429540"/>
              <a:gd name="connsiteY1828" fmla="*/ 805463 h 1426100"/>
              <a:gd name="connsiteX1829" fmla="*/ 200956 w 1429540"/>
              <a:gd name="connsiteY1829" fmla="*/ 807745 h 1426100"/>
              <a:gd name="connsiteX1830" fmla="*/ 203240 w 1429540"/>
              <a:gd name="connsiteY1830" fmla="*/ 805463 h 1426100"/>
              <a:gd name="connsiteX1831" fmla="*/ 207807 w 1429540"/>
              <a:gd name="connsiteY1831" fmla="*/ 803181 h 1426100"/>
              <a:gd name="connsiteX1832" fmla="*/ 210091 w 1429540"/>
              <a:gd name="connsiteY1832" fmla="*/ 803181 h 1426100"/>
              <a:gd name="connsiteX1833" fmla="*/ 219225 w 1429540"/>
              <a:gd name="connsiteY1833" fmla="*/ 803181 h 1426100"/>
              <a:gd name="connsiteX1834" fmla="*/ 223792 w 1429540"/>
              <a:gd name="connsiteY1834" fmla="*/ 803181 h 1426100"/>
              <a:gd name="connsiteX1835" fmla="*/ 226076 w 1429540"/>
              <a:gd name="connsiteY1835" fmla="*/ 803181 h 1426100"/>
              <a:gd name="connsiteX1836" fmla="*/ 235210 w 1429540"/>
              <a:gd name="connsiteY1836" fmla="*/ 803181 h 1426100"/>
              <a:gd name="connsiteX1837" fmla="*/ 235210 w 1429540"/>
              <a:gd name="connsiteY1837" fmla="*/ 805463 h 1426100"/>
              <a:gd name="connsiteX1838" fmla="*/ 237494 w 1429540"/>
              <a:gd name="connsiteY1838" fmla="*/ 803181 h 1426100"/>
              <a:gd name="connsiteX1839" fmla="*/ 242061 w 1429540"/>
              <a:gd name="connsiteY1839" fmla="*/ 791771 h 1426100"/>
              <a:gd name="connsiteX1840" fmla="*/ 242061 w 1429540"/>
              <a:gd name="connsiteY1840" fmla="*/ 789489 h 1426100"/>
              <a:gd name="connsiteX1841" fmla="*/ 242061 w 1429540"/>
              <a:gd name="connsiteY1841" fmla="*/ 780362 h 1426100"/>
              <a:gd name="connsiteX1842" fmla="*/ 239777 w 1429540"/>
              <a:gd name="connsiteY1842" fmla="*/ 771234 h 1426100"/>
              <a:gd name="connsiteX1843" fmla="*/ 239777 w 1429540"/>
              <a:gd name="connsiteY1843" fmla="*/ 768952 h 1426100"/>
              <a:gd name="connsiteX1844" fmla="*/ 242061 w 1429540"/>
              <a:gd name="connsiteY1844" fmla="*/ 766670 h 1426100"/>
              <a:gd name="connsiteX1845" fmla="*/ 242061 w 1429540"/>
              <a:gd name="connsiteY1845" fmla="*/ 762107 h 1426100"/>
              <a:gd name="connsiteX1846" fmla="*/ 244345 w 1429540"/>
              <a:gd name="connsiteY1846" fmla="*/ 757543 h 1426100"/>
              <a:gd name="connsiteX1847" fmla="*/ 244345 w 1429540"/>
              <a:gd name="connsiteY1847" fmla="*/ 752979 h 1426100"/>
              <a:gd name="connsiteX1848" fmla="*/ 242061 w 1429540"/>
              <a:gd name="connsiteY1848" fmla="*/ 752979 h 1426100"/>
              <a:gd name="connsiteX1849" fmla="*/ 244345 w 1429540"/>
              <a:gd name="connsiteY1849" fmla="*/ 750697 h 1426100"/>
              <a:gd name="connsiteX1850" fmla="*/ 253479 w 1429540"/>
              <a:gd name="connsiteY1850" fmla="*/ 752979 h 1426100"/>
              <a:gd name="connsiteX1851" fmla="*/ 262613 w 1429540"/>
              <a:gd name="connsiteY1851" fmla="*/ 757543 h 1426100"/>
              <a:gd name="connsiteX1852" fmla="*/ 262613 w 1429540"/>
              <a:gd name="connsiteY1852" fmla="*/ 752979 h 1426100"/>
              <a:gd name="connsiteX1853" fmla="*/ 264897 w 1429540"/>
              <a:gd name="connsiteY1853" fmla="*/ 750697 h 1426100"/>
              <a:gd name="connsiteX1854" fmla="*/ 264897 w 1429540"/>
              <a:gd name="connsiteY1854" fmla="*/ 748415 h 1426100"/>
              <a:gd name="connsiteX1855" fmla="*/ 267181 w 1429540"/>
              <a:gd name="connsiteY1855" fmla="*/ 741570 h 1426100"/>
              <a:gd name="connsiteX1856" fmla="*/ 267181 w 1429540"/>
              <a:gd name="connsiteY1856" fmla="*/ 737006 h 1426100"/>
              <a:gd name="connsiteX1857" fmla="*/ 267181 w 1429540"/>
              <a:gd name="connsiteY1857" fmla="*/ 734724 h 1426100"/>
              <a:gd name="connsiteX1858" fmla="*/ 264897 w 1429540"/>
              <a:gd name="connsiteY1858" fmla="*/ 730160 h 1426100"/>
              <a:gd name="connsiteX1859" fmla="*/ 262613 w 1429540"/>
              <a:gd name="connsiteY1859" fmla="*/ 730160 h 1426100"/>
              <a:gd name="connsiteX1860" fmla="*/ 262613 w 1429540"/>
              <a:gd name="connsiteY1860" fmla="*/ 727878 h 1426100"/>
              <a:gd name="connsiteX1861" fmla="*/ 264897 w 1429540"/>
              <a:gd name="connsiteY1861" fmla="*/ 727878 h 1426100"/>
              <a:gd name="connsiteX1862" fmla="*/ 264897 w 1429540"/>
              <a:gd name="connsiteY1862" fmla="*/ 725596 h 1426100"/>
              <a:gd name="connsiteX1863" fmla="*/ 264897 w 1429540"/>
              <a:gd name="connsiteY1863" fmla="*/ 723314 h 1426100"/>
              <a:gd name="connsiteX1864" fmla="*/ 267181 w 1429540"/>
              <a:gd name="connsiteY1864" fmla="*/ 721032 h 1426100"/>
              <a:gd name="connsiteX1865" fmla="*/ 267181 w 1429540"/>
              <a:gd name="connsiteY1865" fmla="*/ 718751 h 1426100"/>
              <a:gd name="connsiteX1866" fmla="*/ 267181 w 1429540"/>
              <a:gd name="connsiteY1866" fmla="*/ 716469 h 1426100"/>
              <a:gd name="connsiteX1867" fmla="*/ 269464 w 1429540"/>
              <a:gd name="connsiteY1867" fmla="*/ 716469 h 1426100"/>
              <a:gd name="connsiteX1868" fmla="*/ 269464 w 1429540"/>
              <a:gd name="connsiteY1868" fmla="*/ 714187 h 1426100"/>
              <a:gd name="connsiteX1869" fmla="*/ 269464 w 1429540"/>
              <a:gd name="connsiteY1869" fmla="*/ 711905 h 1426100"/>
              <a:gd name="connsiteX1870" fmla="*/ 269464 w 1429540"/>
              <a:gd name="connsiteY1870" fmla="*/ 709623 h 1426100"/>
              <a:gd name="connsiteX1871" fmla="*/ 271748 w 1429540"/>
              <a:gd name="connsiteY1871" fmla="*/ 709623 h 1426100"/>
              <a:gd name="connsiteX1872" fmla="*/ 271748 w 1429540"/>
              <a:gd name="connsiteY1872" fmla="*/ 707341 h 1426100"/>
              <a:gd name="connsiteX1873" fmla="*/ 274031 w 1429540"/>
              <a:gd name="connsiteY1873" fmla="*/ 707341 h 1426100"/>
              <a:gd name="connsiteX1874" fmla="*/ 274031 w 1429540"/>
              <a:gd name="connsiteY1874" fmla="*/ 705059 h 1426100"/>
              <a:gd name="connsiteX1875" fmla="*/ 274031 w 1429540"/>
              <a:gd name="connsiteY1875" fmla="*/ 702777 h 1426100"/>
              <a:gd name="connsiteX1876" fmla="*/ 276315 w 1429540"/>
              <a:gd name="connsiteY1876" fmla="*/ 702777 h 1426100"/>
              <a:gd name="connsiteX1877" fmla="*/ 276315 w 1429540"/>
              <a:gd name="connsiteY1877" fmla="*/ 700495 h 1426100"/>
              <a:gd name="connsiteX1878" fmla="*/ 278599 w 1429540"/>
              <a:gd name="connsiteY1878" fmla="*/ 700495 h 1426100"/>
              <a:gd name="connsiteX1879" fmla="*/ 278599 w 1429540"/>
              <a:gd name="connsiteY1879" fmla="*/ 698214 h 1426100"/>
              <a:gd name="connsiteX1880" fmla="*/ 278599 w 1429540"/>
              <a:gd name="connsiteY1880" fmla="*/ 695932 h 1426100"/>
              <a:gd name="connsiteX1881" fmla="*/ 276315 w 1429540"/>
              <a:gd name="connsiteY1881" fmla="*/ 695932 h 1426100"/>
              <a:gd name="connsiteX1882" fmla="*/ 274031 w 1429540"/>
              <a:gd name="connsiteY1882" fmla="*/ 693650 h 1426100"/>
              <a:gd name="connsiteX1883" fmla="*/ 271748 w 1429540"/>
              <a:gd name="connsiteY1883" fmla="*/ 693650 h 1426100"/>
              <a:gd name="connsiteX1884" fmla="*/ 269464 w 1429540"/>
              <a:gd name="connsiteY1884" fmla="*/ 691368 h 1426100"/>
              <a:gd name="connsiteX1885" fmla="*/ 267181 w 1429540"/>
              <a:gd name="connsiteY1885" fmla="*/ 691368 h 1426100"/>
              <a:gd name="connsiteX1886" fmla="*/ 269464 w 1429540"/>
              <a:gd name="connsiteY1886" fmla="*/ 686814 h 1426100"/>
              <a:gd name="connsiteX1887" fmla="*/ 269464 w 1429540"/>
              <a:gd name="connsiteY1887" fmla="*/ 684532 h 1426100"/>
              <a:gd name="connsiteX1888" fmla="*/ 271748 w 1429540"/>
              <a:gd name="connsiteY1888" fmla="*/ 679968 h 1426100"/>
              <a:gd name="connsiteX1889" fmla="*/ 274031 w 1429540"/>
              <a:gd name="connsiteY1889" fmla="*/ 673122 h 1426100"/>
              <a:gd name="connsiteX1890" fmla="*/ 276315 w 1429540"/>
              <a:gd name="connsiteY1890" fmla="*/ 668558 h 1426100"/>
              <a:gd name="connsiteX1891" fmla="*/ 283166 w 1429540"/>
              <a:gd name="connsiteY1891" fmla="*/ 666277 h 1426100"/>
              <a:gd name="connsiteX1892" fmla="*/ 290017 w 1429540"/>
              <a:gd name="connsiteY1892" fmla="*/ 663995 h 1426100"/>
              <a:gd name="connsiteX1893" fmla="*/ 296867 w 1429540"/>
              <a:gd name="connsiteY1893" fmla="*/ 661713 h 1426100"/>
              <a:gd name="connsiteX1894" fmla="*/ 310569 w 1429540"/>
              <a:gd name="connsiteY1894" fmla="*/ 657149 h 1426100"/>
              <a:gd name="connsiteX1895" fmla="*/ 308285 w 1429540"/>
              <a:gd name="connsiteY1895" fmla="*/ 652585 h 1426100"/>
              <a:gd name="connsiteX1896" fmla="*/ 312853 w 1429540"/>
              <a:gd name="connsiteY1896" fmla="*/ 652585 h 1426100"/>
              <a:gd name="connsiteX1897" fmla="*/ 310569 w 1429540"/>
              <a:gd name="connsiteY1897" fmla="*/ 648021 h 1426100"/>
              <a:gd name="connsiteX1898" fmla="*/ 301435 w 1429540"/>
              <a:gd name="connsiteY1898" fmla="*/ 645739 h 1426100"/>
              <a:gd name="connsiteX1899" fmla="*/ 303718 w 1429540"/>
              <a:gd name="connsiteY1899" fmla="*/ 638894 h 1426100"/>
              <a:gd name="connsiteX1900" fmla="*/ 303718 w 1429540"/>
              <a:gd name="connsiteY1900" fmla="*/ 634330 h 1426100"/>
              <a:gd name="connsiteX1901" fmla="*/ 303718 w 1429540"/>
              <a:gd name="connsiteY1901" fmla="*/ 632048 h 1426100"/>
              <a:gd name="connsiteX1902" fmla="*/ 303718 w 1429540"/>
              <a:gd name="connsiteY1902" fmla="*/ 627484 h 1426100"/>
              <a:gd name="connsiteX1903" fmla="*/ 299151 w 1429540"/>
              <a:gd name="connsiteY1903" fmla="*/ 625202 h 1426100"/>
              <a:gd name="connsiteX1904" fmla="*/ 308285 w 1429540"/>
              <a:gd name="connsiteY1904" fmla="*/ 620639 h 1426100"/>
              <a:gd name="connsiteX1905" fmla="*/ 310569 w 1429540"/>
              <a:gd name="connsiteY1905" fmla="*/ 620639 h 1426100"/>
              <a:gd name="connsiteX1906" fmla="*/ 312853 w 1429540"/>
              <a:gd name="connsiteY1906" fmla="*/ 620639 h 1426100"/>
              <a:gd name="connsiteX1907" fmla="*/ 317420 w 1429540"/>
              <a:gd name="connsiteY1907" fmla="*/ 618357 h 1426100"/>
              <a:gd name="connsiteX1908" fmla="*/ 319703 w 1429540"/>
              <a:gd name="connsiteY1908" fmla="*/ 618357 h 1426100"/>
              <a:gd name="connsiteX1909" fmla="*/ 324271 w 1429540"/>
              <a:gd name="connsiteY1909" fmla="*/ 613793 h 1426100"/>
              <a:gd name="connsiteX1910" fmla="*/ 321987 w 1429540"/>
              <a:gd name="connsiteY1910" fmla="*/ 611511 h 1426100"/>
              <a:gd name="connsiteX1911" fmla="*/ 317420 w 1429540"/>
              <a:gd name="connsiteY1911" fmla="*/ 595538 h 1426100"/>
              <a:gd name="connsiteX1912" fmla="*/ 317420 w 1429540"/>
              <a:gd name="connsiteY1912" fmla="*/ 597820 h 1426100"/>
              <a:gd name="connsiteX1913" fmla="*/ 315136 w 1429540"/>
              <a:gd name="connsiteY1913" fmla="*/ 600102 h 1426100"/>
              <a:gd name="connsiteX1914" fmla="*/ 312853 w 1429540"/>
              <a:gd name="connsiteY1914" fmla="*/ 606947 h 1426100"/>
              <a:gd name="connsiteX1915" fmla="*/ 310569 w 1429540"/>
              <a:gd name="connsiteY1915" fmla="*/ 609229 h 1426100"/>
              <a:gd name="connsiteX1916" fmla="*/ 308285 w 1429540"/>
              <a:gd name="connsiteY1916" fmla="*/ 609229 h 1426100"/>
              <a:gd name="connsiteX1917" fmla="*/ 308285 w 1429540"/>
              <a:gd name="connsiteY1917" fmla="*/ 606947 h 1426100"/>
              <a:gd name="connsiteX1918" fmla="*/ 306002 w 1429540"/>
              <a:gd name="connsiteY1918" fmla="*/ 606947 h 1426100"/>
              <a:gd name="connsiteX1919" fmla="*/ 306002 w 1429540"/>
              <a:gd name="connsiteY1919" fmla="*/ 604665 h 1426100"/>
              <a:gd name="connsiteX1920" fmla="*/ 303718 w 1429540"/>
              <a:gd name="connsiteY1920" fmla="*/ 606947 h 1426100"/>
              <a:gd name="connsiteX1921" fmla="*/ 301435 w 1429540"/>
              <a:gd name="connsiteY1921" fmla="*/ 606947 h 1426100"/>
              <a:gd name="connsiteX1922" fmla="*/ 299151 w 1429540"/>
              <a:gd name="connsiteY1922" fmla="*/ 606947 h 1426100"/>
              <a:gd name="connsiteX1923" fmla="*/ 296867 w 1429540"/>
              <a:gd name="connsiteY1923" fmla="*/ 604665 h 1426100"/>
              <a:gd name="connsiteX1924" fmla="*/ 294584 w 1429540"/>
              <a:gd name="connsiteY1924" fmla="*/ 604665 h 1426100"/>
              <a:gd name="connsiteX1925" fmla="*/ 292300 w 1429540"/>
              <a:gd name="connsiteY1925" fmla="*/ 604665 h 1426100"/>
              <a:gd name="connsiteX1926" fmla="*/ 292300 w 1429540"/>
              <a:gd name="connsiteY1926" fmla="*/ 602383 h 1426100"/>
              <a:gd name="connsiteX1927" fmla="*/ 292300 w 1429540"/>
              <a:gd name="connsiteY1927" fmla="*/ 604665 h 1426100"/>
              <a:gd name="connsiteX1928" fmla="*/ 294584 w 1429540"/>
              <a:gd name="connsiteY1928" fmla="*/ 609229 h 1426100"/>
              <a:gd name="connsiteX1929" fmla="*/ 292300 w 1429540"/>
              <a:gd name="connsiteY1929" fmla="*/ 611511 h 1426100"/>
              <a:gd name="connsiteX1930" fmla="*/ 290017 w 1429540"/>
              <a:gd name="connsiteY1930" fmla="*/ 613793 h 1426100"/>
              <a:gd name="connsiteX1931" fmla="*/ 287733 w 1429540"/>
              <a:gd name="connsiteY1931" fmla="*/ 613793 h 1426100"/>
              <a:gd name="connsiteX1932" fmla="*/ 285450 w 1429540"/>
              <a:gd name="connsiteY1932" fmla="*/ 616075 h 1426100"/>
              <a:gd name="connsiteX1933" fmla="*/ 283166 w 1429540"/>
              <a:gd name="connsiteY1933" fmla="*/ 613793 h 1426100"/>
              <a:gd name="connsiteX1934" fmla="*/ 285450 w 1429540"/>
              <a:gd name="connsiteY1934" fmla="*/ 620639 h 1426100"/>
              <a:gd name="connsiteX1935" fmla="*/ 287733 w 1429540"/>
              <a:gd name="connsiteY1935" fmla="*/ 622920 h 1426100"/>
              <a:gd name="connsiteX1936" fmla="*/ 290017 w 1429540"/>
              <a:gd name="connsiteY1936" fmla="*/ 627484 h 1426100"/>
              <a:gd name="connsiteX1937" fmla="*/ 290017 w 1429540"/>
              <a:gd name="connsiteY1937" fmla="*/ 629766 h 1426100"/>
              <a:gd name="connsiteX1938" fmla="*/ 287733 w 1429540"/>
              <a:gd name="connsiteY1938" fmla="*/ 629766 h 1426100"/>
              <a:gd name="connsiteX1939" fmla="*/ 280882 w 1429540"/>
              <a:gd name="connsiteY1939" fmla="*/ 632048 h 1426100"/>
              <a:gd name="connsiteX1940" fmla="*/ 278599 w 1429540"/>
              <a:gd name="connsiteY1940" fmla="*/ 634330 h 1426100"/>
              <a:gd name="connsiteX1941" fmla="*/ 274031 w 1429540"/>
              <a:gd name="connsiteY1941" fmla="*/ 636612 h 1426100"/>
              <a:gd name="connsiteX1942" fmla="*/ 269464 w 1429540"/>
              <a:gd name="connsiteY1942" fmla="*/ 638894 h 1426100"/>
              <a:gd name="connsiteX1943" fmla="*/ 267181 w 1429540"/>
              <a:gd name="connsiteY1943" fmla="*/ 638894 h 1426100"/>
              <a:gd name="connsiteX1944" fmla="*/ 264897 w 1429540"/>
              <a:gd name="connsiteY1944" fmla="*/ 634330 h 1426100"/>
              <a:gd name="connsiteX1945" fmla="*/ 262613 w 1429540"/>
              <a:gd name="connsiteY1945" fmla="*/ 629766 h 1426100"/>
              <a:gd name="connsiteX1946" fmla="*/ 260330 w 1429540"/>
              <a:gd name="connsiteY1946" fmla="*/ 629766 h 1426100"/>
              <a:gd name="connsiteX1947" fmla="*/ 260330 w 1429540"/>
              <a:gd name="connsiteY1947" fmla="*/ 627484 h 1426100"/>
              <a:gd name="connsiteX1948" fmla="*/ 255763 w 1429540"/>
              <a:gd name="connsiteY1948" fmla="*/ 620639 h 1426100"/>
              <a:gd name="connsiteX1949" fmla="*/ 253479 w 1429540"/>
              <a:gd name="connsiteY1949" fmla="*/ 609229 h 1426100"/>
              <a:gd name="connsiteX1950" fmla="*/ 253479 w 1429540"/>
              <a:gd name="connsiteY1950" fmla="*/ 606947 h 1426100"/>
              <a:gd name="connsiteX1951" fmla="*/ 235210 w 1429540"/>
              <a:gd name="connsiteY1951" fmla="*/ 625202 h 1426100"/>
              <a:gd name="connsiteX1952" fmla="*/ 239777 w 1429540"/>
              <a:gd name="connsiteY1952" fmla="*/ 611511 h 1426100"/>
              <a:gd name="connsiteX1953" fmla="*/ 239777 w 1429540"/>
              <a:gd name="connsiteY1953" fmla="*/ 609229 h 1426100"/>
              <a:gd name="connsiteX1954" fmla="*/ 239777 w 1429540"/>
              <a:gd name="connsiteY1954" fmla="*/ 606947 h 1426100"/>
              <a:gd name="connsiteX1955" fmla="*/ 237494 w 1429540"/>
              <a:gd name="connsiteY1955" fmla="*/ 606947 h 1426100"/>
              <a:gd name="connsiteX1956" fmla="*/ 237494 w 1429540"/>
              <a:gd name="connsiteY1956" fmla="*/ 604665 h 1426100"/>
              <a:gd name="connsiteX1957" fmla="*/ 235210 w 1429540"/>
              <a:gd name="connsiteY1957" fmla="*/ 600102 h 1426100"/>
              <a:gd name="connsiteX1958" fmla="*/ 232927 w 1429540"/>
              <a:gd name="connsiteY1958" fmla="*/ 597820 h 1426100"/>
              <a:gd name="connsiteX1959" fmla="*/ 230643 w 1429540"/>
              <a:gd name="connsiteY1959" fmla="*/ 600102 h 1426100"/>
              <a:gd name="connsiteX1960" fmla="*/ 223792 w 1429540"/>
              <a:gd name="connsiteY1960" fmla="*/ 604665 h 1426100"/>
              <a:gd name="connsiteX1961" fmla="*/ 221509 w 1429540"/>
              <a:gd name="connsiteY1961" fmla="*/ 604665 h 1426100"/>
              <a:gd name="connsiteX1962" fmla="*/ 221509 w 1429540"/>
              <a:gd name="connsiteY1962" fmla="*/ 606947 h 1426100"/>
              <a:gd name="connsiteX1963" fmla="*/ 219225 w 1429540"/>
              <a:gd name="connsiteY1963" fmla="*/ 609229 h 1426100"/>
              <a:gd name="connsiteX1964" fmla="*/ 216942 w 1429540"/>
              <a:gd name="connsiteY1964" fmla="*/ 609229 h 1426100"/>
              <a:gd name="connsiteX1965" fmla="*/ 214658 w 1429540"/>
              <a:gd name="connsiteY1965" fmla="*/ 613793 h 1426100"/>
              <a:gd name="connsiteX1966" fmla="*/ 212374 w 1429540"/>
              <a:gd name="connsiteY1966" fmla="*/ 613793 h 1426100"/>
              <a:gd name="connsiteX1967" fmla="*/ 212374 w 1429540"/>
              <a:gd name="connsiteY1967" fmla="*/ 618357 h 1426100"/>
              <a:gd name="connsiteX1968" fmla="*/ 214658 w 1429540"/>
              <a:gd name="connsiteY1968" fmla="*/ 620639 h 1426100"/>
              <a:gd name="connsiteX1969" fmla="*/ 214658 w 1429540"/>
              <a:gd name="connsiteY1969" fmla="*/ 622920 h 1426100"/>
              <a:gd name="connsiteX1970" fmla="*/ 216942 w 1429540"/>
              <a:gd name="connsiteY1970" fmla="*/ 625202 h 1426100"/>
              <a:gd name="connsiteX1971" fmla="*/ 216942 w 1429540"/>
              <a:gd name="connsiteY1971" fmla="*/ 627484 h 1426100"/>
              <a:gd name="connsiteX1972" fmla="*/ 223792 w 1429540"/>
              <a:gd name="connsiteY1972" fmla="*/ 625202 h 1426100"/>
              <a:gd name="connsiteX1973" fmla="*/ 228360 w 1429540"/>
              <a:gd name="connsiteY1973" fmla="*/ 625202 h 1426100"/>
              <a:gd name="connsiteX1974" fmla="*/ 230643 w 1429540"/>
              <a:gd name="connsiteY1974" fmla="*/ 629766 h 1426100"/>
              <a:gd name="connsiteX1975" fmla="*/ 230643 w 1429540"/>
              <a:gd name="connsiteY1975" fmla="*/ 634330 h 1426100"/>
              <a:gd name="connsiteX1976" fmla="*/ 230643 w 1429540"/>
              <a:gd name="connsiteY1976" fmla="*/ 636612 h 1426100"/>
              <a:gd name="connsiteX1977" fmla="*/ 232927 w 1429540"/>
              <a:gd name="connsiteY1977" fmla="*/ 641176 h 1426100"/>
              <a:gd name="connsiteX1978" fmla="*/ 232927 w 1429540"/>
              <a:gd name="connsiteY1978" fmla="*/ 643458 h 1426100"/>
              <a:gd name="connsiteX1979" fmla="*/ 232927 w 1429540"/>
              <a:gd name="connsiteY1979" fmla="*/ 645739 h 1426100"/>
              <a:gd name="connsiteX1980" fmla="*/ 235210 w 1429540"/>
              <a:gd name="connsiteY1980" fmla="*/ 652585 h 1426100"/>
              <a:gd name="connsiteX1981" fmla="*/ 237494 w 1429540"/>
              <a:gd name="connsiteY1981" fmla="*/ 654867 h 1426100"/>
              <a:gd name="connsiteX1982" fmla="*/ 239777 w 1429540"/>
              <a:gd name="connsiteY1982" fmla="*/ 654867 h 1426100"/>
              <a:gd name="connsiteX1983" fmla="*/ 239777 w 1429540"/>
              <a:gd name="connsiteY1983" fmla="*/ 657149 h 1426100"/>
              <a:gd name="connsiteX1984" fmla="*/ 237494 w 1429540"/>
              <a:gd name="connsiteY1984" fmla="*/ 661713 h 1426100"/>
              <a:gd name="connsiteX1985" fmla="*/ 235210 w 1429540"/>
              <a:gd name="connsiteY1985" fmla="*/ 661713 h 1426100"/>
              <a:gd name="connsiteX1986" fmla="*/ 230643 w 1429540"/>
              <a:gd name="connsiteY1986" fmla="*/ 659431 h 1426100"/>
              <a:gd name="connsiteX1987" fmla="*/ 228360 w 1429540"/>
              <a:gd name="connsiteY1987" fmla="*/ 659431 h 1426100"/>
              <a:gd name="connsiteX1988" fmla="*/ 226076 w 1429540"/>
              <a:gd name="connsiteY1988" fmla="*/ 657149 h 1426100"/>
              <a:gd name="connsiteX1989" fmla="*/ 226076 w 1429540"/>
              <a:gd name="connsiteY1989" fmla="*/ 652585 h 1426100"/>
              <a:gd name="connsiteX1990" fmla="*/ 219225 w 1429540"/>
              <a:gd name="connsiteY1990" fmla="*/ 654867 h 1426100"/>
              <a:gd name="connsiteX1991" fmla="*/ 216942 w 1429540"/>
              <a:gd name="connsiteY1991" fmla="*/ 654867 h 1426100"/>
              <a:gd name="connsiteX1992" fmla="*/ 216942 w 1429540"/>
              <a:gd name="connsiteY1992" fmla="*/ 659431 h 1426100"/>
              <a:gd name="connsiteX1993" fmla="*/ 216942 w 1429540"/>
              <a:gd name="connsiteY1993" fmla="*/ 661713 h 1426100"/>
              <a:gd name="connsiteX1994" fmla="*/ 221509 w 1429540"/>
              <a:gd name="connsiteY1994" fmla="*/ 661713 h 1426100"/>
              <a:gd name="connsiteX1995" fmla="*/ 230643 w 1429540"/>
              <a:gd name="connsiteY1995" fmla="*/ 670840 h 1426100"/>
              <a:gd name="connsiteX1996" fmla="*/ 228360 w 1429540"/>
              <a:gd name="connsiteY1996" fmla="*/ 673122 h 1426100"/>
              <a:gd name="connsiteX1997" fmla="*/ 223792 w 1429540"/>
              <a:gd name="connsiteY1997" fmla="*/ 675404 h 1426100"/>
              <a:gd name="connsiteX1998" fmla="*/ 221509 w 1429540"/>
              <a:gd name="connsiteY1998" fmla="*/ 675404 h 1426100"/>
              <a:gd name="connsiteX1999" fmla="*/ 219225 w 1429540"/>
              <a:gd name="connsiteY1999" fmla="*/ 677686 h 1426100"/>
              <a:gd name="connsiteX2000" fmla="*/ 216942 w 1429540"/>
              <a:gd name="connsiteY2000" fmla="*/ 675404 h 1426100"/>
              <a:gd name="connsiteX2001" fmla="*/ 214658 w 1429540"/>
              <a:gd name="connsiteY2001" fmla="*/ 675404 h 1426100"/>
              <a:gd name="connsiteX2002" fmla="*/ 210091 w 1429540"/>
              <a:gd name="connsiteY2002" fmla="*/ 679968 h 1426100"/>
              <a:gd name="connsiteX2003" fmla="*/ 207807 w 1429540"/>
              <a:gd name="connsiteY2003" fmla="*/ 679968 h 1426100"/>
              <a:gd name="connsiteX2004" fmla="*/ 205523 w 1429540"/>
              <a:gd name="connsiteY2004" fmla="*/ 679968 h 1426100"/>
              <a:gd name="connsiteX2005" fmla="*/ 203240 w 1429540"/>
              <a:gd name="connsiteY2005" fmla="*/ 679968 h 1426100"/>
              <a:gd name="connsiteX2006" fmla="*/ 200956 w 1429540"/>
              <a:gd name="connsiteY2006" fmla="*/ 677686 h 1426100"/>
              <a:gd name="connsiteX2007" fmla="*/ 200956 w 1429540"/>
              <a:gd name="connsiteY2007" fmla="*/ 679968 h 1426100"/>
              <a:gd name="connsiteX2008" fmla="*/ 198673 w 1429540"/>
              <a:gd name="connsiteY2008" fmla="*/ 679968 h 1426100"/>
              <a:gd name="connsiteX2009" fmla="*/ 196389 w 1429540"/>
              <a:gd name="connsiteY2009" fmla="*/ 679968 h 1426100"/>
              <a:gd name="connsiteX2010" fmla="*/ 196389 w 1429540"/>
              <a:gd name="connsiteY2010" fmla="*/ 682250 h 1426100"/>
              <a:gd name="connsiteX2011" fmla="*/ 196389 w 1429540"/>
              <a:gd name="connsiteY2011" fmla="*/ 679968 h 1426100"/>
              <a:gd name="connsiteX2012" fmla="*/ 196389 w 1429540"/>
              <a:gd name="connsiteY2012" fmla="*/ 677686 h 1426100"/>
              <a:gd name="connsiteX2013" fmla="*/ 194106 w 1429540"/>
              <a:gd name="connsiteY2013" fmla="*/ 675404 h 1426100"/>
              <a:gd name="connsiteX2014" fmla="*/ 196389 w 1429540"/>
              <a:gd name="connsiteY2014" fmla="*/ 673122 h 1426100"/>
              <a:gd name="connsiteX2015" fmla="*/ 196389 w 1429540"/>
              <a:gd name="connsiteY2015" fmla="*/ 668558 h 1426100"/>
              <a:gd name="connsiteX2016" fmla="*/ 198673 w 1429540"/>
              <a:gd name="connsiteY2016" fmla="*/ 663995 h 1426100"/>
              <a:gd name="connsiteX2017" fmla="*/ 198673 w 1429540"/>
              <a:gd name="connsiteY2017" fmla="*/ 659431 h 1426100"/>
              <a:gd name="connsiteX2018" fmla="*/ 200956 w 1429540"/>
              <a:gd name="connsiteY2018" fmla="*/ 657149 h 1426100"/>
              <a:gd name="connsiteX2019" fmla="*/ 189538 w 1429540"/>
              <a:gd name="connsiteY2019" fmla="*/ 652585 h 1426100"/>
              <a:gd name="connsiteX2020" fmla="*/ 184971 w 1429540"/>
              <a:gd name="connsiteY2020" fmla="*/ 650303 h 1426100"/>
              <a:gd name="connsiteX2021" fmla="*/ 182688 w 1429540"/>
              <a:gd name="connsiteY2021" fmla="*/ 654867 h 1426100"/>
              <a:gd name="connsiteX2022" fmla="*/ 182688 w 1429540"/>
              <a:gd name="connsiteY2022" fmla="*/ 659431 h 1426100"/>
              <a:gd name="connsiteX2023" fmla="*/ 180404 w 1429540"/>
              <a:gd name="connsiteY2023" fmla="*/ 663995 h 1426100"/>
              <a:gd name="connsiteX2024" fmla="*/ 178121 w 1429540"/>
              <a:gd name="connsiteY2024" fmla="*/ 670840 h 1426100"/>
              <a:gd name="connsiteX2025" fmla="*/ 175837 w 1429540"/>
              <a:gd name="connsiteY2025" fmla="*/ 670840 h 1426100"/>
              <a:gd name="connsiteX2026" fmla="*/ 168986 w 1429540"/>
              <a:gd name="connsiteY2026" fmla="*/ 668558 h 1426100"/>
              <a:gd name="connsiteX2027" fmla="*/ 164419 w 1429540"/>
              <a:gd name="connsiteY2027" fmla="*/ 663995 h 1426100"/>
              <a:gd name="connsiteX2028" fmla="*/ 166702 w 1429540"/>
              <a:gd name="connsiteY2028" fmla="*/ 661713 h 1426100"/>
              <a:gd name="connsiteX2029" fmla="*/ 164419 w 1429540"/>
              <a:gd name="connsiteY2029" fmla="*/ 659431 h 1426100"/>
              <a:gd name="connsiteX2030" fmla="*/ 164419 w 1429540"/>
              <a:gd name="connsiteY2030" fmla="*/ 657149 h 1426100"/>
              <a:gd name="connsiteX2031" fmla="*/ 164419 w 1429540"/>
              <a:gd name="connsiteY2031" fmla="*/ 654867 h 1426100"/>
              <a:gd name="connsiteX2032" fmla="*/ 162135 w 1429540"/>
              <a:gd name="connsiteY2032" fmla="*/ 652585 h 1426100"/>
              <a:gd name="connsiteX2033" fmla="*/ 159852 w 1429540"/>
              <a:gd name="connsiteY2033" fmla="*/ 650303 h 1426100"/>
              <a:gd name="connsiteX2034" fmla="*/ 159852 w 1429540"/>
              <a:gd name="connsiteY2034" fmla="*/ 648021 h 1426100"/>
              <a:gd name="connsiteX2035" fmla="*/ 159852 w 1429540"/>
              <a:gd name="connsiteY2035" fmla="*/ 645739 h 1426100"/>
              <a:gd name="connsiteX2036" fmla="*/ 157568 w 1429540"/>
              <a:gd name="connsiteY2036" fmla="*/ 643458 h 1426100"/>
              <a:gd name="connsiteX2037" fmla="*/ 157568 w 1429540"/>
              <a:gd name="connsiteY2037" fmla="*/ 641176 h 1426100"/>
              <a:gd name="connsiteX2038" fmla="*/ 157568 w 1429540"/>
              <a:gd name="connsiteY2038" fmla="*/ 638894 h 1426100"/>
              <a:gd name="connsiteX2039" fmla="*/ 155284 w 1429540"/>
              <a:gd name="connsiteY2039" fmla="*/ 636612 h 1426100"/>
              <a:gd name="connsiteX2040" fmla="*/ 155284 w 1429540"/>
              <a:gd name="connsiteY2040" fmla="*/ 632048 h 1426100"/>
              <a:gd name="connsiteX2041" fmla="*/ 155284 w 1429540"/>
              <a:gd name="connsiteY2041" fmla="*/ 629766 h 1426100"/>
              <a:gd name="connsiteX2042" fmla="*/ 155284 w 1429540"/>
              <a:gd name="connsiteY2042" fmla="*/ 627484 h 1426100"/>
              <a:gd name="connsiteX2043" fmla="*/ 153001 w 1429540"/>
              <a:gd name="connsiteY2043" fmla="*/ 627484 h 1426100"/>
              <a:gd name="connsiteX2044" fmla="*/ 153001 w 1429540"/>
              <a:gd name="connsiteY2044" fmla="*/ 625202 h 1426100"/>
              <a:gd name="connsiteX2045" fmla="*/ 153001 w 1429540"/>
              <a:gd name="connsiteY2045" fmla="*/ 622920 h 1426100"/>
              <a:gd name="connsiteX2046" fmla="*/ 150717 w 1429540"/>
              <a:gd name="connsiteY2046" fmla="*/ 620639 h 1426100"/>
              <a:gd name="connsiteX2047" fmla="*/ 150717 w 1429540"/>
              <a:gd name="connsiteY2047" fmla="*/ 616075 h 1426100"/>
              <a:gd name="connsiteX2048" fmla="*/ 150717 w 1429540"/>
              <a:gd name="connsiteY2048" fmla="*/ 613793 h 1426100"/>
              <a:gd name="connsiteX2049" fmla="*/ 148434 w 1429540"/>
              <a:gd name="connsiteY2049" fmla="*/ 611511 h 1426100"/>
              <a:gd name="connsiteX2050" fmla="*/ 148434 w 1429540"/>
              <a:gd name="connsiteY2050" fmla="*/ 609229 h 1426100"/>
              <a:gd name="connsiteX2051" fmla="*/ 148434 w 1429540"/>
              <a:gd name="connsiteY2051" fmla="*/ 606947 h 1426100"/>
              <a:gd name="connsiteX2052" fmla="*/ 148434 w 1429540"/>
              <a:gd name="connsiteY2052" fmla="*/ 604665 h 1426100"/>
              <a:gd name="connsiteX2053" fmla="*/ 150717 w 1429540"/>
              <a:gd name="connsiteY2053" fmla="*/ 604665 h 1426100"/>
              <a:gd name="connsiteX2054" fmla="*/ 150717 w 1429540"/>
              <a:gd name="connsiteY2054" fmla="*/ 602383 h 1426100"/>
              <a:gd name="connsiteX2055" fmla="*/ 150717 w 1429540"/>
              <a:gd name="connsiteY2055" fmla="*/ 590974 h 1426100"/>
              <a:gd name="connsiteX2056" fmla="*/ 146150 w 1429540"/>
              <a:gd name="connsiteY2056" fmla="*/ 584128 h 1426100"/>
              <a:gd name="connsiteX2057" fmla="*/ 143867 w 1429540"/>
              <a:gd name="connsiteY2057" fmla="*/ 581846 h 1426100"/>
              <a:gd name="connsiteX2058" fmla="*/ 146150 w 1429540"/>
              <a:gd name="connsiteY2058" fmla="*/ 581846 h 1426100"/>
              <a:gd name="connsiteX2059" fmla="*/ 148434 w 1429540"/>
              <a:gd name="connsiteY2059" fmla="*/ 579564 h 1426100"/>
              <a:gd name="connsiteX2060" fmla="*/ 150717 w 1429540"/>
              <a:gd name="connsiteY2060" fmla="*/ 579564 h 1426100"/>
              <a:gd name="connsiteX2061" fmla="*/ 148434 w 1429540"/>
              <a:gd name="connsiteY2061" fmla="*/ 577283 h 1426100"/>
              <a:gd name="connsiteX2062" fmla="*/ 148434 w 1429540"/>
              <a:gd name="connsiteY2062" fmla="*/ 575001 h 1426100"/>
              <a:gd name="connsiteX2063" fmla="*/ 148434 w 1429540"/>
              <a:gd name="connsiteY2063" fmla="*/ 572719 h 1426100"/>
              <a:gd name="connsiteX2064" fmla="*/ 148434 w 1429540"/>
              <a:gd name="connsiteY2064" fmla="*/ 570437 h 1426100"/>
              <a:gd name="connsiteX2065" fmla="*/ 146150 w 1429540"/>
              <a:gd name="connsiteY2065" fmla="*/ 561309 h 1426100"/>
              <a:gd name="connsiteX2066" fmla="*/ 146150 w 1429540"/>
              <a:gd name="connsiteY2066" fmla="*/ 559027 h 1426100"/>
              <a:gd name="connsiteX2067" fmla="*/ 148434 w 1429540"/>
              <a:gd name="connsiteY2067" fmla="*/ 556746 h 1426100"/>
              <a:gd name="connsiteX2068" fmla="*/ 150717 w 1429540"/>
              <a:gd name="connsiteY2068" fmla="*/ 556746 h 1426100"/>
              <a:gd name="connsiteX2069" fmla="*/ 153001 w 1429540"/>
              <a:gd name="connsiteY2069" fmla="*/ 552182 h 1426100"/>
              <a:gd name="connsiteX2070" fmla="*/ 153001 w 1429540"/>
              <a:gd name="connsiteY2070" fmla="*/ 545336 h 1426100"/>
              <a:gd name="connsiteX2071" fmla="*/ 150717 w 1429540"/>
              <a:gd name="connsiteY2071" fmla="*/ 538490 h 1426100"/>
              <a:gd name="connsiteX2072" fmla="*/ 150717 w 1429540"/>
              <a:gd name="connsiteY2072" fmla="*/ 536218 h 1426100"/>
              <a:gd name="connsiteX2073" fmla="*/ 148434 w 1429540"/>
              <a:gd name="connsiteY2073" fmla="*/ 533926 h 1426100"/>
              <a:gd name="connsiteX2074" fmla="*/ 148434 w 1429540"/>
              <a:gd name="connsiteY2074" fmla="*/ 529372 h 1426100"/>
              <a:gd name="connsiteX2075" fmla="*/ 148434 w 1429540"/>
              <a:gd name="connsiteY2075" fmla="*/ 527090 h 1426100"/>
              <a:gd name="connsiteX2076" fmla="*/ 153001 w 1429540"/>
              <a:gd name="connsiteY2076" fmla="*/ 527090 h 1426100"/>
              <a:gd name="connsiteX2077" fmla="*/ 155284 w 1429540"/>
              <a:gd name="connsiteY2077" fmla="*/ 524808 h 1426100"/>
              <a:gd name="connsiteX2078" fmla="*/ 162135 w 1429540"/>
              <a:gd name="connsiteY2078" fmla="*/ 520245 h 1426100"/>
              <a:gd name="connsiteX2079" fmla="*/ 164419 w 1429540"/>
              <a:gd name="connsiteY2079" fmla="*/ 517963 h 1426100"/>
              <a:gd name="connsiteX2080" fmla="*/ 168986 w 1429540"/>
              <a:gd name="connsiteY2080" fmla="*/ 515681 h 1426100"/>
              <a:gd name="connsiteX2081" fmla="*/ 173553 w 1429540"/>
              <a:gd name="connsiteY2081" fmla="*/ 513399 h 1426100"/>
              <a:gd name="connsiteX2082" fmla="*/ 175837 w 1429540"/>
              <a:gd name="connsiteY2082" fmla="*/ 511117 h 1426100"/>
              <a:gd name="connsiteX2083" fmla="*/ 184971 w 1429540"/>
              <a:gd name="connsiteY2083" fmla="*/ 508835 h 1426100"/>
              <a:gd name="connsiteX2084" fmla="*/ 189538 w 1429540"/>
              <a:gd name="connsiteY2084" fmla="*/ 506553 h 1426100"/>
              <a:gd name="connsiteX2085" fmla="*/ 191822 w 1429540"/>
              <a:gd name="connsiteY2085" fmla="*/ 508835 h 1426100"/>
              <a:gd name="connsiteX2086" fmla="*/ 189538 w 1429540"/>
              <a:gd name="connsiteY2086" fmla="*/ 501989 h 1426100"/>
              <a:gd name="connsiteX2087" fmla="*/ 191822 w 1429540"/>
              <a:gd name="connsiteY2087" fmla="*/ 499708 h 1426100"/>
              <a:gd name="connsiteX2088" fmla="*/ 194106 w 1429540"/>
              <a:gd name="connsiteY2088" fmla="*/ 495144 h 1426100"/>
              <a:gd name="connsiteX2089" fmla="*/ 196389 w 1429540"/>
              <a:gd name="connsiteY2089" fmla="*/ 490580 h 1426100"/>
              <a:gd name="connsiteX2090" fmla="*/ 198673 w 1429540"/>
              <a:gd name="connsiteY2090" fmla="*/ 486016 h 1426100"/>
              <a:gd name="connsiteX2091" fmla="*/ 200956 w 1429540"/>
              <a:gd name="connsiteY2091" fmla="*/ 483734 h 1426100"/>
              <a:gd name="connsiteX2092" fmla="*/ 200956 w 1429540"/>
              <a:gd name="connsiteY2092" fmla="*/ 481452 h 1426100"/>
              <a:gd name="connsiteX2093" fmla="*/ 203240 w 1429540"/>
              <a:gd name="connsiteY2093" fmla="*/ 483734 h 1426100"/>
              <a:gd name="connsiteX2094" fmla="*/ 205523 w 1429540"/>
              <a:gd name="connsiteY2094" fmla="*/ 486016 h 1426100"/>
              <a:gd name="connsiteX2095" fmla="*/ 207807 w 1429540"/>
              <a:gd name="connsiteY2095" fmla="*/ 486016 h 1426100"/>
              <a:gd name="connsiteX2096" fmla="*/ 210091 w 1429540"/>
              <a:gd name="connsiteY2096" fmla="*/ 486016 h 1426100"/>
              <a:gd name="connsiteX2097" fmla="*/ 207807 w 1429540"/>
              <a:gd name="connsiteY2097" fmla="*/ 483734 h 1426100"/>
              <a:gd name="connsiteX2098" fmla="*/ 207807 w 1429540"/>
              <a:gd name="connsiteY2098" fmla="*/ 474607 h 1426100"/>
              <a:gd name="connsiteX2099" fmla="*/ 205523 w 1429540"/>
              <a:gd name="connsiteY2099" fmla="*/ 467761 h 1426100"/>
              <a:gd name="connsiteX2100" fmla="*/ 205523 w 1429540"/>
              <a:gd name="connsiteY2100" fmla="*/ 463197 h 1426100"/>
              <a:gd name="connsiteX2101" fmla="*/ 200956 w 1429540"/>
              <a:gd name="connsiteY2101" fmla="*/ 454070 h 1426100"/>
              <a:gd name="connsiteX2102" fmla="*/ 198673 w 1429540"/>
              <a:gd name="connsiteY2102" fmla="*/ 454070 h 1426100"/>
              <a:gd name="connsiteX2103" fmla="*/ 198673 w 1429540"/>
              <a:gd name="connsiteY2103" fmla="*/ 451788 h 1426100"/>
              <a:gd name="connsiteX2104" fmla="*/ 200956 w 1429540"/>
              <a:gd name="connsiteY2104" fmla="*/ 451788 h 1426100"/>
              <a:gd name="connsiteX2105" fmla="*/ 200956 w 1429540"/>
              <a:gd name="connsiteY2105" fmla="*/ 454070 h 1426100"/>
              <a:gd name="connsiteX2106" fmla="*/ 198673 w 1429540"/>
              <a:gd name="connsiteY2106" fmla="*/ 451788 h 1426100"/>
              <a:gd name="connsiteX2107" fmla="*/ 198673 w 1429540"/>
              <a:gd name="connsiteY2107" fmla="*/ 449506 h 1426100"/>
              <a:gd name="connsiteX2108" fmla="*/ 196389 w 1429540"/>
              <a:gd name="connsiteY2108" fmla="*/ 442660 h 1426100"/>
              <a:gd name="connsiteX2109" fmla="*/ 194106 w 1429540"/>
              <a:gd name="connsiteY2109" fmla="*/ 435814 h 1426100"/>
              <a:gd name="connsiteX2110" fmla="*/ 191822 w 1429540"/>
              <a:gd name="connsiteY2110" fmla="*/ 435814 h 1426100"/>
              <a:gd name="connsiteX2111" fmla="*/ 189538 w 1429540"/>
              <a:gd name="connsiteY2111" fmla="*/ 438096 h 1426100"/>
              <a:gd name="connsiteX2112" fmla="*/ 182688 w 1429540"/>
              <a:gd name="connsiteY2112" fmla="*/ 438096 h 1426100"/>
              <a:gd name="connsiteX2113" fmla="*/ 178121 w 1429540"/>
              <a:gd name="connsiteY2113" fmla="*/ 440378 h 1426100"/>
              <a:gd name="connsiteX2114" fmla="*/ 175837 w 1429540"/>
              <a:gd name="connsiteY2114" fmla="*/ 442660 h 1426100"/>
              <a:gd name="connsiteX2115" fmla="*/ 173553 w 1429540"/>
              <a:gd name="connsiteY2115" fmla="*/ 442660 h 1426100"/>
              <a:gd name="connsiteX2116" fmla="*/ 173553 w 1429540"/>
              <a:gd name="connsiteY2116" fmla="*/ 444942 h 1426100"/>
              <a:gd name="connsiteX2117" fmla="*/ 171270 w 1429540"/>
              <a:gd name="connsiteY2117" fmla="*/ 444942 h 1426100"/>
              <a:gd name="connsiteX2118" fmla="*/ 168986 w 1429540"/>
              <a:gd name="connsiteY2118" fmla="*/ 447224 h 1426100"/>
              <a:gd name="connsiteX2119" fmla="*/ 166702 w 1429540"/>
              <a:gd name="connsiteY2119" fmla="*/ 447224 h 1426100"/>
              <a:gd name="connsiteX2120" fmla="*/ 162135 w 1429540"/>
              <a:gd name="connsiteY2120" fmla="*/ 449506 h 1426100"/>
              <a:gd name="connsiteX2121" fmla="*/ 159852 w 1429540"/>
              <a:gd name="connsiteY2121" fmla="*/ 449506 h 1426100"/>
              <a:gd name="connsiteX2122" fmla="*/ 159852 w 1429540"/>
              <a:gd name="connsiteY2122" fmla="*/ 442660 h 1426100"/>
              <a:gd name="connsiteX2123" fmla="*/ 159852 w 1429540"/>
              <a:gd name="connsiteY2123" fmla="*/ 438096 h 1426100"/>
              <a:gd name="connsiteX2124" fmla="*/ 157568 w 1429540"/>
              <a:gd name="connsiteY2124" fmla="*/ 438096 h 1426100"/>
              <a:gd name="connsiteX2125" fmla="*/ 155284 w 1429540"/>
              <a:gd name="connsiteY2125" fmla="*/ 438096 h 1426100"/>
              <a:gd name="connsiteX2126" fmla="*/ 155284 w 1429540"/>
              <a:gd name="connsiteY2126" fmla="*/ 440378 h 1426100"/>
              <a:gd name="connsiteX2127" fmla="*/ 153001 w 1429540"/>
              <a:gd name="connsiteY2127" fmla="*/ 440378 h 1426100"/>
              <a:gd name="connsiteX2128" fmla="*/ 153001 w 1429540"/>
              <a:gd name="connsiteY2128" fmla="*/ 442660 h 1426100"/>
              <a:gd name="connsiteX2129" fmla="*/ 139299 w 1429540"/>
              <a:gd name="connsiteY2129" fmla="*/ 447224 h 1426100"/>
              <a:gd name="connsiteX2130" fmla="*/ 139299 w 1429540"/>
              <a:gd name="connsiteY2130" fmla="*/ 449506 h 1426100"/>
              <a:gd name="connsiteX2131" fmla="*/ 137016 w 1429540"/>
              <a:gd name="connsiteY2131" fmla="*/ 449506 h 1426100"/>
              <a:gd name="connsiteX2132" fmla="*/ 134732 w 1429540"/>
              <a:gd name="connsiteY2132" fmla="*/ 449506 h 1426100"/>
              <a:gd name="connsiteX2133" fmla="*/ 132448 w 1429540"/>
              <a:gd name="connsiteY2133" fmla="*/ 449506 h 1426100"/>
              <a:gd name="connsiteX2134" fmla="*/ 130165 w 1429540"/>
              <a:gd name="connsiteY2134" fmla="*/ 449506 h 1426100"/>
              <a:gd name="connsiteX2135" fmla="*/ 130165 w 1429540"/>
              <a:gd name="connsiteY2135" fmla="*/ 451788 h 1426100"/>
              <a:gd name="connsiteX2136" fmla="*/ 125598 w 1429540"/>
              <a:gd name="connsiteY2136" fmla="*/ 451788 h 1426100"/>
              <a:gd name="connsiteX2137" fmla="*/ 116463 w 1429540"/>
              <a:gd name="connsiteY2137" fmla="*/ 451788 h 1426100"/>
              <a:gd name="connsiteX2138" fmla="*/ 116463 w 1429540"/>
              <a:gd name="connsiteY2138" fmla="*/ 454070 h 1426100"/>
              <a:gd name="connsiteX2139" fmla="*/ 114180 w 1429540"/>
              <a:gd name="connsiteY2139" fmla="*/ 460915 h 1426100"/>
              <a:gd name="connsiteX2140" fmla="*/ 111896 w 1429540"/>
              <a:gd name="connsiteY2140" fmla="*/ 460915 h 1426100"/>
              <a:gd name="connsiteX2141" fmla="*/ 109613 w 1429540"/>
              <a:gd name="connsiteY2141" fmla="*/ 463197 h 1426100"/>
              <a:gd name="connsiteX2142" fmla="*/ 107329 w 1429540"/>
              <a:gd name="connsiteY2142" fmla="*/ 463197 h 1426100"/>
              <a:gd name="connsiteX2143" fmla="*/ 105045 w 1429540"/>
              <a:gd name="connsiteY2143" fmla="*/ 463197 h 1426100"/>
              <a:gd name="connsiteX2144" fmla="*/ 102762 w 1429540"/>
              <a:gd name="connsiteY2144" fmla="*/ 465479 h 1426100"/>
              <a:gd name="connsiteX2145" fmla="*/ 93627 w 1429540"/>
              <a:gd name="connsiteY2145" fmla="*/ 470043 h 1426100"/>
              <a:gd name="connsiteX2146" fmla="*/ 89060 w 1429540"/>
              <a:gd name="connsiteY2146" fmla="*/ 472325 h 1426100"/>
              <a:gd name="connsiteX2147" fmla="*/ 84493 w 1429540"/>
              <a:gd name="connsiteY2147" fmla="*/ 474607 h 1426100"/>
              <a:gd name="connsiteX2148" fmla="*/ 77642 w 1429540"/>
              <a:gd name="connsiteY2148" fmla="*/ 474607 h 1426100"/>
              <a:gd name="connsiteX2149" fmla="*/ 68508 w 1429540"/>
              <a:gd name="connsiteY2149" fmla="*/ 476889 h 1426100"/>
              <a:gd name="connsiteX2150" fmla="*/ 61657 w 1429540"/>
              <a:gd name="connsiteY2150" fmla="*/ 476889 h 1426100"/>
              <a:gd name="connsiteX2151" fmla="*/ 63941 w 1429540"/>
              <a:gd name="connsiteY2151" fmla="*/ 476889 h 1426100"/>
              <a:gd name="connsiteX2152" fmla="*/ 66224 w 1429540"/>
              <a:gd name="connsiteY2152" fmla="*/ 474607 h 1426100"/>
              <a:gd name="connsiteX2153" fmla="*/ 68508 w 1429540"/>
              <a:gd name="connsiteY2153" fmla="*/ 474607 h 1426100"/>
              <a:gd name="connsiteX2154" fmla="*/ 70792 w 1429540"/>
              <a:gd name="connsiteY2154" fmla="*/ 474607 h 1426100"/>
              <a:gd name="connsiteX2155" fmla="*/ 68508 w 1429540"/>
              <a:gd name="connsiteY2155" fmla="*/ 472325 h 1426100"/>
              <a:gd name="connsiteX2156" fmla="*/ 66224 w 1429540"/>
              <a:gd name="connsiteY2156" fmla="*/ 465479 h 1426100"/>
              <a:gd name="connsiteX2157" fmla="*/ 66224 w 1429540"/>
              <a:gd name="connsiteY2157" fmla="*/ 463197 h 1426100"/>
              <a:gd name="connsiteX2158" fmla="*/ 63941 w 1429540"/>
              <a:gd name="connsiteY2158" fmla="*/ 463197 h 1426100"/>
              <a:gd name="connsiteX2159" fmla="*/ 61657 w 1429540"/>
              <a:gd name="connsiteY2159" fmla="*/ 456352 h 1426100"/>
              <a:gd name="connsiteX2160" fmla="*/ 57090 w 1429540"/>
              <a:gd name="connsiteY2160" fmla="*/ 454070 h 1426100"/>
              <a:gd name="connsiteX2161" fmla="*/ 61657 w 1429540"/>
              <a:gd name="connsiteY2161" fmla="*/ 451788 h 1426100"/>
              <a:gd name="connsiteX2162" fmla="*/ 63941 w 1429540"/>
              <a:gd name="connsiteY2162" fmla="*/ 451788 h 1426100"/>
              <a:gd name="connsiteX2163" fmla="*/ 66224 w 1429540"/>
              <a:gd name="connsiteY2163" fmla="*/ 449506 h 1426100"/>
              <a:gd name="connsiteX2164" fmla="*/ 68508 w 1429540"/>
              <a:gd name="connsiteY2164" fmla="*/ 449506 h 1426100"/>
              <a:gd name="connsiteX2165" fmla="*/ 70792 w 1429540"/>
              <a:gd name="connsiteY2165" fmla="*/ 449506 h 1426100"/>
              <a:gd name="connsiteX2166" fmla="*/ 70792 w 1429540"/>
              <a:gd name="connsiteY2166" fmla="*/ 447224 h 1426100"/>
              <a:gd name="connsiteX2167" fmla="*/ 73075 w 1429540"/>
              <a:gd name="connsiteY2167" fmla="*/ 447224 h 1426100"/>
              <a:gd name="connsiteX2168" fmla="*/ 75359 w 1429540"/>
              <a:gd name="connsiteY2168" fmla="*/ 444942 h 1426100"/>
              <a:gd name="connsiteX2169" fmla="*/ 77642 w 1429540"/>
              <a:gd name="connsiteY2169" fmla="*/ 444942 h 1426100"/>
              <a:gd name="connsiteX2170" fmla="*/ 79926 w 1429540"/>
              <a:gd name="connsiteY2170" fmla="*/ 444942 h 1426100"/>
              <a:gd name="connsiteX2171" fmla="*/ 82209 w 1429540"/>
              <a:gd name="connsiteY2171" fmla="*/ 442660 h 1426100"/>
              <a:gd name="connsiteX2172" fmla="*/ 82209 w 1429540"/>
              <a:gd name="connsiteY2172" fmla="*/ 444942 h 1426100"/>
              <a:gd name="connsiteX2173" fmla="*/ 84493 w 1429540"/>
              <a:gd name="connsiteY2173" fmla="*/ 444942 h 1426100"/>
              <a:gd name="connsiteX2174" fmla="*/ 86777 w 1429540"/>
              <a:gd name="connsiteY2174" fmla="*/ 444942 h 1426100"/>
              <a:gd name="connsiteX2175" fmla="*/ 91344 w 1429540"/>
              <a:gd name="connsiteY2175" fmla="*/ 444942 h 1426100"/>
              <a:gd name="connsiteX2176" fmla="*/ 98194 w 1429540"/>
              <a:gd name="connsiteY2176" fmla="*/ 444942 h 1426100"/>
              <a:gd name="connsiteX2177" fmla="*/ 100478 w 1429540"/>
              <a:gd name="connsiteY2177" fmla="*/ 444942 h 1426100"/>
              <a:gd name="connsiteX2178" fmla="*/ 100478 w 1429540"/>
              <a:gd name="connsiteY2178" fmla="*/ 442660 h 1426100"/>
              <a:gd name="connsiteX2179" fmla="*/ 93627 w 1429540"/>
              <a:gd name="connsiteY2179" fmla="*/ 426687 h 1426100"/>
              <a:gd name="connsiteX2180" fmla="*/ 98194 w 1429540"/>
              <a:gd name="connsiteY2180" fmla="*/ 426687 h 1426100"/>
              <a:gd name="connsiteX2181" fmla="*/ 102762 w 1429540"/>
              <a:gd name="connsiteY2181" fmla="*/ 426687 h 1426100"/>
              <a:gd name="connsiteX2182" fmla="*/ 105045 w 1429540"/>
              <a:gd name="connsiteY2182" fmla="*/ 424405 h 1426100"/>
              <a:gd name="connsiteX2183" fmla="*/ 107329 w 1429540"/>
              <a:gd name="connsiteY2183" fmla="*/ 424405 h 1426100"/>
              <a:gd name="connsiteX2184" fmla="*/ 109613 w 1429540"/>
              <a:gd name="connsiteY2184" fmla="*/ 424405 h 1426100"/>
              <a:gd name="connsiteX2185" fmla="*/ 114180 w 1429540"/>
              <a:gd name="connsiteY2185" fmla="*/ 424405 h 1426100"/>
              <a:gd name="connsiteX2186" fmla="*/ 123314 w 1429540"/>
              <a:gd name="connsiteY2186" fmla="*/ 422123 h 1426100"/>
              <a:gd name="connsiteX2187" fmla="*/ 125598 w 1429540"/>
              <a:gd name="connsiteY2187" fmla="*/ 422123 h 1426100"/>
              <a:gd name="connsiteX2188" fmla="*/ 127881 w 1429540"/>
              <a:gd name="connsiteY2188" fmla="*/ 422123 h 1426100"/>
              <a:gd name="connsiteX2189" fmla="*/ 134732 w 1429540"/>
              <a:gd name="connsiteY2189" fmla="*/ 419841 h 1426100"/>
              <a:gd name="connsiteX2190" fmla="*/ 139299 w 1429540"/>
              <a:gd name="connsiteY2190" fmla="*/ 419841 h 1426100"/>
              <a:gd name="connsiteX2191" fmla="*/ 143867 w 1429540"/>
              <a:gd name="connsiteY2191" fmla="*/ 419841 h 1426100"/>
              <a:gd name="connsiteX2192" fmla="*/ 143867 w 1429540"/>
              <a:gd name="connsiteY2192" fmla="*/ 415277 h 1426100"/>
              <a:gd name="connsiteX2193" fmla="*/ 153001 w 1429540"/>
              <a:gd name="connsiteY2193" fmla="*/ 415277 h 1426100"/>
              <a:gd name="connsiteX2194" fmla="*/ 153001 w 1429540"/>
              <a:gd name="connsiteY2194" fmla="*/ 412996 h 1426100"/>
              <a:gd name="connsiteX2195" fmla="*/ 150717 w 1429540"/>
              <a:gd name="connsiteY2195" fmla="*/ 410714 h 1426100"/>
              <a:gd name="connsiteX2196" fmla="*/ 148434 w 1429540"/>
              <a:gd name="connsiteY2196" fmla="*/ 403868 h 1426100"/>
              <a:gd name="connsiteX2197" fmla="*/ 148434 w 1429540"/>
              <a:gd name="connsiteY2197" fmla="*/ 401586 h 1426100"/>
              <a:gd name="connsiteX2198" fmla="*/ 143867 w 1429540"/>
              <a:gd name="connsiteY2198" fmla="*/ 394740 h 1426100"/>
              <a:gd name="connsiteX2199" fmla="*/ 143867 w 1429540"/>
              <a:gd name="connsiteY2199" fmla="*/ 392459 h 1426100"/>
              <a:gd name="connsiteX2200" fmla="*/ 146150 w 1429540"/>
              <a:gd name="connsiteY2200" fmla="*/ 390177 h 1426100"/>
              <a:gd name="connsiteX2201" fmla="*/ 148434 w 1429540"/>
              <a:gd name="connsiteY2201" fmla="*/ 387895 h 1426100"/>
              <a:gd name="connsiteX2202" fmla="*/ 150717 w 1429540"/>
              <a:gd name="connsiteY2202" fmla="*/ 385613 h 1426100"/>
              <a:gd name="connsiteX2203" fmla="*/ 153001 w 1429540"/>
              <a:gd name="connsiteY2203" fmla="*/ 385613 h 1426100"/>
              <a:gd name="connsiteX2204" fmla="*/ 155284 w 1429540"/>
              <a:gd name="connsiteY2204" fmla="*/ 383331 h 1426100"/>
              <a:gd name="connsiteX2205" fmla="*/ 157568 w 1429540"/>
              <a:gd name="connsiteY2205" fmla="*/ 381059 h 1426100"/>
              <a:gd name="connsiteX2206" fmla="*/ 159852 w 1429540"/>
              <a:gd name="connsiteY2206" fmla="*/ 381059 h 1426100"/>
              <a:gd name="connsiteX2207" fmla="*/ 164419 w 1429540"/>
              <a:gd name="connsiteY2207" fmla="*/ 378777 h 1426100"/>
              <a:gd name="connsiteX2208" fmla="*/ 166702 w 1429540"/>
              <a:gd name="connsiteY2208" fmla="*/ 378777 h 1426100"/>
              <a:gd name="connsiteX2209" fmla="*/ 171270 w 1429540"/>
              <a:gd name="connsiteY2209" fmla="*/ 376495 h 1426100"/>
              <a:gd name="connsiteX2210" fmla="*/ 173553 w 1429540"/>
              <a:gd name="connsiteY2210" fmla="*/ 376495 h 1426100"/>
              <a:gd name="connsiteX2211" fmla="*/ 178121 w 1429540"/>
              <a:gd name="connsiteY2211" fmla="*/ 374213 h 1426100"/>
              <a:gd name="connsiteX2212" fmla="*/ 180404 w 1429540"/>
              <a:gd name="connsiteY2212" fmla="*/ 374213 h 1426100"/>
              <a:gd name="connsiteX2213" fmla="*/ 184971 w 1429540"/>
              <a:gd name="connsiteY2213" fmla="*/ 371931 h 1426100"/>
              <a:gd name="connsiteX2214" fmla="*/ 187255 w 1429540"/>
              <a:gd name="connsiteY2214" fmla="*/ 369649 h 1426100"/>
              <a:gd name="connsiteX2215" fmla="*/ 191822 w 1429540"/>
              <a:gd name="connsiteY2215" fmla="*/ 365085 h 1426100"/>
              <a:gd name="connsiteX2216" fmla="*/ 198673 w 1429540"/>
              <a:gd name="connsiteY2216" fmla="*/ 358240 h 1426100"/>
              <a:gd name="connsiteX2217" fmla="*/ 200956 w 1429540"/>
              <a:gd name="connsiteY2217" fmla="*/ 355958 h 1426100"/>
              <a:gd name="connsiteX2218" fmla="*/ 203240 w 1429540"/>
              <a:gd name="connsiteY2218" fmla="*/ 355958 h 1426100"/>
              <a:gd name="connsiteX2219" fmla="*/ 210091 w 1429540"/>
              <a:gd name="connsiteY2219" fmla="*/ 355958 h 1426100"/>
              <a:gd name="connsiteX2220" fmla="*/ 221509 w 1429540"/>
              <a:gd name="connsiteY2220" fmla="*/ 355958 h 1426100"/>
              <a:gd name="connsiteX2221" fmla="*/ 223792 w 1429540"/>
              <a:gd name="connsiteY2221" fmla="*/ 355958 h 1426100"/>
              <a:gd name="connsiteX2222" fmla="*/ 230643 w 1429540"/>
              <a:gd name="connsiteY2222" fmla="*/ 358240 h 1426100"/>
              <a:gd name="connsiteX2223" fmla="*/ 232927 w 1429540"/>
              <a:gd name="connsiteY2223" fmla="*/ 365085 h 1426100"/>
              <a:gd name="connsiteX2224" fmla="*/ 235210 w 1429540"/>
              <a:gd name="connsiteY2224" fmla="*/ 365085 h 1426100"/>
              <a:gd name="connsiteX2225" fmla="*/ 246628 w 1429540"/>
              <a:gd name="connsiteY2225" fmla="*/ 358240 h 1426100"/>
              <a:gd name="connsiteX2226" fmla="*/ 253479 w 1429540"/>
              <a:gd name="connsiteY2226" fmla="*/ 355958 h 1426100"/>
              <a:gd name="connsiteX2227" fmla="*/ 255763 w 1429540"/>
              <a:gd name="connsiteY2227" fmla="*/ 355958 h 1426100"/>
              <a:gd name="connsiteX2228" fmla="*/ 260330 w 1429540"/>
              <a:gd name="connsiteY2228" fmla="*/ 353676 h 1426100"/>
              <a:gd name="connsiteX2229" fmla="*/ 262613 w 1429540"/>
              <a:gd name="connsiteY2229" fmla="*/ 351394 h 1426100"/>
              <a:gd name="connsiteX2230" fmla="*/ 264897 w 1429540"/>
              <a:gd name="connsiteY2230" fmla="*/ 353676 h 1426100"/>
              <a:gd name="connsiteX2231" fmla="*/ 267181 w 1429540"/>
              <a:gd name="connsiteY2231" fmla="*/ 360521 h 1426100"/>
              <a:gd name="connsiteX2232" fmla="*/ 269464 w 1429540"/>
              <a:gd name="connsiteY2232" fmla="*/ 365085 h 1426100"/>
              <a:gd name="connsiteX2233" fmla="*/ 267181 w 1429540"/>
              <a:gd name="connsiteY2233" fmla="*/ 365085 h 1426100"/>
              <a:gd name="connsiteX2234" fmla="*/ 264897 w 1429540"/>
              <a:gd name="connsiteY2234" fmla="*/ 367367 h 1426100"/>
              <a:gd name="connsiteX2235" fmla="*/ 262613 w 1429540"/>
              <a:gd name="connsiteY2235" fmla="*/ 369649 h 1426100"/>
              <a:gd name="connsiteX2236" fmla="*/ 260330 w 1429540"/>
              <a:gd name="connsiteY2236" fmla="*/ 369649 h 1426100"/>
              <a:gd name="connsiteX2237" fmla="*/ 258046 w 1429540"/>
              <a:gd name="connsiteY2237" fmla="*/ 369649 h 1426100"/>
              <a:gd name="connsiteX2238" fmla="*/ 255763 w 1429540"/>
              <a:gd name="connsiteY2238" fmla="*/ 371931 h 1426100"/>
              <a:gd name="connsiteX2239" fmla="*/ 253479 w 1429540"/>
              <a:gd name="connsiteY2239" fmla="*/ 371931 h 1426100"/>
              <a:gd name="connsiteX2240" fmla="*/ 251196 w 1429540"/>
              <a:gd name="connsiteY2240" fmla="*/ 374213 h 1426100"/>
              <a:gd name="connsiteX2241" fmla="*/ 255763 w 1429540"/>
              <a:gd name="connsiteY2241" fmla="*/ 385613 h 1426100"/>
              <a:gd name="connsiteX2242" fmla="*/ 258046 w 1429540"/>
              <a:gd name="connsiteY2242" fmla="*/ 390177 h 1426100"/>
              <a:gd name="connsiteX2243" fmla="*/ 255763 w 1429540"/>
              <a:gd name="connsiteY2243" fmla="*/ 390177 h 1426100"/>
              <a:gd name="connsiteX2244" fmla="*/ 258046 w 1429540"/>
              <a:gd name="connsiteY2244" fmla="*/ 394740 h 1426100"/>
              <a:gd name="connsiteX2245" fmla="*/ 264897 w 1429540"/>
              <a:gd name="connsiteY2245" fmla="*/ 392459 h 1426100"/>
              <a:gd name="connsiteX2246" fmla="*/ 267181 w 1429540"/>
              <a:gd name="connsiteY2246" fmla="*/ 392459 h 1426100"/>
              <a:gd name="connsiteX2247" fmla="*/ 271748 w 1429540"/>
              <a:gd name="connsiteY2247" fmla="*/ 399304 h 1426100"/>
              <a:gd name="connsiteX2248" fmla="*/ 271748 w 1429540"/>
              <a:gd name="connsiteY2248" fmla="*/ 401586 h 1426100"/>
              <a:gd name="connsiteX2249" fmla="*/ 271748 w 1429540"/>
              <a:gd name="connsiteY2249" fmla="*/ 403868 h 1426100"/>
              <a:gd name="connsiteX2250" fmla="*/ 274031 w 1429540"/>
              <a:gd name="connsiteY2250" fmla="*/ 406150 h 1426100"/>
              <a:gd name="connsiteX2251" fmla="*/ 274031 w 1429540"/>
              <a:gd name="connsiteY2251" fmla="*/ 408432 h 1426100"/>
              <a:gd name="connsiteX2252" fmla="*/ 274031 w 1429540"/>
              <a:gd name="connsiteY2252" fmla="*/ 410714 h 1426100"/>
              <a:gd name="connsiteX2253" fmla="*/ 276315 w 1429540"/>
              <a:gd name="connsiteY2253" fmla="*/ 410714 h 1426100"/>
              <a:gd name="connsiteX2254" fmla="*/ 276315 w 1429540"/>
              <a:gd name="connsiteY2254" fmla="*/ 412996 h 1426100"/>
              <a:gd name="connsiteX2255" fmla="*/ 276315 w 1429540"/>
              <a:gd name="connsiteY2255" fmla="*/ 415277 h 1426100"/>
              <a:gd name="connsiteX2256" fmla="*/ 278599 w 1429540"/>
              <a:gd name="connsiteY2256" fmla="*/ 415277 h 1426100"/>
              <a:gd name="connsiteX2257" fmla="*/ 278599 w 1429540"/>
              <a:gd name="connsiteY2257" fmla="*/ 417559 h 1426100"/>
              <a:gd name="connsiteX2258" fmla="*/ 278599 w 1429540"/>
              <a:gd name="connsiteY2258" fmla="*/ 419841 h 1426100"/>
              <a:gd name="connsiteX2259" fmla="*/ 280882 w 1429540"/>
              <a:gd name="connsiteY2259" fmla="*/ 422123 h 1426100"/>
              <a:gd name="connsiteX2260" fmla="*/ 280882 w 1429540"/>
              <a:gd name="connsiteY2260" fmla="*/ 419841 h 1426100"/>
              <a:gd name="connsiteX2261" fmla="*/ 280882 w 1429540"/>
              <a:gd name="connsiteY2261" fmla="*/ 422123 h 1426100"/>
              <a:gd name="connsiteX2262" fmla="*/ 283166 w 1429540"/>
              <a:gd name="connsiteY2262" fmla="*/ 422123 h 1426100"/>
              <a:gd name="connsiteX2263" fmla="*/ 285450 w 1429540"/>
              <a:gd name="connsiteY2263" fmla="*/ 419841 h 1426100"/>
              <a:gd name="connsiteX2264" fmla="*/ 287733 w 1429540"/>
              <a:gd name="connsiteY2264" fmla="*/ 419841 h 1426100"/>
              <a:gd name="connsiteX2265" fmla="*/ 290017 w 1429540"/>
              <a:gd name="connsiteY2265" fmla="*/ 417559 h 1426100"/>
              <a:gd name="connsiteX2266" fmla="*/ 292300 w 1429540"/>
              <a:gd name="connsiteY2266" fmla="*/ 417559 h 1426100"/>
              <a:gd name="connsiteX2267" fmla="*/ 294584 w 1429540"/>
              <a:gd name="connsiteY2267" fmla="*/ 417559 h 1426100"/>
              <a:gd name="connsiteX2268" fmla="*/ 294584 w 1429540"/>
              <a:gd name="connsiteY2268" fmla="*/ 415277 h 1426100"/>
              <a:gd name="connsiteX2269" fmla="*/ 296867 w 1429540"/>
              <a:gd name="connsiteY2269" fmla="*/ 415277 h 1426100"/>
              <a:gd name="connsiteX2270" fmla="*/ 299151 w 1429540"/>
              <a:gd name="connsiteY2270" fmla="*/ 415277 h 1426100"/>
              <a:gd name="connsiteX2271" fmla="*/ 301435 w 1429540"/>
              <a:gd name="connsiteY2271" fmla="*/ 415277 h 1426100"/>
              <a:gd name="connsiteX2272" fmla="*/ 303718 w 1429540"/>
              <a:gd name="connsiteY2272" fmla="*/ 417559 h 1426100"/>
              <a:gd name="connsiteX2273" fmla="*/ 306002 w 1429540"/>
              <a:gd name="connsiteY2273" fmla="*/ 417559 h 1426100"/>
              <a:gd name="connsiteX2274" fmla="*/ 308285 w 1429540"/>
              <a:gd name="connsiteY2274" fmla="*/ 417559 h 1426100"/>
              <a:gd name="connsiteX2275" fmla="*/ 310569 w 1429540"/>
              <a:gd name="connsiteY2275" fmla="*/ 417559 h 1426100"/>
              <a:gd name="connsiteX2276" fmla="*/ 310569 w 1429540"/>
              <a:gd name="connsiteY2276" fmla="*/ 419841 h 1426100"/>
              <a:gd name="connsiteX2277" fmla="*/ 312853 w 1429540"/>
              <a:gd name="connsiteY2277" fmla="*/ 419841 h 1426100"/>
              <a:gd name="connsiteX2278" fmla="*/ 315136 w 1429540"/>
              <a:gd name="connsiteY2278" fmla="*/ 419841 h 1426100"/>
              <a:gd name="connsiteX2279" fmla="*/ 317420 w 1429540"/>
              <a:gd name="connsiteY2279" fmla="*/ 419841 h 1426100"/>
              <a:gd name="connsiteX2280" fmla="*/ 317420 w 1429540"/>
              <a:gd name="connsiteY2280" fmla="*/ 422123 h 1426100"/>
              <a:gd name="connsiteX2281" fmla="*/ 319703 w 1429540"/>
              <a:gd name="connsiteY2281" fmla="*/ 424405 h 1426100"/>
              <a:gd name="connsiteX2282" fmla="*/ 319703 w 1429540"/>
              <a:gd name="connsiteY2282" fmla="*/ 426687 h 1426100"/>
              <a:gd name="connsiteX2283" fmla="*/ 321987 w 1429540"/>
              <a:gd name="connsiteY2283" fmla="*/ 428969 h 1426100"/>
              <a:gd name="connsiteX2284" fmla="*/ 324271 w 1429540"/>
              <a:gd name="connsiteY2284" fmla="*/ 431251 h 1426100"/>
              <a:gd name="connsiteX2285" fmla="*/ 321987 w 1429540"/>
              <a:gd name="connsiteY2285" fmla="*/ 431251 h 1426100"/>
              <a:gd name="connsiteX2286" fmla="*/ 321987 w 1429540"/>
              <a:gd name="connsiteY2286" fmla="*/ 433533 h 1426100"/>
              <a:gd name="connsiteX2287" fmla="*/ 321987 w 1429540"/>
              <a:gd name="connsiteY2287" fmla="*/ 435814 h 1426100"/>
              <a:gd name="connsiteX2288" fmla="*/ 324271 w 1429540"/>
              <a:gd name="connsiteY2288" fmla="*/ 435814 h 1426100"/>
              <a:gd name="connsiteX2289" fmla="*/ 324271 w 1429540"/>
              <a:gd name="connsiteY2289" fmla="*/ 433533 h 1426100"/>
              <a:gd name="connsiteX2290" fmla="*/ 324271 w 1429540"/>
              <a:gd name="connsiteY2290" fmla="*/ 435814 h 1426100"/>
              <a:gd name="connsiteX2291" fmla="*/ 326554 w 1429540"/>
              <a:gd name="connsiteY2291" fmla="*/ 435814 h 1426100"/>
              <a:gd name="connsiteX2292" fmla="*/ 326554 w 1429540"/>
              <a:gd name="connsiteY2292" fmla="*/ 433533 h 1426100"/>
              <a:gd name="connsiteX2293" fmla="*/ 328838 w 1429540"/>
              <a:gd name="connsiteY2293" fmla="*/ 435814 h 1426100"/>
              <a:gd name="connsiteX2294" fmla="*/ 328838 w 1429540"/>
              <a:gd name="connsiteY2294" fmla="*/ 433533 h 1426100"/>
              <a:gd name="connsiteX2295" fmla="*/ 331121 w 1429540"/>
              <a:gd name="connsiteY2295" fmla="*/ 435814 h 1426100"/>
              <a:gd name="connsiteX2296" fmla="*/ 333405 w 1429540"/>
              <a:gd name="connsiteY2296" fmla="*/ 435814 h 1426100"/>
              <a:gd name="connsiteX2297" fmla="*/ 335689 w 1429540"/>
              <a:gd name="connsiteY2297" fmla="*/ 438096 h 1426100"/>
              <a:gd name="connsiteX2298" fmla="*/ 337972 w 1429540"/>
              <a:gd name="connsiteY2298" fmla="*/ 440378 h 1426100"/>
              <a:gd name="connsiteX2299" fmla="*/ 335689 w 1429540"/>
              <a:gd name="connsiteY2299" fmla="*/ 442660 h 1426100"/>
              <a:gd name="connsiteX2300" fmla="*/ 331121 w 1429540"/>
              <a:gd name="connsiteY2300" fmla="*/ 444942 h 1426100"/>
              <a:gd name="connsiteX2301" fmla="*/ 328838 w 1429540"/>
              <a:gd name="connsiteY2301" fmla="*/ 444942 h 1426100"/>
              <a:gd name="connsiteX2302" fmla="*/ 326554 w 1429540"/>
              <a:gd name="connsiteY2302" fmla="*/ 447224 h 1426100"/>
              <a:gd name="connsiteX2303" fmla="*/ 321987 w 1429540"/>
              <a:gd name="connsiteY2303" fmla="*/ 449506 h 1426100"/>
              <a:gd name="connsiteX2304" fmla="*/ 324271 w 1429540"/>
              <a:gd name="connsiteY2304" fmla="*/ 454070 h 1426100"/>
              <a:gd name="connsiteX2305" fmla="*/ 321987 w 1429540"/>
              <a:gd name="connsiteY2305" fmla="*/ 454070 h 1426100"/>
              <a:gd name="connsiteX2306" fmla="*/ 317420 w 1429540"/>
              <a:gd name="connsiteY2306" fmla="*/ 454070 h 1426100"/>
              <a:gd name="connsiteX2307" fmla="*/ 317420 w 1429540"/>
              <a:gd name="connsiteY2307" fmla="*/ 451788 h 1426100"/>
              <a:gd name="connsiteX2308" fmla="*/ 312853 w 1429540"/>
              <a:gd name="connsiteY2308" fmla="*/ 451788 h 1426100"/>
              <a:gd name="connsiteX2309" fmla="*/ 310569 w 1429540"/>
              <a:gd name="connsiteY2309" fmla="*/ 451788 h 1426100"/>
              <a:gd name="connsiteX2310" fmla="*/ 306002 w 1429540"/>
              <a:gd name="connsiteY2310" fmla="*/ 449506 h 1426100"/>
              <a:gd name="connsiteX2311" fmla="*/ 306002 w 1429540"/>
              <a:gd name="connsiteY2311" fmla="*/ 451788 h 1426100"/>
              <a:gd name="connsiteX2312" fmla="*/ 306002 w 1429540"/>
              <a:gd name="connsiteY2312" fmla="*/ 454070 h 1426100"/>
              <a:gd name="connsiteX2313" fmla="*/ 306002 w 1429540"/>
              <a:gd name="connsiteY2313" fmla="*/ 456352 h 1426100"/>
              <a:gd name="connsiteX2314" fmla="*/ 306002 w 1429540"/>
              <a:gd name="connsiteY2314" fmla="*/ 458634 h 1426100"/>
              <a:gd name="connsiteX2315" fmla="*/ 306002 w 1429540"/>
              <a:gd name="connsiteY2315" fmla="*/ 460915 h 1426100"/>
              <a:gd name="connsiteX2316" fmla="*/ 306002 w 1429540"/>
              <a:gd name="connsiteY2316" fmla="*/ 463197 h 1426100"/>
              <a:gd name="connsiteX2317" fmla="*/ 306002 w 1429540"/>
              <a:gd name="connsiteY2317" fmla="*/ 465479 h 1426100"/>
              <a:gd name="connsiteX2318" fmla="*/ 306002 w 1429540"/>
              <a:gd name="connsiteY2318" fmla="*/ 467761 h 1426100"/>
              <a:gd name="connsiteX2319" fmla="*/ 306002 w 1429540"/>
              <a:gd name="connsiteY2319" fmla="*/ 470043 h 1426100"/>
              <a:gd name="connsiteX2320" fmla="*/ 306002 w 1429540"/>
              <a:gd name="connsiteY2320" fmla="*/ 472325 h 1426100"/>
              <a:gd name="connsiteX2321" fmla="*/ 306002 w 1429540"/>
              <a:gd name="connsiteY2321" fmla="*/ 474607 h 1426100"/>
              <a:gd name="connsiteX2322" fmla="*/ 306002 w 1429540"/>
              <a:gd name="connsiteY2322" fmla="*/ 476889 h 1426100"/>
              <a:gd name="connsiteX2323" fmla="*/ 306002 w 1429540"/>
              <a:gd name="connsiteY2323" fmla="*/ 479171 h 1426100"/>
              <a:gd name="connsiteX2324" fmla="*/ 306002 w 1429540"/>
              <a:gd name="connsiteY2324" fmla="*/ 481452 h 1426100"/>
              <a:gd name="connsiteX2325" fmla="*/ 303718 w 1429540"/>
              <a:gd name="connsiteY2325" fmla="*/ 483734 h 1426100"/>
              <a:gd name="connsiteX2326" fmla="*/ 303718 w 1429540"/>
              <a:gd name="connsiteY2326" fmla="*/ 486016 h 1426100"/>
              <a:gd name="connsiteX2327" fmla="*/ 303718 w 1429540"/>
              <a:gd name="connsiteY2327" fmla="*/ 488298 h 1426100"/>
              <a:gd name="connsiteX2328" fmla="*/ 303718 w 1429540"/>
              <a:gd name="connsiteY2328" fmla="*/ 490580 h 1426100"/>
              <a:gd name="connsiteX2329" fmla="*/ 301435 w 1429540"/>
              <a:gd name="connsiteY2329" fmla="*/ 492862 h 1426100"/>
              <a:gd name="connsiteX2330" fmla="*/ 301435 w 1429540"/>
              <a:gd name="connsiteY2330" fmla="*/ 495144 h 1426100"/>
              <a:gd name="connsiteX2331" fmla="*/ 301435 w 1429540"/>
              <a:gd name="connsiteY2331" fmla="*/ 497426 h 1426100"/>
              <a:gd name="connsiteX2332" fmla="*/ 303718 w 1429540"/>
              <a:gd name="connsiteY2332" fmla="*/ 497426 h 1426100"/>
              <a:gd name="connsiteX2333" fmla="*/ 303718 w 1429540"/>
              <a:gd name="connsiteY2333" fmla="*/ 499708 h 1426100"/>
              <a:gd name="connsiteX2334" fmla="*/ 303718 w 1429540"/>
              <a:gd name="connsiteY2334" fmla="*/ 501989 h 1426100"/>
              <a:gd name="connsiteX2335" fmla="*/ 301435 w 1429540"/>
              <a:gd name="connsiteY2335" fmla="*/ 501989 h 1426100"/>
              <a:gd name="connsiteX2336" fmla="*/ 303718 w 1429540"/>
              <a:gd name="connsiteY2336" fmla="*/ 506553 h 1426100"/>
              <a:gd name="connsiteX2337" fmla="*/ 308285 w 1429540"/>
              <a:gd name="connsiteY2337" fmla="*/ 508835 h 1426100"/>
              <a:gd name="connsiteX2338" fmla="*/ 310569 w 1429540"/>
              <a:gd name="connsiteY2338" fmla="*/ 506553 h 1426100"/>
              <a:gd name="connsiteX2339" fmla="*/ 310569 w 1429540"/>
              <a:gd name="connsiteY2339" fmla="*/ 508835 h 1426100"/>
              <a:gd name="connsiteX2340" fmla="*/ 312853 w 1429540"/>
              <a:gd name="connsiteY2340" fmla="*/ 508835 h 1426100"/>
              <a:gd name="connsiteX2341" fmla="*/ 315136 w 1429540"/>
              <a:gd name="connsiteY2341" fmla="*/ 511117 h 1426100"/>
              <a:gd name="connsiteX2342" fmla="*/ 317420 w 1429540"/>
              <a:gd name="connsiteY2342" fmla="*/ 511117 h 1426100"/>
              <a:gd name="connsiteX2343" fmla="*/ 317420 w 1429540"/>
              <a:gd name="connsiteY2343" fmla="*/ 508835 h 1426100"/>
              <a:gd name="connsiteX2344" fmla="*/ 317420 w 1429540"/>
              <a:gd name="connsiteY2344" fmla="*/ 511117 h 1426100"/>
              <a:gd name="connsiteX2345" fmla="*/ 319703 w 1429540"/>
              <a:gd name="connsiteY2345" fmla="*/ 511117 h 1426100"/>
              <a:gd name="connsiteX2346" fmla="*/ 319703 w 1429540"/>
              <a:gd name="connsiteY2346" fmla="*/ 513399 h 1426100"/>
              <a:gd name="connsiteX2347" fmla="*/ 321987 w 1429540"/>
              <a:gd name="connsiteY2347" fmla="*/ 513399 h 1426100"/>
              <a:gd name="connsiteX2348" fmla="*/ 321987 w 1429540"/>
              <a:gd name="connsiteY2348" fmla="*/ 511117 h 1426100"/>
              <a:gd name="connsiteX2349" fmla="*/ 324271 w 1429540"/>
              <a:gd name="connsiteY2349" fmla="*/ 517963 h 1426100"/>
              <a:gd name="connsiteX2350" fmla="*/ 324271 w 1429540"/>
              <a:gd name="connsiteY2350" fmla="*/ 524808 h 1426100"/>
              <a:gd name="connsiteX2351" fmla="*/ 328838 w 1429540"/>
              <a:gd name="connsiteY2351" fmla="*/ 524808 h 1426100"/>
              <a:gd name="connsiteX2352" fmla="*/ 331121 w 1429540"/>
              <a:gd name="connsiteY2352" fmla="*/ 522527 h 1426100"/>
              <a:gd name="connsiteX2353" fmla="*/ 333405 w 1429540"/>
              <a:gd name="connsiteY2353" fmla="*/ 522527 h 1426100"/>
              <a:gd name="connsiteX2354" fmla="*/ 335689 w 1429540"/>
              <a:gd name="connsiteY2354" fmla="*/ 522527 h 1426100"/>
              <a:gd name="connsiteX2355" fmla="*/ 337972 w 1429540"/>
              <a:gd name="connsiteY2355" fmla="*/ 520245 h 1426100"/>
              <a:gd name="connsiteX2356" fmla="*/ 340256 w 1429540"/>
              <a:gd name="connsiteY2356" fmla="*/ 520245 h 1426100"/>
              <a:gd name="connsiteX2357" fmla="*/ 342539 w 1429540"/>
              <a:gd name="connsiteY2357" fmla="*/ 520245 h 1426100"/>
              <a:gd name="connsiteX2358" fmla="*/ 344823 w 1429540"/>
              <a:gd name="connsiteY2358" fmla="*/ 520245 h 1426100"/>
              <a:gd name="connsiteX2359" fmla="*/ 347106 w 1429540"/>
              <a:gd name="connsiteY2359" fmla="*/ 520245 h 1426100"/>
              <a:gd name="connsiteX2360" fmla="*/ 351674 w 1429540"/>
              <a:gd name="connsiteY2360" fmla="*/ 517963 h 1426100"/>
              <a:gd name="connsiteX2361" fmla="*/ 351674 w 1429540"/>
              <a:gd name="connsiteY2361" fmla="*/ 522527 h 1426100"/>
              <a:gd name="connsiteX2362" fmla="*/ 353957 w 1429540"/>
              <a:gd name="connsiteY2362" fmla="*/ 524808 h 1426100"/>
              <a:gd name="connsiteX2363" fmla="*/ 349390 w 1429540"/>
              <a:gd name="connsiteY2363" fmla="*/ 538490 h 1426100"/>
              <a:gd name="connsiteX2364" fmla="*/ 347106 w 1429540"/>
              <a:gd name="connsiteY2364" fmla="*/ 543054 h 1426100"/>
              <a:gd name="connsiteX2365" fmla="*/ 344823 w 1429540"/>
              <a:gd name="connsiteY2365" fmla="*/ 547618 h 1426100"/>
              <a:gd name="connsiteX2366" fmla="*/ 342539 w 1429540"/>
              <a:gd name="connsiteY2366" fmla="*/ 552182 h 1426100"/>
              <a:gd name="connsiteX2367" fmla="*/ 337972 w 1429540"/>
              <a:gd name="connsiteY2367" fmla="*/ 554464 h 1426100"/>
              <a:gd name="connsiteX2368" fmla="*/ 360808 w 1429540"/>
              <a:gd name="connsiteY2368" fmla="*/ 545336 h 1426100"/>
              <a:gd name="connsiteX2369" fmla="*/ 365375 w 1429540"/>
              <a:gd name="connsiteY2369" fmla="*/ 563591 h 1426100"/>
              <a:gd name="connsiteX2370" fmla="*/ 376793 w 1429540"/>
              <a:gd name="connsiteY2370" fmla="*/ 559027 h 1426100"/>
              <a:gd name="connsiteX2371" fmla="*/ 379077 w 1429540"/>
              <a:gd name="connsiteY2371" fmla="*/ 559027 h 1426100"/>
              <a:gd name="connsiteX2372" fmla="*/ 381360 w 1429540"/>
              <a:gd name="connsiteY2372" fmla="*/ 554464 h 1426100"/>
              <a:gd name="connsiteX2373" fmla="*/ 383644 w 1429540"/>
              <a:gd name="connsiteY2373" fmla="*/ 552182 h 1426100"/>
              <a:gd name="connsiteX2374" fmla="*/ 388211 w 1429540"/>
              <a:gd name="connsiteY2374" fmla="*/ 547618 h 1426100"/>
              <a:gd name="connsiteX2375" fmla="*/ 404196 w 1429540"/>
              <a:gd name="connsiteY2375" fmla="*/ 549900 h 1426100"/>
              <a:gd name="connsiteX2376" fmla="*/ 408764 w 1429540"/>
              <a:gd name="connsiteY2376" fmla="*/ 549900 h 1426100"/>
              <a:gd name="connsiteX2377" fmla="*/ 411047 w 1429540"/>
              <a:gd name="connsiteY2377" fmla="*/ 549900 h 1426100"/>
              <a:gd name="connsiteX2378" fmla="*/ 415614 w 1429540"/>
              <a:gd name="connsiteY2378" fmla="*/ 547618 h 1426100"/>
              <a:gd name="connsiteX2379" fmla="*/ 415614 w 1429540"/>
              <a:gd name="connsiteY2379" fmla="*/ 549900 h 1426100"/>
              <a:gd name="connsiteX2380" fmla="*/ 417898 w 1429540"/>
              <a:gd name="connsiteY2380" fmla="*/ 549900 h 1426100"/>
              <a:gd name="connsiteX2381" fmla="*/ 417898 w 1429540"/>
              <a:gd name="connsiteY2381" fmla="*/ 554464 h 1426100"/>
              <a:gd name="connsiteX2382" fmla="*/ 417898 w 1429540"/>
              <a:gd name="connsiteY2382" fmla="*/ 556746 h 1426100"/>
              <a:gd name="connsiteX2383" fmla="*/ 417898 w 1429540"/>
              <a:gd name="connsiteY2383" fmla="*/ 561309 h 1426100"/>
              <a:gd name="connsiteX2384" fmla="*/ 420182 w 1429540"/>
              <a:gd name="connsiteY2384" fmla="*/ 561309 h 1426100"/>
              <a:gd name="connsiteX2385" fmla="*/ 422465 w 1429540"/>
              <a:gd name="connsiteY2385" fmla="*/ 561309 h 1426100"/>
              <a:gd name="connsiteX2386" fmla="*/ 424749 w 1429540"/>
              <a:gd name="connsiteY2386" fmla="*/ 561309 h 1426100"/>
              <a:gd name="connsiteX2387" fmla="*/ 427033 w 1429540"/>
              <a:gd name="connsiteY2387" fmla="*/ 563591 h 1426100"/>
              <a:gd name="connsiteX2388" fmla="*/ 429316 w 1429540"/>
              <a:gd name="connsiteY2388" fmla="*/ 563591 h 1426100"/>
              <a:gd name="connsiteX2389" fmla="*/ 433883 w 1429540"/>
              <a:gd name="connsiteY2389" fmla="*/ 563591 h 1426100"/>
              <a:gd name="connsiteX2390" fmla="*/ 436167 w 1429540"/>
              <a:gd name="connsiteY2390" fmla="*/ 565873 h 1426100"/>
              <a:gd name="connsiteX2391" fmla="*/ 438450 w 1429540"/>
              <a:gd name="connsiteY2391" fmla="*/ 565873 h 1426100"/>
              <a:gd name="connsiteX2392" fmla="*/ 440734 w 1429540"/>
              <a:gd name="connsiteY2392" fmla="*/ 565873 h 1426100"/>
              <a:gd name="connsiteX2393" fmla="*/ 443018 w 1429540"/>
              <a:gd name="connsiteY2393" fmla="*/ 563591 h 1426100"/>
              <a:gd name="connsiteX2394" fmla="*/ 447585 w 1429540"/>
              <a:gd name="connsiteY2394" fmla="*/ 563591 h 1426100"/>
              <a:gd name="connsiteX2395" fmla="*/ 452152 w 1429540"/>
              <a:gd name="connsiteY2395" fmla="*/ 563591 h 1426100"/>
              <a:gd name="connsiteX2396" fmla="*/ 456719 w 1429540"/>
              <a:gd name="connsiteY2396" fmla="*/ 561309 h 1426100"/>
              <a:gd name="connsiteX2397" fmla="*/ 456719 w 1429540"/>
              <a:gd name="connsiteY2397" fmla="*/ 563591 h 1426100"/>
              <a:gd name="connsiteX2398" fmla="*/ 459003 w 1429540"/>
              <a:gd name="connsiteY2398" fmla="*/ 563591 h 1426100"/>
              <a:gd name="connsiteX2399" fmla="*/ 463570 w 1429540"/>
              <a:gd name="connsiteY2399" fmla="*/ 563591 h 1426100"/>
              <a:gd name="connsiteX2400" fmla="*/ 468137 w 1429540"/>
              <a:gd name="connsiteY2400" fmla="*/ 565873 h 1426100"/>
              <a:gd name="connsiteX2401" fmla="*/ 470421 w 1429540"/>
              <a:gd name="connsiteY2401" fmla="*/ 565873 h 1426100"/>
              <a:gd name="connsiteX2402" fmla="*/ 479555 w 1429540"/>
              <a:gd name="connsiteY2402" fmla="*/ 568155 h 1426100"/>
              <a:gd name="connsiteX2403" fmla="*/ 481839 w 1429540"/>
              <a:gd name="connsiteY2403" fmla="*/ 570437 h 1426100"/>
              <a:gd name="connsiteX2404" fmla="*/ 481839 w 1429540"/>
              <a:gd name="connsiteY2404" fmla="*/ 568155 h 1426100"/>
              <a:gd name="connsiteX2405" fmla="*/ 484122 w 1429540"/>
              <a:gd name="connsiteY2405" fmla="*/ 561309 h 1426100"/>
              <a:gd name="connsiteX2406" fmla="*/ 490973 w 1429540"/>
              <a:gd name="connsiteY2406" fmla="*/ 561309 h 1426100"/>
              <a:gd name="connsiteX2407" fmla="*/ 495540 w 1429540"/>
              <a:gd name="connsiteY2407" fmla="*/ 561309 h 1426100"/>
              <a:gd name="connsiteX2408" fmla="*/ 504675 w 1429540"/>
              <a:gd name="connsiteY2408" fmla="*/ 559027 h 1426100"/>
              <a:gd name="connsiteX2409" fmla="*/ 506958 w 1429540"/>
              <a:gd name="connsiteY2409" fmla="*/ 559027 h 1426100"/>
              <a:gd name="connsiteX2410" fmla="*/ 511525 w 1429540"/>
              <a:gd name="connsiteY2410" fmla="*/ 559027 h 1426100"/>
              <a:gd name="connsiteX2411" fmla="*/ 516093 w 1429540"/>
              <a:gd name="connsiteY2411" fmla="*/ 561309 h 1426100"/>
              <a:gd name="connsiteX2412" fmla="*/ 518376 w 1429540"/>
              <a:gd name="connsiteY2412" fmla="*/ 561309 h 1426100"/>
              <a:gd name="connsiteX2413" fmla="*/ 520660 w 1429540"/>
              <a:gd name="connsiteY2413" fmla="*/ 559027 h 1426100"/>
              <a:gd name="connsiteX2414" fmla="*/ 522943 w 1429540"/>
              <a:gd name="connsiteY2414" fmla="*/ 559027 h 1426100"/>
              <a:gd name="connsiteX2415" fmla="*/ 525227 w 1429540"/>
              <a:gd name="connsiteY2415" fmla="*/ 556746 h 1426100"/>
              <a:gd name="connsiteX2416" fmla="*/ 527511 w 1429540"/>
              <a:gd name="connsiteY2416" fmla="*/ 556746 h 1426100"/>
              <a:gd name="connsiteX2417" fmla="*/ 532078 w 1429540"/>
              <a:gd name="connsiteY2417" fmla="*/ 554464 h 1426100"/>
              <a:gd name="connsiteX2418" fmla="*/ 541212 w 1429540"/>
              <a:gd name="connsiteY2418" fmla="*/ 549900 h 1426100"/>
              <a:gd name="connsiteX2419" fmla="*/ 545779 w 1429540"/>
              <a:gd name="connsiteY2419" fmla="*/ 552182 h 1426100"/>
              <a:gd name="connsiteX2420" fmla="*/ 548063 w 1429540"/>
              <a:gd name="connsiteY2420" fmla="*/ 552182 h 1426100"/>
              <a:gd name="connsiteX2421" fmla="*/ 550347 w 1429540"/>
              <a:gd name="connsiteY2421" fmla="*/ 552182 h 1426100"/>
              <a:gd name="connsiteX2422" fmla="*/ 552630 w 1429540"/>
              <a:gd name="connsiteY2422" fmla="*/ 552182 h 1426100"/>
              <a:gd name="connsiteX2423" fmla="*/ 554914 w 1429540"/>
              <a:gd name="connsiteY2423" fmla="*/ 554464 h 1426100"/>
              <a:gd name="connsiteX2424" fmla="*/ 559481 w 1429540"/>
              <a:gd name="connsiteY2424" fmla="*/ 554464 h 1426100"/>
              <a:gd name="connsiteX2425" fmla="*/ 566332 w 1429540"/>
              <a:gd name="connsiteY2425" fmla="*/ 559027 h 1426100"/>
              <a:gd name="connsiteX2426" fmla="*/ 568615 w 1429540"/>
              <a:gd name="connsiteY2426" fmla="*/ 559027 h 1426100"/>
              <a:gd name="connsiteX2427" fmla="*/ 570899 w 1429540"/>
              <a:gd name="connsiteY2427" fmla="*/ 559027 h 1426100"/>
              <a:gd name="connsiteX2428" fmla="*/ 575466 w 1429540"/>
              <a:gd name="connsiteY2428" fmla="*/ 563591 h 1426100"/>
              <a:gd name="connsiteX2429" fmla="*/ 577750 w 1429540"/>
              <a:gd name="connsiteY2429" fmla="*/ 559027 h 1426100"/>
              <a:gd name="connsiteX2430" fmla="*/ 584600 w 1429540"/>
              <a:gd name="connsiteY2430" fmla="*/ 547618 h 1426100"/>
              <a:gd name="connsiteX2431" fmla="*/ 586884 w 1429540"/>
              <a:gd name="connsiteY2431" fmla="*/ 547618 h 1426100"/>
              <a:gd name="connsiteX2432" fmla="*/ 589168 w 1429540"/>
              <a:gd name="connsiteY2432" fmla="*/ 547618 h 1426100"/>
              <a:gd name="connsiteX2433" fmla="*/ 591451 w 1429540"/>
              <a:gd name="connsiteY2433" fmla="*/ 547618 h 1426100"/>
              <a:gd name="connsiteX2434" fmla="*/ 593735 w 1429540"/>
              <a:gd name="connsiteY2434" fmla="*/ 547618 h 1426100"/>
              <a:gd name="connsiteX2435" fmla="*/ 593735 w 1429540"/>
              <a:gd name="connsiteY2435" fmla="*/ 545336 h 1426100"/>
              <a:gd name="connsiteX2436" fmla="*/ 596018 w 1429540"/>
              <a:gd name="connsiteY2436" fmla="*/ 545336 h 1426100"/>
              <a:gd name="connsiteX2437" fmla="*/ 593735 w 1429540"/>
              <a:gd name="connsiteY2437" fmla="*/ 545336 h 1426100"/>
              <a:gd name="connsiteX2438" fmla="*/ 596018 w 1429540"/>
              <a:gd name="connsiteY2438" fmla="*/ 545336 h 1426100"/>
              <a:gd name="connsiteX2439" fmla="*/ 596018 w 1429540"/>
              <a:gd name="connsiteY2439" fmla="*/ 547618 h 1426100"/>
              <a:gd name="connsiteX2440" fmla="*/ 598302 w 1429540"/>
              <a:gd name="connsiteY2440" fmla="*/ 547618 h 1426100"/>
              <a:gd name="connsiteX2441" fmla="*/ 598302 w 1429540"/>
              <a:gd name="connsiteY2441" fmla="*/ 549900 h 1426100"/>
              <a:gd name="connsiteX2442" fmla="*/ 600585 w 1429540"/>
              <a:gd name="connsiteY2442" fmla="*/ 549900 h 1426100"/>
              <a:gd name="connsiteX2443" fmla="*/ 600585 w 1429540"/>
              <a:gd name="connsiteY2443" fmla="*/ 552182 h 1426100"/>
              <a:gd name="connsiteX2444" fmla="*/ 600585 w 1429540"/>
              <a:gd name="connsiteY2444" fmla="*/ 554464 h 1426100"/>
              <a:gd name="connsiteX2445" fmla="*/ 600585 w 1429540"/>
              <a:gd name="connsiteY2445" fmla="*/ 556746 h 1426100"/>
              <a:gd name="connsiteX2446" fmla="*/ 602870 w 1429540"/>
              <a:gd name="connsiteY2446" fmla="*/ 556746 h 1426100"/>
              <a:gd name="connsiteX2447" fmla="*/ 607437 w 1429540"/>
              <a:gd name="connsiteY2447" fmla="*/ 554464 h 1426100"/>
              <a:gd name="connsiteX2448" fmla="*/ 609720 w 1429540"/>
              <a:gd name="connsiteY2448" fmla="*/ 554464 h 1426100"/>
              <a:gd name="connsiteX2449" fmla="*/ 609720 w 1429540"/>
              <a:gd name="connsiteY2449" fmla="*/ 552182 h 1426100"/>
              <a:gd name="connsiteX2450" fmla="*/ 612004 w 1429540"/>
              <a:gd name="connsiteY2450" fmla="*/ 552182 h 1426100"/>
              <a:gd name="connsiteX2451" fmla="*/ 614287 w 1429540"/>
              <a:gd name="connsiteY2451" fmla="*/ 552182 h 1426100"/>
              <a:gd name="connsiteX2452" fmla="*/ 616571 w 1429540"/>
              <a:gd name="connsiteY2452" fmla="*/ 549900 h 1426100"/>
              <a:gd name="connsiteX2453" fmla="*/ 618855 w 1429540"/>
              <a:gd name="connsiteY2453" fmla="*/ 549900 h 1426100"/>
              <a:gd name="connsiteX2454" fmla="*/ 618855 w 1429540"/>
              <a:gd name="connsiteY2454" fmla="*/ 547618 h 1426100"/>
              <a:gd name="connsiteX2455" fmla="*/ 621138 w 1429540"/>
              <a:gd name="connsiteY2455" fmla="*/ 547618 h 1426100"/>
              <a:gd name="connsiteX2456" fmla="*/ 621138 w 1429540"/>
              <a:gd name="connsiteY2456" fmla="*/ 545336 h 1426100"/>
              <a:gd name="connsiteX2457" fmla="*/ 621138 w 1429540"/>
              <a:gd name="connsiteY2457" fmla="*/ 543054 h 1426100"/>
              <a:gd name="connsiteX2458" fmla="*/ 621138 w 1429540"/>
              <a:gd name="connsiteY2458" fmla="*/ 540772 h 1426100"/>
              <a:gd name="connsiteX2459" fmla="*/ 621138 w 1429540"/>
              <a:gd name="connsiteY2459" fmla="*/ 538490 h 1426100"/>
              <a:gd name="connsiteX2460" fmla="*/ 623422 w 1429540"/>
              <a:gd name="connsiteY2460" fmla="*/ 536218 h 1426100"/>
              <a:gd name="connsiteX2461" fmla="*/ 627989 w 1429540"/>
              <a:gd name="connsiteY2461" fmla="*/ 536218 h 1426100"/>
              <a:gd name="connsiteX2462" fmla="*/ 630272 w 1429540"/>
              <a:gd name="connsiteY2462" fmla="*/ 536218 h 1426100"/>
              <a:gd name="connsiteX2463" fmla="*/ 632556 w 1429540"/>
              <a:gd name="connsiteY2463" fmla="*/ 536218 h 1426100"/>
              <a:gd name="connsiteX2464" fmla="*/ 639407 w 1429540"/>
              <a:gd name="connsiteY2464" fmla="*/ 533926 h 1426100"/>
              <a:gd name="connsiteX2465" fmla="*/ 641690 w 1429540"/>
              <a:gd name="connsiteY2465" fmla="*/ 536218 h 1426100"/>
              <a:gd name="connsiteX2466" fmla="*/ 646258 w 1429540"/>
              <a:gd name="connsiteY2466" fmla="*/ 536218 h 1426100"/>
              <a:gd name="connsiteX2467" fmla="*/ 648541 w 1429540"/>
              <a:gd name="connsiteY2467" fmla="*/ 536218 h 1426100"/>
              <a:gd name="connsiteX2468" fmla="*/ 653108 w 1429540"/>
              <a:gd name="connsiteY2468" fmla="*/ 538490 h 1426100"/>
              <a:gd name="connsiteX2469" fmla="*/ 655392 w 1429540"/>
              <a:gd name="connsiteY2469" fmla="*/ 538490 h 1426100"/>
              <a:gd name="connsiteX2470" fmla="*/ 657675 w 1429540"/>
              <a:gd name="connsiteY2470" fmla="*/ 538490 h 1426100"/>
              <a:gd name="connsiteX2471" fmla="*/ 659959 w 1429540"/>
              <a:gd name="connsiteY2471" fmla="*/ 538490 h 1426100"/>
              <a:gd name="connsiteX2472" fmla="*/ 662243 w 1429540"/>
              <a:gd name="connsiteY2472" fmla="*/ 538490 h 1426100"/>
              <a:gd name="connsiteX2473" fmla="*/ 664526 w 1429540"/>
              <a:gd name="connsiteY2473" fmla="*/ 538490 h 1426100"/>
              <a:gd name="connsiteX2474" fmla="*/ 664526 w 1429540"/>
              <a:gd name="connsiteY2474" fmla="*/ 536218 h 1426100"/>
              <a:gd name="connsiteX2475" fmla="*/ 664526 w 1429540"/>
              <a:gd name="connsiteY2475" fmla="*/ 531654 h 1426100"/>
              <a:gd name="connsiteX2476" fmla="*/ 664526 w 1429540"/>
              <a:gd name="connsiteY2476" fmla="*/ 527090 h 1426100"/>
              <a:gd name="connsiteX2477" fmla="*/ 664526 w 1429540"/>
              <a:gd name="connsiteY2477" fmla="*/ 524808 h 1426100"/>
              <a:gd name="connsiteX2478" fmla="*/ 664526 w 1429540"/>
              <a:gd name="connsiteY2478" fmla="*/ 522527 h 1426100"/>
              <a:gd name="connsiteX2479" fmla="*/ 662243 w 1429540"/>
              <a:gd name="connsiteY2479" fmla="*/ 520245 h 1426100"/>
              <a:gd name="connsiteX2480" fmla="*/ 662243 w 1429540"/>
              <a:gd name="connsiteY2480" fmla="*/ 517963 h 1426100"/>
              <a:gd name="connsiteX2481" fmla="*/ 662243 w 1429540"/>
              <a:gd name="connsiteY2481" fmla="*/ 515681 h 1426100"/>
              <a:gd name="connsiteX2482" fmla="*/ 662243 w 1429540"/>
              <a:gd name="connsiteY2482" fmla="*/ 513399 h 1426100"/>
              <a:gd name="connsiteX2483" fmla="*/ 664526 w 1429540"/>
              <a:gd name="connsiteY2483" fmla="*/ 511117 h 1426100"/>
              <a:gd name="connsiteX2484" fmla="*/ 664526 w 1429540"/>
              <a:gd name="connsiteY2484" fmla="*/ 508835 h 1426100"/>
              <a:gd name="connsiteX2485" fmla="*/ 664526 w 1429540"/>
              <a:gd name="connsiteY2485" fmla="*/ 506553 h 1426100"/>
              <a:gd name="connsiteX2486" fmla="*/ 666810 w 1429540"/>
              <a:gd name="connsiteY2486" fmla="*/ 504271 h 1426100"/>
              <a:gd name="connsiteX2487" fmla="*/ 666810 w 1429540"/>
              <a:gd name="connsiteY2487" fmla="*/ 501989 h 1426100"/>
              <a:gd name="connsiteX2488" fmla="*/ 666810 w 1429540"/>
              <a:gd name="connsiteY2488" fmla="*/ 499708 h 1426100"/>
              <a:gd name="connsiteX2489" fmla="*/ 666810 w 1429540"/>
              <a:gd name="connsiteY2489" fmla="*/ 497426 h 1426100"/>
              <a:gd name="connsiteX2490" fmla="*/ 666810 w 1429540"/>
              <a:gd name="connsiteY2490" fmla="*/ 495144 h 1426100"/>
              <a:gd name="connsiteX2491" fmla="*/ 669094 w 1429540"/>
              <a:gd name="connsiteY2491" fmla="*/ 495144 h 1426100"/>
              <a:gd name="connsiteX2492" fmla="*/ 666810 w 1429540"/>
              <a:gd name="connsiteY2492" fmla="*/ 495144 h 1426100"/>
              <a:gd name="connsiteX2493" fmla="*/ 666810 w 1429540"/>
              <a:gd name="connsiteY2493" fmla="*/ 492862 h 1426100"/>
              <a:gd name="connsiteX2494" fmla="*/ 666810 w 1429540"/>
              <a:gd name="connsiteY2494" fmla="*/ 488298 h 1426100"/>
              <a:gd name="connsiteX2495" fmla="*/ 666810 w 1429540"/>
              <a:gd name="connsiteY2495" fmla="*/ 486016 h 1426100"/>
              <a:gd name="connsiteX2496" fmla="*/ 666810 w 1429540"/>
              <a:gd name="connsiteY2496" fmla="*/ 483734 h 1426100"/>
              <a:gd name="connsiteX2497" fmla="*/ 666810 w 1429540"/>
              <a:gd name="connsiteY2497" fmla="*/ 481452 h 1426100"/>
              <a:gd name="connsiteX2498" fmla="*/ 666810 w 1429540"/>
              <a:gd name="connsiteY2498" fmla="*/ 479171 h 1426100"/>
              <a:gd name="connsiteX2499" fmla="*/ 666810 w 1429540"/>
              <a:gd name="connsiteY2499" fmla="*/ 476889 h 1426100"/>
              <a:gd name="connsiteX2500" fmla="*/ 666810 w 1429540"/>
              <a:gd name="connsiteY2500" fmla="*/ 474607 h 1426100"/>
              <a:gd name="connsiteX2501" fmla="*/ 666810 w 1429540"/>
              <a:gd name="connsiteY2501" fmla="*/ 472325 h 1426100"/>
              <a:gd name="connsiteX2502" fmla="*/ 666810 w 1429540"/>
              <a:gd name="connsiteY2502" fmla="*/ 467761 h 1426100"/>
              <a:gd name="connsiteX2503" fmla="*/ 666810 w 1429540"/>
              <a:gd name="connsiteY2503" fmla="*/ 465479 h 1426100"/>
              <a:gd name="connsiteX2504" fmla="*/ 666810 w 1429540"/>
              <a:gd name="connsiteY2504" fmla="*/ 463197 h 1426100"/>
              <a:gd name="connsiteX2505" fmla="*/ 666810 w 1429540"/>
              <a:gd name="connsiteY2505" fmla="*/ 460915 h 1426100"/>
              <a:gd name="connsiteX2506" fmla="*/ 666810 w 1429540"/>
              <a:gd name="connsiteY2506" fmla="*/ 458634 h 1426100"/>
              <a:gd name="connsiteX2507" fmla="*/ 664526 w 1429540"/>
              <a:gd name="connsiteY2507" fmla="*/ 456352 h 1426100"/>
              <a:gd name="connsiteX2508" fmla="*/ 664526 w 1429540"/>
              <a:gd name="connsiteY2508" fmla="*/ 454070 h 1426100"/>
              <a:gd name="connsiteX2509" fmla="*/ 662243 w 1429540"/>
              <a:gd name="connsiteY2509" fmla="*/ 451788 h 1426100"/>
              <a:gd name="connsiteX2510" fmla="*/ 662243 w 1429540"/>
              <a:gd name="connsiteY2510" fmla="*/ 449506 h 1426100"/>
              <a:gd name="connsiteX2511" fmla="*/ 657675 w 1429540"/>
              <a:gd name="connsiteY2511" fmla="*/ 438096 h 1426100"/>
              <a:gd name="connsiteX2512" fmla="*/ 664526 w 1429540"/>
              <a:gd name="connsiteY2512" fmla="*/ 435814 h 1426100"/>
              <a:gd name="connsiteX2513" fmla="*/ 675945 w 1429540"/>
              <a:gd name="connsiteY2513" fmla="*/ 433533 h 1426100"/>
              <a:gd name="connsiteX2514" fmla="*/ 675945 w 1429540"/>
              <a:gd name="connsiteY2514" fmla="*/ 426687 h 1426100"/>
              <a:gd name="connsiteX2515" fmla="*/ 685079 w 1429540"/>
              <a:gd name="connsiteY2515" fmla="*/ 433533 h 1426100"/>
              <a:gd name="connsiteX2516" fmla="*/ 687362 w 1429540"/>
              <a:gd name="connsiteY2516" fmla="*/ 433533 h 1426100"/>
              <a:gd name="connsiteX2517" fmla="*/ 694213 w 1429540"/>
              <a:gd name="connsiteY2517" fmla="*/ 440378 h 1426100"/>
              <a:gd name="connsiteX2518" fmla="*/ 698780 w 1429540"/>
              <a:gd name="connsiteY2518" fmla="*/ 444942 h 1426100"/>
              <a:gd name="connsiteX2519" fmla="*/ 698780 w 1429540"/>
              <a:gd name="connsiteY2519" fmla="*/ 451788 h 1426100"/>
              <a:gd name="connsiteX2520" fmla="*/ 710198 w 1429540"/>
              <a:gd name="connsiteY2520" fmla="*/ 449506 h 1426100"/>
              <a:gd name="connsiteX2521" fmla="*/ 717049 w 1429540"/>
              <a:gd name="connsiteY2521" fmla="*/ 451788 h 1426100"/>
              <a:gd name="connsiteX2522" fmla="*/ 719333 w 1429540"/>
              <a:gd name="connsiteY2522" fmla="*/ 444942 h 1426100"/>
              <a:gd name="connsiteX2523" fmla="*/ 719333 w 1429540"/>
              <a:gd name="connsiteY2523" fmla="*/ 442660 h 1426100"/>
              <a:gd name="connsiteX2524" fmla="*/ 719333 w 1429540"/>
              <a:gd name="connsiteY2524" fmla="*/ 440378 h 1426100"/>
              <a:gd name="connsiteX2525" fmla="*/ 719333 w 1429540"/>
              <a:gd name="connsiteY2525" fmla="*/ 438096 h 1426100"/>
              <a:gd name="connsiteX2526" fmla="*/ 719333 w 1429540"/>
              <a:gd name="connsiteY2526" fmla="*/ 422123 h 1426100"/>
              <a:gd name="connsiteX2527" fmla="*/ 721616 w 1429540"/>
              <a:gd name="connsiteY2527" fmla="*/ 415277 h 1426100"/>
              <a:gd name="connsiteX2528" fmla="*/ 723900 w 1429540"/>
              <a:gd name="connsiteY2528" fmla="*/ 412996 h 1426100"/>
              <a:gd name="connsiteX2529" fmla="*/ 730751 w 1429540"/>
              <a:gd name="connsiteY2529" fmla="*/ 412996 h 1426100"/>
              <a:gd name="connsiteX2530" fmla="*/ 739885 w 1429540"/>
              <a:gd name="connsiteY2530" fmla="*/ 415277 h 1426100"/>
              <a:gd name="connsiteX2531" fmla="*/ 739885 w 1429540"/>
              <a:gd name="connsiteY2531" fmla="*/ 412996 h 1426100"/>
              <a:gd name="connsiteX2532" fmla="*/ 737602 w 1429540"/>
              <a:gd name="connsiteY2532" fmla="*/ 410714 h 1426100"/>
              <a:gd name="connsiteX2533" fmla="*/ 733034 w 1429540"/>
              <a:gd name="connsiteY2533" fmla="*/ 403868 h 1426100"/>
              <a:gd name="connsiteX2534" fmla="*/ 733034 w 1429540"/>
              <a:gd name="connsiteY2534" fmla="*/ 401586 h 1426100"/>
              <a:gd name="connsiteX2535" fmla="*/ 733034 w 1429540"/>
              <a:gd name="connsiteY2535" fmla="*/ 399304 h 1426100"/>
              <a:gd name="connsiteX2536" fmla="*/ 733034 w 1429540"/>
              <a:gd name="connsiteY2536" fmla="*/ 397022 h 1426100"/>
              <a:gd name="connsiteX2537" fmla="*/ 730751 w 1429540"/>
              <a:gd name="connsiteY2537" fmla="*/ 397022 h 1426100"/>
              <a:gd name="connsiteX2538" fmla="*/ 730751 w 1429540"/>
              <a:gd name="connsiteY2538" fmla="*/ 390177 h 1426100"/>
              <a:gd name="connsiteX2539" fmla="*/ 730751 w 1429540"/>
              <a:gd name="connsiteY2539" fmla="*/ 387895 h 1426100"/>
              <a:gd name="connsiteX2540" fmla="*/ 730751 w 1429540"/>
              <a:gd name="connsiteY2540" fmla="*/ 385613 h 1426100"/>
              <a:gd name="connsiteX2541" fmla="*/ 730751 w 1429540"/>
              <a:gd name="connsiteY2541" fmla="*/ 381059 h 1426100"/>
              <a:gd name="connsiteX2542" fmla="*/ 730751 w 1429540"/>
              <a:gd name="connsiteY2542" fmla="*/ 378777 h 1426100"/>
              <a:gd name="connsiteX2543" fmla="*/ 733034 w 1429540"/>
              <a:gd name="connsiteY2543" fmla="*/ 374213 h 1426100"/>
              <a:gd name="connsiteX2544" fmla="*/ 733034 w 1429540"/>
              <a:gd name="connsiteY2544" fmla="*/ 371931 h 1426100"/>
              <a:gd name="connsiteX2545" fmla="*/ 733034 w 1429540"/>
              <a:gd name="connsiteY2545" fmla="*/ 369649 h 1426100"/>
              <a:gd name="connsiteX2546" fmla="*/ 735318 w 1429540"/>
              <a:gd name="connsiteY2546" fmla="*/ 355958 h 1426100"/>
              <a:gd name="connsiteX2547" fmla="*/ 737602 w 1429540"/>
              <a:gd name="connsiteY2547" fmla="*/ 351394 h 1426100"/>
              <a:gd name="connsiteX2548" fmla="*/ 737602 w 1429540"/>
              <a:gd name="connsiteY2548" fmla="*/ 349112 h 1426100"/>
              <a:gd name="connsiteX2549" fmla="*/ 737602 w 1429540"/>
              <a:gd name="connsiteY2549" fmla="*/ 342266 h 1426100"/>
              <a:gd name="connsiteX2550" fmla="*/ 739885 w 1429540"/>
              <a:gd name="connsiteY2550" fmla="*/ 342266 h 1426100"/>
              <a:gd name="connsiteX2551" fmla="*/ 749020 w 1429540"/>
              <a:gd name="connsiteY2551" fmla="*/ 344548 h 1426100"/>
              <a:gd name="connsiteX2552" fmla="*/ 751303 w 1429540"/>
              <a:gd name="connsiteY2552" fmla="*/ 344548 h 1426100"/>
              <a:gd name="connsiteX2553" fmla="*/ 758154 w 1429540"/>
              <a:gd name="connsiteY2553" fmla="*/ 344548 h 1426100"/>
              <a:gd name="connsiteX2554" fmla="*/ 771855 w 1429540"/>
              <a:gd name="connsiteY2554" fmla="*/ 346830 h 1426100"/>
              <a:gd name="connsiteX2555" fmla="*/ 774139 w 1429540"/>
              <a:gd name="connsiteY2555" fmla="*/ 346830 h 1426100"/>
              <a:gd name="connsiteX2556" fmla="*/ 778706 w 1429540"/>
              <a:gd name="connsiteY2556" fmla="*/ 346830 h 1426100"/>
              <a:gd name="connsiteX2557" fmla="*/ 780999 w 1429540"/>
              <a:gd name="connsiteY2557" fmla="*/ 353676 h 1426100"/>
              <a:gd name="connsiteX2558" fmla="*/ 780999 w 1429540"/>
              <a:gd name="connsiteY2558" fmla="*/ 355958 h 1426100"/>
              <a:gd name="connsiteX2559" fmla="*/ 780999 w 1429540"/>
              <a:gd name="connsiteY2559" fmla="*/ 353676 h 1426100"/>
              <a:gd name="connsiteX2560" fmla="*/ 783283 w 1429540"/>
              <a:gd name="connsiteY2560" fmla="*/ 353676 h 1426100"/>
              <a:gd name="connsiteX2561" fmla="*/ 783283 w 1429540"/>
              <a:gd name="connsiteY2561" fmla="*/ 351394 h 1426100"/>
              <a:gd name="connsiteX2562" fmla="*/ 780999 w 1429540"/>
              <a:gd name="connsiteY2562" fmla="*/ 351394 h 1426100"/>
              <a:gd name="connsiteX2563" fmla="*/ 783283 w 1429540"/>
              <a:gd name="connsiteY2563" fmla="*/ 351394 h 1426100"/>
              <a:gd name="connsiteX2564" fmla="*/ 783283 w 1429540"/>
              <a:gd name="connsiteY2564" fmla="*/ 349112 h 1426100"/>
              <a:gd name="connsiteX2565" fmla="*/ 785557 w 1429540"/>
              <a:gd name="connsiteY2565" fmla="*/ 351394 h 1426100"/>
              <a:gd name="connsiteX2566" fmla="*/ 799268 w 1429540"/>
              <a:gd name="connsiteY2566" fmla="*/ 355958 h 1426100"/>
              <a:gd name="connsiteX2567" fmla="*/ 799268 w 1429540"/>
              <a:gd name="connsiteY2567" fmla="*/ 353676 h 1426100"/>
              <a:gd name="connsiteX2568" fmla="*/ 799268 w 1429540"/>
              <a:gd name="connsiteY2568" fmla="*/ 351394 h 1426100"/>
              <a:gd name="connsiteX2569" fmla="*/ 799268 w 1429540"/>
              <a:gd name="connsiteY2569" fmla="*/ 346830 h 1426100"/>
              <a:gd name="connsiteX2570" fmla="*/ 799268 w 1429540"/>
              <a:gd name="connsiteY2570" fmla="*/ 344548 h 1426100"/>
              <a:gd name="connsiteX2571" fmla="*/ 799268 w 1429540"/>
              <a:gd name="connsiteY2571" fmla="*/ 339984 h 1426100"/>
              <a:gd name="connsiteX2572" fmla="*/ 803835 w 1429540"/>
              <a:gd name="connsiteY2572" fmla="*/ 344548 h 1426100"/>
              <a:gd name="connsiteX2573" fmla="*/ 806110 w 1429540"/>
              <a:gd name="connsiteY2573" fmla="*/ 344548 h 1426100"/>
              <a:gd name="connsiteX2574" fmla="*/ 815253 w 1429540"/>
              <a:gd name="connsiteY2574" fmla="*/ 349112 h 1426100"/>
              <a:gd name="connsiteX2575" fmla="*/ 815253 w 1429540"/>
              <a:gd name="connsiteY2575" fmla="*/ 351394 h 1426100"/>
              <a:gd name="connsiteX2576" fmla="*/ 815253 w 1429540"/>
              <a:gd name="connsiteY2576" fmla="*/ 349112 h 1426100"/>
              <a:gd name="connsiteX2577" fmla="*/ 815253 w 1429540"/>
              <a:gd name="connsiteY2577" fmla="*/ 346830 h 1426100"/>
              <a:gd name="connsiteX2578" fmla="*/ 812970 w 1429540"/>
              <a:gd name="connsiteY2578" fmla="*/ 346830 h 1426100"/>
              <a:gd name="connsiteX2579" fmla="*/ 812970 w 1429540"/>
              <a:gd name="connsiteY2579" fmla="*/ 344548 h 1426100"/>
              <a:gd name="connsiteX2580" fmla="*/ 812970 w 1429540"/>
              <a:gd name="connsiteY2580" fmla="*/ 342266 h 1426100"/>
              <a:gd name="connsiteX2581" fmla="*/ 826671 w 1429540"/>
              <a:gd name="connsiteY2581" fmla="*/ 344548 h 1426100"/>
              <a:gd name="connsiteX2582" fmla="*/ 831238 w 1429540"/>
              <a:gd name="connsiteY2582" fmla="*/ 346830 h 1426100"/>
              <a:gd name="connsiteX2583" fmla="*/ 831238 w 1429540"/>
              <a:gd name="connsiteY2583" fmla="*/ 351394 h 1426100"/>
              <a:gd name="connsiteX2584" fmla="*/ 833522 w 1429540"/>
              <a:gd name="connsiteY2584" fmla="*/ 355958 h 1426100"/>
              <a:gd name="connsiteX2585" fmla="*/ 833522 w 1429540"/>
              <a:gd name="connsiteY2585" fmla="*/ 360521 h 1426100"/>
              <a:gd name="connsiteX2586" fmla="*/ 835806 w 1429540"/>
              <a:gd name="connsiteY2586" fmla="*/ 367367 h 1426100"/>
              <a:gd name="connsiteX2587" fmla="*/ 838089 w 1429540"/>
              <a:gd name="connsiteY2587" fmla="*/ 371931 h 1426100"/>
              <a:gd name="connsiteX2588" fmla="*/ 840373 w 1429540"/>
              <a:gd name="connsiteY2588" fmla="*/ 371931 h 1426100"/>
              <a:gd name="connsiteX2589" fmla="*/ 840373 w 1429540"/>
              <a:gd name="connsiteY2589" fmla="*/ 374213 h 1426100"/>
              <a:gd name="connsiteX2590" fmla="*/ 842657 w 1429540"/>
              <a:gd name="connsiteY2590" fmla="*/ 376495 h 1426100"/>
              <a:gd name="connsiteX2591" fmla="*/ 847224 w 1429540"/>
              <a:gd name="connsiteY2591" fmla="*/ 381059 h 1426100"/>
              <a:gd name="connsiteX2592" fmla="*/ 849507 w 1429540"/>
              <a:gd name="connsiteY2592" fmla="*/ 383331 h 1426100"/>
              <a:gd name="connsiteX2593" fmla="*/ 851791 w 1429540"/>
              <a:gd name="connsiteY2593" fmla="*/ 385613 h 1426100"/>
              <a:gd name="connsiteX2594" fmla="*/ 851791 w 1429540"/>
              <a:gd name="connsiteY2594" fmla="*/ 381059 h 1426100"/>
              <a:gd name="connsiteX2595" fmla="*/ 851791 w 1429540"/>
              <a:gd name="connsiteY2595" fmla="*/ 378777 h 1426100"/>
              <a:gd name="connsiteX2596" fmla="*/ 851791 w 1429540"/>
              <a:gd name="connsiteY2596" fmla="*/ 374213 h 1426100"/>
              <a:gd name="connsiteX2597" fmla="*/ 851791 w 1429540"/>
              <a:gd name="connsiteY2597" fmla="*/ 371931 h 1426100"/>
              <a:gd name="connsiteX2598" fmla="*/ 851791 w 1429540"/>
              <a:gd name="connsiteY2598" fmla="*/ 369649 h 1426100"/>
              <a:gd name="connsiteX2599" fmla="*/ 854075 w 1429540"/>
              <a:gd name="connsiteY2599" fmla="*/ 369649 h 1426100"/>
              <a:gd name="connsiteX2600" fmla="*/ 856358 w 1429540"/>
              <a:gd name="connsiteY2600" fmla="*/ 367367 h 1426100"/>
              <a:gd name="connsiteX2601" fmla="*/ 858642 w 1429540"/>
              <a:gd name="connsiteY2601" fmla="*/ 367367 h 1426100"/>
              <a:gd name="connsiteX2602" fmla="*/ 860925 w 1429540"/>
              <a:gd name="connsiteY2602" fmla="*/ 367367 h 1426100"/>
              <a:gd name="connsiteX2603" fmla="*/ 865492 w 1429540"/>
              <a:gd name="connsiteY2603" fmla="*/ 365085 h 1426100"/>
              <a:gd name="connsiteX2604" fmla="*/ 870060 w 1429540"/>
              <a:gd name="connsiteY2604" fmla="*/ 365085 h 1426100"/>
              <a:gd name="connsiteX2605" fmla="*/ 872343 w 1429540"/>
              <a:gd name="connsiteY2605" fmla="*/ 362803 h 1426100"/>
              <a:gd name="connsiteX2606" fmla="*/ 876910 w 1429540"/>
              <a:gd name="connsiteY2606" fmla="*/ 362803 h 1426100"/>
              <a:gd name="connsiteX2607" fmla="*/ 879194 w 1429540"/>
              <a:gd name="connsiteY2607" fmla="*/ 365085 h 1426100"/>
              <a:gd name="connsiteX2608" fmla="*/ 881477 w 1429540"/>
              <a:gd name="connsiteY2608" fmla="*/ 369649 h 1426100"/>
              <a:gd name="connsiteX2609" fmla="*/ 883761 w 1429540"/>
              <a:gd name="connsiteY2609" fmla="*/ 371931 h 1426100"/>
              <a:gd name="connsiteX2610" fmla="*/ 883761 w 1429540"/>
              <a:gd name="connsiteY2610" fmla="*/ 365085 h 1426100"/>
              <a:gd name="connsiteX2611" fmla="*/ 883761 w 1429540"/>
              <a:gd name="connsiteY2611" fmla="*/ 358240 h 1426100"/>
              <a:gd name="connsiteX2612" fmla="*/ 888328 w 1429540"/>
              <a:gd name="connsiteY2612" fmla="*/ 355958 h 1426100"/>
              <a:gd name="connsiteX2613" fmla="*/ 890612 w 1429540"/>
              <a:gd name="connsiteY2613" fmla="*/ 353676 h 1426100"/>
              <a:gd name="connsiteX2614" fmla="*/ 892895 w 1429540"/>
              <a:gd name="connsiteY2614" fmla="*/ 353676 h 1426100"/>
              <a:gd name="connsiteX2615" fmla="*/ 895179 w 1429540"/>
              <a:gd name="connsiteY2615" fmla="*/ 353676 h 1426100"/>
              <a:gd name="connsiteX2616" fmla="*/ 895179 w 1429540"/>
              <a:gd name="connsiteY2616" fmla="*/ 351394 h 1426100"/>
              <a:gd name="connsiteX2617" fmla="*/ 895179 w 1429540"/>
              <a:gd name="connsiteY2617" fmla="*/ 349112 h 1426100"/>
              <a:gd name="connsiteX2618" fmla="*/ 897463 w 1429540"/>
              <a:gd name="connsiteY2618" fmla="*/ 346830 h 1426100"/>
              <a:gd name="connsiteX2619" fmla="*/ 899746 w 1429540"/>
              <a:gd name="connsiteY2619" fmla="*/ 342266 h 1426100"/>
              <a:gd name="connsiteX2620" fmla="*/ 904314 w 1429540"/>
              <a:gd name="connsiteY2620" fmla="*/ 344548 h 1426100"/>
              <a:gd name="connsiteX2621" fmla="*/ 913448 w 1429540"/>
              <a:gd name="connsiteY2621" fmla="*/ 328575 h 1426100"/>
              <a:gd name="connsiteX2622" fmla="*/ 915732 w 1429540"/>
              <a:gd name="connsiteY2622" fmla="*/ 312602 h 1426100"/>
              <a:gd name="connsiteX2623" fmla="*/ 911165 w 1429540"/>
              <a:gd name="connsiteY2623" fmla="*/ 310320 h 1426100"/>
              <a:gd name="connsiteX2624" fmla="*/ 904314 w 1429540"/>
              <a:gd name="connsiteY2624" fmla="*/ 305756 h 1426100"/>
              <a:gd name="connsiteX2625" fmla="*/ 906597 w 1429540"/>
              <a:gd name="connsiteY2625" fmla="*/ 303474 h 1426100"/>
              <a:gd name="connsiteX2626" fmla="*/ 906597 w 1429540"/>
              <a:gd name="connsiteY2626" fmla="*/ 296628 h 1426100"/>
              <a:gd name="connsiteX2627" fmla="*/ 922582 w 1429540"/>
              <a:gd name="connsiteY2627" fmla="*/ 296628 h 1426100"/>
              <a:gd name="connsiteX2628" fmla="*/ 924866 w 1429540"/>
              <a:gd name="connsiteY2628" fmla="*/ 296628 h 1426100"/>
              <a:gd name="connsiteX2629" fmla="*/ 936284 w 1429540"/>
              <a:gd name="connsiteY2629" fmla="*/ 287501 h 1426100"/>
              <a:gd name="connsiteX2630" fmla="*/ 938567 w 1429540"/>
              <a:gd name="connsiteY2630" fmla="*/ 285219 h 1426100"/>
              <a:gd name="connsiteX2631" fmla="*/ 936284 w 1429540"/>
              <a:gd name="connsiteY2631" fmla="*/ 278373 h 1426100"/>
              <a:gd name="connsiteX2632" fmla="*/ 934000 w 1429540"/>
              <a:gd name="connsiteY2632" fmla="*/ 269246 h 1426100"/>
              <a:gd name="connsiteX2633" fmla="*/ 931717 w 1429540"/>
              <a:gd name="connsiteY2633" fmla="*/ 262400 h 1426100"/>
              <a:gd name="connsiteX2634" fmla="*/ 929433 w 1429540"/>
              <a:gd name="connsiteY2634" fmla="*/ 260118 h 1426100"/>
              <a:gd name="connsiteX2635" fmla="*/ 924866 w 1429540"/>
              <a:gd name="connsiteY2635" fmla="*/ 253272 h 1426100"/>
              <a:gd name="connsiteX2636" fmla="*/ 924866 w 1429540"/>
              <a:gd name="connsiteY2636" fmla="*/ 250990 h 1426100"/>
              <a:gd name="connsiteX2637" fmla="*/ 931717 w 1429540"/>
              <a:gd name="connsiteY2637" fmla="*/ 237299 h 1426100"/>
              <a:gd name="connsiteX2638" fmla="*/ 940851 w 1429540"/>
              <a:gd name="connsiteY2638" fmla="*/ 244145 h 1426100"/>
              <a:gd name="connsiteX2639" fmla="*/ 943135 w 1429540"/>
              <a:gd name="connsiteY2639" fmla="*/ 246427 h 1426100"/>
              <a:gd name="connsiteX2640" fmla="*/ 943135 w 1429540"/>
              <a:gd name="connsiteY2640" fmla="*/ 244145 h 1426100"/>
              <a:gd name="connsiteX2641" fmla="*/ 943135 w 1429540"/>
              <a:gd name="connsiteY2641" fmla="*/ 241863 h 1426100"/>
              <a:gd name="connsiteX2642" fmla="*/ 943135 w 1429540"/>
              <a:gd name="connsiteY2642" fmla="*/ 230453 h 1426100"/>
              <a:gd name="connsiteX2643" fmla="*/ 945418 w 1429540"/>
              <a:gd name="connsiteY2643" fmla="*/ 221335 h 1426100"/>
              <a:gd name="connsiteX2644" fmla="*/ 945418 w 1429540"/>
              <a:gd name="connsiteY2644" fmla="*/ 205362 h 1426100"/>
              <a:gd name="connsiteX2645" fmla="*/ 945418 w 1429540"/>
              <a:gd name="connsiteY2645" fmla="*/ 200798 h 1426100"/>
              <a:gd name="connsiteX2646" fmla="*/ 954553 w 1429540"/>
              <a:gd name="connsiteY2646" fmla="*/ 184825 h 1426100"/>
              <a:gd name="connsiteX2647" fmla="*/ 961403 w 1429540"/>
              <a:gd name="connsiteY2647" fmla="*/ 189389 h 1426100"/>
              <a:gd name="connsiteX2648" fmla="*/ 961403 w 1429540"/>
              <a:gd name="connsiteY2648" fmla="*/ 191671 h 1426100"/>
              <a:gd name="connsiteX2649" fmla="*/ 963687 w 1429540"/>
              <a:gd name="connsiteY2649" fmla="*/ 193953 h 1426100"/>
              <a:gd name="connsiteX2650" fmla="*/ 965970 w 1429540"/>
              <a:gd name="connsiteY2650" fmla="*/ 196234 h 1426100"/>
              <a:gd name="connsiteX2651" fmla="*/ 970538 w 1429540"/>
              <a:gd name="connsiteY2651" fmla="*/ 200798 h 1426100"/>
              <a:gd name="connsiteX2652" fmla="*/ 970538 w 1429540"/>
              <a:gd name="connsiteY2652" fmla="*/ 203080 h 1426100"/>
              <a:gd name="connsiteX2653" fmla="*/ 977389 w 1429540"/>
              <a:gd name="connsiteY2653" fmla="*/ 205362 h 1426100"/>
              <a:gd name="connsiteX2654" fmla="*/ 979672 w 1429540"/>
              <a:gd name="connsiteY2654" fmla="*/ 207644 h 1426100"/>
              <a:gd name="connsiteX2655" fmla="*/ 981956 w 1429540"/>
              <a:gd name="connsiteY2655" fmla="*/ 207644 h 1426100"/>
              <a:gd name="connsiteX2656" fmla="*/ 995657 w 1429540"/>
              <a:gd name="connsiteY2656" fmla="*/ 216772 h 1426100"/>
              <a:gd name="connsiteX2657" fmla="*/ 997941 w 1429540"/>
              <a:gd name="connsiteY2657" fmla="*/ 219053 h 1426100"/>
              <a:gd name="connsiteX2658" fmla="*/ 997941 w 1429540"/>
              <a:gd name="connsiteY2658" fmla="*/ 216772 h 1426100"/>
              <a:gd name="connsiteX2659" fmla="*/ 1000225 w 1429540"/>
              <a:gd name="connsiteY2659" fmla="*/ 216772 h 1426100"/>
              <a:gd name="connsiteX2660" fmla="*/ 1002508 w 1429540"/>
              <a:gd name="connsiteY2660" fmla="*/ 216772 h 1426100"/>
              <a:gd name="connsiteX2661" fmla="*/ 1004792 w 1429540"/>
              <a:gd name="connsiteY2661" fmla="*/ 216772 h 1426100"/>
              <a:gd name="connsiteX2662" fmla="*/ 1004792 w 1429540"/>
              <a:gd name="connsiteY2662" fmla="*/ 214490 h 1426100"/>
              <a:gd name="connsiteX2663" fmla="*/ 1007075 w 1429540"/>
              <a:gd name="connsiteY2663" fmla="*/ 214490 h 1426100"/>
              <a:gd name="connsiteX2664" fmla="*/ 1009359 w 1429540"/>
              <a:gd name="connsiteY2664" fmla="*/ 214490 h 1426100"/>
              <a:gd name="connsiteX2665" fmla="*/ 1011643 w 1429540"/>
              <a:gd name="connsiteY2665" fmla="*/ 214490 h 1426100"/>
              <a:gd name="connsiteX2666" fmla="*/ 1011643 w 1429540"/>
              <a:gd name="connsiteY2666" fmla="*/ 212208 h 1426100"/>
              <a:gd name="connsiteX2667" fmla="*/ 1013926 w 1429540"/>
              <a:gd name="connsiteY2667" fmla="*/ 212208 h 1426100"/>
              <a:gd name="connsiteX2668" fmla="*/ 1020777 w 1429540"/>
              <a:gd name="connsiteY2668" fmla="*/ 212208 h 1426100"/>
              <a:gd name="connsiteX2669" fmla="*/ 1023060 w 1429540"/>
              <a:gd name="connsiteY2669" fmla="*/ 212208 h 1426100"/>
              <a:gd name="connsiteX2670" fmla="*/ 1025344 w 1429540"/>
              <a:gd name="connsiteY2670" fmla="*/ 212208 h 1426100"/>
              <a:gd name="connsiteX2671" fmla="*/ 1027628 w 1429540"/>
              <a:gd name="connsiteY2671" fmla="*/ 212208 h 1426100"/>
              <a:gd name="connsiteX2672" fmla="*/ 1027628 w 1429540"/>
              <a:gd name="connsiteY2672" fmla="*/ 214490 h 1426100"/>
              <a:gd name="connsiteX2673" fmla="*/ 1027628 w 1429540"/>
              <a:gd name="connsiteY2673" fmla="*/ 216772 h 1426100"/>
              <a:gd name="connsiteX2674" fmla="*/ 1027628 w 1429540"/>
              <a:gd name="connsiteY2674" fmla="*/ 219053 h 1426100"/>
              <a:gd name="connsiteX2675" fmla="*/ 1029911 w 1429540"/>
              <a:gd name="connsiteY2675" fmla="*/ 221335 h 1426100"/>
              <a:gd name="connsiteX2676" fmla="*/ 1029911 w 1429540"/>
              <a:gd name="connsiteY2676" fmla="*/ 223617 h 1426100"/>
              <a:gd name="connsiteX2677" fmla="*/ 1029911 w 1429540"/>
              <a:gd name="connsiteY2677" fmla="*/ 228181 h 1426100"/>
              <a:gd name="connsiteX2678" fmla="*/ 1029911 w 1429540"/>
              <a:gd name="connsiteY2678" fmla="*/ 232735 h 1426100"/>
              <a:gd name="connsiteX2679" fmla="*/ 1029911 w 1429540"/>
              <a:gd name="connsiteY2679" fmla="*/ 235017 h 1426100"/>
              <a:gd name="connsiteX2680" fmla="*/ 1029911 w 1429540"/>
              <a:gd name="connsiteY2680" fmla="*/ 237299 h 1426100"/>
              <a:gd name="connsiteX2681" fmla="*/ 1036762 w 1429540"/>
              <a:gd name="connsiteY2681" fmla="*/ 237299 h 1426100"/>
              <a:gd name="connsiteX2682" fmla="*/ 1039046 w 1429540"/>
              <a:gd name="connsiteY2682" fmla="*/ 237299 h 1426100"/>
              <a:gd name="connsiteX2683" fmla="*/ 1041330 w 1429540"/>
              <a:gd name="connsiteY2683" fmla="*/ 235017 h 1426100"/>
              <a:gd name="connsiteX2684" fmla="*/ 1045897 w 1429540"/>
              <a:gd name="connsiteY2684" fmla="*/ 235017 h 1426100"/>
              <a:gd name="connsiteX2685" fmla="*/ 1048180 w 1429540"/>
              <a:gd name="connsiteY2685" fmla="*/ 235017 h 1426100"/>
              <a:gd name="connsiteX2686" fmla="*/ 1055031 w 1429540"/>
              <a:gd name="connsiteY2686" fmla="*/ 235017 h 1426100"/>
              <a:gd name="connsiteX2687" fmla="*/ 1057315 w 1429540"/>
              <a:gd name="connsiteY2687" fmla="*/ 235017 h 1426100"/>
              <a:gd name="connsiteX2688" fmla="*/ 1059598 w 1429540"/>
              <a:gd name="connsiteY2688" fmla="*/ 235017 h 1426100"/>
              <a:gd name="connsiteX2689" fmla="*/ 1064165 w 1429540"/>
              <a:gd name="connsiteY2689" fmla="*/ 232735 h 1426100"/>
              <a:gd name="connsiteX2690" fmla="*/ 1068733 w 1429540"/>
              <a:gd name="connsiteY2690" fmla="*/ 232735 h 1426100"/>
              <a:gd name="connsiteX2691" fmla="*/ 1071016 w 1429540"/>
              <a:gd name="connsiteY2691" fmla="*/ 232735 h 1426100"/>
              <a:gd name="connsiteX2692" fmla="*/ 1073300 w 1429540"/>
              <a:gd name="connsiteY2692" fmla="*/ 232735 h 1426100"/>
              <a:gd name="connsiteX2693" fmla="*/ 1077867 w 1429540"/>
              <a:gd name="connsiteY2693" fmla="*/ 232735 h 1426100"/>
              <a:gd name="connsiteX2694" fmla="*/ 1080150 w 1429540"/>
              <a:gd name="connsiteY2694" fmla="*/ 232735 h 1426100"/>
              <a:gd name="connsiteX2695" fmla="*/ 1082434 w 1429540"/>
              <a:gd name="connsiteY2695" fmla="*/ 232735 h 1426100"/>
              <a:gd name="connsiteX2696" fmla="*/ 1084718 w 1429540"/>
              <a:gd name="connsiteY2696" fmla="*/ 232735 h 1426100"/>
              <a:gd name="connsiteX2697" fmla="*/ 1087001 w 1429540"/>
              <a:gd name="connsiteY2697" fmla="*/ 232735 h 1426100"/>
              <a:gd name="connsiteX2698" fmla="*/ 1089285 w 1429540"/>
              <a:gd name="connsiteY2698" fmla="*/ 232735 h 1426100"/>
              <a:gd name="connsiteX2699" fmla="*/ 1091568 w 1429540"/>
              <a:gd name="connsiteY2699" fmla="*/ 232735 h 1426100"/>
              <a:gd name="connsiteX2700" fmla="*/ 1093852 w 1429540"/>
              <a:gd name="connsiteY2700" fmla="*/ 232735 h 1426100"/>
              <a:gd name="connsiteX2701" fmla="*/ 1096136 w 1429540"/>
              <a:gd name="connsiteY2701" fmla="*/ 232735 h 1426100"/>
              <a:gd name="connsiteX2702" fmla="*/ 1096136 w 1429540"/>
              <a:gd name="connsiteY2702" fmla="*/ 230453 h 1426100"/>
              <a:gd name="connsiteX2703" fmla="*/ 1098419 w 1429540"/>
              <a:gd name="connsiteY2703" fmla="*/ 230453 h 1426100"/>
              <a:gd name="connsiteX2704" fmla="*/ 1100703 w 1429540"/>
              <a:gd name="connsiteY2704" fmla="*/ 230453 h 1426100"/>
              <a:gd name="connsiteX2705" fmla="*/ 1105270 w 1429540"/>
              <a:gd name="connsiteY2705" fmla="*/ 230453 h 1426100"/>
              <a:gd name="connsiteX2706" fmla="*/ 1107553 w 1429540"/>
              <a:gd name="connsiteY2706" fmla="*/ 230453 h 1426100"/>
              <a:gd name="connsiteX2707" fmla="*/ 1112121 w 1429540"/>
              <a:gd name="connsiteY2707" fmla="*/ 230453 h 1426100"/>
              <a:gd name="connsiteX2708" fmla="*/ 1114405 w 1429540"/>
              <a:gd name="connsiteY2708" fmla="*/ 230453 h 1426100"/>
              <a:gd name="connsiteX2709" fmla="*/ 1123539 w 1429540"/>
              <a:gd name="connsiteY2709" fmla="*/ 230453 h 1426100"/>
              <a:gd name="connsiteX2710" fmla="*/ 1130390 w 1429540"/>
              <a:gd name="connsiteY2710" fmla="*/ 230453 h 1426100"/>
              <a:gd name="connsiteX2711" fmla="*/ 1141808 w 1429540"/>
              <a:gd name="connsiteY2711" fmla="*/ 207644 h 1426100"/>
              <a:gd name="connsiteX2712" fmla="*/ 1141808 w 1429540"/>
              <a:gd name="connsiteY2712" fmla="*/ 205362 h 1426100"/>
              <a:gd name="connsiteX2713" fmla="*/ 1132673 w 1429540"/>
              <a:gd name="connsiteY2713" fmla="*/ 189389 h 1426100"/>
              <a:gd name="connsiteX2714" fmla="*/ 1128106 w 1429540"/>
              <a:gd name="connsiteY2714" fmla="*/ 187107 h 1426100"/>
              <a:gd name="connsiteX2715" fmla="*/ 1123539 w 1429540"/>
              <a:gd name="connsiteY2715" fmla="*/ 175697 h 1426100"/>
              <a:gd name="connsiteX2716" fmla="*/ 1107553 w 1429540"/>
              <a:gd name="connsiteY2716" fmla="*/ 180261 h 1426100"/>
              <a:gd name="connsiteX2717" fmla="*/ 1107553 w 1429540"/>
              <a:gd name="connsiteY2717" fmla="*/ 177979 h 1426100"/>
              <a:gd name="connsiteX2718" fmla="*/ 1107553 w 1429540"/>
              <a:gd name="connsiteY2718" fmla="*/ 175697 h 1426100"/>
              <a:gd name="connsiteX2719" fmla="*/ 1107553 w 1429540"/>
              <a:gd name="connsiteY2719" fmla="*/ 173416 h 1426100"/>
              <a:gd name="connsiteX2720" fmla="*/ 1107553 w 1429540"/>
              <a:gd name="connsiteY2720" fmla="*/ 171134 h 1426100"/>
              <a:gd name="connsiteX2721" fmla="*/ 1107553 w 1429540"/>
              <a:gd name="connsiteY2721" fmla="*/ 166569 h 1426100"/>
              <a:gd name="connsiteX2722" fmla="*/ 1107553 w 1429540"/>
              <a:gd name="connsiteY2722" fmla="*/ 164287 h 1426100"/>
              <a:gd name="connsiteX2723" fmla="*/ 1107553 w 1429540"/>
              <a:gd name="connsiteY2723" fmla="*/ 162005 h 1426100"/>
              <a:gd name="connsiteX2724" fmla="*/ 1107553 w 1429540"/>
              <a:gd name="connsiteY2724" fmla="*/ 159723 h 1426100"/>
              <a:gd name="connsiteX2725" fmla="*/ 1107553 w 1429540"/>
              <a:gd name="connsiteY2725" fmla="*/ 155159 h 1426100"/>
              <a:gd name="connsiteX2726" fmla="*/ 1109837 w 1429540"/>
              <a:gd name="connsiteY2726" fmla="*/ 155159 h 1426100"/>
              <a:gd name="connsiteX2727" fmla="*/ 1121255 w 1429540"/>
              <a:gd name="connsiteY2727" fmla="*/ 152878 h 1426100"/>
              <a:gd name="connsiteX2728" fmla="*/ 1139524 w 1429540"/>
              <a:gd name="connsiteY2728" fmla="*/ 150597 h 1426100"/>
              <a:gd name="connsiteX2729" fmla="*/ 1134957 w 1429540"/>
              <a:gd name="connsiteY2729" fmla="*/ 143751 h 1426100"/>
              <a:gd name="connsiteX2730" fmla="*/ 1130390 w 1429540"/>
              <a:gd name="connsiteY2730" fmla="*/ 136906 h 1426100"/>
              <a:gd name="connsiteX2731" fmla="*/ 1125823 w 1429540"/>
              <a:gd name="connsiteY2731" fmla="*/ 130060 h 1426100"/>
              <a:gd name="connsiteX2732" fmla="*/ 1123539 w 1429540"/>
              <a:gd name="connsiteY2732" fmla="*/ 125498 h 1426100"/>
              <a:gd name="connsiteX2733" fmla="*/ 1109837 w 1429540"/>
              <a:gd name="connsiteY2733" fmla="*/ 130060 h 1426100"/>
              <a:gd name="connsiteX2734" fmla="*/ 1105270 w 1429540"/>
              <a:gd name="connsiteY2734" fmla="*/ 130060 h 1426100"/>
              <a:gd name="connsiteX2735" fmla="*/ 1100703 w 1429540"/>
              <a:gd name="connsiteY2735" fmla="*/ 132342 h 1426100"/>
              <a:gd name="connsiteX2736" fmla="*/ 1087001 w 1429540"/>
              <a:gd name="connsiteY2736" fmla="*/ 132342 h 1426100"/>
              <a:gd name="connsiteX2737" fmla="*/ 1075583 w 1429540"/>
              <a:gd name="connsiteY2737" fmla="*/ 132342 h 1426100"/>
              <a:gd name="connsiteX2738" fmla="*/ 1068733 w 1429540"/>
              <a:gd name="connsiteY2738" fmla="*/ 132342 h 1426100"/>
              <a:gd name="connsiteX2739" fmla="*/ 1068733 w 1429540"/>
              <a:gd name="connsiteY2739" fmla="*/ 130060 h 1426100"/>
              <a:gd name="connsiteX2740" fmla="*/ 1068733 w 1429540"/>
              <a:gd name="connsiteY2740" fmla="*/ 127779 h 1426100"/>
              <a:gd name="connsiteX2741" fmla="*/ 1071016 w 1429540"/>
              <a:gd name="connsiteY2741" fmla="*/ 111806 h 1426100"/>
              <a:gd name="connsiteX2742" fmla="*/ 1071016 w 1429540"/>
              <a:gd name="connsiteY2742" fmla="*/ 107243 h 1426100"/>
              <a:gd name="connsiteX2743" fmla="*/ 1071016 w 1429540"/>
              <a:gd name="connsiteY2743" fmla="*/ 104961 h 1426100"/>
              <a:gd name="connsiteX2744" fmla="*/ 1071016 w 1429540"/>
              <a:gd name="connsiteY2744" fmla="*/ 102680 h 1426100"/>
              <a:gd name="connsiteX2745" fmla="*/ 1068733 w 1429540"/>
              <a:gd name="connsiteY2745" fmla="*/ 98116 h 1426100"/>
              <a:gd name="connsiteX2746" fmla="*/ 1068733 w 1429540"/>
              <a:gd name="connsiteY2746" fmla="*/ 95834 h 1426100"/>
              <a:gd name="connsiteX2747" fmla="*/ 1068733 w 1429540"/>
              <a:gd name="connsiteY2747" fmla="*/ 93552 h 1426100"/>
              <a:gd name="connsiteX2748" fmla="*/ 1068733 w 1429540"/>
              <a:gd name="connsiteY2748" fmla="*/ 75298 h 1426100"/>
              <a:gd name="connsiteX2749" fmla="*/ 1080150 w 1429540"/>
              <a:gd name="connsiteY2749" fmla="*/ 68453 h 1426100"/>
              <a:gd name="connsiteX2750" fmla="*/ 1089285 w 1429540"/>
              <a:gd name="connsiteY2750" fmla="*/ 61608 h 1426100"/>
              <a:gd name="connsiteX2751" fmla="*/ 1091568 w 1429540"/>
              <a:gd name="connsiteY2751" fmla="*/ 59326 h 1426100"/>
              <a:gd name="connsiteX2752" fmla="*/ 1087001 w 1429540"/>
              <a:gd name="connsiteY2752" fmla="*/ 50199 h 1426100"/>
              <a:gd name="connsiteX2753" fmla="*/ 1087001 w 1429540"/>
              <a:gd name="connsiteY2753" fmla="*/ 47917 h 1426100"/>
              <a:gd name="connsiteX2754" fmla="*/ 1093852 w 1429540"/>
              <a:gd name="connsiteY2754" fmla="*/ 47917 h 1426100"/>
              <a:gd name="connsiteX2755" fmla="*/ 1093852 w 1429540"/>
              <a:gd name="connsiteY2755" fmla="*/ 43354 h 1426100"/>
              <a:gd name="connsiteX2756" fmla="*/ 1096136 w 1429540"/>
              <a:gd name="connsiteY2756" fmla="*/ 41072 h 1426100"/>
              <a:gd name="connsiteX2757" fmla="*/ 1096136 w 1429540"/>
              <a:gd name="connsiteY2757" fmla="*/ 36508 h 1426100"/>
              <a:gd name="connsiteX2758" fmla="*/ 1093852 w 1429540"/>
              <a:gd name="connsiteY2758" fmla="*/ 36508 h 1426100"/>
              <a:gd name="connsiteX2759" fmla="*/ 1089285 w 1429540"/>
              <a:gd name="connsiteY2759" fmla="*/ 38790 h 1426100"/>
              <a:gd name="connsiteX2760" fmla="*/ 1082434 w 1429540"/>
              <a:gd name="connsiteY2760" fmla="*/ 38790 h 1426100"/>
              <a:gd name="connsiteX2761" fmla="*/ 1080150 w 1429540"/>
              <a:gd name="connsiteY2761" fmla="*/ 38790 h 1426100"/>
              <a:gd name="connsiteX2762" fmla="*/ 1077867 w 1429540"/>
              <a:gd name="connsiteY2762" fmla="*/ 36508 h 1426100"/>
              <a:gd name="connsiteX2763" fmla="*/ 1075583 w 1429540"/>
              <a:gd name="connsiteY2763" fmla="*/ 36508 h 1426100"/>
              <a:gd name="connsiteX2764" fmla="*/ 1075583 w 1429540"/>
              <a:gd name="connsiteY2764" fmla="*/ 34227 h 1426100"/>
              <a:gd name="connsiteX2765" fmla="*/ 1077867 w 1429540"/>
              <a:gd name="connsiteY2765" fmla="*/ 34227 h 1426100"/>
              <a:gd name="connsiteX2766" fmla="*/ 1077867 w 1429540"/>
              <a:gd name="connsiteY2766" fmla="*/ 31945 h 1426100"/>
              <a:gd name="connsiteX2767" fmla="*/ 1080150 w 1429540"/>
              <a:gd name="connsiteY2767" fmla="*/ 31945 h 1426100"/>
              <a:gd name="connsiteX2768" fmla="*/ 1082434 w 1429540"/>
              <a:gd name="connsiteY2768" fmla="*/ 31945 h 1426100"/>
              <a:gd name="connsiteX2769" fmla="*/ 1084718 w 1429540"/>
              <a:gd name="connsiteY2769" fmla="*/ 31945 h 1426100"/>
              <a:gd name="connsiteX2770" fmla="*/ 1084718 w 1429540"/>
              <a:gd name="connsiteY2770" fmla="*/ 29663 h 1426100"/>
              <a:gd name="connsiteX2771" fmla="*/ 1087001 w 1429540"/>
              <a:gd name="connsiteY2771" fmla="*/ 29663 h 1426100"/>
              <a:gd name="connsiteX2772" fmla="*/ 1089285 w 1429540"/>
              <a:gd name="connsiteY2772" fmla="*/ 29663 h 1426100"/>
              <a:gd name="connsiteX2773" fmla="*/ 1091568 w 1429540"/>
              <a:gd name="connsiteY2773" fmla="*/ 29663 h 1426100"/>
              <a:gd name="connsiteX2774" fmla="*/ 1091568 w 1429540"/>
              <a:gd name="connsiteY2774" fmla="*/ 27382 h 1426100"/>
              <a:gd name="connsiteX2775" fmla="*/ 1093852 w 1429540"/>
              <a:gd name="connsiteY2775" fmla="*/ 27382 h 1426100"/>
              <a:gd name="connsiteX2776" fmla="*/ 1096136 w 1429540"/>
              <a:gd name="connsiteY2776" fmla="*/ 27382 h 1426100"/>
              <a:gd name="connsiteX2777" fmla="*/ 1098419 w 1429540"/>
              <a:gd name="connsiteY2777" fmla="*/ 27382 h 1426100"/>
              <a:gd name="connsiteX2778" fmla="*/ 1098419 w 1429540"/>
              <a:gd name="connsiteY2778" fmla="*/ 29663 h 1426100"/>
              <a:gd name="connsiteX2779" fmla="*/ 1100703 w 1429540"/>
              <a:gd name="connsiteY2779" fmla="*/ 29663 h 1426100"/>
              <a:gd name="connsiteX2780" fmla="*/ 1102986 w 1429540"/>
              <a:gd name="connsiteY2780" fmla="*/ 29663 h 1426100"/>
              <a:gd name="connsiteX2781" fmla="*/ 1105270 w 1429540"/>
              <a:gd name="connsiteY2781" fmla="*/ 29663 h 1426100"/>
              <a:gd name="connsiteX2782" fmla="*/ 1107553 w 1429540"/>
              <a:gd name="connsiteY2782" fmla="*/ 29663 h 1426100"/>
              <a:gd name="connsiteX2783" fmla="*/ 1107553 w 1429540"/>
              <a:gd name="connsiteY2783" fmla="*/ 27382 h 1426100"/>
              <a:gd name="connsiteX2784" fmla="*/ 1109837 w 1429540"/>
              <a:gd name="connsiteY2784" fmla="*/ 27382 h 1426100"/>
              <a:gd name="connsiteX2785" fmla="*/ 1112121 w 1429540"/>
              <a:gd name="connsiteY2785" fmla="*/ 25100 h 1426100"/>
              <a:gd name="connsiteX2786" fmla="*/ 1114405 w 1429540"/>
              <a:gd name="connsiteY2786" fmla="*/ 25100 h 1426100"/>
              <a:gd name="connsiteX2787" fmla="*/ 1114405 w 1429540"/>
              <a:gd name="connsiteY2787" fmla="*/ 22818 h 1426100"/>
              <a:gd name="connsiteX2788" fmla="*/ 1116688 w 1429540"/>
              <a:gd name="connsiteY2788" fmla="*/ 22818 h 1426100"/>
              <a:gd name="connsiteX2789" fmla="*/ 1116688 w 1429540"/>
              <a:gd name="connsiteY2789" fmla="*/ 20536 h 1426100"/>
              <a:gd name="connsiteX2790" fmla="*/ 1114405 w 1429540"/>
              <a:gd name="connsiteY2790" fmla="*/ 20536 h 1426100"/>
              <a:gd name="connsiteX2791" fmla="*/ 1116688 w 1429540"/>
              <a:gd name="connsiteY2791" fmla="*/ 20536 h 1426100"/>
              <a:gd name="connsiteX2792" fmla="*/ 1116688 w 1429540"/>
              <a:gd name="connsiteY2792" fmla="*/ 18254 h 1426100"/>
              <a:gd name="connsiteX2793" fmla="*/ 1116688 w 1429540"/>
              <a:gd name="connsiteY2793" fmla="*/ 15972 h 1426100"/>
              <a:gd name="connsiteX2794" fmla="*/ 1118972 w 1429540"/>
              <a:gd name="connsiteY2794" fmla="*/ 15972 h 1426100"/>
              <a:gd name="connsiteX2795" fmla="*/ 1118972 w 1429540"/>
              <a:gd name="connsiteY2795" fmla="*/ 13691 h 1426100"/>
              <a:gd name="connsiteX2796" fmla="*/ 1121255 w 1429540"/>
              <a:gd name="connsiteY2796" fmla="*/ 13691 h 1426100"/>
              <a:gd name="connsiteX2797" fmla="*/ 1123539 w 1429540"/>
              <a:gd name="connsiteY2797" fmla="*/ 13691 h 1426100"/>
              <a:gd name="connsiteX2798" fmla="*/ 1125823 w 1429540"/>
              <a:gd name="connsiteY2798" fmla="*/ 13691 h 1426100"/>
              <a:gd name="connsiteX2799" fmla="*/ 1125823 w 1429540"/>
              <a:gd name="connsiteY2799" fmla="*/ 15972 h 1426100"/>
              <a:gd name="connsiteX2800" fmla="*/ 1128106 w 1429540"/>
              <a:gd name="connsiteY2800" fmla="*/ 15972 h 1426100"/>
              <a:gd name="connsiteX2801" fmla="*/ 1128106 w 1429540"/>
              <a:gd name="connsiteY2801" fmla="*/ 18254 h 1426100"/>
              <a:gd name="connsiteX2802" fmla="*/ 1130390 w 1429540"/>
              <a:gd name="connsiteY2802" fmla="*/ 18254 h 1426100"/>
              <a:gd name="connsiteX2803" fmla="*/ 1132673 w 1429540"/>
              <a:gd name="connsiteY2803" fmla="*/ 18254 h 1426100"/>
              <a:gd name="connsiteX2804" fmla="*/ 1134957 w 1429540"/>
              <a:gd name="connsiteY2804" fmla="*/ 20536 h 1426100"/>
              <a:gd name="connsiteX2805" fmla="*/ 1137240 w 1429540"/>
              <a:gd name="connsiteY2805" fmla="*/ 22818 h 1426100"/>
              <a:gd name="connsiteX2806" fmla="*/ 1139524 w 1429540"/>
              <a:gd name="connsiteY2806" fmla="*/ 25100 h 1426100"/>
              <a:gd name="connsiteX2807" fmla="*/ 1141808 w 1429540"/>
              <a:gd name="connsiteY2807" fmla="*/ 27382 h 1426100"/>
              <a:gd name="connsiteX2808" fmla="*/ 1141808 w 1429540"/>
              <a:gd name="connsiteY2808" fmla="*/ 29663 h 1426100"/>
              <a:gd name="connsiteX2809" fmla="*/ 1144091 w 1429540"/>
              <a:gd name="connsiteY2809" fmla="*/ 29663 h 1426100"/>
              <a:gd name="connsiteX2810" fmla="*/ 1144091 w 1429540"/>
              <a:gd name="connsiteY2810" fmla="*/ 31945 h 1426100"/>
              <a:gd name="connsiteX2811" fmla="*/ 1144091 w 1429540"/>
              <a:gd name="connsiteY2811" fmla="*/ 34227 h 1426100"/>
              <a:gd name="connsiteX2812" fmla="*/ 1144091 w 1429540"/>
              <a:gd name="connsiteY2812" fmla="*/ 38790 h 1426100"/>
              <a:gd name="connsiteX2813" fmla="*/ 1146375 w 1429540"/>
              <a:gd name="connsiteY2813" fmla="*/ 41072 h 1426100"/>
              <a:gd name="connsiteX2814" fmla="*/ 1146375 w 1429540"/>
              <a:gd name="connsiteY2814" fmla="*/ 43354 h 1426100"/>
              <a:gd name="connsiteX2815" fmla="*/ 1148658 w 1429540"/>
              <a:gd name="connsiteY2815" fmla="*/ 43354 h 1426100"/>
              <a:gd name="connsiteX2816" fmla="*/ 1150942 w 1429540"/>
              <a:gd name="connsiteY2816" fmla="*/ 43354 h 1426100"/>
              <a:gd name="connsiteX2817" fmla="*/ 1153226 w 1429540"/>
              <a:gd name="connsiteY2817" fmla="*/ 41072 h 1426100"/>
              <a:gd name="connsiteX2818" fmla="*/ 1155509 w 1429540"/>
              <a:gd name="connsiteY2818" fmla="*/ 41072 h 1426100"/>
              <a:gd name="connsiteX2819" fmla="*/ 1157793 w 1429540"/>
              <a:gd name="connsiteY2819" fmla="*/ 36508 h 1426100"/>
              <a:gd name="connsiteX2820" fmla="*/ 1160076 w 1429540"/>
              <a:gd name="connsiteY2820" fmla="*/ 34227 h 1426100"/>
              <a:gd name="connsiteX2821" fmla="*/ 1162360 w 1429540"/>
              <a:gd name="connsiteY2821" fmla="*/ 31945 h 1426100"/>
              <a:gd name="connsiteX2822" fmla="*/ 1164643 w 1429540"/>
              <a:gd name="connsiteY2822" fmla="*/ 31945 h 1426100"/>
              <a:gd name="connsiteX2823" fmla="*/ 1166927 w 1429540"/>
              <a:gd name="connsiteY2823" fmla="*/ 31945 h 1426100"/>
              <a:gd name="connsiteX2824" fmla="*/ 1166927 w 1429540"/>
              <a:gd name="connsiteY2824" fmla="*/ 34227 h 1426100"/>
              <a:gd name="connsiteX2825" fmla="*/ 1169211 w 1429540"/>
              <a:gd name="connsiteY2825" fmla="*/ 36508 h 1426100"/>
              <a:gd name="connsiteX2826" fmla="*/ 1171494 w 1429540"/>
              <a:gd name="connsiteY2826" fmla="*/ 36508 h 1426100"/>
              <a:gd name="connsiteX2827" fmla="*/ 1173778 w 1429540"/>
              <a:gd name="connsiteY2827" fmla="*/ 34227 h 1426100"/>
              <a:gd name="connsiteX2828" fmla="*/ 1176061 w 1429540"/>
              <a:gd name="connsiteY2828" fmla="*/ 34227 h 1426100"/>
              <a:gd name="connsiteX2829" fmla="*/ 1178345 w 1429540"/>
              <a:gd name="connsiteY2829" fmla="*/ 34227 h 1426100"/>
              <a:gd name="connsiteX2830" fmla="*/ 1180628 w 1429540"/>
              <a:gd name="connsiteY2830" fmla="*/ 34227 h 1426100"/>
              <a:gd name="connsiteX2831" fmla="*/ 1182913 w 1429540"/>
              <a:gd name="connsiteY2831" fmla="*/ 31945 h 1426100"/>
              <a:gd name="connsiteX2832" fmla="*/ 1187480 w 1429540"/>
              <a:gd name="connsiteY2832" fmla="*/ 31945 h 1426100"/>
              <a:gd name="connsiteX2833" fmla="*/ 1189763 w 1429540"/>
              <a:gd name="connsiteY2833" fmla="*/ 29663 h 1426100"/>
              <a:gd name="connsiteX2834" fmla="*/ 1192047 w 1429540"/>
              <a:gd name="connsiteY2834" fmla="*/ 27382 h 1426100"/>
              <a:gd name="connsiteX2835" fmla="*/ 1194330 w 1429540"/>
              <a:gd name="connsiteY2835" fmla="*/ 25100 h 1426100"/>
              <a:gd name="connsiteX2836" fmla="*/ 1196614 w 1429540"/>
              <a:gd name="connsiteY2836" fmla="*/ 22818 h 1426100"/>
              <a:gd name="connsiteX2837" fmla="*/ 1196614 w 1429540"/>
              <a:gd name="connsiteY2837" fmla="*/ 25100 h 1426100"/>
              <a:gd name="connsiteX2838" fmla="*/ 1198898 w 1429540"/>
              <a:gd name="connsiteY2838" fmla="*/ 27382 h 1426100"/>
              <a:gd name="connsiteX2839" fmla="*/ 1198898 w 1429540"/>
              <a:gd name="connsiteY2839" fmla="*/ 29663 h 1426100"/>
              <a:gd name="connsiteX2840" fmla="*/ 1201181 w 1429540"/>
              <a:gd name="connsiteY2840" fmla="*/ 29663 h 1426100"/>
              <a:gd name="connsiteX2841" fmla="*/ 1201181 w 1429540"/>
              <a:gd name="connsiteY2841" fmla="*/ 31945 h 1426100"/>
              <a:gd name="connsiteX2842" fmla="*/ 1205748 w 1429540"/>
              <a:gd name="connsiteY2842" fmla="*/ 29663 h 1426100"/>
              <a:gd name="connsiteX2843" fmla="*/ 1208032 w 1429540"/>
              <a:gd name="connsiteY2843" fmla="*/ 27382 h 1426100"/>
              <a:gd name="connsiteX2844" fmla="*/ 1210316 w 1429540"/>
              <a:gd name="connsiteY2844" fmla="*/ 27382 h 1426100"/>
              <a:gd name="connsiteX2845" fmla="*/ 1212599 w 1429540"/>
              <a:gd name="connsiteY2845" fmla="*/ 25100 h 1426100"/>
              <a:gd name="connsiteX2846" fmla="*/ 1214883 w 1429540"/>
              <a:gd name="connsiteY2846" fmla="*/ 25100 h 1426100"/>
              <a:gd name="connsiteX2847" fmla="*/ 1214883 w 1429540"/>
              <a:gd name="connsiteY2847" fmla="*/ 22818 h 1426100"/>
              <a:gd name="connsiteX2848" fmla="*/ 1217166 w 1429540"/>
              <a:gd name="connsiteY2848" fmla="*/ 20536 h 1426100"/>
              <a:gd name="connsiteX2849" fmla="*/ 1217166 w 1429540"/>
              <a:gd name="connsiteY2849" fmla="*/ 18254 h 1426100"/>
              <a:gd name="connsiteX2850" fmla="*/ 1217166 w 1429540"/>
              <a:gd name="connsiteY2850" fmla="*/ 15972 h 1426100"/>
              <a:gd name="connsiteX2851" fmla="*/ 1217166 w 1429540"/>
              <a:gd name="connsiteY2851" fmla="*/ 13691 h 1426100"/>
              <a:gd name="connsiteX2852" fmla="*/ 1217166 w 1429540"/>
              <a:gd name="connsiteY2852" fmla="*/ 11409 h 1426100"/>
              <a:gd name="connsiteX2853" fmla="*/ 1219450 w 1429540"/>
              <a:gd name="connsiteY2853" fmla="*/ 11409 h 1426100"/>
              <a:gd name="connsiteX2854" fmla="*/ 1221733 w 1429540"/>
              <a:gd name="connsiteY2854" fmla="*/ 11409 h 1426100"/>
              <a:gd name="connsiteX2855" fmla="*/ 1221733 w 1429540"/>
              <a:gd name="connsiteY2855" fmla="*/ 13691 h 1426100"/>
              <a:gd name="connsiteX2856" fmla="*/ 1224017 w 1429540"/>
              <a:gd name="connsiteY2856" fmla="*/ 15972 h 1426100"/>
              <a:gd name="connsiteX2857" fmla="*/ 1226301 w 1429540"/>
              <a:gd name="connsiteY2857" fmla="*/ 15972 h 1426100"/>
              <a:gd name="connsiteX2858" fmla="*/ 1228584 w 1429540"/>
              <a:gd name="connsiteY2858" fmla="*/ 15972 h 1426100"/>
              <a:gd name="connsiteX2859" fmla="*/ 1233151 w 1429540"/>
              <a:gd name="connsiteY2859" fmla="*/ 15972 h 1426100"/>
              <a:gd name="connsiteX2860" fmla="*/ 1237718 w 1429540"/>
              <a:gd name="connsiteY2860" fmla="*/ 18254 h 1426100"/>
              <a:gd name="connsiteX2861" fmla="*/ 1240002 w 1429540"/>
              <a:gd name="connsiteY2861" fmla="*/ 20536 h 1426100"/>
              <a:gd name="connsiteX2862" fmla="*/ 1242286 w 1429540"/>
              <a:gd name="connsiteY2862" fmla="*/ 20536 h 1426100"/>
              <a:gd name="connsiteX2863" fmla="*/ 1244569 w 1429540"/>
              <a:gd name="connsiteY2863" fmla="*/ 22818 h 1426100"/>
              <a:gd name="connsiteX2864" fmla="*/ 1246853 w 1429540"/>
              <a:gd name="connsiteY2864" fmla="*/ 25100 h 1426100"/>
              <a:gd name="connsiteX2865" fmla="*/ 1246853 w 1429540"/>
              <a:gd name="connsiteY2865" fmla="*/ 27382 h 1426100"/>
              <a:gd name="connsiteX2866" fmla="*/ 1251420 w 1429540"/>
              <a:gd name="connsiteY2866" fmla="*/ 27382 h 1426100"/>
              <a:gd name="connsiteX2867" fmla="*/ 1253704 w 1429540"/>
              <a:gd name="connsiteY2867" fmla="*/ 27382 h 1426100"/>
              <a:gd name="connsiteX2868" fmla="*/ 1255988 w 1429540"/>
              <a:gd name="connsiteY2868" fmla="*/ 27382 h 1426100"/>
              <a:gd name="connsiteX2869" fmla="*/ 1255988 w 1429540"/>
              <a:gd name="connsiteY2869" fmla="*/ 25100 h 1426100"/>
              <a:gd name="connsiteX2870" fmla="*/ 1255988 w 1429540"/>
              <a:gd name="connsiteY2870" fmla="*/ 22818 h 1426100"/>
              <a:gd name="connsiteX2871" fmla="*/ 1258271 w 1429540"/>
              <a:gd name="connsiteY2871" fmla="*/ 20536 h 1426100"/>
              <a:gd name="connsiteX2872" fmla="*/ 1260555 w 1429540"/>
              <a:gd name="connsiteY2872" fmla="*/ 20536 h 1426100"/>
              <a:gd name="connsiteX2873" fmla="*/ 1262838 w 1429540"/>
              <a:gd name="connsiteY2873" fmla="*/ 18254 h 1426100"/>
              <a:gd name="connsiteX2874" fmla="*/ 1265122 w 1429540"/>
              <a:gd name="connsiteY2874" fmla="*/ 18254 h 1426100"/>
              <a:gd name="connsiteX2875" fmla="*/ 1267406 w 1429540"/>
              <a:gd name="connsiteY2875" fmla="*/ 18254 h 1426100"/>
              <a:gd name="connsiteX2876" fmla="*/ 1267406 w 1429540"/>
              <a:gd name="connsiteY2876" fmla="*/ 20536 h 1426100"/>
              <a:gd name="connsiteX2877" fmla="*/ 1269689 w 1429540"/>
              <a:gd name="connsiteY2877" fmla="*/ 22818 h 1426100"/>
              <a:gd name="connsiteX2878" fmla="*/ 1269689 w 1429540"/>
              <a:gd name="connsiteY2878" fmla="*/ 25100 h 1426100"/>
              <a:gd name="connsiteX2879" fmla="*/ 1271973 w 1429540"/>
              <a:gd name="connsiteY2879" fmla="*/ 27382 h 1426100"/>
              <a:gd name="connsiteX2880" fmla="*/ 1276540 w 1429540"/>
              <a:gd name="connsiteY2880" fmla="*/ 29663 h 1426100"/>
              <a:gd name="connsiteX2881" fmla="*/ 1278823 w 1429540"/>
              <a:gd name="connsiteY2881" fmla="*/ 27382 h 1426100"/>
              <a:gd name="connsiteX2882" fmla="*/ 1281107 w 1429540"/>
              <a:gd name="connsiteY2882" fmla="*/ 25100 h 1426100"/>
              <a:gd name="connsiteX2883" fmla="*/ 1281107 w 1429540"/>
              <a:gd name="connsiteY2883" fmla="*/ 22818 h 1426100"/>
              <a:gd name="connsiteX2884" fmla="*/ 1281107 w 1429540"/>
              <a:gd name="connsiteY2884" fmla="*/ 20536 h 1426100"/>
              <a:gd name="connsiteX2885" fmla="*/ 1283391 w 1429540"/>
              <a:gd name="connsiteY2885" fmla="*/ 20536 h 1426100"/>
              <a:gd name="connsiteX2886" fmla="*/ 1283391 w 1429540"/>
              <a:gd name="connsiteY2886" fmla="*/ 18254 h 1426100"/>
              <a:gd name="connsiteX2887" fmla="*/ 1285674 w 1429540"/>
              <a:gd name="connsiteY2887" fmla="*/ 15972 h 1426100"/>
              <a:gd name="connsiteX2888" fmla="*/ 1287958 w 1429540"/>
              <a:gd name="connsiteY2888" fmla="*/ 13691 h 1426100"/>
              <a:gd name="connsiteX2889" fmla="*/ 1290241 w 1429540"/>
              <a:gd name="connsiteY2889" fmla="*/ 13691 h 1426100"/>
              <a:gd name="connsiteX2890" fmla="*/ 1292525 w 1429540"/>
              <a:gd name="connsiteY2890" fmla="*/ 13691 h 1426100"/>
              <a:gd name="connsiteX2891" fmla="*/ 1297092 w 1429540"/>
              <a:gd name="connsiteY2891" fmla="*/ 11409 h 1426100"/>
              <a:gd name="connsiteX2892" fmla="*/ 1301659 w 1429540"/>
              <a:gd name="connsiteY2892" fmla="*/ 11409 h 1426100"/>
              <a:gd name="connsiteX2893" fmla="*/ 1303943 w 1429540"/>
              <a:gd name="connsiteY2893" fmla="*/ 13691 h 1426100"/>
              <a:gd name="connsiteX2894" fmla="*/ 1303943 w 1429540"/>
              <a:gd name="connsiteY2894" fmla="*/ 15972 h 1426100"/>
              <a:gd name="connsiteX2895" fmla="*/ 1303943 w 1429540"/>
              <a:gd name="connsiteY2895" fmla="*/ 18254 h 1426100"/>
              <a:gd name="connsiteX2896" fmla="*/ 1306226 w 1429540"/>
              <a:gd name="connsiteY2896" fmla="*/ 20536 h 1426100"/>
              <a:gd name="connsiteX2897" fmla="*/ 1306226 w 1429540"/>
              <a:gd name="connsiteY2897" fmla="*/ 22818 h 1426100"/>
              <a:gd name="connsiteX2898" fmla="*/ 1306226 w 1429540"/>
              <a:gd name="connsiteY2898" fmla="*/ 25100 h 1426100"/>
              <a:gd name="connsiteX2899" fmla="*/ 1306226 w 1429540"/>
              <a:gd name="connsiteY2899" fmla="*/ 27382 h 1426100"/>
              <a:gd name="connsiteX2900" fmla="*/ 1308510 w 1429540"/>
              <a:gd name="connsiteY2900" fmla="*/ 29663 h 1426100"/>
              <a:gd name="connsiteX2901" fmla="*/ 1308510 w 1429540"/>
              <a:gd name="connsiteY2901" fmla="*/ 31945 h 1426100"/>
              <a:gd name="connsiteX2902" fmla="*/ 1310794 w 1429540"/>
              <a:gd name="connsiteY2902" fmla="*/ 31945 h 1426100"/>
              <a:gd name="connsiteX2903" fmla="*/ 1315361 w 1429540"/>
              <a:gd name="connsiteY2903" fmla="*/ 31945 h 1426100"/>
              <a:gd name="connsiteX2904" fmla="*/ 1317644 w 1429540"/>
              <a:gd name="connsiteY2904" fmla="*/ 31945 h 1426100"/>
              <a:gd name="connsiteX2905" fmla="*/ 1322211 w 1429540"/>
              <a:gd name="connsiteY2905" fmla="*/ 29663 h 1426100"/>
              <a:gd name="connsiteX2906" fmla="*/ 1324496 w 1429540"/>
              <a:gd name="connsiteY2906" fmla="*/ 29663 h 1426100"/>
              <a:gd name="connsiteX2907" fmla="*/ 1326779 w 1429540"/>
              <a:gd name="connsiteY2907" fmla="*/ 27382 h 1426100"/>
              <a:gd name="connsiteX2908" fmla="*/ 1329063 w 1429540"/>
              <a:gd name="connsiteY2908" fmla="*/ 25100 h 1426100"/>
              <a:gd name="connsiteX2909" fmla="*/ 1329063 w 1429540"/>
              <a:gd name="connsiteY2909" fmla="*/ 22818 h 1426100"/>
              <a:gd name="connsiteX2910" fmla="*/ 1329063 w 1429540"/>
              <a:gd name="connsiteY2910" fmla="*/ 20536 h 1426100"/>
              <a:gd name="connsiteX2911" fmla="*/ 1329063 w 1429540"/>
              <a:gd name="connsiteY2911" fmla="*/ 18254 h 1426100"/>
              <a:gd name="connsiteX2912" fmla="*/ 1329063 w 1429540"/>
              <a:gd name="connsiteY2912" fmla="*/ 13691 h 1426100"/>
              <a:gd name="connsiteX2913" fmla="*/ 1329063 w 1429540"/>
              <a:gd name="connsiteY2913" fmla="*/ 11409 h 1426100"/>
              <a:gd name="connsiteX2914" fmla="*/ 1331346 w 1429540"/>
              <a:gd name="connsiteY2914" fmla="*/ 9128 h 1426100"/>
              <a:gd name="connsiteX2915" fmla="*/ 1333630 w 1429540"/>
              <a:gd name="connsiteY2915" fmla="*/ 9128 h 1426100"/>
              <a:gd name="connsiteX2916" fmla="*/ 1333630 w 1429540"/>
              <a:gd name="connsiteY2916" fmla="*/ 6846 h 1426100"/>
              <a:gd name="connsiteX2917" fmla="*/ 1335913 w 1429540"/>
              <a:gd name="connsiteY2917" fmla="*/ 6846 h 1426100"/>
              <a:gd name="connsiteX2918" fmla="*/ 1335913 w 1429540"/>
              <a:gd name="connsiteY2918" fmla="*/ 4564 h 1426100"/>
              <a:gd name="connsiteX2919" fmla="*/ 1338197 w 1429540"/>
              <a:gd name="connsiteY2919" fmla="*/ 4564 h 1426100"/>
              <a:gd name="connsiteX2920" fmla="*/ 1340481 w 1429540"/>
              <a:gd name="connsiteY2920" fmla="*/ 2282 h 1426100"/>
              <a:gd name="connsiteX2921" fmla="*/ 1342764 w 1429540"/>
              <a:gd name="connsiteY2921" fmla="*/ 2282 h 1426100"/>
              <a:gd name="connsiteX2922" fmla="*/ 1342764 w 1429540"/>
              <a:gd name="connsiteY2922" fmla="*/ 0 h 1426100"/>
              <a:gd name="connsiteX2923" fmla="*/ 1345048 w 1429540"/>
              <a:gd name="connsiteY2923" fmla="*/ 0 h 1426100"/>
              <a:gd name="connsiteX2924" fmla="*/ 1347331 w 1429540"/>
              <a:gd name="connsiteY2924" fmla="*/ 0 h 1426100"/>
              <a:gd name="connsiteX2925" fmla="*/ 1349615 w 1429540"/>
              <a:gd name="connsiteY2925" fmla="*/ 2282 h 1426100"/>
              <a:gd name="connsiteX2926" fmla="*/ 1351898 w 1429540"/>
              <a:gd name="connsiteY2926" fmla="*/ 2282 h 1426100"/>
              <a:gd name="connsiteX2927" fmla="*/ 1351898 w 1429540"/>
              <a:gd name="connsiteY2927" fmla="*/ 4564 h 1426100"/>
              <a:gd name="connsiteX2928" fmla="*/ 1354182 w 1429540"/>
              <a:gd name="connsiteY2928" fmla="*/ 4564 h 1426100"/>
              <a:gd name="connsiteX2929" fmla="*/ 1356466 w 1429540"/>
              <a:gd name="connsiteY2929" fmla="*/ 6846 h 142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</a:cxnLst>
            <a:rect l="l" t="t" r="r" b="b"/>
            <a:pathLst>
              <a:path w="1429540" h="1426100">
                <a:moveTo>
                  <a:pt x="1356466" y="6846"/>
                </a:moveTo>
                <a:lnTo>
                  <a:pt x="1358749" y="6846"/>
                </a:lnTo>
                <a:lnTo>
                  <a:pt x="1361033" y="6846"/>
                </a:lnTo>
                <a:lnTo>
                  <a:pt x="1363316" y="6846"/>
                </a:lnTo>
                <a:lnTo>
                  <a:pt x="1363316" y="4564"/>
                </a:lnTo>
                <a:lnTo>
                  <a:pt x="1363316" y="2282"/>
                </a:lnTo>
                <a:lnTo>
                  <a:pt x="1365600" y="2282"/>
                </a:lnTo>
                <a:lnTo>
                  <a:pt x="1370167" y="2282"/>
                </a:lnTo>
                <a:lnTo>
                  <a:pt x="1372451" y="2282"/>
                </a:lnTo>
                <a:lnTo>
                  <a:pt x="1374734" y="2282"/>
                </a:lnTo>
                <a:lnTo>
                  <a:pt x="1386152" y="2282"/>
                </a:lnTo>
                <a:lnTo>
                  <a:pt x="1386152" y="4564"/>
                </a:lnTo>
                <a:lnTo>
                  <a:pt x="1388436" y="9128"/>
                </a:lnTo>
                <a:lnTo>
                  <a:pt x="1388436" y="20536"/>
                </a:lnTo>
                <a:lnTo>
                  <a:pt x="1388436" y="22818"/>
                </a:lnTo>
                <a:lnTo>
                  <a:pt x="1390719" y="25100"/>
                </a:lnTo>
                <a:lnTo>
                  <a:pt x="1390719" y="31945"/>
                </a:lnTo>
                <a:lnTo>
                  <a:pt x="1390719" y="43354"/>
                </a:lnTo>
                <a:lnTo>
                  <a:pt x="1390719" y="45635"/>
                </a:lnTo>
                <a:lnTo>
                  <a:pt x="1390719" y="61608"/>
                </a:lnTo>
                <a:lnTo>
                  <a:pt x="1393003" y="68453"/>
                </a:lnTo>
                <a:lnTo>
                  <a:pt x="1393003" y="84425"/>
                </a:lnTo>
                <a:lnTo>
                  <a:pt x="1393003" y="88989"/>
                </a:lnTo>
                <a:lnTo>
                  <a:pt x="1395286" y="88989"/>
                </a:lnTo>
                <a:lnTo>
                  <a:pt x="1399854" y="95834"/>
                </a:lnTo>
                <a:lnTo>
                  <a:pt x="1402138" y="100398"/>
                </a:lnTo>
                <a:lnTo>
                  <a:pt x="1406705" y="109524"/>
                </a:lnTo>
                <a:lnTo>
                  <a:pt x="1406705" y="111806"/>
                </a:lnTo>
                <a:lnTo>
                  <a:pt x="1408988" y="114088"/>
                </a:lnTo>
                <a:lnTo>
                  <a:pt x="1413556" y="123215"/>
                </a:lnTo>
                <a:lnTo>
                  <a:pt x="1418123" y="132342"/>
                </a:lnTo>
                <a:lnTo>
                  <a:pt x="1420406" y="134624"/>
                </a:lnTo>
                <a:lnTo>
                  <a:pt x="1420406" y="136906"/>
                </a:lnTo>
                <a:lnTo>
                  <a:pt x="1420406" y="139188"/>
                </a:lnTo>
                <a:lnTo>
                  <a:pt x="1422690" y="141470"/>
                </a:lnTo>
                <a:lnTo>
                  <a:pt x="1422690" y="146033"/>
                </a:lnTo>
                <a:lnTo>
                  <a:pt x="1422690" y="152878"/>
                </a:lnTo>
                <a:lnTo>
                  <a:pt x="1422690" y="155159"/>
                </a:lnTo>
                <a:lnTo>
                  <a:pt x="1422690" y="166569"/>
                </a:lnTo>
                <a:lnTo>
                  <a:pt x="1422690" y="168852"/>
                </a:lnTo>
                <a:lnTo>
                  <a:pt x="1424974" y="173416"/>
                </a:lnTo>
                <a:lnTo>
                  <a:pt x="1424974" y="175697"/>
                </a:lnTo>
                <a:lnTo>
                  <a:pt x="1427257" y="191671"/>
                </a:lnTo>
                <a:lnTo>
                  <a:pt x="1427257" y="196234"/>
                </a:lnTo>
                <a:lnTo>
                  <a:pt x="1427257" y="198516"/>
                </a:lnTo>
                <a:lnTo>
                  <a:pt x="1427257" y="200798"/>
                </a:lnTo>
                <a:lnTo>
                  <a:pt x="1427257" y="207644"/>
                </a:lnTo>
                <a:lnTo>
                  <a:pt x="1427257" y="216772"/>
                </a:lnTo>
                <a:lnTo>
                  <a:pt x="1424974" y="223617"/>
                </a:lnTo>
                <a:lnTo>
                  <a:pt x="1424974" y="228181"/>
                </a:lnTo>
                <a:lnTo>
                  <a:pt x="1424974" y="230453"/>
                </a:lnTo>
                <a:lnTo>
                  <a:pt x="1424974" y="235017"/>
                </a:lnTo>
                <a:lnTo>
                  <a:pt x="1424974" y="239581"/>
                </a:lnTo>
                <a:lnTo>
                  <a:pt x="1422690" y="241863"/>
                </a:lnTo>
                <a:lnTo>
                  <a:pt x="1422690" y="244145"/>
                </a:lnTo>
                <a:lnTo>
                  <a:pt x="1422690" y="248709"/>
                </a:lnTo>
                <a:lnTo>
                  <a:pt x="1422690" y="255554"/>
                </a:lnTo>
                <a:lnTo>
                  <a:pt x="1422690" y="257836"/>
                </a:lnTo>
                <a:lnTo>
                  <a:pt x="1422690" y="262400"/>
                </a:lnTo>
                <a:lnTo>
                  <a:pt x="1422690" y="264682"/>
                </a:lnTo>
                <a:lnTo>
                  <a:pt x="1422690" y="269246"/>
                </a:lnTo>
                <a:lnTo>
                  <a:pt x="1420406" y="276091"/>
                </a:lnTo>
                <a:lnTo>
                  <a:pt x="1420406" y="280655"/>
                </a:lnTo>
                <a:lnTo>
                  <a:pt x="1420406" y="289783"/>
                </a:lnTo>
                <a:lnTo>
                  <a:pt x="1420406" y="294347"/>
                </a:lnTo>
                <a:lnTo>
                  <a:pt x="1420406" y="296628"/>
                </a:lnTo>
                <a:lnTo>
                  <a:pt x="1420406" y="301192"/>
                </a:lnTo>
                <a:lnTo>
                  <a:pt x="1420406" y="305756"/>
                </a:lnTo>
                <a:lnTo>
                  <a:pt x="1420406" y="310320"/>
                </a:lnTo>
                <a:lnTo>
                  <a:pt x="1422690" y="317165"/>
                </a:lnTo>
                <a:lnTo>
                  <a:pt x="1422690" y="324011"/>
                </a:lnTo>
                <a:lnTo>
                  <a:pt x="1422690" y="335421"/>
                </a:lnTo>
                <a:lnTo>
                  <a:pt x="1422690" y="337703"/>
                </a:lnTo>
                <a:lnTo>
                  <a:pt x="1422690" y="342266"/>
                </a:lnTo>
                <a:lnTo>
                  <a:pt x="1422690" y="351394"/>
                </a:lnTo>
                <a:lnTo>
                  <a:pt x="1422690" y="355958"/>
                </a:lnTo>
                <a:lnTo>
                  <a:pt x="1422690" y="358240"/>
                </a:lnTo>
                <a:lnTo>
                  <a:pt x="1422690" y="360521"/>
                </a:lnTo>
                <a:lnTo>
                  <a:pt x="1424974" y="362803"/>
                </a:lnTo>
                <a:lnTo>
                  <a:pt x="1424974" y="374213"/>
                </a:lnTo>
                <a:lnTo>
                  <a:pt x="1424974" y="376495"/>
                </a:lnTo>
                <a:lnTo>
                  <a:pt x="1424974" y="378777"/>
                </a:lnTo>
                <a:lnTo>
                  <a:pt x="1424974" y="381059"/>
                </a:lnTo>
                <a:lnTo>
                  <a:pt x="1424974" y="383331"/>
                </a:lnTo>
                <a:lnTo>
                  <a:pt x="1424974" y="385613"/>
                </a:lnTo>
                <a:lnTo>
                  <a:pt x="1424974" y="390177"/>
                </a:lnTo>
                <a:lnTo>
                  <a:pt x="1424974" y="392459"/>
                </a:lnTo>
                <a:lnTo>
                  <a:pt x="1424974" y="394740"/>
                </a:lnTo>
                <a:lnTo>
                  <a:pt x="1424974" y="406150"/>
                </a:lnTo>
                <a:lnTo>
                  <a:pt x="1427257" y="410714"/>
                </a:lnTo>
                <a:lnTo>
                  <a:pt x="1427257" y="415277"/>
                </a:lnTo>
                <a:lnTo>
                  <a:pt x="1427257" y="419841"/>
                </a:lnTo>
                <a:lnTo>
                  <a:pt x="1427257" y="422123"/>
                </a:lnTo>
                <a:lnTo>
                  <a:pt x="1424974" y="426687"/>
                </a:lnTo>
                <a:lnTo>
                  <a:pt x="1424974" y="428969"/>
                </a:lnTo>
                <a:lnTo>
                  <a:pt x="1427257" y="433533"/>
                </a:lnTo>
                <a:lnTo>
                  <a:pt x="1427257" y="440378"/>
                </a:lnTo>
                <a:lnTo>
                  <a:pt x="1427257" y="442660"/>
                </a:lnTo>
                <a:lnTo>
                  <a:pt x="1427257" y="447224"/>
                </a:lnTo>
                <a:lnTo>
                  <a:pt x="1427257" y="449506"/>
                </a:lnTo>
                <a:lnTo>
                  <a:pt x="1427257" y="454070"/>
                </a:lnTo>
                <a:lnTo>
                  <a:pt x="1427257" y="456352"/>
                </a:lnTo>
                <a:lnTo>
                  <a:pt x="1427257" y="460915"/>
                </a:lnTo>
                <a:lnTo>
                  <a:pt x="1429541" y="467761"/>
                </a:lnTo>
                <a:lnTo>
                  <a:pt x="1429541" y="470043"/>
                </a:lnTo>
                <a:lnTo>
                  <a:pt x="1429541" y="474607"/>
                </a:lnTo>
                <a:lnTo>
                  <a:pt x="1427257" y="479171"/>
                </a:lnTo>
                <a:lnTo>
                  <a:pt x="1427257" y="483734"/>
                </a:lnTo>
                <a:lnTo>
                  <a:pt x="1427257" y="488298"/>
                </a:lnTo>
                <a:lnTo>
                  <a:pt x="1424974" y="497426"/>
                </a:lnTo>
                <a:lnTo>
                  <a:pt x="1424974" y="499708"/>
                </a:lnTo>
                <a:lnTo>
                  <a:pt x="1424974" y="501989"/>
                </a:lnTo>
                <a:lnTo>
                  <a:pt x="1422690" y="517963"/>
                </a:lnTo>
                <a:lnTo>
                  <a:pt x="1422690" y="520245"/>
                </a:lnTo>
                <a:lnTo>
                  <a:pt x="1422690" y="527090"/>
                </a:lnTo>
                <a:lnTo>
                  <a:pt x="1422690" y="529372"/>
                </a:lnTo>
                <a:lnTo>
                  <a:pt x="1422690" y="531654"/>
                </a:lnTo>
                <a:lnTo>
                  <a:pt x="1422690" y="533926"/>
                </a:lnTo>
                <a:lnTo>
                  <a:pt x="1422690" y="538490"/>
                </a:lnTo>
                <a:lnTo>
                  <a:pt x="1420406" y="540772"/>
                </a:lnTo>
                <a:lnTo>
                  <a:pt x="1420406" y="545336"/>
                </a:lnTo>
                <a:lnTo>
                  <a:pt x="1420406" y="549900"/>
                </a:lnTo>
                <a:lnTo>
                  <a:pt x="1420406" y="556746"/>
                </a:lnTo>
                <a:lnTo>
                  <a:pt x="1420406" y="559027"/>
                </a:lnTo>
                <a:lnTo>
                  <a:pt x="1420406" y="561309"/>
                </a:lnTo>
                <a:lnTo>
                  <a:pt x="1418123" y="561309"/>
                </a:lnTo>
                <a:lnTo>
                  <a:pt x="1418123" y="563591"/>
                </a:lnTo>
                <a:lnTo>
                  <a:pt x="1418123" y="568155"/>
                </a:lnTo>
                <a:lnTo>
                  <a:pt x="1418123" y="570437"/>
                </a:lnTo>
                <a:lnTo>
                  <a:pt x="1418123" y="572719"/>
                </a:lnTo>
                <a:lnTo>
                  <a:pt x="1418123" y="575001"/>
                </a:lnTo>
                <a:lnTo>
                  <a:pt x="1418123" y="577283"/>
                </a:lnTo>
                <a:lnTo>
                  <a:pt x="1415839" y="579564"/>
                </a:lnTo>
                <a:lnTo>
                  <a:pt x="1411272" y="590974"/>
                </a:lnTo>
                <a:lnTo>
                  <a:pt x="1408988" y="593256"/>
                </a:lnTo>
                <a:lnTo>
                  <a:pt x="1406705" y="597820"/>
                </a:lnTo>
                <a:lnTo>
                  <a:pt x="1404421" y="602383"/>
                </a:lnTo>
                <a:lnTo>
                  <a:pt x="1404421" y="604665"/>
                </a:lnTo>
                <a:lnTo>
                  <a:pt x="1402138" y="611511"/>
                </a:lnTo>
                <a:lnTo>
                  <a:pt x="1402138" y="616075"/>
                </a:lnTo>
                <a:lnTo>
                  <a:pt x="1399854" y="620639"/>
                </a:lnTo>
                <a:lnTo>
                  <a:pt x="1399854" y="627484"/>
                </a:lnTo>
                <a:lnTo>
                  <a:pt x="1399854" y="634330"/>
                </a:lnTo>
                <a:lnTo>
                  <a:pt x="1399854" y="636612"/>
                </a:lnTo>
                <a:lnTo>
                  <a:pt x="1402138" y="636612"/>
                </a:lnTo>
                <a:lnTo>
                  <a:pt x="1406705" y="638894"/>
                </a:lnTo>
                <a:lnTo>
                  <a:pt x="1406705" y="648021"/>
                </a:lnTo>
                <a:lnTo>
                  <a:pt x="1408988" y="650303"/>
                </a:lnTo>
                <a:lnTo>
                  <a:pt x="1408988" y="666277"/>
                </a:lnTo>
                <a:lnTo>
                  <a:pt x="1411272" y="675404"/>
                </a:lnTo>
                <a:lnTo>
                  <a:pt x="1408988" y="677686"/>
                </a:lnTo>
                <a:lnTo>
                  <a:pt x="1408988" y="684532"/>
                </a:lnTo>
                <a:lnTo>
                  <a:pt x="1408988" y="691368"/>
                </a:lnTo>
                <a:lnTo>
                  <a:pt x="1406705" y="691368"/>
                </a:lnTo>
                <a:lnTo>
                  <a:pt x="1406705" y="695932"/>
                </a:lnTo>
                <a:lnTo>
                  <a:pt x="1404421" y="698214"/>
                </a:lnTo>
                <a:lnTo>
                  <a:pt x="1399854" y="705059"/>
                </a:lnTo>
                <a:lnTo>
                  <a:pt x="1397571" y="707341"/>
                </a:lnTo>
                <a:lnTo>
                  <a:pt x="1397571" y="709623"/>
                </a:lnTo>
                <a:lnTo>
                  <a:pt x="1395286" y="711905"/>
                </a:lnTo>
                <a:lnTo>
                  <a:pt x="1395286" y="714187"/>
                </a:lnTo>
                <a:lnTo>
                  <a:pt x="1393003" y="718751"/>
                </a:lnTo>
                <a:lnTo>
                  <a:pt x="1390719" y="723314"/>
                </a:lnTo>
                <a:lnTo>
                  <a:pt x="1390719" y="730160"/>
                </a:lnTo>
                <a:lnTo>
                  <a:pt x="1388436" y="734724"/>
                </a:lnTo>
                <a:lnTo>
                  <a:pt x="1388436" y="737006"/>
                </a:lnTo>
                <a:lnTo>
                  <a:pt x="1386152" y="739288"/>
                </a:lnTo>
                <a:lnTo>
                  <a:pt x="1383869" y="746133"/>
                </a:lnTo>
                <a:lnTo>
                  <a:pt x="1379301" y="762107"/>
                </a:lnTo>
                <a:lnTo>
                  <a:pt x="1379301" y="766670"/>
                </a:lnTo>
                <a:lnTo>
                  <a:pt x="1379301" y="768952"/>
                </a:lnTo>
                <a:lnTo>
                  <a:pt x="1383869" y="784926"/>
                </a:lnTo>
                <a:lnTo>
                  <a:pt x="1386152" y="787207"/>
                </a:lnTo>
                <a:lnTo>
                  <a:pt x="1388436" y="794053"/>
                </a:lnTo>
                <a:lnTo>
                  <a:pt x="1388436" y="796335"/>
                </a:lnTo>
                <a:lnTo>
                  <a:pt x="1388436" y="798617"/>
                </a:lnTo>
                <a:lnTo>
                  <a:pt x="1393003" y="812308"/>
                </a:lnTo>
                <a:lnTo>
                  <a:pt x="1388436" y="814590"/>
                </a:lnTo>
                <a:lnTo>
                  <a:pt x="1386152" y="816872"/>
                </a:lnTo>
                <a:lnTo>
                  <a:pt x="1372451" y="821436"/>
                </a:lnTo>
                <a:lnTo>
                  <a:pt x="1365600" y="823718"/>
                </a:lnTo>
                <a:lnTo>
                  <a:pt x="1361033" y="826000"/>
                </a:lnTo>
                <a:lnTo>
                  <a:pt x="1358749" y="826000"/>
                </a:lnTo>
                <a:lnTo>
                  <a:pt x="1354182" y="828282"/>
                </a:lnTo>
                <a:lnTo>
                  <a:pt x="1351898" y="830563"/>
                </a:lnTo>
                <a:lnTo>
                  <a:pt x="1349615" y="830563"/>
                </a:lnTo>
                <a:lnTo>
                  <a:pt x="1340481" y="823718"/>
                </a:lnTo>
                <a:lnTo>
                  <a:pt x="1338197" y="821436"/>
                </a:lnTo>
                <a:lnTo>
                  <a:pt x="1335913" y="819154"/>
                </a:lnTo>
                <a:lnTo>
                  <a:pt x="1331346" y="816872"/>
                </a:lnTo>
                <a:lnTo>
                  <a:pt x="1331346" y="814590"/>
                </a:lnTo>
                <a:lnTo>
                  <a:pt x="1324496" y="810026"/>
                </a:lnTo>
                <a:lnTo>
                  <a:pt x="1322211" y="810026"/>
                </a:lnTo>
                <a:lnTo>
                  <a:pt x="1322211" y="807745"/>
                </a:lnTo>
                <a:lnTo>
                  <a:pt x="1317644" y="805463"/>
                </a:lnTo>
                <a:lnTo>
                  <a:pt x="1313077" y="803181"/>
                </a:lnTo>
                <a:lnTo>
                  <a:pt x="1310794" y="800899"/>
                </a:lnTo>
                <a:lnTo>
                  <a:pt x="1308510" y="798617"/>
                </a:lnTo>
                <a:lnTo>
                  <a:pt x="1297092" y="791771"/>
                </a:lnTo>
                <a:lnTo>
                  <a:pt x="1297092" y="789489"/>
                </a:lnTo>
                <a:lnTo>
                  <a:pt x="1283391" y="780362"/>
                </a:lnTo>
                <a:lnTo>
                  <a:pt x="1274256" y="773516"/>
                </a:lnTo>
                <a:lnTo>
                  <a:pt x="1265122" y="766670"/>
                </a:lnTo>
                <a:lnTo>
                  <a:pt x="1262838" y="766670"/>
                </a:lnTo>
                <a:lnTo>
                  <a:pt x="1258271" y="764389"/>
                </a:lnTo>
                <a:lnTo>
                  <a:pt x="1258271" y="762107"/>
                </a:lnTo>
                <a:lnTo>
                  <a:pt x="1258271" y="759825"/>
                </a:lnTo>
                <a:lnTo>
                  <a:pt x="1253704" y="759825"/>
                </a:lnTo>
                <a:lnTo>
                  <a:pt x="1246853" y="752979"/>
                </a:lnTo>
                <a:lnTo>
                  <a:pt x="1244569" y="750697"/>
                </a:lnTo>
                <a:lnTo>
                  <a:pt x="1240002" y="746133"/>
                </a:lnTo>
                <a:lnTo>
                  <a:pt x="1237718" y="746133"/>
                </a:lnTo>
                <a:lnTo>
                  <a:pt x="1235435" y="743851"/>
                </a:lnTo>
                <a:lnTo>
                  <a:pt x="1235435" y="741570"/>
                </a:lnTo>
                <a:lnTo>
                  <a:pt x="1233151" y="741570"/>
                </a:lnTo>
                <a:lnTo>
                  <a:pt x="1230868" y="741570"/>
                </a:lnTo>
                <a:lnTo>
                  <a:pt x="1226301" y="737006"/>
                </a:lnTo>
                <a:lnTo>
                  <a:pt x="1224017" y="737006"/>
                </a:lnTo>
                <a:lnTo>
                  <a:pt x="1221733" y="734724"/>
                </a:lnTo>
                <a:lnTo>
                  <a:pt x="1214883" y="730160"/>
                </a:lnTo>
                <a:lnTo>
                  <a:pt x="1212599" y="727878"/>
                </a:lnTo>
                <a:lnTo>
                  <a:pt x="1210316" y="727878"/>
                </a:lnTo>
                <a:lnTo>
                  <a:pt x="1208032" y="723314"/>
                </a:lnTo>
                <a:lnTo>
                  <a:pt x="1201181" y="718751"/>
                </a:lnTo>
                <a:lnTo>
                  <a:pt x="1189763" y="709623"/>
                </a:lnTo>
                <a:lnTo>
                  <a:pt x="1187480" y="709623"/>
                </a:lnTo>
                <a:lnTo>
                  <a:pt x="1185196" y="709623"/>
                </a:lnTo>
                <a:lnTo>
                  <a:pt x="1182913" y="711905"/>
                </a:lnTo>
                <a:lnTo>
                  <a:pt x="1180628" y="711905"/>
                </a:lnTo>
                <a:lnTo>
                  <a:pt x="1178345" y="711905"/>
                </a:lnTo>
                <a:lnTo>
                  <a:pt x="1176061" y="711905"/>
                </a:lnTo>
                <a:lnTo>
                  <a:pt x="1173778" y="714187"/>
                </a:lnTo>
                <a:lnTo>
                  <a:pt x="1171494" y="714187"/>
                </a:lnTo>
                <a:lnTo>
                  <a:pt x="1169211" y="716469"/>
                </a:lnTo>
                <a:lnTo>
                  <a:pt x="1166927" y="716469"/>
                </a:lnTo>
                <a:lnTo>
                  <a:pt x="1164643" y="716469"/>
                </a:lnTo>
                <a:lnTo>
                  <a:pt x="1157793" y="716469"/>
                </a:lnTo>
                <a:lnTo>
                  <a:pt x="1153226" y="718751"/>
                </a:lnTo>
                <a:lnTo>
                  <a:pt x="1150942" y="718751"/>
                </a:lnTo>
                <a:lnTo>
                  <a:pt x="1146375" y="721032"/>
                </a:lnTo>
                <a:lnTo>
                  <a:pt x="1144091" y="725596"/>
                </a:lnTo>
                <a:lnTo>
                  <a:pt x="1137240" y="732442"/>
                </a:lnTo>
                <a:lnTo>
                  <a:pt x="1132673" y="741570"/>
                </a:lnTo>
                <a:lnTo>
                  <a:pt x="1130390" y="743851"/>
                </a:lnTo>
                <a:lnTo>
                  <a:pt x="1128106" y="748415"/>
                </a:lnTo>
                <a:lnTo>
                  <a:pt x="1118972" y="755261"/>
                </a:lnTo>
                <a:lnTo>
                  <a:pt x="1098419" y="771234"/>
                </a:lnTo>
                <a:lnTo>
                  <a:pt x="1093852" y="775798"/>
                </a:lnTo>
                <a:lnTo>
                  <a:pt x="1089285" y="778080"/>
                </a:lnTo>
                <a:lnTo>
                  <a:pt x="1087001" y="780362"/>
                </a:lnTo>
                <a:lnTo>
                  <a:pt x="1082434" y="782644"/>
                </a:lnTo>
                <a:lnTo>
                  <a:pt x="1082434" y="784926"/>
                </a:lnTo>
                <a:lnTo>
                  <a:pt x="1077867" y="789489"/>
                </a:lnTo>
                <a:lnTo>
                  <a:pt x="1075583" y="798617"/>
                </a:lnTo>
                <a:lnTo>
                  <a:pt x="1075583" y="800899"/>
                </a:lnTo>
                <a:lnTo>
                  <a:pt x="1075583" y="803181"/>
                </a:lnTo>
                <a:lnTo>
                  <a:pt x="1073300" y="805463"/>
                </a:lnTo>
                <a:lnTo>
                  <a:pt x="1073300" y="812308"/>
                </a:lnTo>
                <a:lnTo>
                  <a:pt x="1071016" y="814590"/>
                </a:lnTo>
                <a:lnTo>
                  <a:pt x="1068733" y="819154"/>
                </a:lnTo>
                <a:lnTo>
                  <a:pt x="1066449" y="826000"/>
                </a:lnTo>
                <a:lnTo>
                  <a:pt x="1064165" y="828282"/>
                </a:lnTo>
                <a:lnTo>
                  <a:pt x="1064165" y="830563"/>
                </a:lnTo>
                <a:lnTo>
                  <a:pt x="1061882" y="832845"/>
                </a:lnTo>
                <a:lnTo>
                  <a:pt x="1061882" y="835127"/>
                </a:lnTo>
                <a:lnTo>
                  <a:pt x="1059598" y="837409"/>
                </a:lnTo>
                <a:lnTo>
                  <a:pt x="1057315" y="839691"/>
                </a:lnTo>
                <a:lnTo>
                  <a:pt x="1055031" y="846527"/>
                </a:lnTo>
                <a:lnTo>
                  <a:pt x="1052747" y="848809"/>
                </a:lnTo>
                <a:lnTo>
                  <a:pt x="1050464" y="855655"/>
                </a:lnTo>
                <a:lnTo>
                  <a:pt x="1050464" y="857937"/>
                </a:lnTo>
                <a:lnTo>
                  <a:pt x="1048180" y="860219"/>
                </a:lnTo>
                <a:lnTo>
                  <a:pt x="1045897" y="864782"/>
                </a:lnTo>
                <a:lnTo>
                  <a:pt x="1043613" y="869346"/>
                </a:lnTo>
                <a:lnTo>
                  <a:pt x="1041330" y="871628"/>
                </a:lnTo>
                <a:lnTo>
                  <a:pt x="1036762" y="880756"/>
                </a:lnTo>
                <a:lnTo>
                  <a:pt x="1034478" y="887601"/>
                </a:lnTo>
                <a:lnTo>
                  <a:pt x="1032195" y="887601"/>
                </a:lnTo>
                <a:lnTo>
                  <a:pt x="1032195" y="889883"/>
                </a:lnTo>
                <a:lnTo>
                  <a:pt x="1025344" y="901293"/>
                </a:lnTo>
                <a:lnTo>
                  <a:pt x="1025344" y="903575"/>
                </a:lnTo>
                <a:lnTo>
                  <a:pt x="1023060" y="905857"/>
                </a:lnTo>
                <a:lnTo>
                  <a:pt x="1023060" y="908138"/>
                </a:lnTo>
                <a:lnTo>
                  <a:pt x="1020777" y="910420"/>
                </a:lnTo>
                <a:lnTo>
                  <a:pt x="1018493" y="914984"/>
                </a:lnTo>
                <a:lnTo>
                  <a:pt x="1016210" y="917266"/>
                </a:lnTo>
                <a:lnTo>
                  <a:pt x="1011643" y="926394"/>
                </a:lnTo>
                <a:lnTo>
                  <a:pt x="1002508" y="933239"/>
                </a:lnTo>
                <a:lnTo>
                  <a:pt x="1000225" y="935521"/>
                </a:lnTo>
                <a:lnTo>
                  <a:pt x="995657" y="940085"/>
                </a:lnTo>
                <a:lnTo>
                  <a:pt x="993374" y="942367"/>
                </a:lnTo>
                <a:lnTo>
                  <a:pt x="991090" y="944649"/>
                </a:lnTo>
                <a:lnTo>
                  <a:pt x="986523" y="949213"/>
                </a:lnTo>
                <a:lnTo>
                  <a:pt x="984240" y="951495"/>
                </a:lnTo>
                <a:lnTo>
                  <a:pt x="984240" y="953776"/>
                </a:lnTo>
                <a:lnTo>
                  <a:pt x="981956" y="958340"/>
                </a:lnTo>
                <a:lnTo>
                  <a:pt x="977389" y="965186"/>
                </a:lnTo>
                <a:lnTo>
                  <a:pt x="977389" y="967468"/>
                </a:lnTo>
                <a:lnTo>
                  <a:pt x="975105" y="972032"/>
                </a:lnTo>
                <a:lnTo>
                  <a:pt x="970538" y="976595"/>
                </a:lnTo>
                <a:lnTo>
                  <a:pt x="970538" y="978877"/>
                </a:lnTo>
                <a:lnTo>
                  <a:pt x="968255" y="978877"/>
                </a:lnTo>
                <a:lnTo>
                  <a:pt x="963687" y="985723"/>
                </a:lnTo>
                <a:lnTo>
                  <a:pt x="963687" y="988005"/>
                </a:lnTo>
                <a:lnTo>
                  <a:pt x="961403" y="990287"/>
                </a:lnTo>
                <a:lnTo>
                  <a:pt x="959120" y="994851"/>
                </a:lnTo>
                <a:lnTo>
                  <a:pt x="954553" y="1001687"/>
                </a:lnTo>
                <a:lnTo>
                  <a:pt x="954553" y="1013096"/>
                </a:lnTo>
                <a:lnTo>
                  <a:pt x="952269" y="1013096"/>
                </a:lnTo>
                <a:lnTo>
                  <a:pt x="952269" y="1015378"/>
                </a:lnTo>
                <a:lnTo>
                  <a:pt x="949985" y="1022224"/>
                </a:lnTo>
                <a:lnTo>
                  <a:pt x="949985" y="1026788"/>
                </a:lnTo>
                <a:lnTo>
                  <a:pt x="947702" y="1035915"/>
                </a:lnTo>
                <a:lnTo>
                  <a:pt x="945418" y="1047325"/>
                </a:lnTo>
                <a:lnTo>
                  <a:pt x="945418" y="1049606"/>
                </a:lnTo>
                <a:lnTo>
                  <a:pt x="943135" y="1061016"/>
                </a:lnTo>
                <a:lnTo>
                  <a:pt x="943135" y="1065580"/>
                </a:lnTo>
                <a:lnTo>
                  <a:pt x="943135" y="1074707"/>
                </a:lnTo>
                <a:lnTo>
                  <a:pt x="943135" y="1095244"/>
                </a:lnTo>
                <a:lnTo>
                  <a:pt x="943135" y="1102090"/>
                </a:lnTo>
                <a:lnTo>
                  <a:pt x="943135" y="1104372"/>
                </a:lnTo>
                <a:lnTo>
                  <a:pt x="943135" y="1113500"/>
                </a:lnTo>
                <a:lnTo>
                  <a:pt x="945418" y="1124909"/>
                </a:lnTo>
                <a:lnTo>
                  <a:pt x="945418" y="1127191"/>
                </a:lnTo>
                <a:lnTo>
                  <a:pt x="945418" y="1129473"/>
                </a:lnTo>
                <a:lnTo>
                  <a:pt x="945418" y="1131755"/>
                </a:lnTo>
                <a:lnTo>
                  <a:pt x="945418" y="1136319"/>
                </a:lnTo>
                <a:lnTo>
                  <a:pt x="947702" y="1156846"/>
                </a:lnTo>
                <a:lnTo>
                  <a:pt x="952269" y="1163692"/>
                </a:lnTo>
                <a:lnTo>
                  <a:pt x="954553" y="1163692"/>
                </a:lnTo>
                <a:lnTo>
                  <a:pt x="956836" y="1163692"/>
                </a:lnTo>
                <a:lnTo>
                  <a:pt x="959120" y="1161410"/>
                </a:lnTo>
                <a:lnTo>
                  <a:pt x="961403" y="1161410"/>
                </a:lnTo>
                <a:lnTo>
                  <a:pt x="965970" y="1156846"/>
                </a:lnTo>
                <a:lnTo>
                  <a:pt x="970538" y="1154564"/>
                </a:lnTo>
                <a:lnTo>
                  <a:pt x="972822" y="1150010"/>
                </a:lnTo>
                <a:lnTo>
                  <a:pt x="975105" y="1150010"/>
                </a:lnTo>
                <a:lnTo>
                  <a:pt x="975105" y="1147728"/>
                </a:lnTo>
                <a:lnTo>
                  <a:pt x="977389" y="1147728"/>
                </a:lnTo>
                <a:lnTo>
                  <a:pt x="981956" y="1143164"/>
                </a:lnTo>
                <a:lnTo>
                  <a:pt x="981956" y="1145446"/>
                </a:lnTo>
                <a:lnTo>
                  <a:pt x="981956" y="1152292"/>
                </a:lnTo>
                <a:lnTo>
                  <a:pt x="981956" y="1154564"/>
                </a:lnTo>
                <a:lnTo>
                  <a:pt x="981956" y="1156846"/>
                </a:lnTo>
                <a:lnTo>
                  <a:pt x="981956" y="1161410"/>
                </a:lnTo>
                <a:lnTo>
                  <a:pt x="984240" y="1168256"/>
                </a:lnTo>
                <a:lnTo>
                  <a:pt x="986523" y="1170538"/>
                </a:lnTo>
                <a:lnTo>
                  <a:pt x="988807" y="1175101"/>
                </a:lnTo>
                <a:lnTo>
                  <a:pt x="993374" y="1181947"/>
                </a:lnTo>
                <a:lnTo>
                  <a:pt x="995657" y="1184229"/>
                </a:lnTo>
                <a:lnTo>
                  <a:pt x="997941" y="1186511"/>
                </a:lnTo>
                <a:lnTo>
                  <a:pt x="1000225" y="1188793"/>
                </a:lnTo>
                <a:lnTo>
                  <a:pt x="1004792" y="1191075"/>
                </a:lnTo>
                <a:lnTo>
                  <a:pt x="1007075" y="1191075"/>
                </a:lnTo>
                <a:lnTo>
                  <a:pt x="1009359" y="1195638"/>
                </a:lnTo>
                <a:lnTo>
                  <a:pt x="1009359" y="1202484"/>
                </a:lnTo>
                <a:lnTo>
                  <a:pt x="1009359" y="1209330"/>
                </a:lnTo>
                <a:lnTo>
                  <a:pt x="1009359" y="1213894"/>
                </a:lnTo>
                <a:lnTo>
                  <a:pt x="1007075" y="1218457"/>
                </a:lnTo>
                <a:lnTo>
                  <a:pt x="1004792" y="1223021"/>
                </a:lnTo>
                <a:lnTo>
                  <a:pt x="1002508" y="1227585"/>
                </a:lnTo>
                <a:lnTo>
                  <a:pt x="1004792" y="1232149"/>
                </a:lnTo>
                <a:lnTo>
                  <a:pt x="1004792" y="1236712"/>
                </a:lnTo>
                <a:lnTo>
                  <a:pt x="1009359" y="1241276"/>
                </a:lnTo>
                <a:lnTo>
                  <a:pt x="1009359" y="1243558"/>
                </a:lnTo>
                <a:lnTo>
                  <a:pt x="1011643" y="1243558"/>
                </a:lnTo>
                <a:lnTo>
                  <a:pt x="1018493" y="1252686"/>
                </a:lnTo>
                <a:lnTo>
                  <a:pt x="1025344" y="1259531"/>
                </a:lnTo>
                <a:lnTo>
                  <a:pt x="1027628" y="1261813"/>
                </a:lnTo>
                <a:lnTo>
                  <a:pt x="1029911" y="1264095"/>
                </a:lnTo>
                <a:lnTo>
                  <a:pt x="1032195" y="1266377"/>
                </a:lnTo>
                <a:lnTo>
                  <a:pt x="1034478" y="1268659"/>
                </a:lnTo>
                <a:lnTo>
                  <a:pt x="1039046" y="1270941"/>
                </a:lnTo>
                <a:lnTo>
                  <a:pt x="1041330" y="1275505"/>
                </a:lnTo>
                <a:lnTo>
                  <a:pt x="1043613" y="1280069"/>
                </a:lnTo>
                <a:lnTo>
                  <a:pt x="1050464" y="1289196"/>
                </a:lnTo>
                <a:lnTo>
                  <a:pt x="1061882" y="1305169"/>
                </a:lnTo>
                <a:lnTo>
                  <a:pt x="1064165" y="1307451"/>
                </a:lnTo>
                <a:lnTo>
                  <a:pt x="1064165" y="1309724"/>
                </a:lnTo>
                <a:lnTo>
                  <a:pt x="1066449" y="1309724"/>
                </a:lnTo>
                <a:lnTo>
                  <a:pt x="1066449" y="1312015"/>
                </a:lnTo>
                <a:lnTo>
                  <a:pt x="1071016" y="1314297"/>
                </a:lnTo>
                <a:lnTo>
                  <a:pt x="1075583" y="1316569"/>
                </a:lnTo>
                <a:lnTo>
                  <a:pt x="1077867" y="1318851"/>
                </a:lnTo>
                <a:lnTo>
                  <a:pt x="1080150" y="1318851"/>
                </a:lnTo>
                <a:lnTo>
                  <a:pt x="1082434" y="1321133"/>
                </a:lnTo>
                <a:lnTo>
                  <a:pt x="1089285" y="1323415"/>
                </a:lnTo>
                <a:lnTo>
                  <a:pt x="1091568" y="1325697"/>
                </a:lnTo>
                <a:lnTo>
                  <a:pt x="1093852" y="1325697"/>
                </a:lnTo>
                <a:lnTo>
                  <a:pt x="1096136" y="1325697"/>
                </a:lnTo>
                <a:lnTo>
                  <a:pt x="1112121" y="1332543"/>
                </a:lnTo>
                <a:lnTo>
                  <a:pt x="1114405" y="1332543"/>
                </a:lnTo>
                <a:lnTo>
                  <a:pt x="1112121" y="1334824"/>
                </a:lnTo>
                <a:lnTo>
                  <a:pt x="1109837" y="1337106"/>
                </a:lnTo>
                <a:lnTo>
                  <a:pt x="1107553" y="1339388"/>
                </a:lnTo>
                <a:lnTo>
                  <a:pt x="1105270" y="1341670"/>
                </a:lnTo>
                <a:lnTo>
                  <a:pt x="1102986" y="1343952"/>
                </a:lnTo>
                <a:lnTo>
                  <a:pt x="1102986" y="1346234"/>
                </a:lnTo>
                <a:lnTo>
                  <a:pt x="1100703" y="1346234"/>
                </a:lnTo>
                <a:lnTo>
                  <a:pt x="1100703" y="1348516"/>
                </a:lnTo>
                <a:lnTo>
                  <a:pt x="1098419" y="1348516"/>
                </a:lnTo>
                <a:lnTo>
                  <a:pt x="1096136" y="1353080"/>
                </a:lnTo>
                <a:lnTo>
                  <a:pt x="1093852" y="1355362"/>
                </a:lnTo>
                <a:lnTo>
                  <a:pt x="1084718" y="1364489"/>
                </a:lnTo>
                <a:lnTo>
                  <a:pt x="1084718" y="1366771"/>
                </a:lnTo>
                <a:lnTo>
                  <a:pt x="1082434" y="1366771"/>
                </a:lnTo>
                <a:lnTo>
                  <a:pt x="1082434" y="1369053"/>
                </a:lnTo>
                <a:lnTo>
                  <a:pt x="1080150" y="1371335"/>
                </a:lnTo>
                <a:lnTo>
                  <a:pt x="1077867" y="1373617"/>
                </a:lnTo>
                <a:lnTo>
                  <a:pt x="1075583" y="1375899"/>
                </a:lnTo>
                <a:lnTo>
                  <a:pt x="1075583" y="1378181"/>
                </a:lnTo>
                <a:lnTo>
                  <a:pt x="1073300" y="1380462"/>
                </a:lnTo>
                <a:lnTo>
                  <a:pt x="1073300" y="1382744"/>
                </a:lnTo>
                <a:lnTo>
                  <a:pt x="1071016" y="1382744"/>
                </a:lnTo>
                <a:lnTo>
                  <a:pt x="1071016" y="1385026"/>
                </a:lnTo>
                <a:lnTo>
                  <a:pt x="1066449" y="1382744"/>
                </a:lnTo>
                <a:lnTo>
                  <a:pt x="1061882" y="1382744"/>
                </a:lnTo>
                <a:lnTo>
                  <a:pt x="1059598" y="1380462"/>
                </a:lnTo>
                <a:lnTo>
                  <a:pt x="1057315" y="1378181"/>
                </a:lnTo>
                <a:lnTo>
                  <a:pt x="1055031" y="1375899"/>
                </a:lnTo>
                <a:lnTo>
                  <a:pt x="1052747" y="1375899"/>
                </a:lnTo>
                <a:lnTo>
                  <a:pt x="1052747" y="1373617"/>
                </a:lnTo>
                <a:lnTo>
                  <a:pt x="1050464" y="1373617"/>
                </a:lnTo>
                <a:lnTo>
                  <a:pt x="1050464" y="1371335"/>
                </a:lnTo>
                <a:lnTo>
                  <a:pt x="1048180" y="1371335"/>
                </a:lnTo>
                <a:lnTo>
                  <a:pt x="1048180" y="1369053"/>
                </a:lnTo>
                <a:lnTo>
                  <a:pt x="1045897" y="1369053"/>
                </a:lnTo>
                <a:lnTo>
                  <a:pt x="1045897" y="1366771"/>
                </a:lnTo>
                <a:lnTo>
                  <a:pt x="1045897" y="1369053"/>
                </a:lnTo>
                <a:lnTo>
                  <a:pt x="1043613" y="1369053"/>
                </a:lnTo>
                <a:lnTo>
                  <a:pt x="1041330" y="1369053"/>
                </a:lnTo>
                <a:lnTo>
                  <a:pt x="1041330" y="1371335"/>
                </a:lnTo>
                <a:lnTo>
                  <a:pt x="1039046" y="1371335"/>
                </a:lnTo>
                <a:lnTo>
                  <a:pt x="1039046" y="1373617"/>
                </a:lnTo>
                <a:lnTo>
                  <a:pt x="1036762" y="1373617"/>
                </a:lnTo>
                <a:lnTo>
                  <a:pt x="1036762" y="1371335"/>
                </a:lnTo>
                <a:lnTo>
                  <a:pt x="1034478" y="1371335"/>
                </a:lnTo>
                <a:lnTo>
                  <a:pt x="1032195" y="1371335"/>
                </a:lnTo>
                <a:lnTo>
                  <a:pt x="1029911" y="1371335"/>
                </a:lnTo>
                <a:lnTo>
                  <a:pt x="1029911" y="1373617"/>
                </a:lnTo>
                <a:lnTo>
                  <a:pt x="1027628" y="1373617"/>
                </a:lnTo>
                <a:lnTo>
                  <a:pt x="1027628" y="1375899"/>
                </a:lnTo>
                <a:lnTo>
                  <a:pt x="1025344" y="1375899"/>
                </a:lnTo>
                <a:lnTo>
                  <a:pt x="1023060" y="1375899"/>
                </a:lnTo>
                <a:lnTo>
                  <a:pt x="1023060" y="1373617"/>
                </a:lnTo>
                <a:lnTo>
                  <a:pt x="1020777" y="1373617"/>
                </a:lnTo>
                <a:lnTo>
                  <a:pt x="1020777" y="1375899"/>
                </a:lnTo>
                <a:lnTo>
                  <a:pt x="1018493" y="1375899"/>
                </a:lnTo>
                <a:lnTo>
                  <a:pt x="1018493" y="1378181"/>
                </a:lnTo>
                <a:lnTo>
                  <a:pt x="1018493" y="1380462"/>
                </a:lnTo>
                <a:lnTo>
                  <a:pt x="1016210" y="1380462"/>
                </a:lnTo>
                <a:lnTo>
                  <a:pt x="1016210" y="1378181"/>
                </a:lnTo>
                <a:lnTo>
                  <a:pt x="1013926" y="1375899"/>
                </a:lnTo>
                <a:lnTo>
                  <a:pt x="1013926" y="1373617"/>
                </a:lnTo>
                <a:lnTo>
                  <a:pt x="1011643" y="1373617"/>
                </a:lnTo>
                <a:lnTo>
                  <a:pt x="1011643" y="1375899"/>
                </a:lnTo>
                <a:lnTo>
                  <a:pt x="1011643" y="1378181"/>
                </a:lnTo>
                <a:lnTo>
                  <a:pt x="1009359" y="1378181"/>
                </a:lnTo>
                <a:lnTo>
                  <a:pt x="1007075" y="1378181"/>
                </a:lnTo>
                <a:lnTo>
                  <a:pt x="1004792" y="1378181"/>
                </a:lnTo>
                <a:lnTo>
                  <a:pt x="1002508" y="1378181"/>
                </a:lnTo>
                <a:lnTo>
                  <a:pt x="1000225" y="1378181"/>
                </a:lnTo>
                <a:lnTo>
                  <a:pt x="1000225" y="1380462"/>
                </a:lnTo>
                <a:lnTo>
                  <a:pt x="997941" y="1380462"/>
                </a:lnTo>
                <a:lnTo>
                  <a:pt x="995657" y="1380462"/>
                </a:lnTo>
                <a:lnTo>
                  <a:pt x="995657" y="1378181"/>
                </a:lnTo>
                <a:lnTo>
                  <a:pt x="993374" y="1378181"/>
                </a:lnTo>
                <a:lnTo>
                  <a:pt x="991090" y="1378181"/>
                </a:lnTo>
                <a:lnTo>
                  <a:pt x="991090" y="1380462"/>
                </a:lnTo>
                <a:lnTo>
                  <a:pt x="988807" y="1380462"/>
                </a:lnTo>
                <a:lnTo>
                  <a:pt x="988807" y="1378181"/>
                </a:lnTo>
                <a:lnTo>
                  <a:pt x="986523" y="1378181"/>
                </a:lnTo>
                <a:lnTo>
                  <a:pt x="986523" y="1375899"/>
                </a:lnTo>
                <a:lnTo>
                  <a:pt x="986523" y="1373617"/>
                </a:lnTo>
                <a:lnTo>
                  <a:pt x="988807" y="1373617"/>
                </a:lnTo>
                <a:lnTo>
                  <a:pt x="986523" y="1371335"/>
                </a:lnTo>
                <a:lnTo>
                  <a:pt x="984240" y="1371335"/>
                </a:lnTo>
                <a:lnTo>
                  <a:pt x="984240" y="1369053"/>
                </a:lnTo>
                <a:lnTo>
                  <a:pt x="984240" y="1366771"/>
                </a:lnTo>
                <a:lnTo>
                  <a:pt x="981956" y="1366771"/>
                </a:lnTo>
                <a:lnTo>
                  <a:pt x="981956" y="1364489"/>
                </a:lnTo>
                <a:lnTo>
                  <a:pt x="981956" y="1362207"/>
                </a:lnTo>
                <a:lnTo>
                  <a:pt x="981956" y="1359925"/>
                </a:lnTo>
                <a:lnTo>
                  <a:pt x="981956" y="1357643"/>
                </a:lnTo>
                <a:lnTo>
                  <a:pt x="981956" y="1355362"/>
                </a:lnTo>
                <a:lnTo>
                  <a:pt x="979672" y="1355362"/>
                </a:lnTo>
                <a:lnTo>
                  <a:pt x="977389" y="1355362"/>
                </a:lnTo>
                <a:lnTo>
                  <a:pt x="977389" y="1357643"/>
                </a:lnTo>
                <a:lnTo>
                  <a:pt x="977389" y="1355362"/>
                </a:lnTo>
                <a:lnTo>
                  <a:pt x="975105" y="1355362"/>
                </a:lnTo>
                <a:lnTo>
                  <a:pt x="972822" y="1355362"/>
                </a:lnTo>
                <a:lnTo>
                  <a:pt x="972822" y="1357643"/>
                </a:lnTo>
                <a:lnTo>
                  <a:pt x="970538" y="1357643"/>
                </a:lnTo>
                <a:lnTo>
                  <a:pt x="968255" y="1357643"/>
                </a:lnTo>
                <a:lnTo>
                  <a:pt x="968255" y="1355362"/>
                </a:lnTo>
                <a:lnTo>
                  <a:pt x="968255" y="1357643"/>
                </a:lnTo>
                <a:lnTo>
                  <a:pt x="965970" y="1357643"/>
                </a:lnTo>
                <a:lnTo>
                  <a:pt x="963687" y="1357643"/>
                </a:lnTo>
                <a:lnTo>
                  <a:pt x="961403" y="1357643"/>
                </a:lnTo>
                <a:lnTo>
                  <a:pt x="961403" y="1359925"/>
                </a:lnTo>
                <a:lnTo>
                  <a:pt x="961403" y="1362207"/>
                </a:lnTo>
                <a:lnTo>
                  <a:pt x="959120" y="1362207"/>
                </a:lnTo>
                <a:lnTo>
                  <a:pt x="961403" y="1362207"/>
                </a:lnTo>
                <a:lnTo>
                  <a:pt x="961403" y="1364489"/>
                </a:lnTo>
                <a:lnTo>
                  <a:pt x="961403" y="1366771"/>
                </a:lnTo>
                <a:lnTo>
                  <a:pt x="959120" y="1366771"/>
                </a:lnTo>
                <a:lnTo>
                  <a:pt x="959120" y="1369053"/>
                </a:lnTo>
                <a:lnTo>
                  <a:pt x="959120" y="1366771"/>
                </a:lnTo>
                <a:lnTo>
                  <a:pt x="956836" y="1366771"/>
                </a:lnTo>
                <a:lnTo>
                  <a:pt x="956836" y="1369053"/>
                </a:lnTo>
                <a:lnTo>
                  <a:pt x="956836" y="1371335"/>
                </a:lnTo>
                <a:lnTo>
                  <a:pt x="954553" y="1371335"/>
                </a:lnTo>
                <a:lnTo>
                  <a:pt x="952269" y="1371335"/>
                </a:lnTo>
                <a:lnTo>
                  <a:pt x="952269" y="1373617"/>
                </a:lnTo>
                <a:lnTo>
                  <a:pt x="949985" y="1373617"/>
                </a:lnTo>
                <a:lnTo>
                  <a:pt x="947702" y="1373617"/>
                </a:lnTo>
                <a:lnTo>
                  <a:pt x="945418" y="1373617"/>
                </a:lnTo>
                <a:lnTo>
                  <a:pt x="945418" y="1371335"/>
                </a:lnTo>
                <a:lnTo>
                  <a:pt x="947702" y="1371335"/>
                </a:lnTo>
                <a:lnTo>
                  <a:pt x="947702" y="1369053"/>
                </a:lnTo>
                <a:lnTo>
                  <a:pt x="945418" y="1369053"/>
                </a:lnTo>
                <a:lnTo>
                  <a:pt x="945418" y="1366771"/>
                </a:lnTo>
                <a:lnTo>
                  <a:pt x="943135" y="1366771"/>
                </a:lnTo>
                <a:lnTo>
                  <a:pt x="943135" y="1369053"/>
                </a:lnTo>
                <a:lnTo>
                  <a:pt x="940851" y="1369053"/>
                </a:lnTo>
                <a:lnTo>
                  <a:pt x="938567" y="1366771"/>
                </a:lnTo>
                <a:lnTo>
                  <a:pt x="940851" y="1366771"/>
                </a:lnTo>
                <a:lnTo>
                  <a:pt x="940851" y="1364489"/>
                </a:lnTo>
                <a:lnTo>
                  <a:pt x="938567" y="1364489"/>
                </a:lnTo>
                <a:lnTo>
                  <a:pt x="938567" y="1366771"/>
                </a:lnTo>
                <a:lnTo>
                  <a:pt x="938567" y="1364489"/>
                </a:lnTo>
                <a:lnTo>
                  <a:pt x="940851" y="1364489"/>
                </a:lnTo>
                <a:lnTo>
                  <a:pt x="938567" y="1364489"/>
                </a:lnTo>
                <a:lnTo>
                  <a:pt x="938567" y="1362207"/>
                </a:lnTo>
                <a:lnTo>
                  <a:pt x="936284" y="1362207"/>
                </a:lnTo>
                <a:lnTo>
                  <a:pt x="936284" y="1359925"/>
                </a:lnTo>
                <a:lnTo>
                  <a:pt x="934000" y="1359925"/>
                </a:lnTo>
                <a:lnTo>
                  <a:pt x="934000" y="1357643"/>
                </a:lnTo>
                <a:lnTo>
                  <a:pt x="931717" y="1357643"/>
                </a:lnTo>
                <a:lnTo>
                  <a:pt x="929433" y="1357643"/>
                </a:lnTo>
                <a:lnTo>
                  <a:pt x="929433" y="1359925"/>
                </a:lnTo>
                <a:lnTo>
                  <a:pt x="931717" y="1359925"/>
                </a:lnTo>
                <a:lnTo>
                  <a:pt x="931717" y="1362207"/>
                </a:lnTo>
                <a:lnTo>
                  <a:pt x="929433" y="1362207"/>
                </a:lnTo>
                <a:lnTo>
                  <a:pt x="927150" y="1362207"/>
                </a:lnTo>
                <a:lnTo>
                  <a:pt x="924866" y="1362207"/>
                </a:lnTo>
                <a:lnTo>
                  <a:pt x="924866" y="1359925"/>
                </a:lnTo>
                <a:lnTo>
                  <a:pt x="924866" y="1357643"/>
                </a:lnTo>
                <a:lnTo>
                  <a:pt x="922582" y="1357643"/>
                </a:lnTo>
                <a:lnTo>
                  <a:pt x="922582" y="1355362"/>
                </a:lnTo>
                <a:lnTo>
                  <a:pt x="922582" y="1353080"/>
                </a:lnTo>
                <a:lnTo>
                  <a:pt x="920299" y="1353080"/>
                </a:lnTo>
                <a:lnTo>
                  <a:pt x="920299" y="1350798"/>
                </a:lnTo>
                <a:lnTo>
                  <a:pt x="918015" y="1350798"/>
                </a:lnTo>
                <a:lnTo>
                  <a:pt x="918015" y="1353080"/>
                </a:lnTo>
                <a:lnTo>
                  <a:pt x="915732" y="1353080"/>
                </a:lnTo>
                <a:lnTo>
                  <a:pt x="915732" y="1350798"/>
                </a:lnTo>
                <a:lnTo>
                  <a:pt x="915732" y="1348516"/>
                </a:lnTo>
                <a:lnTo>
                  <a:pt x="913448" y="1348516"/>
                </a:lnTo>
                <a:lnTo>
                  <a:pt x="913448" y="1350798"/>
                </a:lnTo>
                <a:lnTo>
                  <a:pt x="911165" y="1350798"/>
                </a:lnTo>
                <a:lnTo>
                  <a:pt x="908881" y="1348516"/>
                </a:lnTo>
                <a:lnTo>
                  <a:pt x="911165" y="1348516"/>
                </a:lnTo>
                <a:lnTo>
                  <a:pt x="908881" y="1348516"/>
                </a:lnTo>
                <a:lnTo>
                  <a:pt x="908881" y="1346234"/>
                </a:lnTo>
                <a:lnTo>
                  <a:pt x="908881" y="1348516"/>
                </a:lnTo>
                <a:lnTo>
                  <a:pt x="908881" y="1346234"/>
                </a:lnTo>
                <a:lnTo>
                  <a:pt x="906597" y="1346234"/>
                </a:lnTo>
                <a:lnTo>
                  <a:pt x="906597" y="1343952"/>
                </a:lnTo>
                <a:lnTo>
                  <a:pt x="906597" y="1346234"/>
                </a:lnTo>
                <a:lnTo>
                  <a:pt x="904314" y="1346234"/>
                </a:lnTo>
                <a:lnTo>
                  <a:pt x="904314" y="1343952"/>
                </a:lnTo>
                <a:lnTo>
                  <a:pt x="902030" y="1343952"/>
                </a:lnTo>
                <a:lnTo>
                  <a:pt x="899746" y="1343952"/>
                </a:lnTo>
                <a:lnTo>
                  <a:pt x="897463" y="1343952"/>
                </a:lnTo>
                <a:lnTo>
                  <a:pt x="895179" y="1343952"/>
                </a:lnTo>
                <a:lnTo>
                  <a:pt x="890612" y="1346234"/>
                </a:lnTo>
                <a:lnTo>
                  <a:pt x="888328" y="1346234"/>
                </a:lnTo>
                <a:lnTo>
                  <a:pt x="886045" y="1346234"/>
                </a:lnTo>
                <a:lnTo>
                  <a:pt x="883761" y="1346234"/>
                </a:lnTo>
                <a:lnTo>
                  <a:pt x="879194" y="1348516"/>
                </a:lnTo>
                <a:lnTo>
                  <a:pt x="872343" y="1353080"/>
                </a:lnTo>
                <a:lnTo>
                  <a:pt x="870060" y="1353080"/>
                </a:lnTo>
                <a:lnTo>
                  <a:pt x="867776" y="1355362"/>
                </a:lnTo>
                <a:lnTo>
                  <a:pt x="865492" y="1355362"/>
                </a:lnTo>
                <a:lnTo>
                  <a:pt x="863209" y="1357643"/>
                </a:lnTo>
                <a:lnTo>
                  <a:pt x="860925" y="1357643"/>
                </a:lnTo>
                <a:lnTo>
                  <a:pt x="858642" y="1359925"/>
                </a:lnTo>
                <a:lnTo>
                  <a:pt x="856358" y="1359925"/>
                </a:lnTo>
                <a:lnTo>
                  <a:pt x="854075" y="1359925"/>
                </a:lnTo>
                <a:lnTo>
                  <a:pt x="851791" y="1359925"/>
                </a:lnTo>
                <a:lnTo>
                  <a:pt x="849507" y="1359925"/>
                </a:lnTo>
                <a:lnTo>
                  <a:pt x="847224" y="1359925"/>
                </a:lnTo>
                <a:lnTo>
                  <a:pt x="844940" y="1359925"/>
                </a:lnTo>
                <a:lnTo>
                  <a:pt x="842657" y="1359925"/>
                </a:lnTo>
                <a:lnTo>
                  <a:pt x="842657" y="1357643"/>
                </a:lnTo>
                <a:lnTo>
                  <a:pt x="840373" y="1357643"/>
                </a:lnTo>
                <a:lnTo>
                  <a:pt x="838089" y="1357643"/>
                </a:lnTo>
                <a:lnTo>
                  <a:pt x="838089" y="1355362"/>
                </a:lnTo>
                <a:lnTo>
                  <a:pt x="835806" y="1355362"/>
                </a:lnTo>
                <a:lnTo>
                  <a:pt x="833522" y="1355362"/>
                </a:lnTo>
                <a:lnTo>
                  <a:pt x="831238" y="1355362"/>
                </a:lnTo>
                <a:lnTo>
                  <a:pt x="828955" y="1355362"/>
                </a:lnTo>
                <a:lnTo>
                  <a:pt x="826671" y="1353080"/>
                </a:lnTo>
                <a:lnTo>
                  <a:pt x="824387" y="1353080"/>
                </a:lnTo>
                <a:lnTo>
                  <a:pt x="824387" y="1355362"/>
                </a:lnTo>
                <a:lnTo>
                  <a:pt x="822095" y="1355362"/>
                </a:lnTo>
                <a:lnTo>
                  <a:pt x="819820" y="1355362"/>
                </a:lnTo>
                <a:lnTo>
                  <a:pt x="817537" y="1355362"/>
                </a:lnTo>
                <a:lnTo>
                  <a:pt x="817537" y="1357643"/>
                </a:lnTo>
                <a:lnTo>
                  <a:pt x="815253" y="1357643"/>
                </a:lnTo>
                <a:lnTo>
                  <a:pt x="815253" y="1359925"/>
                </a:lnTo>
                <a:lnTo>
                  <a:pt x="812970" y="1359925"/>
                </a:lnTo>
                <a:lnTo>
                  <a:pt x="812970" y="1357643"/>
                </a:lnTo>
                <a:lnTo>
                  <a:pt x="812970" y="1359925"/>
                </a:lnTo>
                <a:lnTo>
                  <a:pt x="810686" y="1359925"/>
                </a:lnTo>
                <a:lnTo>
                  <a:pt x="810686" y="1357643"/>
                </a:lnTo>
                <a:lnTo>
                  <a:pt x="808393" y="1357643"/>
                </a:lnTo>
                <a:lnTo>
                  <a:pt x="808393" y="1359925"/>
                </a:lnTo>
                <a:lnTo>
                  <a:pt x="806110" y="1359925"/>
                </a:lnTo>
                <a:lnTo>
                  <a:pt x="803835" y="1359925"/>
                </a:lnTo>
                <a:lnTo>
                  <a:pt x="803835" y="1357643"/>
                </a:lnTo>
                <a:lnTo>
                  <a:pt x="801552" y="1357643"/>
                </a:lnTo>
                <a:lnTo>
                  <a:pt x="801552" y="1355362"/>
                </a:lnTo>
                <a:lnTo>
                  <a:pt x="799268" y="1355362"/>
                </a:lnTo>
                <a:lnTo>
                  <a:pt x="799268" y="1353080"/>
                </a:lnTo>
                <a:lnTo>
                  <a:pt x="799268" y="1350798"/>
                </a:lnTo>
                <a:lnTo>
                  <a:pt x="799268" y="1348516"/>
                </a:lnTo>
                <a:lnTo>
                  <a:pt x="799268" y="1346234"/>
                </a:lnTo>
                <a:lnTo>
                  <a:pt x="799268" y="1343952"/>
                </a:lnTo>
                <a:lnTo>
                  <a:pt x="799268" y="1341670"/>
                </a:lnTo>
                <a:lnTo>
                  <a:pt x="799268" y="1339388"/>
                </a:lnTo>
                <a:lnTo>
                  <a:pt x="799268" y="1337106"/>
                </a:lnTo>
                <a:lnTo>
                  <a:pt x="799268" y="1334824"/>
                </a:lnTo>
                <a:lnTo>
                  <a:pt x="796975" y="1334824"/>
                </a:lnTo>
                <a:lnTo>
                  <a:pt x="796975" y="1337106"/>
                </a:lnTo>
                <a:lnTo>
                  <a:pt x="794691" y="1337106"/>
                </a:lnTo>
                <a:lnTo>
                  <a:pt x="792408" y="1337106"/>
                </a:lnTo>
                <a:lnTo>
                  <a:pt x="790134" y="1337106"/>
                </a:lnTo>
                <a:lnTo>
                  <a:pt x="787841" y="1337106"/>
                </a:lnTo>
                <a:lnTo>
                  <a:pt x="785557" y="1334824"/>
                </a:lnTo>
                <a:lnTo>
                  <a:pt x="783283" y="1334824"/>
                </a:lnTo>
                <a:lnTo>
                  <a:pt x="780999" y="1334824"/>
                </a:lnTo>
                <a:lnTo>
                  <a:pt x="778706" y="1334824"/>
                </a:lnTo>
                <a:lnTo>
                  <a:pt x="778706" y="1337106"/>
                </a:lnTo>
                <a:lnTo>
                  <a:pt x="778706" y="1339388"/>
                </a:lnTo>
                <a:lnTo>
                  <a:pt x="778706" y="1341670"/>
                </a:lnTo>
                <a:lnTo>
                  <a:pt x="778706" y="1343952"/>
                </a:lnTo>
                <a:lnTo>
                  <a:pt x="778706" y="1346234"/>
                </a:lnTo>
                <a:lnTo>
                  <a:pt x="778706" y="1348516"/>
                </a:lnTo>
                <a:lnTo>
                  <a:pt x="778706" y="1350798"/>
                </a:lnTo>
                <a:lnTo>
                  <a:pt x="778706" y="1353080"/>
                </a:lnTo>
                <a:lnTo>
                  <a:pt x="774139" y="1350798"/>
                </a:lnTo>
                <a:lnTo>
                  <a:pt x="771855" y="1348516"/>
                </a:lnTo>
                <a:lnTo>
                  <a:pt x="769582" y="1348516"/>
                </a:lnTo>
                <a:lnTo>
                  <a:pt x="767288" y="1348516"/>
                </a:lnTo>
                <a:lnTo>
                  <a:pt x="765005" y="1348516"/>
                </a:lnTo>
                <a:lnTo>
                  <a:pt x="765005" y="1346234"/>
                </a:lnTo>
                <a:lnTo>
                  <a:pt x="762721" y="1346234"/>
                </a:lnTo>
                <a:lnTo>
                  <a:pt x="760438" y="1348516"/>
                </a:lnTo>
                <a:lnTo>
                  <a:pt x="758154" y="1348516"/>
                </a:lnTo>
                <a:lnTo>
                  <a:pt x="758154" y="1350798"/>
                </a:lnTo>
                <a:lnTo>
                  <a:pt x="755880" y="1350798"/>
                </a:lnTo>
                <a:lnTo>
                  <a:pt x="755880" y="1353080"/>
                </a:lnTo>
                <a:lnTo>
                  <a:pt x="753587" y="1353080"/>
                </a:lnTo>
                <a:lnTo>
                  <a:pt x="751303" y="1353080"/>
                </a:lnTo>
                <a:lnTo>
                  <a:pt x="749020" y="1353080"/>
                </a:lnTo>
                <a:lnTo>
                  <a:pt x="746736" y="1353080"/>
                </a:lnTo>
                <a:lnTo>
                  <a:pt x="746736" y="1355362"/>
                </a:lnTo>
                <a:lnTo>
                  <a:pt x="746736" y="1357643"/>
                </a:lnTo>
                <a:lnTo>
                  <a:pt x="744452" y="1359925"/>
                </a:lnTo>
                <a:lnTo>
                  <a:pt x="744452" y="1362207"/>
                </a:lnTo>
                <a:lnTo>
                  <a:pt x="746736" y="1362207"/>
                </a:lnTo>
                <a:lnTo>
                  <a:pt x="746736" y="1364489"/>
                </a:lnTo>
                <a:lnTo>
                  <a:pt x="746736" y="1366771"/>
                </a:lnTo>
                <a:lnTo>
                  <a:pt x="746736" y="1369053"/>
                </a:lnTo>
                <a:lnTo>
                  <a:pt x="746736" y="1371335"/>
                </a:lnTo>
                <a:lnTo>
                  <a:pt x="744452" y="1373617"/>
                </a:lnTo>
                <a:lnTo>
                  <a:pt x="744452" y="1375899"/>
                </a:lnTo>
                <a:lnTo>
                  <a:pt x="742169" y="1375899"/>
                </a:lnTo>
                <a:lnTo>
                  <a:pt x="739885" y="1375899"/>
                </a:lnTo>
                <a:lnTo>
                  <a:pt x="737602" y="1375899"/>
                </a:lnTo>
                <a:lnTo>
                  <a:pt x="735318" y="1375899"/>
                </a:lnTo>
                <a:lnTo>
                  <a:pt x="733034" y="1375899"/>
                </a:lnTo>
                <a:lnTo>
                  <a:pt x="733034" y="1378181"/>
                </a:lnTo>
                <a:lnTo>
                  <a:pt x="730751" y="1378181"/>
                </a:lnTo>
                <a:lnTo>
                  <a:pt x="728467" y="1378181"/>
                </a:lnTo>
                <a:lnTo>
                  <a:pt x="728467" y="1375899"/>
                </a:lnTo>
                <a:lnTo>
                  <a:pt x="726183" y="1375899"/>
                </a:lnTo>
                <a:lnTo>
                  <a:pt x="726183" y="1373617"/>
                </a:lnTo>
                <a:lnTo>
                  <a:pt x="726183" y="1371335"/>
                </a:lnTo>
                <a:lnTo>
                  <a:pt x="723900" y="1371335"/>
                </a:lnTo>
                <a:lnTo>
                  <a:pt x="721616" y="1371335"/>
                </a:lnTo>
                <a:lnTo>
                  <a:pt x="719333" y="1371335"/>
                </a:lnTo>
                <a:lnTo>
                  <a:pt x="719333" y="1369053"/>
                </a:lnTo>
                <a:lnTo>
                  <a:pt x="717049" y="1369053"/>
                </a:lnTo>
                <a:lnTo>
                  <a:pt x="714765" y="1369053"/>
                </a:lnTo>
                <a:lnTo>
                  <a:pt x="714765" y="1371335"/>
                </a:lnTo>
                <a:lnTo>
                  <a:pt x="712482" y="1371335"/>
                </a:lnTo>
                <a:lnTo>
                  <a:pt x="712482" y="1373617"/>
                </a:lnTo>
                <a:lnTo>
                  <a:pt x="712482" y="1375899"/>
                </a:lnTo>
                <a:lnTo>
                  <a:pt x="710198" y="1375899"/>
                </a:lnTo>
                <a:lnTo>
                  <a:pt x="707915" y="1375899"/>
                </a:lnTo>
                <a:lnTo>
                  <a:pt x="707915" y="1378181"/>
                </a:lnTo>
                <a:lnTo>
                  <a:pt x="705631" y="1378181"/>
                </a:lnTo>
                <a:lnTo>
                  <a:pt x="705631" y="1380462"/>
                </a:lnTo>
                <a:lnTo>
                  <a:pt x="703348" y="1380462"/>
                </a:lnTo>
                <a:lnTo>
                  <a:pt x="701064" y="1380462"/>
                </a:lnTo>
                <a:lnTo>
                  <a:pt x="701064" y="1382744"/>
                </a:lnTo>
                <a:lnTo>
                  <a:pt x="698780" y="1382744"/>
                </a:lnTo>
                <a:lnTo>
                  <a:pt x="698780" y="1385026"/>
                </a:lnTo>
                <a:lnTo>
                  <a:pt x="698780" y="1387308"/>
                </a:lnTo>
                <a:lnTo>
                  <a:pt x="698780" y="1389590"/>
                </a:lnTo>
                <a:lnTo>
                  <a:pt x="696497" y="1389590"/>
                </a:lnTo>
                <a:lnTo>
                  <a:pt x="696497" y="1391872"/>
                </a:lnTo>
                <a:lnTo>
                  <a:pt x="694213" y="1391872"/>
                </a:lnTo>
                <a:lnTo>
                  <a:pt x="689646" y="1387308"/>
                </a:lnTo>
                <a:lnTo>
                  <a:pt x="689646" y="1385026"/>
                </a:lnTo>
                <a:lnTo>
                  <a:pt x="687362" y="1385026"/>
                </a:lnTo>
                <a:lnTo>
                  <a:pt x="685079" y="1382744"/>
                </a:lnTo>
                <a:lnTo>
                  <a:pt x="685079" y="1380462"/>
                </a:lnTo>
                <a:lnTo>
                  <a:pt x="682795" y="1380462"/>
                </a:lnTo>
                <a:lnTo>
                  <a:pt x="682795" y="1378181"/>
                </a:lnTo>
                <a:lnTo>
                  <a:pt x="680512" y="1378181"/>
                </a:lnTo>
                <a:lnTo>
                  <a:pt x="678228" y="1375899"/>
                </a:lnTo>
                <a:lnTo>
                  <a:pt x="675945" y="1373617"/>
                </a:lnTo>
                <a:lnTo>
                  <a:pt x="673661" y="1373617"/>
                </a:lnTo>
                <a:lnTo>
                  <a:pt x="671377" y="1373617"/>
                </a:lnTo>
                <a:lnTo>
                  <a:pt x="669094" y="1371335"/>
                </a:lnTo>
                <a:lnTo>
                  <a:pt x="666810" y="1371335"/>
                </a:lnTo>
                <a:lnTo>
                  <a:pt x="666810" y="1373617"/>
                </a:lnTo>
                <a:lnTo>
                  <a:pt x="664526" y="1373617"/>
                </a:lnTo>
                <a:lnTo>
                  <a:pt x="664526" y="1375899"/>
                </a:lnTo>
                <a:lnTo>
                  <a:pt x="662243" y="1375899"/>
                </a:lnTo>
                <a:lnTo>
                  <a:pt x="662243" y="1378181"/>
                </a:lnTo>
                <a:lnTo>
                  <a:pt x="659959" y="1378181"/>
                </a:lnTo>
                <a:lnTo>
                  <a:pt x="659959" y="1380462"/>
                </a:lnTo>
                <a:lnTo>
                  <a:pt x="657675" y="1380462"/>
                </a:lnTo>
                <a:lnTo>
                  <a:pt x="655392" y="1380462"/>
                </a:lnTo>
                <a:lnTo>
                  <a:pt x="653108" y="1380462"/>
                </a:lnTo>
                <a:lnTo>
                  <a:pt x="653108" y="1382744"/>
                </a:lnTo>
                <a:lnTo>
                  <a:pt x="650825" y="1382744"/>
                </a:lnTo>
                <a:lnTo>
                  <a:pt x="648541" y="1382744"/>
                </a:lnTo>
                <a:lnTo>
                  <a:pt x="648541" y="1385026"/>
                </a:lnTo>
                <a:lnTo>
                  <a:pt x="646258" y="1382744"/>
                </a:lnTo>
                <a:lnTo>
                  <a:pt x="643974" y="1382744"/>
                </a:lnTo>
                <a:lnTo>
                  <a:pt x="643974" y="1380462"/>
                </a:lnTo>
                <a:lnTo>
                  <a:pt x="641690" y="1380462"/>
                </a:lnTo>
                <a:lnTo>
                  <a:pt x="639407" y="1380462"/>
                </a:lnTo>
                <a:lnTo>
                  <a:pt x="639407" y="1378181"/>
                </a:lnTo>
                <a:lnTo>
                  <a:pt x="637123" y="1375899"/>
                </a:lnTo>
                <a:lnTo>
                  <a:pt x="634840" y="1373617"/>
                </a:lnTo>
                <a:lnTo>
                  <a:pt x="632556" y="1373617"/>
                </a:lnTo>
                <a:lnTo>
                  <a:pt x="627989" y="1371335"/>
                </a:lnTo>
                <a:lnTo>
                  <a:pt x="625705" y="1369053"/>
                </a:lnTo>
                <a:lnTo>
                  <a:pt x="623422" y="1369053"/>
                </a:lnTo>
                <a:lnTo>
                  <a:pt x="621138" y="1369053"/>
                </a:lnTo>
                <a:lnTo>
                  <a:pt x="618855" y="1366771"/>
                </a:lnTo>
                <a:lnTo>
                  <a:pt x="616571" y="1366771"/>
                </a:lnTo>
                <a:lnTo>
                  <a:pt x="614287" y="1366771"/>
                </a:lnTo>
                <a:lnTo>
                  <a:pt x="612004" y="1364489"/>
                </a:lnTo>
                <a:lnTo>
                  <a:pt x="612004" y="1366771"/>
                </a:lnTo>
                <a:lnTo>
                  <a:pt x="609720" y="1371335"/>
                </a:lnTo>
                <a:lnTo>
                  <a:pt x="609720" y="1373617"/>
                </a:lnTo>
                <a:lnTo>
                  <a:pt x="607437" y="1375899"/>
                </a:lnTo>
                <a:lnTo>
                  <a:pt x="607437" y="1378181"/>
                </a:lnTo>
                <a:lnTo>
                  <a:pt x="605153" y="1378181"/>
                </a:lnTo>
                <a:lnTo>
                  <a:pt x="602870" y="1378181"/>
                </a:lnTo>
                <a:lnTo>
                  <a:pt x="600585" y="1378181"/>
                </a:lnTo>
                <a:lnTo>
                  <a:pt x="600585" y="1375899"/>
                </a:lnTo>
                <a:lnTo>
                  <a:pt x="600585" y="1373617"/>
                </a:lnTo>
                <a:lnTo>
                  <a:pt x="598302" y="1373617"/>
                </a:lnTo>
                <a:lnTo>
                  <a:pt x="598302" y="1375899"/>
                </a:lnTo>
                <a:lnTo>
                  <a:pt x="596018" y="1375899"/>
                </a:lnTo>
                <a:lnTo>
                  <a:pt x="593735" y="1375899"/>
                </a:lnTo>
                <a:lnTo>
                  <a:pt x="593735" y="1378181"/>
                </a:lnTo>
                <a:lnTo>
                  <a:pt x="593735" y="1375899"/>
                </a:lnTo>
                <a:lnTo>
                  <a:pt x="591451" y="1375899"/>
                </a:lnTo>
                <a:lnTo>
                  <a:pt x="589168" y="1375899"/>
                </a:lnTo>
                <a:lnTo>
                  <a:pt x="586884" y="1375899"/>
                </a:lnTo>
                <a:lnTo>
                  <a:pt x="584600" y="1375899"/>
                </a:lnTo>
                <a:lnTo>
                  <a:pt x="582317" y="1375899"/>
                </a:lnTo>
                <a:lnTo>
                  <a:pt x="582317" y="1378181"/>
                </a:lnTo>
                <a:lnTo>
                  <a:pt x="582317" y="1380462"/>
                </a:lnTo>
                <a:lnTo>
                  <a:pt x="582317" y="1382744"/>
                </a:lnTo>
                <a:lnTo>
                  <a:pt x="582317" y="1385026"/>
                </a:lnTo>
                <a:lnTo>
                  <a:pt x="580033" y="1385026"/>
                </a:lnTo>
                <a:lnTo>
                  <a:pt x="577750" y="1385026"/>
                </a:lnTo>
                <a:lnTo>
                  <a:pt x="577750" y="1387308"/>
                </a:lnTo>
                <a:lnTo>
                  <a:pt x="577750" y="1389590"/>
                </a:lnTo>
                <a:lnTo>
                  <a:pt x="577750" y="1391872"/>
                </a:lnTo>
                <a:lnTo>
                  <a:pt x="577750" y="1394154"/>
                </a:lnTo>
                <a:lnTo>
                  <a:pt x="575466" y="1394154"/>
                </a:lnTo>
                <a:lnTo>
                  <a:pt x="575466" y="1396436"/>
                </a:lnTo>
                <a:lnTo>
                  <a:pt x="573183" y="1396436"/>
                </a:lnTo>
                <a:lnTo>
                  <a:pt x="573183" y="1398718"/>
                </a:lnTo>
                <a:lnTo>
                  <a:pt x="573183" y="1400999"/>
                </a:lnTo>
                <a:lnTo>
                  <a:pt x="573183" y="1403281"/>
                </a:lnTo>
                <a:lnTo>
                  <a:pt x="570899" y="1403281"/>
                </a:lnTo>
                <a:lnTo>
                  <a:pt x="568615" y="1403281"/>
                </a:lnTo>
                <a:lnTo>
                  <a:pt x="568615" y="1405563"/>
                </a:lnTo>
                <a:lnTo>
                  <a:pt x="566332" y="1405563"/>
                </a:lnTo>
                <a:lnTo>
                  <a:pt x="566332" y="1407845"/>
                </a:lnTo>
                <a:lnTo>
                  <a:pt x="564048" y="1407845"/>
                </a:lnTo>
                <a:lnTo>
                  <a:pt x="564048" y="1405563"/>
                </a:lnTo>
                <a:lnTo>
                  <a:pt x="561764" y="1405563"/>
                </a:lnTo>
                <a:lnTo>
                  <a:pt x="559481" y="1405563"/>
                </a:lnTo>
                <a:lnTo>
                  <a:pt x="557197" y="1405563"/>
                </a:lnTo>
                <a:lnTo>
                  <a:pt x="557197" y="1403281"/>
                </a:lnTo>
                <a:lnTo>
                  <a:pt x="554914" y="1403281"/>
                </a:lnTo>
                <a:lnTo>
                  <a:pt x="554914" y="1400999"/>
                </a:lnTo>
                <a:lnTo>
                  <a:pt x="552630" y="1400999"/>
                </a:lnTo>
                <a:lnTo>
                  <a:pt x="552630" y="1398718"/>
                </a:lnTo>
                <a:lnTo>
                  <a:pt x="550347" y="1398718"/>
                </a:lnTo>
                <a:lnTo>
                  <a:pt x="550347" y="1396436"/>
                </a:lnTo>
                <a:lnTo>
                  <a:pt x="548063" y="1396436"/>
                </a:lnTo>
                <a:lnTo>
                  <a:pt x="545779" y="1396436"/>
                </a:lnTo>
                <a:lnTo>
                  <a:pt x="543496" y="1396436"/>
                </a:lnTo>
                <a:lnTo>
                  <a:pt x="541212" y="1396436"/>
                </a:lnTo>
                <a:lnTo>
                  <a:pt x="538929" y="1396436"/>
                </a:lnTo>
                <a:lnTo>
                  <a:pt x="538929" y="1398718"/>
                </a:lnTo>
                <a:lnTo>
                  <a:pt x="536645" y="1398718"/>
                </a:lnTo>
                <a:lnTo>
                  <a:pt x="536645" y="1400999"/>
                </a:lnTo>
                <a:lnTo>
                  <a:pt x="534362" y="1400999"/>
                </a:lnTo>
                <a:lnTo>
                  <a:pt x="532078" y="1400999"/>
                </a:lnTo>
                <a:lnTo>
                  <a:pt x="532078" y="1403281"/>
                </a:lnTo>
                <a:lnTo>
                  <a:pt x="532078" y="1405563"/>
                </a:lnTo>
                <a:lnTo>
                  <a:pt x="532078" y="1407845"/>
                </a:lnTo>
                <a:lnTo>
                  <a:pt x="532078" y="1410127"/>
                </a:lnTo>
                <a:lnTo>
                  <a:pt x="532078" y="1412409"/>
                </a:lnTo>
                <a:lnTo>
                  <a:pt x="529794" y="1412409"/>
                </a:lnTo>
                <a:lnTo>
                  <a:pt x="532078" y="1412409"/>
                </a:lnTo>
                <a:lnTo>
                  <a:pt x="532078" y="1414691"/>
                </a:lnTo>
                <a:lnTo>
                  <a:pt x="534362" y="1414691"/>
                </a:lnTo>
                <a:lnTo>
                  <a:pt x="534362" y="1416973"/>
                </a:lnTo>
                <a:lnTo>
                  <a:pt x="534362" y="1419255"/>
                </a:lnTo>
                <a:lnTo>
                  <a:pt x="532078" y="1419255"/>
                </a:lnTo>
                <a:lnTo>
                  <a:pt x="532078" y="1421537"/>
                </a:lnTo>
                <a:lnTo>
                  <a:pt x="529794" y="1421537"/>
                </a:lnTo>
                <a:lnTo>
                  <a:pt x="529794" y="1419255"/>
                </a:lnTo>
                <a:lnTo>
                  <a:pt x="529794" y="1421537"/>
                </a:lnTo>
                <a:lnTo>
                  <a:pt x="527511" y="1421537"/>
                </a:lnTo>
                <a:lnTo>
                  <a:pt x="525227" y="1421537"/>
                </a:lnTo>
                <a:lnTo>
                  <a:pt x="527511" y="1421537"/>
                </a:lnTo>
                <a:lnTo>
                  <a:pt x="525227" y="1421537"/>
                </a:lnTo>
                <a:lnTo>
                  <a:pt x="525227" y="1423818"/>
                </a:lnTo>
                <a:lnTo>
                  <a:pt x="525227" y="1421537"/>
                </a:lnTo>
                <a:lnTo>
                  <a:pt x="522943" y="1421537"/>
                </a:lnTo>
                <a:lnTo>
                  <a:pt x="520660" y="1421537"/>
                </a:lnTo>
                <a:lnTo>
                  <a:pt x="518376" y="1421537"/>
                </a:lnTo>
                <a:lnTo>
                  <a:pt x="516093" y="1421537"/>
                </a:lnTo>
                <a:lnTo>
                  <a:pt x="513809" y="1421537"/>
                </a:lnTo>
                <a:lnTo>
                  <a:pt x="513809" y="1423818"/>
                </a:lnTo>
                <a:lnTo>
                  <a:pt x="511525" y="1423818"/>
                </a:lnTo>
                <a:lnTo>
                  <a:pt x="509242" y="1423818"/>
                </a:lnTo>
                <a:lnTo>
                  <a:pt x="509242" y="1426100"/>
                </a:lnTo>
                <a:lnTo>
                  <a:pt x="509242" y="1423818"/>
                </a:lnTo>
                <a:lnTo>
                  <a:pt x="509242" y="1426100"/>
                </a:lnTo>
                <a:lnTo>
                  <a:pt x="509242" y="1423818"/>
                </a:lnTo>
                <a:lnTo>
                  <a:pt x="506958" y="1423818"/>
                </a:lnTo>
                <a:lnTo>
                  <a:pt x="504675" y="1423818"/>
                </a:lnTo>
                <a:lnTo>
                  <a:pt x="504675" y="1426100"/>
                </a:lnTo>
                <a:lnTo>
                  <a:pt x="502391" y="1426100"/>
                </a:lnTo>
                <a:lnTo>
                  <a:pt x="502391" y="1423818"/>
                </a:lnTo>
                <a:lnTo>
                  <a:pt x="500108" y="1423818"/>
                </a:lnTo>
                <a:lnTo>
                  <a:pt x="500108" y="1421537"/>
                </a:lnTo>
                <a:lnTo>
                  <a:pt x="497824" y="1421537"/>
                </a:lnTo>
                <a:lnTo>
                  <a:pt x="495540" y="1421537"/>
                </a:lnTo>
                <a:lnTo>
                  <a:pt x="495540" y="1419255"/>
                </a:lnTo>
                <a:lnTo>
                  <a:pt x="497824" y="1419255"/>
                </a:lnTo>
                <a:lnTo>
                  <a:pt x="495540" y="1419255"/>
                </a:lnTo>
                <a:lnTo>
                  <a:pt x="497824" y="1419255"/>
                </a:lnTo>
                <a:lnTo>
                  <a:pt x="495540" y="1419255"/>
                </a:lnTo>
                <a:lnTo>
                  <a:pt x="495540" y="1416973"/>
                </a:lnTo>
                <a:lnTo>
                  <a:pt x="497824" y="1416973"/>
                </a:lnTo>
                <a:lnTo>
                  <a:pt x="495540" y="1416973"/>
                </a:lnTo>
                <a:lnTo>
                  <a:pt x="495540" y="1414691"/>
                </a:lnTo>
                <a:lnTo>
                  <a:pt x="495540" y="1412409"/>
                </a:lnTo>
                <a:lnTo>
                  <a:pt x="495540" y="1410127"/>
                </a:lnTo>
                <a:lnTo>
                  <a:pt x="495540" y="1412409"/>
                </a:lnTo>
                <a:lnTo>
                  <a:pt x="495540" y="1410127"/>
                </a:lnTo>
                <a:lnTo>
                  <a:pt x="493257" y="1410127"/>
                </a:lnTo>
                <a:lnTo>
                  <a:pt x="490973" y="1410127"/>
                </a:lnTo>
                <a:lnTo>
                  <a:pt x="490973" y="1407845"/>
                </a:lnTo>
                <a:lnTo>
                  <a:pt x="488689" y="1407845"/>
                </a:lnTo>
                <a:lnTo>
                  <a:pt x="488689" y="1405563"/>
                </a:lnTo>
                <a:lnTo>
                  <a:pt x="486406" y="1405563"/>
                </a:lnTo>
                <a:lnTo>
                  <a:pt x="486406" y="1403281"/>
                </a:lnTo>
                <a:lnTo>
                  <a:pt x="488689" y="1403281"/>
                </a:lnTo>
                <a:lnTo>
                  <a:pt x="486406" y="1403281"/>
                </a:lnTo>
                <a:lnTo>
                  <a:pt x="486406" y="1400999"/>
                </a:lnTo>
                <a:lnTo>
                  <a:pt x="484122" y="1400999"/>
                </a:lnTo>
                <a:lnTo>
                  <a:pt x="484122" y="1398718"/>
                </a:lnTo>
                <a:lnTo>
                  <a:pt x="481839" y="1398718"/>
                </a:lnTo>
                <a:lnTo>
                  <a:pt x="481839" y="1396436"/>
                </a:lnTo>
                <a:lnTo>
                  <a:pt x="481839" y="1394154"/>
                </a:lnTo>
                <a:lnTo>
                  <a:pt x="479555" y="1394154"/>
                </a:lnTo>
                <a:lnTo>
                  <a:pt x="477272" y="1394154"/>
                </a:lnTo>
                <a:lnTo>
                  <a:pt x="474988" y="1394154"/>
                </a:lnTo>
                <a:lnTo>
                  <a:pt x="474988" y="1391872"/>
                </a:lnTo>
                <a:lnTo>
                  <a:pt x="477272" y="1391872"/>
                </a:lnTo>
                <a:lnTo>
                  <a:pt x="477272" y="1389590"/>
                </a:lnTo>
                <a:lnTo>
                  <a:pt x="474988" y="1389590"/>
                </a:lnTo>
                <a:lnTo>
                  <a:pt x="474988" y="1387308"/>
                </a:lnTo>
                <a:lnTo>
                  <a:pt x="477272" y="1387308"/>
                </a:lnTo>
                <a:lnTo>
                  <a:pt x="477272" y="1385026"/>
                </a:lnTo>
                <a:lnTo>
                  <a:pt x="477272" y="1382744"/>
                </a:lnTo>
                <a:lnTo>
                  <a:pt x="477272" y="1380462"/>
                </a:lnTo>
                <a:lnTo>
                  <a:pt x="474988" y="1380462"/>
                </a:lnTo>
                <a:lnTo>
                  <a:pt x="474988" y="1378181"/>
                </a:lnTo>
                <a:lnTo>
                  <a:pt x="472704" y="1375899"/>
                </a:lnTo>
                <a:lnTo>
                  <a:pt x="470421" y="1375899"/>
                </a:lnTo>
                <a:lnTo>
                  <a:pt x="470421" y="1378181"/>
                </a:lnTo>
                <a:lnTo>
                  <a:pt x="468137" y="1378181"/>
                </a:lnTo>
                <a:lnTo>
                  <a:pt x="468137" y="1375899"/>
                </a:lnTo>
                <a:lnTo>
                  <a:pt x="470421" y="1375899"/>
                </a:lnTo>
                <a:lnTo>
                  <a:pt x="470421" y="1373617"/>
                </a:lnTo>
                <a:lnTo>
                  <a:pt x="470421" y="1371335"/>
                </a:lnTo>
                <a:lnTo>
                  <a:pt x="468137" y="1371335"/>
                </a:lnTo>
                <a:lnTo>
                  <a:pt x="465854" y="1371335"/>
                </a:lnTo>
                <a:lnTo>
                  <a:pt x="465854" y="1373617"/>
                </a:lnTo>
                <a:lnTo>
                  <a:pt x="468137" y="1373617"/>
                </a:lnTo>
                <a:lnTo>
                  <a:pt x="465854" y="1373617"/>
                </a:lnTo>
                <a:lnTo>
                  <a:pt x="463570" y="1373617"/>
                </a:lnTo>
                <a:lnTo>
                  <a:pt x="463570" y="1371335"/>
                </a:lnTo>
                <a:lnTo>
                  <a:pt x="463570" y="1369053"/>
                </a:lnTo>
                <a:lnTo>
                  <a:pt x="463570" y="1366771"/>
                </a:lnTo>
                <a:lnTo>
                  <a:pt x="461286" y="1366771"/>
                </a:lnTo>
                <a:lnTo>
                  <a:pt x="461286" y="1364489"/>
                </a:lnTo>
                <a:lnTo>
                  <a:pt x="459003" y="1364489"/>
                </a:lnTo>
                <a:lnTo>
                  <a:pt x="456719" y="1364489"/>
                </a:lnTo>
                <a:lnTo>
                  <a:pt x="454435" y="1364489"/>
                </a:lnTo>
                <a:lnTo>
                  <a:pt x="452152" y="1364489"/>
                </a:lnTo>
                <a:lnTo>
                  <a:pt x="452152" y="1362207"/>
                </a:lnTo>
                <a:lnTo>
                  <a:pt x="454435" y="1362207"/>
                </a:lnTo>
                <a:lnTo>
                  <a:pt x="454435" y="1359925"/>
                </a:lnTo>
                <a:lnTo>
                  <a:pt x="454435" y="1357643"/>
                </a:lnTo>
                <a:lnTo>
                  <a:pt x="456719" y="1357643"/>
                </a:lnTo>
                <a:lnTo>
                  <a:pt x="456719" y="1355362"/>
                </a:lnTo>
                <a:lnTo>
                  <a:pt x="454435" y="1355362"/>
                </a:lnTo>
                <a:lnTo>
                  <a:pt x="454435" y="1357643"/>
                </a:lnTo>
                <a:lnTo>
                  <a:pt x="454435" y="1355362"/>
                </a:lnTo>
                <a:lnTo>
                  <a:pt x="454435" y="1353080"/>
                </a:lnTo>
                <a:lnTo>
                  <a:pt x="454435" y="1350798"/>
                </a:lnTo>
                <a:lnTo>
                  <a:pt x="452152" y="1350798"/>
                </a:lnTo>
                <a:lnTo>
                  <a:pt x="452152" y="1353080"/>
                </a:lnTo>
                <a:lnTo>
                  <a:pt x="454435" y="1353080"/>
                </a:lnTo>
                <a:lnTo>
                  <a:pt x="452152" y="1353080"/>
                </a:lnTo>
                <a:lnTo>
                  <a:pt x="449868" y="1350798"/>
                </a:lnTo>
                <a:lnTo>
                  <a:pt x="447585" y="1350798"/>
                </a:lnTo>
                <a:lnTo>
                  <a:pt x="447585" y="1348516"/>
                </a:lnTo>
                <a:lnTo>
                  <a:pt x="449868" y="1348516"/>
                </a:lnTo>
                <a:lnTo>
                  <a:pt x="447585" y="1348516"/>
                </a:lnTo>
                <a:lnTo>
                  <a:pt x="447585" y="1346234"/>
                </a:lnTo>
                <a:lnTo>
                  <a:pt x="447585" y="1343952"/>
                </a:lnTo>
                <a:lnTo>
                  <a:pt x="449868" y="1343952"/>
                </a:lnTo>
                <a:lnTo>
                  <a:pt x="449868" y="1341670"/>
                </a:lnTo>
                <a:lnTo>
                  <a:pt x="449868" y="1339388"/>
                </a:lnTo>
                <a:lnTo>
                  <a:pt x="447585" y="1339388"/>
                </a:lnTo>
                <a:lnTo>
                  <a:pt x="449868" y="1339388"/>
                </a:lnTo>
                <a:lnTo>
                  <a:pt x="447585" y="1339388"/>
                </a:lnTo>
                <a:lnTo>
                  <a:pt x="447585" y="1337106"/>
                </a:lnTo>
                <a:lnTo>
                  <a:pt x="447585" y="1334824"/>
                </a:lnTo>
                <a:lnTo>
                  <a:pt x="445301" y="1334824"/>
                </a:lnTo>
                <a:lnTo>
                  <a:pt x="445301" y="1332543"/>
                </a:lnTo>
                <a:lnTo>
                  <a:pt x="445301" y="1334824"/>
                </a:lnTo>
                <a:lnTo>
                  <a:pt x="445301" y="1332543"/>
                </a:lnTo>
                <a:lnTo>
                  <a:pt x="443018" y="1332543"/>
                </a:lnTo>
                <a:lnTo>
                  <a:pt x="445301" y="1332543"/>
                </a:lnTo>
                <a:lnTo>
                  <a:pt x="443018" y="1332543"/>
                </a:lnTo>
                <a:lnTo>
                  <a:pt x="443018" y="1330261"/>
                </a:lnTo>
                <a:lnTo>
                  <a:pt x="440734" y="1330261"/>
                </a:lnTo>
                <a:lnTo>
                  <a:pt x="443018" y="1330261"/>
                </a:lnTo>
                <a:lnTo>
                  <a:pt x="440734" y="1327979"/>
                </a:lnTo>
                <a:lnTo>
                  <a:pt x="440734" y="1330261"/>
                </a:lnTo>
                <a:lnTo>
                  <a:pt x="440734" y="1327979"/>
                </a:lnTo>
                <a:lnTo>
                  <a:pt x="440734" y="1325697"/>
                </a:lnTo>
                <a:lnTo>
                  <a:pt x="438450" y="1325697"/>
                </a:lnTo>
                <a:lnTo>
                  <a:pt x="438450" y="1323415"/>
                </a:lnTo>
                <a:lnTo>
                  <a:pt x="436167" y="1323415"/>
                </a:lnTo>
                <a:lnTo>
                  <a:pt x="433883" y="1323415"/>
                </a:lnTo>
                <a:lnTo>
                  <a:pt x="433883" y="1321133"/>
                </a:lnTo>
                <a:lnTo>
                  <a:pt x="431600" y="1321133"/>
                </a:lnTo>
                <a:lnTo>
                  <a:pt x="433883" y="1321133"/>
                </a:lnTo>
                <a:lnTo>
                  <a:pt x="431600" y="1321133"/>
                </a:lnTo>
                <a:lnTo>
                  <a:pt x="429316" y="1321133"/>
                </a:lnTo>
                <a:lnTo>
                  <a:pt x="429316" y="1318851"/>
                </a:lnTo>
                <a:lnTo>
                  <a:pt x="427033" y="1318851"/>
                </a:lnTo>
                <a:lnTo>
                  <a:pt x="424749" y="1318851"/>
                </a:lnTo>
                <a:lnTo>
                  <a:pt x="424749" y="1316569"/>
                </a:lnTo>
                <a:lnTo>
                  <a:pt x="422465" y="1316569"/>
                </a:lnTo>
                <a:lnTo>
                  <a:pt x="424749" y="1316569"/>
                </a:lnTo>
                <a:lnTo>
                  <a:pt x="422465" y="1316569"/>
                </a:lnTo>
                <a:lnTo>
                  <a:pt x="420182" y="1316569"/>
                </a:lnTo>
                <a:lnTo>
                  <a:pt x="417898" y="1316569"/>
                </a:lnTo>
                <a:lnTo>
                  <a:pt x="420182" y="1316569"/>
                </a:lnTo>
                <a:lnTo>
                  <a:pt x="420182" y="1318851"/>
                </a:lnTo>
                <a:lnTo>
                  <a:pt x="417898" y="1318851"/>
                </a:lnTo>
                <a:lnTo>
                  <a:pt x="420182" y="1318851"/>
                </a:lnTo>
                <a:lnTo>
                  <a:pt x="420182" y="1316569"/>
                </a:lnTo>
                <a:lnTo>
                  <a:pt x="417898" y="1316569"/>
                </a:lnTo>
                <a:lnTo>
                  <a:pt x="417898" y="1318851"/>
                </a:lnTo>
                <a:lnTo>
                  <a:pt x="417898" y="1316569"/>
                </a:lnTo>
                <a:lnTo>
                  <a:pt x="415614" y="1316569"/>
                </a:lnTo>
                <a:lnTo>
                  <a:pt x="415614" y="1318851"/>
                </a:lnTo>
                <a:lnTo>
                  <a:pt x="413331" y="1318851"/>
                </a:lnTo>
                <a:lnTo>
                  <a:pt x="411047" y="1318851"/>
                </a:lnTo>
                <a:lnTo>
                  <a:pt x="411047" y="1316569"/>
                </a:lnTo>
                <a:lnTo>
                  <a:pt x="408764" y="1316569"/>
                </a:lnTo>
                <a:lnTo>
                  <a:pt x="408764" y="1318851"/>
                </a:lnTo>
                <a:lnTo>
                  <a:pt x="406480" y="1318851"/>
                </a:lnTo>
                <a:lnTo>
                  <a:pt x="404196" y="1318851"/>
                </a:lnTo>
                <a:lnTo>
                  <a:pt x="404196" y="1316569"/>
                </a:lnTo>
                <a:lnTo>
                  <a:pt x="401913" y="1316569"/>
                </a:lnTo>
                <a:lnTo>
                  <a:pt x="401913" y="1318851"/>
                </a:lnTo>
                <a:lnTo>
                  <a:pt x="401913" y="1321133"/>
                </a:lnTo>
                <a:lnTo>
                  <a:pt x="401913" y="1323415"/>
                </a:lnTo>
                <a:lnTo>
                  <a:pt x="399629" y="1323415"/>
                </a:lnTo>
                <a:lnTo>
                  <a:pt x="397346" y="1323415"/>
                </a:lnTo>
                <a:lnTo>
                  <a:pt x="397346" y="1321133"/>
                </a:lnTo>
                <a:lnTo>
                  <a:pt x="397346" y="1318851"/>
                </a:lnTo>
                <a:lnTo>
                  <a:pt x="395062" y="1318851"/>
                </a:lnTo>
                <a:lnTo>
                  <a:pt x="397346" y="1318851"/>
                </a:lnTo>
                <a:lnTo>
                  <a:pt x="397346" y="1316569"/>
                </a:lnTo>
                <a:lnTo>
                  <a:pt x="399629" y="1316569"/>
                </a:lnTo>
                <a:lnTo>
                  <a:pt x="399629" y="1314297"/>
                </a:lnTo>
                <a:lnTo>
                  <a:pt x="399629" y="1312015"/>
                </a:lnTo>
                <a:lnTo>
                  <a:pt x="401913" y="1312015"/>
                </a:lnTo>
                <a:lnTo>
                  <a:pt x="399629" y="1312015"/>
                </a:lnTo>
                <a:lnTo>
                  <a:pt x="399629" y="1309724"/>
                </a:lnTo>
                <a:lnTo>
                  <a:pt x="399629" y="1307451"/>
                </a:lnTo>
                <a:lnTo>
                  <a:pt x="401913" y="1307451"/>
                </a:lnTo>
                <a:lnTo>
                  <a:pt x="399629" y="1307451"/>
                </a:lnTo>
                <a:lnTo>
                  <a:pt x="399629" y="1305169"/>
                </a:lnTo>
                <a:lnTo>
                  <a:pt x="399629" y="1302887"/>
                </a:lnTo>
                <a:lnTo>
                  <a:pt x="399629" y="1305169"/>
                </a:lnTo>
                <a:lnTo>
                  <a:pt x="399629" y="1302887"/>
                </a:lnTo>
                <a:lnTo>
                  <a:pt x="399629" y="1300606"/>
                </a:lnTo>
                <a:lnTo>
                  <a:pt x="397346" y="1300606"/>
                </a:lnTo>
                <a:lnTo>
                  <a:pt x="399629" y="1300606"/>
                </a:lnTo>
                <a:lnTo>
                  <a:pt x="399629" y="1298324"/>
                </a:lnTo>
                <a:lnTo>
                  <a:pt x="397346" y="1298324"/>
                </a:lnTo>
                <a:lnTo>
                  <a:pt x="397346" y="1300606"/>
                </a:lnTo>
                <a:lnTo>
                  <a:pt x="395062" y="1300606"/>
                </a:lnTo>
                <a:lnTo>
                  <a:pt x="395062" y="1302887"/>
                </a:lnTo>
                <a:lnTo>
                  <a:pt x="392779" y="1302887"/>
                </a:lnTo>
                <a:lnTo>
                  <a:pt x="392779" y="1300606"/>
                </a:lnTo>
                <a:lnTo>
                  <a:pt x="392779" y="1302887"/>
                </a:lnTo>
                <a:lnTo>
                  <a:pt x="390495" y="1302887"/>
                </a:lnTo>
                <a:lnTo>
                  <a:pt x="390495" y="1305169"/>
                </a:lnTo>
                <a:lnTo>
                  <a:pt x="390495" y="1302887"/>
                </a:lnTo>
                <a:lnTo>
                  <a:pt x="388211" y="1302887"/>
                </a:lnTo>
                <a:lnTo>
                  <a:pt x="388211" y="1300606"/>
                </a:lnTo>
                <a:lnTo>
                  <a:pt x="385928" y="1300606"/>
                </a:lnTo>
                <a:lnTo>
                  <a:pt x="385928" y="1298324"/>
                </a:lnTo>
                <a:lnTo>
                  <a:pt x="383644" y="1298324"/>
                </a:lnTo>
                <a:lnTo>
                  <a:pt x="383644" y="1296042"/>
                </a:lnTo>
                <a:lnTo>
                  <a:pt x="383644" y="1293760"/>
                </a:lnTo>
                <a:lnTo>
                  <a:pt x="381360" y="1293760"/>
                </a:lnTo>
                <a:lnTo>
                  <a:pt x="383644" y="1293760"/>
                </a:lnTo>
                <a:lnTo>
                  <a:pt x="381360" y="1293760"/>
                </a:lnTo>
                <a:lnTo>
                  <a:pt x="381360" y="1296042"/>
                </a:lnTo>
                <a:lnTo>
                  <a:pt x="379077" y="1296042"/>
                </a:lnTo>
                <a:lnTo>
                  <a:pt x="381360" y="1296042"/>
                </a:lnTo>
                <a:lnTo>
                  <a:pt x="379077" y="1296042"/>
                </a:lnTo>
                <a:lnTo>
                  <a:pt x="376793" y="1296042"/>
                </a:lnTo>
                <a:lnTo>
                  <a:pt x="376793" y="1293760"/>
                </a:lnTo>
                <a:lnTo>
                  <a:pt x="379077" y="1293760"/>
                </a:lnTo>
                <a:lnTo>
                  <a:pt x="376793" y="1293760"/>
                </a:lnTo>
                <a:lnTo>
                  <a:pt x="376793" y="1296042"/>
                </a:lnTo>
                <a:lnTo>
                  <a:pt x="374510" y="1296042"/>
                </a:lnTo>
                <a:lnTo>
                  <a:pt x="376793" y="1296042"/>
                </a:lnTo>
                <a:lnTo>
                  <a:pt x="376793" y="1293760"/>
                </a:lnTo>
                <a:lnTo>
                  <a:pt x="374510" y="1293760"/>
                </a:lnTo>
                <a:lnTo>
                  <a:pt x="374510" y="1291478"/>
                </a:lnTo>
                <a:lnTo>
                  <a:pt x="376793" y="1291478"/>
                </a:lnTo>
                <a:lnTo>
                  <a:pt x="374510" y="1291478"/>
                </a:lnTo>
                <a:lnTo>
                  <a:pt x="372226" y="1291478"/>
                </a:lnTo>
                <a:lnTo>
                  <a:pt x="372226" y="1289196"/>
                </a:lnTo>
                <a:lnTo>
                  <a:pt x="374510" y="1289196"/>
                </a:lnTo>
                <a:lnTo>
                  <a:pt x="374510" y="1291478"/>
                </a:lnTo>
                <a:lnTo>
                  <a:pt x="374510" y="1289196"/>
                </a:lnTo>
                <a:lnTo>
                  <a:pt x="372226" y="1289196"/>
                </a:lnTo>
                <a:lnTo>
                  <a:pt x="372226" y="1291478"/>
                </a:lnTo>
                <a:lnTo>
                  <a:pt x="372226" y="1293760"/>
                </a:lnTo>
                <a:lnTo>
                  <a:pt x="372226" y="1296042"/>
                </a:lnTo>
                <a:lnTo>
                  <a:pt x="369943" y="1296042"/>
                </a:lnTo>
                <a:lnTo>
                  <a:pt x="369943" y="1293760"/>
                </a:lnTo>
                <a:lnTo>
                  <a:pt x="367659" y="1293760"/>
                </a:lnTo>
                <a:lnTo>
                  <a:pt x="367659" y="1291478"/>
                </a:lnTo>
                <a:lnTo>
                  <a:pt x="365375" y="1291478"/>
                </a:lnTo>
                <a:lnTo>
                  <a:pt x="367659" y="1291478"/>
                </a:lnTo>
                <a:lnTo>
                  <a:pt x="367659" y="1289196"/>
                </a:lnTo>
                <a:lnTo>
                  <a:pt x="365375" y="1289196"/>
                </a:lnTo>
                <a:lnTo>
                  <a:pt x="363092" y="1289196"/>
                </a:lnTo>
                <a:lnTo>
                  <a:pt x="363092" y="1286914"/>
                </a:lnTo>
                <a:lnTo>
                  <a:pt x="363092" y="1284632"/>
                </a:lnTo>
                <a:lnTo>
                  <a:pt x="360808" y="1284632"/>
                </a:lnTo>
                <a:lnTo>
                  <a:pt x="360808" y="1282350"/>
                </a:lnTo>
                <a:lnTo>
                  <a:pt x="363092" y="1282350"/>
                </a:lnTo>
                <a:lnTo>
                  <a:pt x="363092" y="1280069"/>
                </a:lnTo>
                <a:lnTo>
                  <a:pt x="360808" y="1280069"/>
                </a:lnTo>
                <a:lnTo>
                  <a:pt x="360808" y="1277787"/>
                </a:lnTo>
                <a:lnTo>
                  <a:pt x="360808" y="1275505"/>
                </a:lnTo>
                <a:lnTo>
                  <a:pt x="360808" y="1273223"/>
                </a:lnTo>
                <a:lnTo>
                  <a:pt x="358525" y="1273223"/>
                </a:lnTo>
                <a:lnTo>
                  <a:pt x="358525" y="1275505"/>
                </a:lnTo>
                <a:lnTo>
                  <a:pt x="356241" y="1275505"/>
                </a:lnTo>
                <a:lnTo>
                  <a:pt x="356241" y="1273223"/>
                </a:lnTo>
                <a:lnTo>
                  <a:pt x="353957" y="1273223"/>
                </a:lnTo>
                <a:lnTo>
                  <a:pt x="351674" y="1273223"/>
                </a:lnTo>
                <a:lnTo>
                  <a:pt x="349390" y="1273223"/>
                </a:lnTo>
                <a:lnTo>
                  <a:pt x="349390" y="1270941"/>
                </a:lnTo>
                <a:lnTo>
                  <a:pt x="347106" y="1270941"/>
                </a:lnTo>
                <a:lnTo>
                  <a:pt x="349390" y="1270941"/>
                </a:lnTo>
                <a:lnTo>
                  <a:pt x="349390" y="1273223"/>
                </a:lnTo>
                <a:lnTo>
                  <a:pt x="347106" y="1273223"/>
                </a:lnTo>
                <a:lnTo>
                  <a:pt x="344823" y="1273223"/>
                </a:lnTo>
                <a:lnTo>
                  <a:pt x="342539" y="1273223"/>
                </a:lnTo>
                <a:lnTo>
                  <a:pt x="342539" y="1275505"/>
                </a:lnTo>
                <a:lnTo>
                  <a:pt x="342539" y="1273223"/>
                </a:lnTo>
                <a:lnTo>
                  <a:pt x="340256" y="1273223"/>
                </a:lnTo>
                <a:lnTo>
                  <a:pt x="337972" y="1273223"/>
                </a:lnTo>
                <a:lnTo>
                  <a:pt x="335689" y="1273223"/>
                </a:lnTo>
                <a:lnTo>
                  <a:pt x="335689" y="1275505"/>
                </a:lnTo>
                <a:lnTo>
                  <a:pt x="335689" y="1273223"/>
                </a:lnTo>
                <a:lnTo>
                  <a:pt x="333405" y="1273223"/>
                </a:lnTo>
                <a:lnTo>
                  <a:pt x="333405" y="1275505"/>
                </a:lnTo>
                <a:lnTo>
                  <a:pt x="333405" y="1277787"/>
                </a:lnTo>
                <a:lnTo>
                  <a:pt x="333405" y="1275505"/>
                </a:lnTo>
                <a:lnTo>
                  <a:pt x="331121" y="1275505"/>
                </a:lnTo>
                <a:lnTo>
                  <a:pt x="331121" y="1277787"/>
                </a:lnTo>
                <a:lnTo>
                  <a:pt x="328838" y="1277787"/>
                </a:lnTo>
                <a:lnTo>
                  <a:pt x="326554" y="1277787"/>
                </a:lnTo>
                <a:lnTo>
                  <a:pt x="328838" y="1277787"/>
                </a:lnTo>
                <a:lnTo>
                  <a:pt x="328838" y="1280069"/>
                </a:lnTo>
                <a:lnTo>
                  <a:pt x="326554" y="1280069"/>
                </a:lnTo>
                <a:lnTo>
                  <a:pt x="324271" y="1280069"/>
                </a:lnTo>
                <a:lnTo>
                  <a:pt x="324271" y="1282350"/>
                </a:lnTo>
                <a:lnTo>
                  <a:pt x="324271" y="1284632"/>
                </a:lnTo>
                <a:lnTo>
                  <a:pt x="324271" y="1282350"/>
                </a:lnTo>
                <a:lnTo>
                  <a:pt x="321987" y="1282350"/>
                </a:lnTo>
                <a:lnTo>
                  <a:pt x="321987" y="1284632"/>
                </a:lnTo>
                <a:lnTo>
                  <a:pt x="319703" y="1284632"/>
                </a:lnTo>
                <a:lnTo>
                  <a:pt x="319703" y="1282350"/>
                </a:lnTo>
                <a:lnTo>
                  <a:pt x="319703" y="1280069"/>
                </a:lnTo>
                <a:lnTo>
                  <a:pt x="319703" y="1277787"/>
                </a:lnTo>
                <a:lnTo>
                  <a:pt x="319703" y="1275505"/>
                </a:lnTo>
                <a:lnTo>
                  <a:pt x="317420" y="1275505"/>
                </a:lnTo>
                <a:lnTo>
                  <a:pt x="317420" y="1273223"/>
                </a:lnTo>
                <a:lnTo>
                  <a:pt x="317420" y="1270941"/>
                </a:lnTo>
                <a:lnTo>
                  <a:pt x="315136" y="1270941"/>
                </a:lnTo>
                <a:lnTo>
                  <a:pt x="315136" y="1268659"/>
                </a:lnTo>
                <a:lnTo>
                  <a:pt x="315136" y="1266377"/>
                </a:lnTo>
                <a:lnTo>
                  <a:pt x="312853" y="1266377"/>
                </a:lnTo>
                <a:lnTo>
                  <a:pt x="312853" y="1264095"/>
                </a:lnTo>
                <a:lnTo>
                  <a:pt x="310569" y="1264095"/>
                </a:lnTo>
                <a:lnTo>
                  <a:pt x="310569" y="1261813"/>
                </a:lnTo>
                <a:lnTo>
                  <a:pt x="312853" y="1261813"/>
                </a:lnTo>
                <a:lnTo>
                  <a:pt x="310569" y="1261813"/>
                </a:lnTo>
                <a:lnTo>
                  <a:pt x="308285" y="1261813"/>
                </a:lnTo>
                <a:lnTo>
                  <a:pt x="310569" y="1261813"/>
                </a:lnTo>
                <a:lnTo>
                  <a:pt x="310569" y="1259531"/>
                </a:lnTo>
                <a:lnTo>
                  <a:pt x="308285" y="1259531"/>
                </a:lnTo>
                <a:lnTo>
                  <a:pt x="308285" y="1257250"/>
                </a:lnTo>
                <a:lnTo>
                  <a:pt x="310569" y="1257250"/>
                </a:lnTo>
                <a:lnTo>
                  <a:pt x="308285" y="1257250"/>
                </a:lnTo>
                <a:lnTo>
                  <a:pt x="308285" y="1254968"/>
                </a:lnTo>
                <a:lnTo>
                  <a:pt x="306002" y="1254968"/>
                </a:lnTo>
                <a:lnTo>
                  <a:pt x="306002" y="1252686"/>
                </a:lnTo>
                <a:lnTo>
                  <a:pt x="306002" y="1250404"/>
                </a:lnTo>
                <a:lnTo>
                  <a:pt x="306002" y="1252686"/>
                </a:lnTo>
                <a:lnTo>
                  <a:pt x="306002" y="1250404"/>
                </a:lnTo>
                <a:lnTo>
                  <a:pt x="303718" y="1250404"/>
                </a:lnTo>
                <a:lnTo>
                  <a:pt x="303718" y="1248122"/>
                </a:lnTo>
                <a:lnTo>
                  <a:pt x="301435" y="1248122"/>
                </a:lnTo>
                <a:lnTo>
                  <a:pt x="299151" y="1248122"/>
                </a:lnTo>
                <a:lnTo>
                  <a:pt x="299151" y="1245840"/>
                </a:lnTo>
                <a:lnTo>
                  <a:pt x="301435" y="1245840"/>
                </a:lnTo>
                <a:lnTo>
                  <a:pt x="301435" y="1243558"/>
                </a:lnTo>
                <a:lnTo>
                  <a:pt x="301435" y="1241276"/>
                </a:lnTo>
                <a:lnTo>
                  <a:pt x="303718" y="1241276"/>
                </a:lnTo>
                <a:lnTo>
                  <a:pt x="303718" y="1238994"/>
                </a:lnTo>
                <a:lnTo>
                  <a:pt x="303718" y="1241276"/>
                </a:lnTo>
                <a:lnTo>
                  <a:pt x="306002" y="1241276"/>
                </a:lnTo>
                <a:lnTo>
                  <a:pt x="306002" y="1238994"/>
                </a:lnTo>
                <a:lnTo>
                  <a:pt x="303718" y="1238994"/>
                </a:lnTo>
                <a:lnTo>
                  <a:pt x="303718" y="1236712"/>
                </a:lnTo>
                <a:lnTo>
                  <a:pt x="301435" y="1236712"/>
                </a:lnTo>
                <a:lnTo>
                  <a:pt x="301435" y="1234431"/>
                </a:lnTo>
                <a:lnTo>
                  <a:pt x="301435" y="1232149"/>
                </a:lnTo>
                <a:lnTo>
                  <a:pt x="301435" y="1229867"/>
                </a:lnTo>
                <a:lnTo>
                  <a:pt x="299151" y="1229867"/>
                </a:lnTo>
                <a:lnTo>
                  <a:pt x="299151" y="1227585"/>
                </a:lnTo>
                <a:lnTo>
                  <a:pt x="296867" y="1227585"/>
                </a:lnTo>
                <a:lnTo>
                  <a:pt x="296867" y="1225303"/>
                </a:lnTo>
                <a:lnTo>
                  <a:pt x="299151" y="1225303"/>
                </a:lnTo>
                <a:lnTo>
                  <a:pt x="299151" y="1223021"/>
                </a:lnTo>
                <a:lnTo>
                  <a:pt x="299151" y="1220739"/>
                </a:lnTo>
                <a:lnTo>
                  <a:pt x="299151" y="1218457"/>
                </a:lnTo>
                <a:lnTo>
                  <a:pt x="299151" y="1216175"/>
                </a:lnTo>
                <a:lnTo>
                  <a:pt x="296867" y="1216175"/>
                </a:lnTo>
                <a:lnTo>
                  <a:pt x="294584" y="1216175"/>
                </a:lnTo>
                <a:lnTo>
                  <a:pt x="292300" y="1216175"/>
                </a:lnTo>
                <a:lnTo>
                  <a:pt x="292300" y="1218457"/>
                </a:lnTo>
                <a:lnTo>
                  <a:pt x="292300" y="1220739"/>
                </a:lnTo>
                <a:lnTo>
                  <a:pt x="292300" y="1223021"/>
                </a:lnTo>
                <a:lnTo>
                  <a:pt x="292300" y="1225303"/>
                </a:lnTo>
                <a:lnTo>
                  <a:pt x="290017" y="1225303"/>
                </a:lnTo>
                <a:lnTo>
                  <a:pt x="290017" y="1223021"/>
                </a:lnTo>
                <a:lnTo>
                  <a:pt x="287733" y="1223021"/>
                </a:lnTo>
                <a:lnTo>
                  <a:pt x="287733" y="1220739"/>
                </a:lnTo>
                <a:lnTo>
                  <a:pt x="285450" y="1220739"/>
                </a:lnTo>
                <a:lnTo>
                  <a:pt x="285450" y="1218457"/>
                </a:lnTo>
                <a:lnTo>
                  <a:pt x="283166" y="1218457"/>
                </a:lnTo>
                <a:lnTo>
                  <a:pt x="283166" y="1216175"/>
                </a:lnTo>
                <a:lnTo>
                  <a:pt x="280882" y="1216175"/>
                </a:lnTo>
                <a:lnTo>
                  <a:pt x="278599" y="1216175"/>
                </a:lnTo>
                <a:lnTo>
                  <a:pt x="276315" y="1216175"/>
                </a:lnTo>
                <a:lnTo>
                  <a:pt x="276315" y="1213894"/>
                </a:lnTo>
                <a:lnTo>
                  <a:pt x="274031" y="1213894"/>
                </a:lnTo>
                <a:lnTo>
                  <a:pt x="271748" y="1213894"/>
                </a:lnTo>
                <a:lnTo>
                  <a:pt x="271748" y="1211612"/>
                </a:lnTo>
                <a:lnTo>
                  <a:pt x="269464" y="1211612"/>
                </a:lnTo>
                <a:lnTo>
                  <a:pt x="269464" y="1209330"/>
                </a:lnTo>
                <a:lnTo>
                  <a:pt x="267181" y="1209330"/>
                </a:lnTo>
                <a:lnTo>
                  <a:pt x="267181" y="1211612"/>
                </a:lnTo>
                <a:lnTo>
                  <a:pt x="264897" y="1211612"/>
                </a:lnTo>
                <a:lnTo>
                  <a:pt x="264897" y="1213894"/>
                </a:lnTo>
                <a:lnTo>
                  <a:pt x="262613" y="1213894"/>
                </a:lnTo>
                <a:lnTo>
                  <a:pt x="262613" y="1216175"/>
                </a:lnTo>
                <a:lnTo>
                  <a:pt x="262613" y="1218457"/>
                </a:lnTo>
                <a:lnTo>
                  <a:pt x="260330" y="1218457"/>
                </a:lnTo>
                <a:lnTo>
                  <a:pt x="258046" y="1218457"/>
                </a:lnTo>
                <a:lnTo>
                  <a:pt x="255763" y="1218457"/>
                </a:lnTo>
                <a:lnTo>
                  <a:pt x="253479" y="1218457"/>
                </a:lnTo>
                <a:lnTo>
                  <a:pt x="251196" y="1218457"/>
                </a:lnTo>
                <a:lnTo>
                  <a:pt x="248912" y="1218457"/>
                </a:lnTo>
                <a:lnTo>
                  <a:pt x="246628" y="1218457"/>
                </a:lnTo>
                <a:lnTo>
                  <a:pt x="246628" y="1220739"/>
                </a:lnTo>
                <a:lnTo>
                  <a:pt x="244345" y="1220739"/>
                </a:lnTo>
                <a:lnTo>
                  <a:pt x="242061" y="1220739"/>
                </a:lnTo>
                <a:lnTo>
                  <a:pt x="239777" y="1218457"/>
                </a:lnTo>
                <a:lnTo>
                  <a:pt x="237494" y="1218457"/>
                </a:lnTo>
                <a:lnTo>
                  <a:pt x="237494" y="1220739"/>
                </a:lnTo>
                <a:lnTo>
                  <a:pt x="237494" y="1223021"/>
                </a:lnTo>
                <a:lnTo>
                  <a:pt x="235210" y="1223021"/>
                </a:lnTo>
                <a:lnTo>
                  <a:pt x="237494" y="1223021"/>
                </a:lnTo>
                <a:lnTo>
                  <a:pt x="239777" y="1223021"/>
                </a:lnTo>
                <a:lnTo>
                  <a:pt x="239777" y="1225303"/>
                </a:lnTo>
                <a:lnTo>
                  <a:pt x="242061" y="1225303"/>
                </a:lnTo>
                <a:lnTo>
                  <a:pt x="242061" y="1227585"/>
                </a:lnTo>
                <a:lnTo>
                  <a:pt x="239777" y="1227585"/>
                </a:lnTo>
                <a:lnTo>
                  <a:pt x="239777" y="1229867"/>
                </a:lnTo>
                <a:lnTo>
                  <a:pt x="239777" y="1232149"/>
                </a:lnTo>
                <a:lnTo>
                  <a:pt x="242061" y="1232149"/>
                </a:lnTo>
                <a:lnTo>
                  <a:pt x="242061" y="1234431"/>
                </a:lnTo>
                <a:lnTo>
                  <a:pt x="239777" y="1234431"/>
                </a:lnTo>
                <a:lnTo>
                  <a:pt x="239777" y="1236712"/>
                </a:lnTo>
                <a:lnTo>
                  <a:pt x="237494" y="1236712"/>
                </a:lnTo>
                <a:lnTo>
                  <a:pt x="235210" y="1236712"/>
                </a:lnTo>
                <a:lnTo>
                  <a:pt x="232927" y="1236712"/>
                </a:lnTo>
                <a:lnTo>
                  <a:pt x="232927" y="1234431"/>
                </a:lnTo>
                <a:lnTo>
                  <a:pt x="232927" y="1232149"/>
                </a:lnTo>
                <a:lnTo>
                  <a:pt x="232927" y="1229867"/>
                </a:lnTo>
                <a:lnTo>
                  <a:pt x="230643" y="1229867"/>
                </a:lnTo>
                <a:lnTo>
                  <a:pt x="230643" y="1227585"/>
                </a:lnTo>
                <a:lnTo>
                  <a:pt x="230643" y="1225303"/>
                </a:lnTo>
                <a:lnTo>
                  <a:pt x="228360" y="1225303"/>
                </a:lnTo>
                <a:lnTo>
                  <a:pt x="226076" y="1225303"/>
                </a:lnTo>
                <a:lnTo>
                  <a:pt x="226076" y="1223021"/>
                </a:lnTo>
                <a:lnTo>
                  <a:pt x="223792" y="1223021"/>
                </a:lnTo>
                <a:lnTo>
                  <a:pt x="223792" y="1225303"/>
                </a:lnTo>
                <a:lnTo>
                  <a:pt x="221509" y="1225303"/>
                </a:lnTo>
                <a:lnTo>
                  <a:pt x="221509" y="1227585"/>
                </a:lnTo>
                <a:lnTo>
                  <a:pt x="221509" y="1229867"/>
                </a:lnTo>
                <a:lnTo>
                  <a:pt x="219225" y="1229867"/>
                </a:lnTo>
                <a:lnTo>
                  <a:pt x="216942" y="1229867"/>
                </a:lnTo>
                <a:lnTo>
                  <a:pt x="214658" y="1227585"/>
                </a:lnTo>
                <a:lnTo>
                  <a:pt x="212374" y="1227585"/>
                </a:lnTo>
                <a:lnTo>
                  <a:pt x="212374" y="1229867"/>
                </a:lnTo>
                <a:lnTo>
                  <a:pt x="210091" y="1229867"/>
                </a:lnTo>
                <a:lnTo>
                  <a:pt x="207807" y="1229867"/>
                </a:lnTo>
                <a:lnTo>
                  <a:pt x="207807" y="1227585"/>
                </a:lnTo>
                <a:lnTo>
                  <a:pt x="207807" y="1225303"/>
                </a:lnTo>
                <a:lnTo>
                  <a:pt x="207807" y="1223021"/>
                </a:lnTo>
                <a:lnTo>
                  <a:pt x="207807" y="1220739"/>
                </a:lnTo>
                <a:lnTo>
                  <a:pt x="207807" y="1218457"/>
                </a:lnTo>
                <a:lnTo>
                  <a:pt x="207807" y="1216175"/>
                </a:lnTo>
                <a:lnTo>
                  <a:pt x="205523" y="1216175"/>
                </a:lnTo>
                <a:lnTo>
                  <a:pt x="205523" y="1218457"/>
                </a:lnTo>
                <a:lnTo>
                  <a:pt x="205523" y="1220739"/>
                </a:lnTo>
                <a:lnTo>
                  <a:pt x="203240" y="1220739"/>
                </a:lnTo>
                <a:lnTo>
                  <a:pt x="203240" y="1223021"/>
                </a:lnTo>
                <a:lnTo>
                  <a:pt x="203240" y="1225303"/>
                </a:lnTo>
                <a:lnTo>
                  <a:pt x="203240" y="1223021"/>
                </a:lnTo>
                <a:lnTo>
                  <a:pt x="200956" y="1223021"/>
                </a:lnTo>
                <a:lnTo>
                  <a:pt x="198673" y="1223021"/>
                </a:lnTo>
                <a:lnTo>
                  <a:pt x="198673" y="1220739"/>
                </a:lnTo>
                <a:lnTo>
                  <a:pt x="196389" y="1220739"/>
                </a:lnTo>
                <a:lnTo>
                  <a:pt x="194106" y="1220739"/>
                </a:lnTo>
                <a:lnTo>
                  <a:pt x="194106" y="1218457"/>
                </a:lnTo>
                <a:lnTo>
                  <a:pt x="196389" y="1218457"/>
                </a:lnTo>
                <a:lnTo>
                  <a:pt x="196389" y="1216175"/>
                </a:lnTo>
                <a:lnTo>
                  <a:pt x="196389" y="1213894"/>
                </a:lnTo>
                <a:lnTo>
                  <a:pt x="194106" y="1213894"/>
                </a:lnTo>
                <a:lnTo>
                  <a:pt x="191822" y="1213894"/>
                </a:lnTo>
                <a:lnTo>
                  <a:pt x="191822" y="1211612"/>
                </a:lnTo>
                <a:lnTo>
                  <a:pt x="189538" y="1211612"/>
                </a:lnTo>
                <a:lnTo>
                  <a:pt x="187255" y="1211612"/>
                </a:lnTo>
                <a:lnTo>
                  <a:pt x="184971" y="1211612"/>
                </a:lnTo>
                <a:lnTo>
                  <a:pt x="184971" y="1213894"/>
                </a:lnTo>
                <a:lnTo>
                  <a:pt x="182688" y="1213894"/>
                </a:lnTo>
                <a:lnTo>
                  <a:pt x="180404" y="1211612"/>
                </a:lnTo>
                <a:lnTo>
                  <a:pt x="180404" y="1209330"/>
                </a:lnTo>
                <a:lnTo>
                  <a:pt x="178121" y="1209330"/>
                </a:lnTo>
                <a:lnTo>
                  <a:pt x="178121" y="1207048"/>
                </a:lnTo>
                <a:lnTo>
                  <a:pt x="178121" y="1204766"/>
                </a:lnTo>
                <a:lnTo>
                  <a:pt x="175837" y="1204766"/>
                </a:lnTo>
                <a:lnTo>
                  <a:pt x="173553" y="1204766"/>
                </a:lnTo>
                <a:lnTo>
                  <a:pt x="173553" y="1202484"/>
                </a:lnTo>
                <a:lnTo>
                  <a:pt x="173553" y="1200202"/>
                </a:lnTo>
                <a:lnTo>
                  <a:pt x="171270" y="1200202"/>
                </a:lnTo>
                <a:lnTo>
                  <a:pt x="171270" y="1197920"/>
                </a:lnTo>
                <a:lnTo>
                  <a:pt x="171270" y="1200202"/>
                </a:lnTo>
                <a:lnTo>
                  <a:pt x="168986" y="1200202"/>
                </a:lnTo>
                <a:lnTo>
                  <a:pt x="168986" y="1202484"/>
                </a:lnTo>
                <a:lnTo>
                  <a:pt x="166702" y="1202484"/>
                </a:lnTo>
                <a:lnTo>
                  <a:pt x="164419" y="1202484"/>
                </a:lnTo>
                <a:lnTo>
                  <a:pt x="162135" y="1202484"/>
                </a:lnTo>
                <a:lnTo>
                  <a:pt x="162135" y="1200202"/>
                </a:lnTo>
                <a:lnTo>
                  <a:pt x="159852" y="1200202"/>
                </a:lnTo>
                <a:lnTo>
                  <a:pt x="157568" y="1197920"/>
                </a:lnTo>
                <a:lnTo>
                  <a:pt x="155284" y="1197920"/>
                </a:lnTo>
                <a:lnTo>
                  <a:pt x="155284" y="1195638"/>
                </a:lnTo>
                <a:lnTo>
                  <a:pt x="153001" y="1195638"/>
                </a:lnTo>
                <a:lnTo>
                  <a:pt x="150717" y="1195638"/>
                </a:lnTo>
                <a:lnTo>
                  <a:pt x="150717" y="1193356"/>
                </a:lnTo>
                <a:lnTo>
                  <a:pt x="148434" y="1193356"/>
                </a:lnTo>
                <a:lnTo>
                  <a:pt x="148434" y="1191075"/>
                </a:lnTo>
                <a:lnTo>
                  <a:pt x="148434" y="1193356"/>
                </a:lnTo>
                <a:lnTo>
                  <a:pt x="146150" y="1193356"/>
                </a:lnTo>
                <a:lnTo>
                  <a:pt x="143867" y="1193356"/>
                </a:lnTo>
                <a:lnTo>
                  <a:pt x="143867" y="1195638"/>
                </a:lnTo>
                <a:lnTo>
                  <a:pt x="141583" y="1197920"/>
                </a:lnTo>
                <a:lnTo>
                  <a:pt x="139299" y="1197920"/>
                </a:lnTo>
                <a:lnTo>
                  <a:pt x="139299" y="1200202"/>
                </a:lnTo>
                <a:lnTo>
                  <a:pt x="137016" y="1200202"/>
                </a:lnTo>
                <a:lnTo>
                  <a:pt x="137016" y="1202484"/>
                </a:lnTo>
                <a:lnTo>
                  <a:pt x="137016" y="1204766"/>
                </a:lnTo>
                <a:lnTo>
                  <a:pt x="134732" y="1204766"/>
                </a:lnTo>
                <a:lnTo>
                  <a:pt x="134732" y="1207048"/>
                </a:lnTo>
                <a:lnTo>
                  <a:pt x="132448" y="1207048"/>
                </a:lnTo>
                <a:lnTo>
                  <a:pt x="132448" y="1209330"/>
                </a:lnTo>
                <a:lnTo>
                  <a:pt x="134732" y="1209330"/>
                </a:lnTo>
                <a:lnTo>
                  <a:pt x="137016" y="1209330"/>
                </a:lnTo>
                <a:lnTo>
                  <a:pt x="137016" y="1211612"/>
                </a:lnTo>
                <a:lnTo>
                  <a:pt x="139299" y="1211612"/>
                </a:lnTo>
                <a:lnTo>
                  <a:pt x="139299" y="1209330"/>
                </a:lnTo>
                <a:lnTo>
                  <a:pt x="141583" y="1209330"/>
                </a:lnTo>
                <a:lnTo>
                  <a:pt x="141583" y="1207048"/>
                </a:lnTo>
                <a:lnTo>
                  <a:pt x="143867" y="1207048"/>
                </a:lnTo>
                <a:lnTo>
                  <a:pt x="146150" y="1207048"/>
                </a:lnTo>
                <a:lnTo>
                  <a:pt x="146150" y="1209330"/>
                </a:lnTo>
                <a:lnTo>
                  <a:pt x="148434" y="1209330"/>
                </a:lnTo>
                <a:lnTo>
                  <a:pt x="150717" y="1209330"/>
                </a:lnTo>
                <a:lnTo>
                  <a:pt x="150717" y="1211612"/>
                </a:lnTo>
                <a:lnTo>
                  <a:pt x="150717" y="1213894"/>
                </a:lnTo>
                <a:lnTo>
                  <a:pt x="150717" y="1216175"/>
                </a:lnTo>
                <a:lnTo>
                  <a:pt x="148434" y="1216175"/>
                </a:lnTo>
                <a:lnTo>
                  <a:pt x="148434" y="1218457"/>
                </a:lnTo>
                <a:lnTo>
                  <a:pt x="148434" y="1220739"/>
                </a:lnTo>
                <a:lnTo>
                  <a:pt x="146150" y="1220739"/>
                </a:lnTo>
                <a:lnTo>
                  <a:pt x="146150" y="1218457"/>
                </a:lnTo>
                <a:lnTo>
                  <a:pt x="143867" y="1218457"/>
                </a:lnTo>
                <a:lnTo>
                  <a:pt x="143867" y="1216175"/>
                </a:lnTo>
                <a:lnTo>
                  <a:pt x="141583" y="1216175"/>
                </a:lnTo>
                <a:lnTo>
                  <a:pt x="139299" y="1216175"/>
                </a:lnTo>
                <a:lnTo>
                  <a:pt x="137016" y="1216175"/>
                </a:lnTo>
                <a:lnTo>
                  <a:pt x="137016" y="1213894"/>
                </a:lnTo>
                <a:lnTo>
                  <a:pt x="134732" y="1213894"/>
                </a:lnTo>
                <a:lnTo>
                  <a:pt x="134732" y="1216175"/>
                </a:lnTo>
                <a:lnTo>
                  <a:pt x="134732" y="1218457"/>
                </a:lnTo>
                <a:lnTo>
                  <a:pt x="134732" y="1220739"/>
                </a:lnTo>
                <a:lnTo>
                  <a:pt x="132448" y="1220739"/>
                </a:lnTo>
                <a:lnTo>
                  <a:pt x="130165" y="1220739"/>
                </a:lnTo>
                <a:lnTo>
                  <a:pt x="127881" y="1220739"/>
                </a:lnTo>
                <a:lnTo>
                  <a:pt x="127881" y="1223021"/>
                </a:lnTo>
                <a:lnTo>
                  <a:pt x="125598" y="1225303"/>
                </a:lnTo>
                <a:lnTo>
                  <a:pt x="125598" y="1227585"/>
                </a:lnTo>
                <a:lnTo>
                  <a:pt x="123314" y="1227585"/>
                </a:lnTo>
                <a:lnTo>
                  <a:pt x="121031" y="1227585"/>
                </a:lnTo>
                <a:lnTo>
                  <a:pt x="121031" y="1225303"/>
                </a:lnTo>
                <a:lnTo>
                  <a:pt x="118747" y="1225303"/>
                </a:lnTo>
                <a:lnTo>
                  <a:pt x="118747" y="1227585"/>
                </a:lnTo>
                <a:lnTo>
                  <a:pt x="116463" y="1227585"/>
                </a:lnTo>
                <a:lnTo>
                  <a:pt x="116463" y="1229867"/>
                </a:lnTo>
                <a:lnTo>
                  <a:pt x="116463" y="1232149"/>
                </a:lnTo>
                <a:lnTo>
                  <a:pt x="116463" y="1234431"/>
                </a:lnTo>
                <a:lnTo>
                  <a:pt x="114180" y="1234431"/>
                </a:lnTo>
                <a:lnTo>
                  <a:pt x="114180" y="1236712"/>
                </a:lnTo>
                <a:lnTo>
                  <a:pt x="111896" y="1236712"/>
                </a:lnTo>
                <a:lnTo>
                  <a:pt x="109613" y="1236712"/>
                </a:lnTo>
                <a:lnTo>
                  <a:pt x="109613" y="1238994"/>
                </a:lnTo>
                <a:lnTo>
                  <a:pt x="107329" y="1238994"/>
                </a:lnTo>
                <a:lnTo>
                  <a:pt x="105045" y="1238994"/>
                </a:lnTo>
                <a:lnTo>
                  <a:pt x="105045" y="1236712"/>
                </a:lnTo>
                <a:lnTo>
                  <a:pt x="107329" y="1236712"/>
                </a:lnTo>
                <a:lnTo>
                  <a:pt x="107329" y="1234431"/>
                </a:lnTo>
                <a:lnTo>
                  <a:pt x="109613" y="1234431"/>
                </a:lnTo>
                <a:lnTo>
                  <a:pt x="109613" y="1232149"/>
                </a:lnTo>
                <a:lnTo>
                  <a:pt x="111896" y="1232149"/>
                </a:lnTo>
                <a:lnTo>
                  <a:pt x="111896" y="1229867"/>
                </a:lnTo>
                <a:lnTo>
                  <a:pt x="111896" y="1227585"/>
                </a:lnTo>
                <a:lnTo>
                  <a:pt x="111896" y="1225303"/>
                </a:lnTo>
                <a:lnTo>
                  <a:pt x="109613" y="1225303"/>
                </a:lnTo>
                <a:lnTo>
                  <a:pt x="107329" y="1225303"/>
                </a:lnTo>
                <a:lnTo>
                  <a:pt x="107329" y="1223021"/>
                </a:lnTo>
                <a:lnTo>
                  <a:pt x="105045" y="1223021"/>
                </a:lnTo>
                <a:lnTo>
                  <a:pt x="105045" y="1220739"/>
                </a:lnTo>
                <a:lnTo>
                  <a:pt x="105045" y="1218457"/>
                </a:lnTo>
                <a:lnTo>
                  <a:pt x="102762" y="1218457"/>
                </a:lnTo>
                <a:lnTo>
                  <a:pt x="102762" y="1216175"/>
                </a:lnTo>
                <a:lnTo>
                  <a:pt x="100478" y="1216175"/>
                </a:lnTo>
                <a:lnTo>
                  <a:pt x="98194" y="1216175"/>
                </a:lnTo>
                <a:lnTo>
                  <a:pt x="98194" y="1213894"/>
                </a:lnTo>
                <a:lnTo>
                  <a:pt x="95911" y="1213894"/>
                </a:lnTo>
                <a:lnTo>
                  <a:pt x="95911" y="1211612"/>
                </a:lnTo>
                <a:lnTo>
                  <a:pt x="95911" y="1209330"/>
                </a:lnTo>
                <a:lnTo>
                  <a:pt x="98194" y="1209330"/>
                </a:lnTo>
                <a:lnTo>
                  <a:pt x="98194" y="1207048"/>
                </a:lnTo>
                <a:lnTo>
                  <a:pt x="98194" y="1204766"/>
                </a:lnTo>
                <a:lnTo>
                  <a:pt x="95911" y="1204766"/>
                </a:lnTo>
                <a:lnTo>
                  <a:pt x="95911" y="1202484"/>
                </a:lnTo>
                <a:lnTo>
                  <a:pt x="93627" y="1202484"/>
                </a:lnTo>
                <a:lnTo>
                  <a:pt x="93627" y="1200202"/>
                </a:lnTo>
                <a:lnTo>
                  <a:pt x="91344" y="1200202"/>
                </a:lnTo>
                <a:lnTo>
                  <a:pt x="89060" y="1200202"/>
                </a:lnTo>
                <a:lnTo>
                  <a:pt x="89060" y="1197920"/>
                </a:lnTo>
                <a:lnTo>
                  <a:pt x="89060" y="1195638"/>
                </a:lnTo>
                <a:lnTo>
                  <a:pt x="89060" y="1193356"/>
                </a:lnTo>
                <a:lnTo>
                  <a:pt x="86777" y="1193356"/>
                </a:lnTo>
                <a:lnTo>
                  <a:pt x="86777" y="1191075"/>
                </a:lnTo>
                <a:lnTo>
                  <a:pt x="84493" y="1191075"/>
                </a:lnTo>
                <a:lnTo>
                  <a:pt x="84493" y="1193356"/>
                </a:lnTo>
                <a:lnTo>
                  <a:pt x="86777" y="1193356"/>
                </a:lnTo>
                <a:lnTo>
                  <a:pt x="86777" y="1195638"/>
                </a:lnTo>
                <a:lnTo>
                  <a:pt x="84493" y="1195638"/>
                </a:lnTo>
                <a:lnTo>
                  <a:pt x="84493" y="1197920"/>
                </a:lnTo>
                <a:lnTo>
                  <a:pt x="84493" y="1200202"/>
                </a:lnTo>
                <a:lnTo>
                  <a:pt x="84493" y="1202484"/>
                </a:lnTo>
                <a:lnTo>
                  <a:pt x="82209" y="1202484"/>
                </a:lnTo>
                <a:lnTo>
                  <a:pt x="82209" y="1204766"/>
                </a:lnTo>
                <a:lnTo>
                  <a:pt x="82209" y="1202484"/>
                </a:lnTo>
                <a:lnTo>
                  <a:pt x="79926" y="1202484"/>
                </a:lnTo>
                <a:lnTo>
                  <a:pt x="79926" y="1200202"/>
                </a:lnTo>
                <a:lnTo>
                  <a:pt x="79926" y="1197920"/>
                </a:lnTo>
                <a:lnTo>
                  <a:pt x="77642" y="1197920"/>
                </a:lnTo>
                <a:lnTo>
                  <a:pt x="77642" y="1195638"/>
                </a:lnTo>
                <a:lnTo>
                  <a:pt x="75359" y="1195638"/>
                </a:lnTo>
                <a:lnTo>
                  <a:pt x="75359" y="1193356"/>
                </a:lnTo>
                <a:lnTo>
                  <a:pt x="73075" y="1193356"/>
                </a:lnTo>
                <a:lnTo>
                  <a:pt x="73075" y="1195638"/>
                </a:lnTo>
                <a:lnTo>
                  <a:pt x="70792" y="1195638"/>
                </a:lnTo>
                <a:lnTo>
                  <a:pt x="70792" y="1197920"/>
                </a:lnTo>
                <a:lnTo>
                  <a:pt x="73075" y="1197920"/>
                </a:lnTo>
                <a:lnTo>
                  <a:pt x="73075" y="1200202"/>
                </a:lnTo>
                <a:lnTo>
                  <a:pt x="75359" y="1200202"/>
                </a:lnTo>
                <a:lnTo>
                  <a:pt x="75359" y="1202484"/>
                </a:lnTo>
                <a:lnTo>
                  <a:pt x="77642" y="1202484"/>
                </a:lnTo>
                <a:lnTo>
                  <a:pt x="75359" y="1202484"/>
                </a:lnTo>
                <a:lnTo>
                  <a:pt x="75359" y="1204766"/>
                </a:lnTo>
                <a:lnTo>
                  <a:pt x="75359" y="1207048"/>
                </a:lnTo>
                <a:lnTo>
                  <a:pt x="73075" y="1207048"/>
                </a:lnTo>
                <a:lnTo>
                  <a:pt x="73075" y="1209330"/>
                </a:lnTo>
                <a:lnTo>
                  <a:pt x="70792" y="1209330"/>
                </a:lnTo>
                <a:lnTo>
                  <a:pt x="70792" y="1211612"/>
                </a:lnTo>
                <a:lnTo>
                  <a:pt x="68508" y="1211612"/>
                </a:lnTo>
                <a:lnTo>
                  <a:pt x="68508" y="1213894"/>
                </a:lnTo>
                <a:lnTo>
                  <a:pt x="66224" y="1213894"/>
                </a:lnTo>
                <a:lnTo>
                  <a:pt x="66224" y="1216175"/>
                </a:lnTo>
                <a:lnTo>
                  <a:pt x="63941" y="1216175"/>
                </a:lnTo>
                <a:lnTo>
                  <a:pt x="63941" y="1213894"/>
                </a:lnTo>
                <a:lnTo>
                  <a:pt x="61657" y="1213894"/>
                </a:lnTo>
                <a:lnTo>
                  <a:pt x="61657" y="1211612"/>
                </a:lnTo>
                <a:lnTo>
                  <a:pt x="63941" y="1211612"/>
                </a:lnTo>
                <a:lnTo>
                  <a:pt x="63941" y="1209330"/>
                </a:lnTo>
                <a:lnTo>
                  <a:pt x="66224" y="1209330"/>
                </a:lnTo>
                <a:lnTo>
                  <a:pt x="66224" y="1207048"/>
                </a:lnTo>
                <a:lnTo>
                  <a:pt x="68508" y="1207048"/>
                </a:lnTo>
                <a:lnTo>
                  <a:pt x="68508" y="1204766"/>
                </a:lnTo>
                <a:lnTo>
                  <a:pt x="66224" y="1204766"/>
                </a:lnTo>
                <a:lnTo>
                  <a:pt x="66224" y="1202484"/>
                </a:lnTo>
                <a:lnTo>
                  <a:pt x="63941" y="1200202"/>
                </a:lnTo>
                <a:lnTo>
                  <a:pt x="63941" y="1197920"/>
                </a:lnTo>
                <a:lnTo>
                  <a:pt x="61657" y="1197920"/>
                </a:lnTo>
                <a:lnTo>
                  <a:pt x="61657" y="1195638"/>
                </a:lnTo>
                <a:lnTo>
                  <a:pt x="61657" y="1193356"/>
                </a:lnTo>
                <a:lnTo>
                  <a:pt x="59373" y="1193356"/>
                </a:lnTo>
                <a:lnTo>
                  <a:pt x="59373" y="1191075"/>
                </a:lnTo>
                <a:lnTo>
                  <a:pt x="57090" y="1191075"/>
                </a:lnTo>
                <a:lnTo>
                  <a:pt x="57090" y="1188793"/>
                </a:lnTo>
                <a:lnTo>
                  <a:pt x="59373" y="1188793"/>
                </a:lnTo>
                <a:lnTo>
                  <a:pt x="59373" y="1186511"/>
                </a:lnTo>
                <a:lnTo>
                  <a:pt x="59373" y="1184229"/>
                </a:lnTo>
                <a:lnTo>
                  <a:pt x="57090" y="1184229"/>
                </a:lnTo>
                <a:lnTo>
                  <a:pt x="57090" y="1181947"/>
                </a:lnTo>
                <a:lnTo>
                  <a:pt x="54806" y="1181947"/>
                </a:lnTo>
                <a:lnTo>
                  <a:pt x="52523" y="1181947"/>
                </a:lnTo>
                <a:lnTo>
                  <a:pt x="50239" y="1181947"/>
                </a:lnTo>
                <a:lnTo>
                  <a:pt x="50239" y="1184229"/>
                </a:lnTo>
                <a:lnTo>
                  <a:pt x="47955" y="1184229"/>
                </a:lnTo>
                <a:lnTo>
                  <a:pt x="45672" y="1184229"/>
                </a:lnTo>
                <a:lnTo>
                  <a:pt x="45672" y="1181947"/>
                </a:lnTo>
                <a:lnTo>
                  <a:pt x="43388" y="1181947"/>
                </a:lnTo>
                <a:lnTo>
                  <a:pt x="41105" y="1181947"/>
                </a:lnTo>
                <a:lnTo>
                  <a:pt x="38821" y="1181947"/>
                </a:lnTo>
                <a:lnTo>
                  <a:pt x="38821" y="1184229"/>
                </a:lnTo>
                <a:lnTo>
                  <a:pt x="36538" y="1184229"/>
                </a:lnTo>
                <a:lnTo>
                  <a:pt x="36538" y="1186511"/>
                </a:lnTo>
                <a:lnTo>
                  <a:pt x="34254" y="1186511"/>
                </a:lnTo>
                <a:lnTo>
                  <a:pt x="31970" y="1188793"/>
                </a:lnTo>
                <a:lnTo>
                  <a:pt x="29687" y="1188793"/>
                </a:lnTo>
                <a:lnTo>
                  <a:pt x="29687" y="1186511"/>
                </a:lnTo>
                <a:lnTo>
                  <a:pt x="27403" y="1186511"/>
                </a:lnTo>
                <a:lnTo>
                  <a:pt x="27403" y="1184229"/>
                </a:lnTo>
                <a:lnTo>
                  <a:pt x="29687" y="1184229"/>
                </a:lnTo>
                <a:lnTo>
                  <a:pt x="29687" y="1181947"/>
                </a:lnTo>
                <a:lnTo>
                  <a:pt x="31970" y="1181947"/>
                </a:lnTo>
                <a:lnTo>
                  <a:pt x="31970" y="1179665"/>
                </a:lnTo>
                <a:lnTo>
                  <a:pt x="31970" y="1177383"/>
                </a:lnTo>
                <a:lnTo>
                  <a:pt x="29687" y="1177383"/>
                </a:lnTo>
                <a:lnTo>
                  <a:pt x="27403" y="1179665"/>
                </a:lnTo>
                <a:lnTo>
                  <a:pt x="25119" y="1179665"/>
                </a:lnTo>
                <a:lnTo>
                  <a:pt x="25119" y="1181947"/>
                </a:lnTo>
                <a:lnTo>
                  <a:pt x="25119" y="1184229"/>
                </a:lnTo>
                <a:lnTo>
                  <a:pt x="22836" y="1184229"/>
                </a:lnTo>
                <a:lnTo>
                  <a:pt x="22836" y="1186511"/>
                </a:lnTo>
                <a:lnTo>
                  <a:pt x="20552" y="1186511"/>
                </a:lnTo>
                <a:lnTo>
                  <a:pt x="20552" y="1184229"/>
                </a:lnTo>
                <a:lnTo>
                  <a:pt x="18269" y="1181947"/>
                </a:lnTo>
                <a:lnTo>
                  <a:pt x="15985" y="1179665"/>
                </a:lnTo>
                <a:lnTo>
                  <a:pt x="15985" y="1177383"/>
                </a:lnTo>
                <a:lnTo>
                  <a:pt x="15985" y="1175101"/>
                </a:lnTo>
                <a:lnTo>
                  <a:pt x="13702" y="1175101"/>
                </a:lnTo>
                <a:lnTo>
                  <a:pt x="13702" y="1172819"/>
                </a:lnTo>
                <a:lnTo>
                  <a:pt x="13702" y="1170538"/>
                </a:lnTo>
                <a:lnTo>
                  <a:pt x="13702" y="1172819"/>
                </a:lnTo>
                <a:lnTo>
                  <a:pt x="11418" y="1172819"/>
                </a:lnTo>
                <a:lnTo>
                  <a:pt x="9134" y="1172819"/>
                </a:lnTo>
                <a:lnTo>
                  <a:pt x="9134" y="1175101"/>
                </a:lnTo>
                <a:lnTo>
                  <a:pt x="6851" y="1175101"/>
                </a:lnTo>
                <a:lnTo>
                  <a:pt x="6851" y="1172819"/>
                </a:lnTo>
                <a:lnTo>
                  <a:pt x="6851" y="1170538"/>
                </a:lnTo>
                <a:lnTo>
                  <a:pt x="6851" y="1168256"/>
                </a:lnTo>
                <a:lnTo>
                  <a:pt x="4567" y="1168256"/>
                </a:lnTo>
                <a:lnTo>
                  <a:pt x="4567" y="1165974"/>
                </a:lnTo>
                <a:lnTo>
                  <a:pt x="2284" y="1165974"/>
                </a:lnTo>
                <a:lnTo>
                  <a:pt x="4567" y="1165974"/>
                </a:lnTo>
                <a:lnTo>
                  <a:pt x="4567" y="1163692"/>
                </a:lnTo>
                <a:lnTo>
                  <a:pt x="2284" y="1163692"/>
                </a:lnTo>
                <a:lnTo>
                  <a:pt x="0" y="1163692"/>
                </a:lnTo>
                <a:lnTo>
                  <a:pt x="2284" y="1161410"/>
                </a:lnTo>
                <a:lnTo>
                  <a:pt x="2284" y="1159137"/>
                </a:lnTo>
                <a:lnTo>
                  <a:pt x="0" y="1159137"/>
                </a:lnTo>
                <a:lnTo>
                  <a:pt x="4567" y="1159137"/>
                </a:lnTo>
                <a:lnTo>
                  <a:pt x="6851" y="1159137"/>
                </a:lnTo>
                <a:lnTo>
                  <a:pt x="6851" y="1156846"/>
                </a:lnTo>
                <a:lnTo>
                  <a:pt x="6851" y="1154564"/>
                </a:lnTo>
                <a:lnTo>
                  <a:pt x="9134" y="1154564"/>
                </a:lnTo>
                <a:lnTo>
                  <a:pt x="11418" y="1154564"/>
                </a:lnTo>
                <a:lnTo>
                  <a:pt x="13702" y="1154564"/>
                </a:lnTo>
                <a:lnTo>
                  <a:pt x="15985" y="1154564"/>
                </a:lnTo>
                <a:lnTo>
                  <a:pt x="15985" y="1156846"/>
                </a:lnTo>
                <a:lnTo>
                  <a:pt x="15985" y="1159137"/>
                </a:lnTo>
                <a:lnTo>
                  <a:pt x="18269" y="1159137"/>
                </a:lnTo>
                <a:lnTo>
                  <a:pt x="20552" y="1159137"/>
                </a:lnTo>
                <a:lnTo>
                  <a:pt x="22836" y="1161410"/>
                </a:lnTo>
                <a:lnTo>
                  <a:pt x="25119" y="1161410"/>
                </a:lnTo>
                <a:lnTo>
                  <a:pt x="25119" y="1159137"/>
                </a:lnTo>
                <a:lnTo>
                  <a:pt x="27403" y="1156846"/>
                </a:lnTo>
                <a:lnTo>
                  <a:pt x="27403" y="1154564"/>
                </a:lnTo>
                <a:lnTo>
                  <a:pt x="27403" y="1152292"/>
                </a:lnTo>
                <a:lnTo>
                  <a:pt x="29687" y="1150010"/>
                </a:lnTo>
                <a:lnTo>
                  <a:pt x="29687" y="1147728"/>
                </a:lnTo>
                <a:lnTo>
                  <a:pt x="29687" y="1145446"/>
                </a:lnTo>
                <a:lnTo>
                  <a:pt x="29687" y="1140882"/>
                </a:lnTo>
                <a:lnTo>
                  <a:pt x="29687" y="1136319"/>
                </a:lnTo>
                <a:lnTo>
                  <a:pt x="27403" y="1134037"/>
                </a:lnTo>
                <a:lnTo>
                  <a:pt x="29687" y="1134037"/>
                </a:lnTo>
                <a:lnTo>
                  <a:pt x="29687" y="1131755"/>
                </a:lnTo>
                <a:lnTo>
                  <a:pt x="29687" y="1124909"/>
                </a:lnTo>
                <a:lnTo>
                  <a:pt x="36538" y="1122627"/>
                </a:lnTo>
                <a:lnTo>
                  <a:pt x="38821" y="1122627"/>
                </a:lnTo>
                <a:lnTo>
                  <a:pt x="36538" y="1120345"/>
                </a:lnTo>
                <a:lnTo>
                  <a:pt x="38821" y="1118063"/>
                </a:lnTo>
                <a:lnTo>
                  <a:pt x="43388" y="1115782"/>
                </a:lnTo>
                <a:lnTo>
                  <a:pt x="50239" y="1115782"/>
                </a:lnTo>
                <a:lnTo>
                  <a:pt x="52523" y="1113500"/>
                </a:lnTo>
                <a:lnTo>
                  <a:pt x="54806" y="1113500"/>
                </a:lnTo>
                <a:lnTo>
                  <a:pt x="57090" y="1113500"/>
                </a:lnTo>
                <a:lnTo>
                  <a:pt x="59373" y="1113500"/>
                </a:lnTo>
                <a:lnTo>
                  <a:pt x="61657" y="1113500"/>
                </a:lnTo>
                <a:lnTo>
                  <a:pt x="59373" y="1108936"/>
                </a:lnTo>
                <a:lnTo>
                  <a:pt x="59373" y="1106654"/>
                </a:lnTo>
                <a:lnTo>
                  <a:pt x="59373" y="1104372"/>
                </a:lnTo>
                <a:lnTo>
                  <a:pt x="57090" y="1097526"/>
                </a:lnTo>
                <a:lnTo>
                  <a:pt x="57090" y="1095244"/>
                </a:lnTo>
                <a:lnTo>
                  <a:pt x="52523" y="1095244"/>
                </a:lnTo>
                <a:lnTo>
                  <a:pt x="57090" y="1076989"/>
                </a:lnTo>
                <a:lnTo>
                  <a:pt x="59373" y="1072426"/>
                </a:lnTo>
                <a:lnTo>
                  <a:pt x="59373" y="1067862"/>
                </a:lnTo>
                <a:lnTo>
                  <a:pt x="63941" y="1070144"/>
                </a:lnTo>
                <a:lnTo>
                  <a:pt x="66224" y="1067862"/>
                </a:lnTo>
                <a:lnTo>
                  <a:pt x="68508" y="1067862"/>
                </a:lnTo>
                <a:lnTo>
                  <a:pt x="75359" y="1067862"/>
                </a:lnTo>
                <a:lnTo>
                  <a:pt x="75359" y="1063298"/>
                </a:lnTo>
                <a:lnTo>
                  <a:pt x="77642" y="1063298"/>
                </a:lnTo>
                <a:lnTo>
                  <a:pt x="93627" y="1061016"/>
                </a:lnTo>
                <a:lnTo>
                  <a:pt x="89060" y="1054170"/>
                </a:lnTo>
                <a:lnTo>
                  <a:pt x="91344" y="1054170"/>
                </a:lnTo>
                <a:lnTo>
                  <a:pt x="91344" y="1051888"/>
                </a:lnTo>
                <a:lnTo>
                  <a:pt x="91344" y="1049606"/>
                </a:lnTo>
                <a:lnTo>
                  <a:pt x="93627" y="1051888"/>
                </a:lnTo>
                <a:lnTo>
                  <a:pt x="93627" y="1049606"/>
                </a:lnTo>
                <a:lnTo>
                  <a:pt x="95911" y="1049606"/>
                </a:lnTo>
                <a:lnTo>
                  <a:pt x="95911" y="1047325"/>
                </a:lnTo>
                <a:lnTo>
                  <a:pt x="98194" y="1047325"/>
                </a:lnTo>
                <a:lnTo>
                  <a:pt x="98194" y="1049606"/>
                </a:lnTo>
                <a:lnTo>
                  <a:pt x="98194" y="1047325"/>
                </a:lnTo>
                <a:lnTo>
                  <a:pt x="98194" y="1045043"/>
                </a:lnTo>
                <a:lnTo>
                  <a:pt x="100478" y="1045043"/>
                </a:lnTo>
                <a:lnTo>
                  <a:pt x="100478" y="1042761"/>
                </a:lnTo>
                <a:lnTo>
                  <a:pt x="98194" y="1042761"/>
                </a:lnTo>
                <a:lnTo>
                  <a:pt x="105045" y="1042761"/>
                </a:lnTo>
                <a:lnTo>
                  <a:pt x="107329" y="1042761"/>
                </a:lnTo>
                <a:lnTo>
                  <a:pt x="107329" y="1040479"/>
                </a:lnTo>
                <a:lnTo>
                  <a:pt x="109613" y="1038197"/>
                </a:lnTo>
                <a:lnTo>
                  <a:pt x="107329" y="1035915"/>
                </a:lnTo>
                <a:lnTo>
                  <a:pt x="107329" y="1033633"/>
                </a:lnTo>
                <a:lnTo>
                  <a:pt x="107329" y="1031351"/>
                </a:lnTo>
                <a:lnTo>
                  <a:pt x="105045" y="1031351"/>
                </a:lnTo>
                <a:lnTo>
                  <a:pt x="107329" y="1029069"/>
                </a:lnTo>
                <a:lnTo>
                  <a:pt x="107329" y="1026788"/>
                </a:lnTo>
                <a:lnTo>
                  <a:pt x="105045" y="1026788"/>
                </a:lnTo>
                <a:lnTo>
                  <a:pt x="105045" y="1024506"/>
                </a:lnTo>
                <a:lnTo>
                  <a:pt x="105045" y="1019942"/>
                </a:lnTo>
                <a:lnTo>
                  <a:pt x="105045" y="1017660"/>
                </a:lnTo>
                <a:lnTo>
                  <a:pt x="105045" y="1015378"/>
                </a:lnTo>
                <a:lnTo>
                  <a:pt x="107329" y="1013096"/>
                </a:lnTo>
                <a:lnTo>
                  <a:pt x="107329" y="1010814"/>
                </a:lnTo>
                <a:lnTo>
                  <a:pt x="107329" y="1008532"/>
                </a:lnTo>
                <a:lnTo>
                  <a:pt x="107329" y="1006250"/>
                </a:lnTo>
                <a:lnTo>
                  <a:pt x="109613" y="1006250"/>
                </a:lnTo>
                <a:lnTo>
                  <a:pt x="111896" y="1006250"/>
                </a:lnTo>
                <a:lnTo>
                  <a:pt x="111896" y="1008532"/>
                </a:lnTo>
                <a:lnTo>
                  <a:pt x="114180" y="1008532"/>
                </a:lnTo>
                <a:lnTo>
                  <a:pt x="116463" y="1010814"/>
                </a:lnTo>
                <a:lnTo>
                  <a:pt x="118747" y="1010814"/>
                </a:lnTo>
                <a:lnTo>
                  <a:pt x="121031" y="1010814"/>
                </a:lnTo>
                <a:lnTo>
                  <a:pt x="123314" y="1013096"/>
                </a:lnTo>
                <a:lnTo>
                  <a:pt x="123314" y="1015378"/>
                </a:lnTo>
                <a:lnTo>
                  <a:pt x="123314" y="1017660"/>
                </a:lnTo>
                <a:lnTo>
                  <a:pt x="125598" y="1017660"/>
                </a:lnTo>
                <a:lnTo>
                  <a:pt x="125598" y="1013096"/>
                </a:lnTo>
                <a:lnTo>
                  <a:pt x="127881" y="1013096"/>
                </a:lnTo>
                <a:lnTo>
                  <a:pt x="127881" y="1015378"/>
                </a:lnTo>
                <a:lnTo>
                  <a:pt x="127881" y="1017660"/>
                </a:lnTo>
                <a:lnTo>
                  <a:pt x="127881" y="1019942"/>
                </a:lnTo>
                <a:lnTo>
                  <a:pt x="127881" y="1022224"/>
                </a:lnTo>
                <a:lnTo>
                  <a:pt x="130165" y="1022224"/>
                </a:lnTo>
                <a:lnTo>
                  <a:pt x="132448" y="1022224"/>
                </a:lnTo>
                <a:lnTo>
                  <a:pt x="134732" y="1024506"/>
                </a:lnTo>
                <a:lnTo>
                  <a:pt x="137016" y="1024506"/>
                </a:lnTo>
                <a:lnTo>
                  <a:pt x="139299" y="1024506"/>
                </a:lnTo>
                <a:lnTo>
                  <a:pt x="141583" y="1024506"/>
                </a:lnTo>
                <a:lnTo>
                  <a:pt x="143867" y="1024506"/>
                </a:lnTo>
                <a:lnTo>
                  <a:pt x="146150" y="1024506"/>
                </a:lnTo>
                <a:lnTo>
                  <a:pt x="148434" y="1026788"/>
                </a:lnTo>
                <a:lnTo>
                  <a:pt x="146150" y="1022224"/>
                </a:lnTo>
                <a:lnTo>
                  <a:pt x="146150" y="1019942"/>
                </a:lnTo>
                <a:lnTo>
                  <a:pt x="146150" y="1017660"/>
                </a:lnTo>
                <a:lnTo>
                  <a:pt x="146150" y="1015378"/>
                </a:lnTo>
                <a:lnTo>
                  <a:pt x="146150" y="1013096"/>
                </a:lnTo>
                <a:lnTo>
                  <a:pt x="148434" y="1013096"/>
                </a:lnTo>
                <a:lnTo>
                  <a:pt x="148434" y="1008532"/>
                </a:lnTo>
                <a:lnTo>
                  <a:pt x="150717" y="1008532"/>
                </a:lnTo>
                <a:lnTo>
                  <a:pt x="150717" y="1010814"/>
                </a:lnTo>
                <a:lnTo>
                  <a:pt x="153001" y="1010814"/>
                </a:lnTo>
                <a:lnTo>
                  <a:pt x="155284" y="1008532"/>
                </a:lnTo>
                <a:lnTo>
                  <a:pt x="157568" y="1008532"/>
                </a:lnTo>
                <a:lnTo>
                  <a:pt x="162135" y="1010814"/>
                </a:lnTo>
                <a:lnTo>
                  <a:pt x="166702" y="1013096"/>
                </a:lnTo>
                <a:lnTo>
                  <a:pt x="171270" y="1013096"/>
                </a:lnTo>
                <a:lnTo>
                  <a:pt x="173553" y="1013096"/>
                </a:lnTo>
                <a:lnTo>
                  <a:pt x="180404" y="1013096"/>
                </a:lnTo>
                <a:lnTo>
                  <a:pt x="182688" y="1013096"/>
                </a:lnTo>
                <a:lnTo>
                  <a:pt x="189538" y="1013096"/>
                </a:lnTo>
                <a:lnTo>
                  <a:pt x="194106" y="1015378"/>
                </a:lnTo>
                <a:lnTo>
                  <a:pt x="194106" y="1010814"/>
                </a:lnTo>
                <a:lnTo>
                  <a:pt x="194106" y="1003978"/>
                </a:lnTo>
                <a:lnTo>
                  <a:pt x="194106" y="999414"/>
                </a:lnTo>
                <a:lnTo>
                  <a:pt x="196389" y="994851"/>
                </a:lnTo>
                <a:lnTo>
                  <a:pt x="196389" y="992569"/>
                </a:lnTo>
                <a:lnTo>
                  <a:pt x="198673" y="990287"/>
                </a:lnTo>
                <a:lnTo>
                  <a:pt x="200956" y="985723"/>
                </a:lnTo>
                <a:lnTo>
                  <a:pt x="203240" y="985723"/>
                </a:lnTo>
                <a:lnTo>
                  <a:pt x="203240" y="983441"/>
                </a:lnTo>
                <a:lnTo>
                  <a:pt x="200956" y="981159"/>
                </a:lnTo>
                <a:lnTo>
                  <a:pt x="203240" y="981159"/>
                </a:lnTo>
                <a:lnTo>
                  <a:pt x="205523" y="976595"/>
                </a:lnTo>
                <a:lnTo>
                  <a:pt x="207807" y="976595"/>
                </a:lnTo>
                <a:lnTo>
                  <a:pt x="207807" y="974313"/>
                </a:lnTo>
                <a:lnTo>
                  <a:pt x="210091" y="974313"/>
                </a:lnTo>
                <a:lnTo>
                  <a:pt x="219225" y="969750"/>
                </a:lnTo>
                <a:lnTo>
                  <a:pt x="226076" y="967468"/>
                </a:lnTo>
                <a:lnTo>
                  <a:pt x="230643" y="965186"/>
                </a:lnTo>
                <a:lnTo>
                  <a:pt x="230643" y="962904"/>
                </a:lnTo>
                <a:lnTo>
                  <a:pt x="228360" y="960622"/>
                </a:lnTo>
                <a:lnTo>
                  <a:pt x="228360" y="958340"/>
                </a:lnTo>
                <a:lnTo>
                  <a:pt x="228360" y="956058"/>
                </a:lnTo>
                <a:lnTo>
                  <a:pt x="226076" y="953776"/>
                </a:lnTo>
                <a:lnTo>
                  <a:pt x="226076" y="949213"/>
                </a:lnTo>
                <a:lnTo>
                  <a:pt x="226076" y="946931"/>
                </a:lnTo>
                <a:lnTo>
                  <a:pt x="223792" y="944649"/>
                </a:lnTo>
                <a:lnTo>
                  <a:pt x="223792" y="942367"/>
                </a:lnTo>
                <a:lnTo>
                  <a:pt x="219225" y="942367"/>
                </a:lnTo>
                <a:lnTo>
                  <a:pt x="214658" y="944649"/>
                </a:lnTo>
                <a:lnTo>
                  <a:pt x="214658" y="937803"/>
                </a:lnTo>
                <a:lnTo>
                  <a:pt x="210091" y="928676"/>
                </a:lnTo>
                <a:lnTo>
                  <a:pt x="207807" y="928676"/>
                </a:lnTo>
                <a:lnTo>
                  <a:pt x="205523" y="930957"/>
                </a:lnTo>
                <a:lnTo>
                  <a:pt x="203240" y="930957"/>
                </a:lnTo>
                <a:lnTo>
                  <a:pt x="200956" y="930957"/>
                </a:lnTo>
                <a:lnTo>
                  <a:pt x="198673" y="933239"/>
                </a:lnTo>
                <a:lnTo>
                  <a:pt x="191822" y="933239"/>
                </a:lnTo>
                <a:lnTo>
                  <a:pt x="187255" y="935521"/>
                </a:lnTo>
                <a:lnTo>
                  <a:pt x="180404" y="937803"/>
                </a:lnTo>
                <a:lnTo>
                  <a:pt x="175837" y="942367"/>
                </a:lnTo>
                <a:lnTo>
                  <a:pt x="171270" y="937803"/>
                </a:lnTo>
                <a:lnTo>
                  <a:pt x="168986" y="937803"/>
                </a:lnTo>
                <a:lnTo>
                  <a:pt x="162135" y="933239"/>
                </a:lnTo>
                <a:lnTo>
                  <a:pt x="162135" y="928676"/>
                </a:lnTo>
                <a:lnTo>
                  <a:pt x="157568" y="926394"/>
                </a:lnTo>
                <a:lnTo>
                  <a:pt x="155284" y="926394"/>
                </a:lnTo>
                <a:lnTo>
                  <a:pt x="153001" y="926394"/>
                </a:lnTo>
                <a:lnTo>
                  <a:pt x="148434" y="924112"/>
                </a:lnTo>
                <a:lnTo>
                  <a:pt x="143867" y="921830"/>
                </a:lnTo>
                <a:lnTo>
                  <a:pt x="143867" y="919548"/>
                </a:lnTo>
                <a:lnTo>
                  <a:pt x="143867" y="917266"/>
                </a:lnTo>
                <a:lnTo>
                  <a:pt x="143867" y="914984"/>
                </a:lnTo>
                <a:lnTo>
                  <a:pt x="143867" y="912702"/>
                </a:lnTo>
                <a:lnTo>
                  <a:pt x="143867" y="910420"/>
                </a:lnTo>
                <a:lnTo>
                  <a:pt x="143867" y="908138"/>
                </a:lnTo>
                <a:lnTo>
                  <a:pt x="143867" y="905857"/>
                </a:lnTo>
                <a:lnTo>
                  <a:pt x="143867" y="903575"/>
                </a:lnTo>
                <a:lnTo>
                  <a:pt x="137016" y="901293"/>
                </a:lnTo>
                <a:lnTo>
                  <a:pt x="134732" y="901293"/>
                </a:lnTo>
                <a:lnTo>
                  <a:pt x="132448" y="899011"/>
                </a:lnTo>
                <a:lnTo>
                  <a:pt x="127881" y="899011"/>
                </a:lnTo>
                <a:lnTo>
                  <a:pt x="125598" y="896729"/>
                </a:lnTo>
                <a:lnTo>
                  <a:pt x="121031" y="896729"/>
                </a:lnTo>
                <a:lnTo>
                  <a:pt x="116463" y="894447"/>
                </a:lnTo>
                <a:lnTo>
                  <a:pt x="114180" y="894447"/>
                </a:lnTo>
                <a:lnTo>
                  <a:pt x="111896" y="894447"/>
                </a:lnTo>
                <a:lnTo>
                  <a:pt x="109613" y="894447"/>
                </a:lnTo>
                <a:lnTo>
                  <a:pt x="109613" y="892165"/>
                </a:lnTo>
                <a:lnTo>
                  <a:pt x="109613" y="889883"/>
                </a:lnTo>
                <a:lnTo>
                  <a:pt x="109613" y="887601"/>
                </a:lnTo>
                <a:lnTo>
                  <a:pt x="109613" y="885320"/>
                </a:lnTo>
                <a:lnTo>
                  <a:pt x="109613" y="883038"/>
                </a:lnTo>
                <a:lnTo>
                  <a:pt x="109613" y="880756"/>
                </a:lnTo>
                <a:lnTo>
                  <a:pt x="109613" y="878474"/>
                </a:lnTo>
                <a:lnTo>
                  <a:pt x="109613" y="876192"/>
                </a:lnTo>
                <a:lnTo>
                  <a:pt x="111896" y="876192"/>
                </a:lnTo>
                <a:lnTo>
                  <a:pt x="111896" y="873910"/>
                </a:lnTo>
                <a:lnTo>
                  <a:pt x="111896" y="871628"/>
                </a:lnTo>
                <a:lnTo>
                  <a:pt x="109613" y="871628"/>
                </a:lnTo>
                <a:lnTo>
                  <a:pt x="109613" y="873910"/>
                </a:lnTo>
                <a:lnTo>
                  <a:pt x="107329" y="873910"/>
                </a:lnTo>
                <a:lnTo>
                  <a:pt x="107329" y="871628"/>
                </a:lnTo>
                <a:lnTo>
                  <a:pt x="107329" y="869346"/>
                </a:lnTo>
                <a:lnTo>
                  <a:pt x="107329" y="867064"/>
                </a:lnTo>
                <a:lnTo>
                  <a:pt x="107329" y="864782"/>
                </a:lnTo>
                <a:lnTo>
                  <a:pt x="107329" y="862501"/>
                </a:lnTo>
                <a:lnTo>
                  <a:pt x="107329" y="860219"/>
                </a:lnTo>
                <a:lnTo>
                  <a:pt x="105045" y="857937"/>
                </a:lnTo>
                <a:lnTo>
                  <a:pt x="102762" y="857937"/>
                </a:lnTo>
                <a:lnTo>
                  <a:pt x="100478" y="855655"/>
                </a:lnTo>
                <a:lnTo>
                  <a:pt x="98194" y="853373"/>
                </a:lnTo>
                <a:lnTo>
                  <a:pt x="95911" y="853373"/>
                </a:lnTo>
                <a:lnTo>
                  <a:pt x="95911" y="851091"/>
                </a:lnTo>
                <a:lnTo>
                  <a:pt x="95911" y="846527"/>
                </a:lnTo>
                <a:lnTo>
                  <a:pt x="98194" y="844255"/>
                </a:lnTo>
                <a:lnTo>
                  <a:pt x="100478" y="841973"/>
                </a:lnTo>
                <a:lnTo>
                  <a:pt x="98194" y="837409"/>
                </a:lnTo>
                <a:lnTo>
                  <a:pt x="102762" y="835127"/>
                </a:lnTo>
                <a:lnTo>
                  <a:pt x="105045" y="835127"/>
                </a:lnTo>
                <a:lnTo>
                  <a:pt x="102762" y="830563"/>
                </a:lnTo>
                <a:lnTo>
                  <a:pt x="100478" y="828282"/>
                </a:lnTo>
                <a:lnTo>
                  <a:pt x="100478" y="826000"/>
                </a:lnTo>
                <a:lnTo>
                  <a:pt x="105045" y="823718"/>
                </a:lnTo>
                <a:lnTo>
                  <a:pt x="109613" y="826000"/>
                </a:lnTo>
                <a:lnTo>
                  <a:pt x="114180" y="821436"/>
                </a:lnTo>
                <a:lnTo>
                  <a:pt x="118747" y="821436"/>
                </a:lnTo>
                <a:lnTo>
                  <a:pt x="121031" y="823718"/>
                </a:lnTo>
                <a:lnTo>
                  <a:pt x="123314" y="823718"/>
                </a:lnTo>
                <a:lnTo>
                  <a:pt x="127881" y="826000"/>
                </a:lnTo>
                <a:lnTo>
                  <a:pt x="130165" y="814590"/>
                </a:lnTo>
                <a:lnTo>
                  <a:pt x="130165" y="812308"/>
                </a:lnTo>
                <a:lnTo>
                  <a:pt x="130165" y="807745"/>
                </a:lnTo>
                <a:lnTo>
                  <a:pt x="132448" y="807745"/>
                </a:lnTo>
                <a:lnTo>
                  <a:pt x="132448" y="800899"/>
                </a:lnTo>
                <a:lnTo>
                  <a:pt x="137016" y="798617"/>
                </a:lnTo>
                <a:lnTo>
                  <a:pt x="148434" y="789489"/>
                </a:lnTo>
                <a:lnTo>
                  <a:pt x="155284" y="789489"/>
                </a:lnTo>
                <a:lnTo>
                  <a:pt x="155284" y="791771"/>
                </a:lnTo>
                <a:lnTo>
                  <a:pt x="162135" y="791771"/>
                </a:lnTo>
                <a:lnTo>
                  <a:pt x="164419" y="794053"/>
                </a:lnTo>
                <a:lnTo>
                  <a:pt x="166702" y="794053"/>
                </a:lnTo>
                <a:lnTo>
                  <a:pt x="168986" y="796335"/>
                </a:lnTo>
                <a:lnTo>
                  <a:pt x="178121" y="798617"/>
                </a:lnTo>
                <a:lnTo>
                  <a:pt x="187255" y="798617"/>
                </a:lnTo>
                <a:lnTo>
                  <a:pt x="189538" y="798617"/>
                </a:lnTo>
                <a:lnTo>
                  <a:pt x="191822" y="798617"/>
                </a:lnTo>
                <a:lnTo>
                  <a:pt x="194106" y="798617"/>
                </a:lnTo>
                <a:lnTo>
                  <a:pt x="194106" y="794053"/>
                </a:lnTo>
                <a:lnTo>
                  <a:pt x="196389" y="794053"/>
                </a:lnTo>
                <a:lnTo>
                  <a:pt x="200956" y="805463"/>
                </a:lnTo>
                <a:lnTo>
                  <a:pt x="200956" y="807745"/>
                </a:lnTo>
                <a:lnTo>
                  <a:pt x="203240" y="805463"/>
                </a:lnTo>
                <a:lnTo>
                  <a:pt x="207807" y="803181"/>
                </a:lnTo>
                <a:lnTo>
                  <a:pt x="210091" y="803181"/>
                </a:lnTo>
                <a:lnTo>
                  <a:pt x="219225" y="803181"/>
                </a:lnTo>
                <a:lnTo>
                  <a:pt x="223792" y="803181"/>
                </a:lnTo>
                <a:lnTo>
                  <a:pt x="226076" y="803181"/>
                </a:lnTo>
                <a:lnTo>
                  <a:pt x="235210" y="803181"/>
                </a:lnTo>
                <a:lnTo>
                  <a:pt x="235210" y="805463"/>
                </a:lnTo>
                <a:lnTo>
                  <a:pt x="237494" y="803181"/>
                </a:lnTo>
                <a:lnTo>
                  <a:pt x="242061" y="791771"/>
                </a:lnTo>
                <a:lnTo>
                  <a:pt x="242061" y="789489"/>
                </a:lnTo>
                <a:lnTo>
                  <a:pt x="242061" y="780362"/>
                </a:lnTo>
                <a:lnTo>
                  <a:pt x="239777" y="771234"/>
                </a:lnTo>
                <a:lnTo>
                  <a:pt x="239777" y="768952"/>
                </a:lnTo>
                <a:lnTo>
                  <a:pt x="242061" y="766670"/>
                </a:lnTo>
                <a:lnTo>
                  <a:pt x="242061" y="762107"/>
                </a:lnTo>
                <a:lnTo>
                  <a:pt x="244345" y="757543"/>
                </a:lnTo>
                <a:lnTo>
                  <a:pt x="244345" y="752979"/>
                </a:lnTo>
                <a:lnTo>
                  <a:pt x="242061" y="752979"/>
                </a:lnTo>
                <a:lnTo>
                  <a:pt x="244345" y="750697"/>
                </a:lnTo>
                <a:lnTo>
                  <a:pt x="253479" y="752979"/>
                </a:lnTo>
                <a:lnTo>
                  <a:pt x="262613" y="757543"/>
                </a:lnTo>
                <a:lnTo>
                  <a:pt x="262613" y="752979"/>
                </a:lnTo>
                <a:lnTo>
                  <a:pt x="264897" y="750697"/>
                </a:lnTo>
                <a:lnTo>
                  <a:pt x="264897" y="748415"/>
                </a:lnTo>
                <a:lnTo>
                  <a:pt x="267181" y="741570"/>
                </a:lnTo>
                <a:lnTo>
                  <a:pt x="267181" y="737006"/>
                </a:lnTo>
                <a:lnTo>
                  <a:pt x="267181" y="734724"/>
                </a:lnTo>
                <a:lnTo>
                  <a:pt x="264897" y="730160"/>
                </a:lnTo>
                <a:lnTo>
                  <a:pt x="262613" y="730160"/>
                </a:lnTo>
                <a:lnTo>
                  <a:pt x="262613" y="727878"/>
                </a:lnTo>
                <a:lnTo>
                  <a:pt x="264897" y="727878"/>
                </a:lnTo>
                <a:lnTo>
                  <a:pt x="264897" y="725596"/>
                </a:lnTo>
                <a:lnTo>
                  <a:pt x="264897" y="723314"/>
                </a:lnTo>
                <a:lnTo>
                  <a:pt x="267181" y="721032"/>
                </a:lnTo>
                <a:lnTo>
                  <a:pt x="267181" y="718751"/>
                </a:lnTo>
                <a:lnTo>
                  <a:pt x="267181" y="716469"/>
                </a:lnTo>
                <a:lnTo>
                  <a:pt x="269464" y="716469"/>
                </a:lnTo>
                <a:lnTo>
                  <a:pt x="269464" y="714187"/>
                </a:lnTo>
                <a:lnTo>
                  <a:pt x="269464" y="711905"/>
                </a:lnTo>
                <a:lnTo>
                  <a:pt x="269464" y="709623"/>
                </a:lnTo>
                <a:lnTo>
                  <a:pt x="271748" y="709623"/>
                </a:lnTo>
                <a:lnTo>
                  <a:pt x="271748" y="707341"/>
                </a:lnTo>
                <a:lnTo>
                  <a:pt x="274031" y="707341"/>
                </a:lnTo>
                <a:lnTo>
                  <a:pt x="274031" y="705059"/>
                </a:lnTo>
                <a:lnTo>
                  <a:pt x="274031" y="702777"/>
                </a:lnTo>
                <a:lnTo>
                  <a:pt x="276315" y="702777"/>
                </a:lnTo>
                <a:lnTo>
                  <a:pt x="276315" y="700495"/>
                </a:lnTo>
                <a:lnTo>
                  <a:pt x="278599" y="700495"/>
                </a:lnTo>
                <a:lnTo>
                  <a:pt x="278599" y="698214"/>
                </a:lnTo>
                <a:lnTo>
                  <a:pt x="278599" y="695932"/>
                </a:lnTo>
                <a:lnTo>
                  <a:pt x="276315" y="695932"/>
                </a:lnTo>
                <a:lnTo>
                  <a:pt x="274031" y="693650"/>
                </a:lnTo>
                <a:lnTo>
                  <a:pt x="271748" y="693650"/>
                </a:lnTo>
                <a:lnTo>
                  <a:pt x="269464" y="691368"/>
                </a:lnTo>
                <a:lnTo>
                  <a:pt x="267181" y="691368"/>
                </a:lnTo>
                <a:lnTo>
                  <a:pt x="269464" y="686814"/>
                </a:lnTo>
                <a:lnTo>
                  <a:pt x="269464" y="684532"/>
                </a:lnTo>
                <a:lnTo>
                  <a:pt x="271748" y="679968"/>
                </a:lnTo>
                <a:lnTo>
                  <a:pt x="274031" y="673122"/>
                </a:lnTo>
                <a:lnTo>
                  <a:pt x="276315" y="668558"/>
                </a:lnTo>
                <a:lnTo>
                  <a:pt x="283166" y="666277"/>
                </a:lnTo>
                <a:lnTo>
                  <a:pt x="290017" y="663995"/>
                </a:lnTo>
                <a:lnTo>
                  <a:pt x="296867" y="661713"/>
                </a:lnTo>
                <a:lnTo>
                  <a:pt x="310569" y="657149"/>
                </a:lnTo>
                <a:lnTo>
                  <a:pt x="308285" y="652585"/>
                </a:lnTo>
                <a:lnTo>
                  <a:pt x="312853" y="652585"/>
                </a:lnTo>
                <a:lnTo>
                  <a:pt x="310569" y="648021"/>
                </a:lnTo>
                <a:lnTo>
                  <a:pt x="301435" y="645739"/>
                </a:lnTo>
                <a:lnTo>
                  <a:pt x="303718" y="638894"/>
                </a:lnTo>
                <a:lnTo>
                  <a:pt x="303718" y="634330"/>
                </a:lnTo>
                <a:lnTo>
                  <a:pt x="303718" y="632048"/>
                </a:lnTo>
                <a:lnTo>
                  <a:pt x="303718" y="627484"/>
                </a:lnTo>
                <a:lnTo>
                  <a:pt x="299151" y="625202"/>
                </a:lnTo>
                <a:lnTo>
                  <a:pt x="308285" y="620639"/>
                </a:lnTo>
                <a:lnTo>
                  <a:pt x="310569" y="620639"/>
                </a:lnTo>
                <a:lnTo>
                  <a:pt x="312853" y="620639"/>
                </a:lnTo>
                <a:lnTo>
                  <a:pt x="317420" y="618357"/>
                </a:lnTo>
                <a:lnTo>
                  <a:pt x="319703" y="618357"/>
                </a:lnTo>
                <a:lnTo>
                  <a:pt x="324271" y="613793"/>
                </a:lnTo>
                <a:lnTo>
                  <a:pt x="321987" y="611511"/>
                </a:lnTo>
                <a:lnTo>
                  <a:pt x="317420" y="595538"/>
                </a:lnTo>
                <a:lnTo>
                  <a:pt x="317420" y="597820"/>
                </a:lnTo>
                <a:lnTo>
                  <a:pt x="315136" y="600102"/>
                </a:lnTo>
                <a:lnTo>
                  <a:pt x="312853" y="606947"/>
                </a:lnTo>
                <a:lnTo>
                  <a:pt x="310569" y="609229"/>
                </a:lnTo>
                <a:lnTo>
                  <a:pt x="308285" y="609229"/>
                </a:lnTo>
                <a:lnTo>
                  <a:pt x="308285" y="606947"/>
                </a:lnTo>
                <a:lnTo>
                  <a:pt x="306002" y="606947"/>
                </a:lnTo>
                <a:lnTo>
                  <a:pt x="306002" y="604665"/>
                </a:lnTo>
                <a:lnTo>
                  <a:pt x="303718" y="606947"/>
                </a:lnTo>
                <a:lnTo>
                  <a:pt x="301435" y="606947"/>
                </a:lnTo>
                <a:lnTo>
                  <a:pt x="299151" y="606947"/>
                </a:lnTo>
                <a:lnTo>
                  <a:pt x="296867" y="604665"/>
                </a:lnTo>
                <a:lnTo>
                  <a:pt x="294584" y="604665"/>
                </a:lnTo>
                <a:lnTo>
                  <a:pt x="292300" y="604665"/>
                </a:lnTo>
                <a:lnTo>
                  <a:pt x="292300" y="602383"/>
                </a:lnTo>
                <a:lnTo>
                  <a:pt x="292300" y="604665"/>
                </a:lnTo>
                <a:lnTo>
                  <a:pt x="294584" y="609229"/>
                </a:lnTo>
                <a:lnTo>
                  <a:pt x="292300" y="611511"/>
                </a:lnTo>
                <a:lnTo>
                  <a:pt x="290017" y="613793"/>
                </a:lnTo>
                <a:lnTo>
                  <a:pt x="287733" y="613793"/>
                </a:lnTo>
                <a:lnTo>
                  <a:pt x="285450" y="616075"/>
                </a:lnTo>
                <a:lnTo>
                  <a:pt x="283166" y="613793"/>
                </a:lnTo>
                <a:lnTo>
                  <a:pt x="285450" y="620639"/>
                </a:lnTo>
                <a:lnTo>
                  <a:pt x="287733" y="622920"/>
                </a:lnTo>
                <a:lnTo>
                  <a:pt x="290017" y="627484"/>
                </a:lnTo>
                <a:lnTo>
                  <a:pt x="290017" y="629766"/>
                </a:lnTo>
                <a:lnTo>
                  <a:pt x="287733" y="629766"/>
                </a:lnTo>
                <a:lnTo>
                  <a:pt x="280882" y="632048"/>
                </a:lnTo>
                <a:lnTo>
                  <a:pt x="278599" y="634330"/>
                </a:lnTo>
                <a:lnTo>
                  <a:pt x="274031" y="636612"/>
                </a:lnTo>
                <a:lnTo>
                  <a:pt x="269464" y="638894"/>
                </a:lnTo>
                <a:lnTo>
                  <a:pt x="267181" y="638894"/>
                </a:lnTo>
                <a:lnTo>
                  <a:pt x="264897" y="634330"/>
                </a:lnTo>
                <a:lnTo>
                  <a:pt x="262613" y="629766"/>
                </a:lnTo>
                <a:lnTo>
                  <a:pt x="260330" y="629766"/>
                </a:lnTo>
                <a:lnTo>
                  <a:pt x="260330" y="627484"/>
                </a:lnTo>
                <a:lnTo>
                  <a:pt x="255763" y="620639"/>
                </a:lnTo>
                <a:lnTo>
                  <a:pt x="253479" y="609229"/>
                </a:lnTo>
                <a:lnTo>
                  <a:pt x="253479" y="606947"/>
                </a:lnTo>
                <a:lnTo>
                  <a:pt x="235210" y="625202"/>
                </a:lnTo>
                <a:lnTo>
                  <a:pt x="239777" y="611511"/>
                </a:lnTo>
                <a:lnTo>
                  <a:pt x="239777" y="609229"/>
                </a:lnTo>
                <a:lnTo>
                  <a:pt x="239777" y="606947"/>
                </a:lnTo>
                <a:lnTo>
                  <a:pt x="237494" y="606947"/>
                </a:lnTo>
                <a:lnTo>
                  <a:pt x="237494" y="604665"/>
                </a:lnTo>
                <a:lnTo>
                  <a:pt x="235210" y="600102"/>
                </a:lnTo>
                <a:lnTo>
                  <a:pt x="232927" y="597820"/>
                </a:lnTo>
                <a:lnTo>
                  <a:pt x="230643" y="600102"/>
                </a:lnTo>
                <a:lnTo>
                  <a:pt x="223792" y="604665"/>
                </a:lnTo>
                <a:lnTo>
                  <a:pt x="221509" y="604665"/>
                </a:lnTo>
                <a:lnTo>
                  <a:pt x="221509" y="606947"/>
                </a:lnTo>
                <a:lnTo>
                  <a:pt x="219225" y="609229"/>
                </a:lnTo>
                <a:lnTo>
                  <a:pt x="216942" y="609229"/>
                </a:lnTo>
                <a:lnTo>
                  <a:pt x="214658" y="613793"/>
                </a:lnTo>
                <a:lnTo>
                  <a:pt x="212374" y="613793"/>
                </a:lnTo>
                <a:lnTo>
                  <a:pt x="212374" y="618357"/>
                </a:lnTo>
                <a:lnTo>
                  <a:pt x="214658" y="620639"/>
                </a:lnTo>
                <a:lnTo>
                  <a:pt x="214658" y="622920"/>
                </a:lnTo>
                <a:lnTo>
                  <a:pt x="216942" y="625202"/>
                </a:lnTo>
                <a:lnTo>
                  <a:pt x="216942" y="627484"/>
                </a:lnTo>
                <a:lnTo>
                  <a:pt x="223792" y="625202"/>
                </a:lnTo>
                <a:lnTo>
                  <a:pt x="228360" y="625202"/>
                </a:lnTo>
                <a:lnTo>
                  <a:pt x="230643" y="629766"/>
                </a:lnTo>
                <a:lnTo>
                  <a:pt x="230643" y="634330"/>
                </a:lnTo>
                <a:lnTo>
                  <a:pt x="230643" y="636612"/>
                </a:lnTo>
                <a:lnTo>
                  <a:pt x="232927" y="641176"/>
                </a:lnTo>
                <a:lnTo>
                  <a:pt x="232927" y="643458"/>
                </a:lnTo>
                <a:lnTo>
                  <a:pt x="232927" y="645739"/>
                </a:lnTo>
                <a:lnTo>
                  <a:pt x="235210" y="652585"/>
                </a:lnTo>
                <a:lnTo>
                  <a:pt x="237494" y="654867"/>
                </a:lnTo>
                <a:lnTo>
                  <a:pt x="239777" y="654867"/>
                </a:lnTo>
                <a:lnTo>
                  <a:pt x="239777" y="657149"/>
                </a:lnTo>
                <a:lnTo>
                  <a:pt x="237494" y="661713"/>
                </a:lnTo>
                <a:lnTo>
                  <a:pt x="235210" y="661713"/>
                </a:lnTo>
                <a:lnTo>
                  <a:pt x="230643" y="659431"/>
                </a:lnTo>
                <a:lnTo>
                  <a:pt x="228360" y="659431"/>
                </a:lnTo>
                <a:lnTo>
                  <a:pt x="226076" y="657149"/>
                </a:lnTo>
                <a:lnTo>
                  <a:pt x="226076" y="652585"/>
                </a:lnTo>
                <a:lnTo>
                  <a:pt x="219225" y="654867"/>
                </a:lnTo>
                <a:lnTo>
                  <a:pt x="216942" y="654867"/>
                </a:lnTo>
                <a:lnTo>
                  <a:pt x="216942" y="659431"/>
                </a:lnTo>
                <a:lnTo>
                  <a:pt x="216942" y="661713"/>
                </a:lnTo>
                <a:lnTo>
                  <a:pt x="221509" y="661713"/>
                </a:lnTo>
                <a:lnTo>
                  <a:pt x="230643" y="670840"/>
                </a:lnTo>
                <a:lnTo>
                  <a:pt x="228360" y="673122"/>
                </a:lnTo>
                <a:lnTo>
                  <a:pt x="223792" y="675404"/>
                </a:lnTo>
                <a:lnTo>
                  <a:pt x="221509" y="675404"/>
                </a:lnTo>
                <a:lnTo>
                  <a:pt x="219225" y="677686"/>
                </a:lnTo>
                <a:lnTo>
                  <a:pt x="216942" y="675404"/>
                </a:lnTo>
                <a:lnTo>
                  <a:pt x="214658" y="675404"/>
                </a:lnTo>
                <a:lnTo>
                  <a:pt x="210091" y="679968"/>
                </a:lnTo>
                <a:lnTo>
                  <a:pt x="207807" y="679968"/>
                </a:lnTo>
                <a:lnTo>
                  <a:pt x="205523" y="679968"/>
                </a:lnTo>
                <a:lnTo>
                  <a:pt x="203240" y="679968"/>
                </a:lnTo>
                <a:lnTo>
                  <a:pt x="200956" y="677686"/>
                </a:lnTo>
                <a:lnTo>
                  <a:pt x="200956" y="679968"/>
                </a:lnTo>
                <a:lnTo>
                  <a:pt x="198673" y="679968"/>
                </a:lnTo>
                <a:lnTo>
                  <a:pt x="196389" y="679968"/>
                </a:lnTo>
                <a:lnTo>
                  <a:pt x="196389" y="682250"/>
                </a:lnTo>
                <a:lnTo>
                  <a:pt x="196389" y="679968"/>
                </a:lnTo>
                <a:lnTo>
                  <a:pt x="196389" y="677686"/>
                </a:lnTo>
                <a:lnTo>
                  <a:pt x="194106" y="675404"/>
                </a:lnTo>
                <a:lnTo>
                  <a:pt x="196389" y="673122"/>
                </a:lnTo>
                <a:lnTo>
                  <a:pt x="196389" y="668558"/>
                </a:lnTo>
                <a:lnTo>
                  <a:pt x="198673" y="663995"/>
                </a:lnTo>
                <a:lnTo>
                  <a:pt x="198673" y="659431"/>
                </a:lnTo>
                <a:lnTo>
                  <a:pt x="200956" y="657149"/>
                </a:lnTo>
                <a:lnTo>
                  <a:pt x="189538" y="652585"/>
                </a:lnTo>
                <a:lnTo>
                  <a:pt x="184971" y="650303"/>
                </a:lnTo>
                <a:lnTo>
                  <a:pt x="182688" y="654867"/>
                </a:lnTo>
                <a:lnTo>
                  <a:pt x="182688" y="659431"/>
                </a:lnTo>
                <a:lnTo>
                  <a:pt x="180404" y="663995"/>
                </a:lnTo>
                <a:lnTo>
                  <a:pt x="178121" y="670840"/>
                </a:lnTo>
                <a:lnTo>
                  <a:pt x="175837" y="670840"/>
                </a:lnTo>
                <a:lnTo>
                  <a:pt x="168986" y="668558"/>
                </a:lnTo>
                <a:lnTo>
                  <a:pt x="164419" y="663995"/>
                </a:lnTo>
                <a:lnTo>
                  <a:pt x="166702" y="661713"/>
                </a:lnTo>
                <a:lnTo>
                  <a:pt x="164419" y="659431"/>
                </a:lnTo>
                <a:lnTo>
                  <a:pt x="164419" y="657149"/>
                </a:lnTo>
                <a:lnTo>
                  <a:pt x="164419" y="654867"/>
                </a:lnTo>
                <a:lnTo>
                  <a:pt x="162135" y="652585"/>
                </a:lnTo>
                <a:lnTo>
                  <a:pt x="159852" y="650303"/>
                </a:lnTo>
                <a:lnTo>
                  <a:pt x="159852" y="648021"/>
                </a:lnTo>
                <a:lnTo>
                  <a:pt x="159852" y="645739"/>
                </a:lnTo>
                <a:lnTo>
                  <a:pt x="157568" y="643458"/>
                </a:lnTo>
                <a:lnTo>
                  <a:pt x="157568" y="641176"/>
                </a:lnTo>
                <a:lnTo>
                  <a:pt x="157568" y="638894"/>
                </a:lnTo>
                <a:lnTo>
                  <a:pt x="155284" y="636612"/>
                </a:lnTo>
                <a:lnTo>
                  <a:pt x="155284" y="632048"/>
                </a:lnTo>
                <a:lnTo>
                  <a:pt x="155284" y="629766"/>
                </a:lnTo>
                <a:lnTo>
                  <a:pt x="155284" y="627484"/>
                </a:lnTo>
                <a:lnTo>
                  <a:pt x="153001" y="627484"/>
                </a:lnTo>
                <a:lnTo>
                  <a:pt x="153001" y="625202"/>
                </a:lnTo>
                <a:lnTo>
                  <a:pt x="153001" y="622920"/>
                </a:lnTo>
                <a:lnTo>
                  <a:pt x="150717" y="620639"/>
                </a:lnTo>
                <a:lnTo>
                  <a:pt x="150717" y="616075"/>
                </a:lnTo>
                <a:lnTo>
                  <a:pt x="150717" y="613793"/>
                </a:lnTo>
                <a:lnTo>
                  <a:pt x="148434" y="611511"/>
                </a:lnTo>
                <a:lnTo>
                  <a:pt x="148434" y="609229"/>
                </a:lnTo>
                <a:lnTo>
                  <a:pt x="148434" y="606947"/>
                </a:lnTo>
                <a:lnTo>
                  <a:pt x="148434" y="604665"/>
                </a:lnTo>
                <a:lnTo>
                  <a:pt x="150717" y="604665"/>
                </a:lnTo>
                <a:lnTo>
                  <a:pt x="150717" y="602383"/>
                </a:lnTo>
                <a:lnTo>
                  <a:pt x="150717" y="590974"/>
                </a:lnTo>
                <a:lnTo>
                  <a:pt x="146150" y="584128"/>
                </a:lnTo>
                <a:lnTo>
                  <a:pt x="143867" y="581846"/>
                </a:lnTo>
                <a:lnTo>
                  <a:pt x="146150" y="581846"/>
                </a:lnTo>
                <a:lnTo>
                  <a:pt x="148434" y="579564"/>
                </a:lnTo>
                <a:lnTo>
                  <a:pt x="150717" y="579564"/>
                </a:lnTo>
                <a:lnTo>
                  <a:pt x="148434" y="577283"/>
                </a:lnTo>
                <a:lnTo>
                  <a:pt x="148434" y="575001"/>
                </a:lnTo>
                <a:lnTo>
                  <a:pt x="148434" y="572719"/>
                </a:lnTo>
                <a:lnTo>
                  <a:pt x="148434" y="570437"/>
                </a:lnTo>
                <a:lnTo>
                  <a:pt x="146150" y="561309"/>
                </a:lnTo>
                <a:lnTo>
                  <a:pt x="146150" y="559027"/>
                </a:lnTo>
                <a:lnTo>
                  <a:pt x="148434" y="556746"/>
                </a:lnTo>
                <a:lnTo>
                  <a:pt x="150717" y="556746"/>
                </a:lnTo>
                <a:lnTo>
                  <a:pt x="153001" y="552182"/>
                </a:lnTo>
                <a:lnTo>
                  <a:pt x="153001" y="545336"/>
                </a:lnTo>
                <a:lnTo>
                  <a:pt x="150717" y="538490"/>
                </a:lnTo>
                <a:lnTo>
                  <a:pt x="150717" y="536218"/>
                </a:lnTo>
                <a:lnTo>
                  <a:pt x="148434" y="533926"/>
                </a:lnTo>
                <a:lnTo>
                  <a:pt x="148434" y="529372"/>
                </a:lnTo>
                <a:lnTo>
                  <a:pt x="148434" y="527090"/>
                </a:lnTo>
                <a:lnTo>
                  <a:pt x="153001" y="527090"/>
                </a:lnTo>
                <a:lnTo>
                  <a:pt x="155284" y="524808"/>
                </a:lnTo>
                <a:lnTo>
                  <a:pt x="162135" y="520245"/>
                </a:lnTo>
                <a:lnTo>
                  <a:pt x="164419" y="517963"/>
                </a:lnTo>
                <a:lnTo>
                  <a:pt x="168986" y="515681"/>
                </a:lnTo>
                <a:lnTo>
                  <a:pt x="173553" y="513399"/>
                </a:lnTo>
                <a:lnTo>
                  <a:pt x="175837" y="511117"/>
                </a:lnTo>
                <a:lnTo>
                  <a:pt x="184971" y="508835"/>
                </a:lnTo>
                <a:lnTo>
                  <a:pt x="189538" y="506553"/>
                </a:lnTo>
                <a:lnTo>
                  <a:pt x="191822" y="508835"/>
                </a:lnTo>
                <a:lnTo>
                  <a:pt x="189538" y="501989"/>
                </a:lnTo>
                <a:lnTo>
                  <a:pt x="191822" y="499708"/>
                </a:lnTo>
                <a:lnTo>
                  <a:pt x="194106" y="495144"/>
                </a:lnTo>
                <a:lnTo>
                  <a:pt x="196389" y="490580"/>
                </a:lnTo>
                <a:lnTo>
                  <a:pt x="198673" y="486016"/>
                </a:lnTo>
                <a:lnTo>
                  <a:pt x="200956" y="483734"/>
                </a:lnTo>
                <a:lnTo>
                  <a:pt x="200956" y="481452"/>
                </a:lnTo>
                <a:lnTo>
                  <a:pt x="203240" y="483734"/>
                </a:lnTo>
                <a:lnTo>
                  <a:pt x="205523" y="486016"/>
                </a:lnTo>
                <a:lnTo>
                  <a:pt x="207807" y="486016"/>
                </a:lnTo>
                <a:lnTo>
                  <a:pt x="210091" y="486016"/>
                </a:lnTo>
                <a:lnTo>
                  <a:pt x="207807" y="483734"/>
                </a:lnTo>
                <a:lnTo>
                  <a:pt x="207807" y="474607"/>
                </a:lnTo>
                <a:lnTo>
                  <a:pt x="205523" y="467761"/>
                </a:lnTo>
                <a:lnTo>
                  <a:pt x="205523" y="463197"/>
                </a:lnTo>
                <a:lnTo>
                  <a:pt x="200956" y="454070"/>
                </a:lnTo>
                <a:lnTo>
                  <a:pt x="198673" y="454070"/>
                </a:lnTo>
                <a:lnTo>
                  <a:pt x="198673" y="451788"/>
                </a:lnTo>
                <a:lnTo>
                  <a:pt x="200956" y="451788"/>
                </a:lnTo>
                <a:lnTo>
                  <a:pt x="200956" y="454070"/>
                </a:lnTo>
                <a:lnTo>
                  <a:pt x="198673" y="451788"/>
                </a:lnTo>
                <a:lnTo>
                  <a:pt x="198673" y="449506"/>
                </a:lnTo>
                <a:lnTo>
                  <a:pt x="196389" y="442660"/>
                </a:lnTo>
                <a:lnTo>
                  <a:pt x="194106" y="435814"/>
                </a:lnTo>
                <a:lnTo>
                  <a:pt x="191822" y="435814"/>
                </a:lnTo>
                <a:lnTo>
                  <a:pt x="189538" y="438096"/>
                </a:lnTo>
                <a:lnTo>
                  <a:pt x="182688" y="438096"/>
                </a:lnTo>
                <a:lnTo>
                  <a:pt x="178121" y="440378"/>
                </a:lnTo>
                <a:lnTo>
                  <a:pt x="175837" y="442660"/>
                </a:lnTo>
                <a:lnTo>
                  <a:pt x="173553" y="442660"/>
                </a:lnTo>
                <a:lnTo>
                  <a:pt x="173553" y="444942"/>
                </a:lnTo>
                <a:lnTo>
                  <a:pt x="171270" y="444942"/>
                </a:lnTo>
                <a:lnTo>
                  <a:pt x="168986" y="447224"/>
                </a:lnTo>
                <a:lnTo>
                  <a:pt x="166702" y="447224"/>
                </a:lnTo>
                <a:lnTo>
                  <a:pt x="162135" y="449506"/>
                </a:lnTo>
                <a:lnTo>
                  <a:pt x="159852" y="449506"/>
                </a:lnTo>
                <a:lnTo>
                  <a:pt x="159852" y="442660"/>
                </a:lnTo>
                <a:lnTo>
                  <a:pt x="159852" y="438096"/>
                </a:lnTo>
                <a:lnTo>
                  <a:pt x="157568" y="438096"/>
                </a:lnTo>
                <a:lnTo>
                  <a:pt x="155284" y="438096"/>
                </a:lnTo>
                <a:lnTo>
                  <a:pt x="155284" y="440378"/>
                </a:lnTo>
                <a:lnTo>
                  <a:pt x="153001" y="440378"/>
                </a:lnTo>
                <a:lnTo>
                  <a:pt x="153001" y="442660"/>
                </a:lnTo>
                <a:lnTo>
                  <a:pt x="139299" y="447224"/>
                </a:lnTo>
                <a:lnTo>
                  <a:pt x="139299" y="449506"/>
                </a:lnTo>
                <a:lnTo>
                  <a:pt x="137016" y="449506"/>
                </a:lnTo>
                <a:lnTo>
                  <a:pt x="134732" y="449506"/>
                </a:lnTo>
                <a:lnTo>
                  <a:pt x="132448" y="449506"/>
                </a:lnTo>
                <a:lnTo>
                  <a:pt x="130165" y="449506"/>
                </a:lnTo>
                <a:lnTo>
                  <a:pt x="130165" y="451788"/>
                </a:lnTo>
                <a:lnTo>
                  <a:pt x="125598" y="451788"/>
                </a:lnTo>
                <a:lnTo>
                  <a:pt x="116463" y="451788"/>
                </a:lnTo>
                <a:lnTo>
                  <a:pt x="116463" y="454070"/>
                </a:lnTo>
                <a:lnTo>
                  <a:pt x="114180" y="460915"/>
                </a:lnTo>
                <a:lnTo>
                  <a:pt x="111896" y="460915"/>
                </a:lnTo>
                <a:lnTo>
                  <a:pt x="109613" y="463197"/>
                </a:lnTo>
                <a:lnTo>
                  <a:pt x="107329" y="463197"/>
                </a:lnTo>
                <a:lnTo>
                  <a:pt x="105045" y="463197"/>
                </a:lnTo>
                <a:lnTo>
                  <a:pt x="102762" y="465479"/>
                </a:lnTo>
                <a:lnTo>
                  <a:pt x="93627" y="470043"/>
                </a:lnTo>
                <a:lnTo>
                  <a:pt x="89060" y="472325"/>
                </a:lnTo>
                <a:lnTo>
                  <a:pt x="84493" y="474607"/>
                </a:lnTo>
                <a:lnTo>
                  <a:pt x="77642" y="474607"/>
                </a:lnTo>
                <a:lnTo>
                  <a:pt x="68508" y="476889"/>
                </a:lnTo>
                <a:lnTo>
                  <a:pt x="61657" y="476889"/>
                </a:lnTo>
                <a:lnTo>
                  <a:pt x="63941" y="476889"/>
                </a:lnTo>
                <a:lnTo>
                  <a:pt x="66224" y="474607"/>
                </a:lnTo>
                <a:lnTo>
                  <a:pt x="68508" y="474607"/>
                </a:lnTo>
                <a:lnTo>
                  <a:pt x="70792" y="474607"/>
                </a:lnTo>
                <a:lnTo>
                  <a:pt x="68508" y="472325"/>
                </a:lnTo>
                <a:lnTo>
                  <a:pt x="66224" y="465479"/>
                </a:lnTo>
                <a:lnTo>
                  <a:pt x="66224" y="463197"/>
                </a:lnTo>
                <a:lnTo>
                  <a:pt x="63941" y="463197"/>
                </a:lnTo>
                <a:lnTo>
                  <a:pt x="61657" y="456352"/>
                </a:lnTo>
                <a:lnTo>
                  <a:pt x="57090" y="454070"/>
                </a:lnTo>
                <a:lnTo>
                  <a:pt x="61657" y="451788"/>
                </a:lnTo>
                <a:lnTo>
                  <a:pt x="63941" y="451788"/>
                </a:lnTo>
                <a:lnTo>
                  <a:pt x="66224" y="449506"/>
                </a:lnTo>
                <a:lnTo>
                  <a:pt x="68508" y="449506"/>
                </a:lnTo>
                <a:lnTo>
                  <a:pt x="70792" y="449506"/>
                </a:lnTo>
                <a:lnTo>
                  <a:pt x="70792" y="447224"/>
                </a:lnTo>
                <a:lnTo>
                  <a:pt x="73075" y="447224"/>
                </a:lnTo>
                <a:lnTo>
                  <a:pt x="75359" y="444942"/>
                </a:lnTo>
                <a:lnTo>
                  <a:pt x="77642" y="444942"/>
                </a:lnTo>
                <a:lnTo>
                  <a:pt x="79926" y="444942"/>
                </a:lnTo>
                <a:lnTo>
                  <a:pt x="82209" y="442660"/>
                </a:lnTo>
                <a:lnTo>
                  <a:pt x="82209" y="444942"/>
                </a:lnTo>
                <a:lnTo>
                  <a:pt x="84493" y="444942"/>
                </a:lnTo>
                <a:lnTo>
                  <a:pt x="86777" y="444942"/>
                </a:lnTo>
                <a:lnTo>
                  <a:pt x="91344" y="444942"/>
                </a:lnTo>
                <a:lnTo>
                  <a:pt x="98194" y="444942"/>
                </a:lnTo>
                <a:lnTo>
                  <a:pt x="100478" y="444942"/>
                </a:lnTo>
                <a:lnTo>
                  <a:pt x="100478" y="442660"/>
                </a:lnTo>
                <a:lnTo>
                  <a:pt x="93627" y="426687"/>
                </a:lnTo>
                <a:lnTo>
                  <a:pt x="98194" y="426687"/>
                </a:lnTo>
                <a:lnTo>
                  <a:pt x="102762" y="426687"/>
                </a:lnTo>
                <a:lnTo>
                  <a:pt x="105045" y="424405"/>
                </a:lnTo>
                <a:lnTo>
                  <a:pt x="107329" y="424405"/>
                </a:lnTo>
                <a:lnTo>
                  <a:pt x="109613" y="424405"/>
                </a:lnTo>
                <a:lnTo>
                  <a:pt x="114180" y="424405"/>
                </a:lnTo>
                <a:lnTo>
                  <a:pt x="123314" y="422123"/>
                </a:lnTo>
                <a:lnTo>
                  <a:pt x="125598" y="422123"/>
                </a:lnTo>
                <a:lnTo>
                  <a:pt x="127881" y="422123"/>
                </a:lnTo>
                <a:lnTo>
                  <a:pt x="134732" y="419841"/>
                </a:lnTo>
                <a:lnTo>
                  <a:pt x="139299" y="419841"/>
                </a:lnTo>
                <a:lnTo>
                  <a:pt x="143867" y="419841"/>
                </a:lnTo>
                <a:lnTo>
                  <a:pt x="143867" y="415277"/>
                </a:lnTo>
                <a:lnTo>
                  <a:pt x="153001" y="415277"/>
                </a:lnTo>
                <a:lnTo>
                  <a:pt x="153001" y="412996"/>
                </a:lnTo>
                <a:lnTo>
                  <a:pt x="150717" y="410714"/>
                </a:lnTo>
                <a:lnTo>
                  <a:pt x="148434" y="403868"/>
                </a:lnTo>
                <a:lnTo>
                  <a:pt x="148434" y="401586"/>
                </a:lnTo>
                <a:lnTo>
                  <a:pt x="143867" y="394740"/>
                </a:lnTo>
                <a:lnTo>
                  <a:pt x="143867" y="392459"/>
                </a:lnTo>
                <a:lnTo>
                  <a:pt x="146150" y="390177"/>
                </a:lnTo>
                <a:lnTo>
                  <a:pt x="148434" y="387895"/>
                </a:lnTo>
                <a:lnTo>
                  <a:pt x="150717" y="385613"/>
                </a:lnTo>
                <a:lnTo>
                  <a:pt x="153001" y="385613"/>
                </a:lnTo>
                <a:lnTo>
                  <a:pt x="155284" y="383331"/>
                </a:lnTo>
                <a:lnTo>
                  <a:pt x="157568" y="381059"/>
                </a:lnTo>
                <a:lnTo>
                  <a:pt x="159852" y="381059"/>
                </a:lnTo>
                <a:lnTo>
                  <a:pt x="164419" y="378777"/>
                </a:lnTo>
                <a:lnTo>
                  <a:pt x="166702" y="378777"/>
                </a:lnTo>
                <a:lnTo>
                  <a:pt x="171270" y="376495"/>
                </a:lnTo>
                <a:lnTo>
                  <a:pt x="173553" y="376495"/>
                </a:lnTo>
                <a:lnTo>
                  <a:pt x="178121" y="374213"/>
                </a:lnTo>
                <a:lnTo>
                  <a:pt x="180404" y="374213"/>
                </a:lnTo>
                <a:lnTo>
                  <a:pt x="184971" y="371931"/>
                </a:lnTo>
                <a:lnTo>
                  <a:pt x="187255" y="369649"/>
                </a:lnTo>
                <a:lnTo>
                  <a:pt x="191822" y="365085"/>
                </a:lnTo>
                <a:lnTo>
                  <a:pt x="198673" y="358240"/>
                </a:lnTo>
                <a:lnTo>
                  <a:pt x="200956" y="355958"/>
                </a:lnTo>
                <a:lnTo>
                  <a:pt x="203240" y="355958"/>
                </a:lnTo>
                <a:lnTo>
                  <a:pt x="210091" y="355958"/>
                </a:lnTo>
                <a:lnTo>
                  <a:pt x="221509" y="355958"/>
                </a:lnTo>
                <a:lnTo>
                  <a:pt x="223792" y="355958"/>
                </a:lnTo>
                <a:lnTo>
                  <a:pt x="230643" y="358240"/>
                </a:lnTo>
                <a:lnTo>
                  <a:pt x="232927" y="365085"/>
                </a:lnTo>
                <a:lnTo>
                  <a:pt x="235210" y="365085"/>
                </a:lnTo>
                <a:lnTo>
                  <a:pt x="246628" y="358240"/>
                </a:lnTo>
                <a:lnTo>
                  <a:pt x="253479" y="355958"/>
                </a:lnTo>
                <a:lnTo>
                  <a:pt x="255763" y="355958"/>
                </a:lnTo>
                <a:lnTo>
                  <a:pt x="260330" y="353676"/>
                </a:lnTo>
                <a:lnTo>
                  <a:pt x="262613" y="351394"/>
                </a:lnTo>
                <a:lnTo>
                  <a:pt x="264897" y="353676"/>
                </a:lnTo>
                <a:lnTo>
                  <a:pt x="267181" y="360521"/>
                </a:lnTo>
                <a:lnTo>
                  <a:pt x="269464" y="365085"/>
                </a:lnTo>
                <a:lnTo>
                  <a:pt x="267181" y="365085"/>
                </a:lnTo>
                <a:lnTo>
                  <a:pt x="264897" y="367367"/>
                </a:lnTo>
                <a:lnTo>
                  <a:pt x="262613" y="369649"/>
                </a:lnTo>
                <a:lnTo>
                  <a:pt x="260330" y="369649"/>
                </a:lnTo>
                <a:lnTo>
                  <a:pt x="258046" y="369649"/>
                </a:lnTo>
                <a:lnTo>
                  <a:pt x="255763" y="371931"/>
                </a:lnTo>
                <a:lnTo>
                  <a:pt x="253479" y="371931"/>
                </a:lnTo>
                <a:lnTo>
                  <a:pt x="251196" y="374213"/>
                </a:lnTo>
                <a:lnTo>
                  <a:pt x="255763" y="385613"/>
                </a:lnTo>
                <a:lnTo>
                  <a:pt x="258046" y="390177"/>
                </a:lnTo>
                <a:lnTo>
                  <a:pt x="255763" y="390177"/>
                </a:lnTo>
                <a:lnTo>
                  <a:pt x="258046" y="394740"/>
                </a:lnTo>
                <a:lnTo>
                  <a:pt x="264897" y="392459"/>
                </a:lnTo>
                <a:lnTo>
                  <a:pt x="267181" y="392459"/>
                </a:lnTo>
                <a:lnTo>
                  <a:pt x="271748" y="399304"/>
                </a:lnTo>
                <a:lnTo>
                  <a:pt x="271748" y="401586"/>
                </a:lnTo>
                <a:lnTo>
                  <a:pt x="271748" y="403868"/>
                </a:lnTo>
                <a:lnTo>
                  <a:pt x="274031" y="406150"/>
                </a:lnTo>
                <a:lnTo>
                  <a:pt x="274031" y="408432"/>
                </a:lnTo>
                <a:lnTo>
                  <a:pt x="274031" y="410714"/>
                </a:lnTo>
                <a:lnTo>
                  <a:pt x="276315" y="410714"/>
                </a:lnTo>
                <a:lnTo>
                  <a:pt x="276315" y="412996"/>
                </a:lnTo>
                <a:lnTo>
                  <a:pt x="276315" y="415277"/>
                </a:lnTo>
                <a:lnTo>
                  <a:pt x="278599" y="415277"/>
                </a:lnTo>
                <a:lnTo>
                  <a:pt x="278599" y="417559"/>
                </a:lnTo>
                <a:lnTo>
                  <a:pt x="278599" y="419841"/>
                </a:lnTo>
                <a:lnTo>
                  <a:pt x="280882" y="422123"/>
                </a:lnTo>
                <a:lnTo>
                  <a:pt x="280882" y="419841"/>
                </a:lnTo>
                <a:lnTo>
                  <a:pt x="280882" y="422123"/>
                </a:lnTo>
                <a:lnTo>
                  <a:pt x="283166" y="422123"/>
                </a:lnTo>
                <a:lnTo>
                  <a:pt x="285450" y="419841"/>
                </a:lnTo>
                <a:lnTo>
                  <a:pt x="287733" y="419841"/>
                </a:lnTo>
                <a:lnTo>
                  <a:pt x="290017" y="417559"/>
                </a:lnTo>
                <a:lnTo>
                  <a:pt x="292300" y="417559"/>
                </a:lnTo>
                <a:lnTo>
                  <a:pt x="294584" y="417559"/>
                </a:lnTo>
                <a:lnTo>
                  <a:pt x="294584" y="415277"/>
                </a:lnTo>
                <a:lnTo>
                  <a:pt x="296867" y="415277"/>
                </a:lnTo>
                <a:lnTo>
                  <a:pt x="299151" y="415277"/>
                </a:lnTo>
                <a:lnTo>
                  <a:pt x="301435" y="415277"/>
                </a:lnTo>
                <a:lnTo>
                  <a:pt x="303718" y="417559"/>
                </a:lnTo>
                <a:lnTo>
                  <a:pt x="306002" y="417559"/>
                </a:lnTo>
                <a:lnTo>
                  <a:pt x="308285" y="417559"/>
                </a:lnTo>
                <a:lnTo>
                  <a:pt x="310569" y="417559"/>
                </a:lnTo>
                <a:lnTo>
                  <a:pt x="310569" y="419841"/>
                </a:lnTo>
                <a:lnTo>
                  <a:pt x="312853" y="419841"/>
                </a:lnTo>
                <a:lnTo>
                  <a:pt x="315136" y="419841"/>
                </a:lnTo>
                <a:lnTo>
                  <a:pt x="317420" y="419841"/>
                </a:lnTo>
                <a:lnTo>
                  <a:pt x="317420" y="422123"/>
                </a:lnTo>
                <a:lnTo>
                  <a:pt x="319703" y="424405"/>
                </a:lnTo>
                <a:lnTo>
                  <a:pt x="319703" y="426687"/>
                </a:lnTo>
                <a:lnTo>
                  <a:pt x="321987" y="428969"/>
                </a:lnTo>
                <a:lnTo>
                  <a:pt x="324271" y="431251"/>
                </a:lnTo>
                <a:lnTo>
                  <a:pt x="321987" y="431251"/>
                </a:lnTo>
                <a:lnTo>
                  <a:pt x="321987" y="433533"/>
                </a:lnTo>
                <a:lnTo>
                  <a:pt x="321987" y="435814"/>
                </a:lnTo>
                <a:lnTo>
                  <a:pt x="324271" y="435814"/>
                </a:lnTo>
                <a:lnTo>
                  <a:pt x="324271" y="433533"/>
                </a:lnTo>
                <a:lnTo>
                  <a:pt x="324271" y="435814"/>
                </a:lnTo>
                <a:lnTo>
                  <a:pt x="326554" y="435814"/>
                </a:lnTo>
                <a:lnTo>
                  <a:pt x="326554" y="433533"/>
                </a:lnTo>
                <a:lnTo>
                  <a:pt x="328838" y="435814"/>
                </a:lnTo>
                <a:lnTo>
                  <a:pt x="328838" y="433533"/>
                </a:lnTo>
                <a:lnTo>
                  <a:pt x="331121" y="435814"/>
                </a:lnTo>
                <a:lnTo>
                  <a:pt x="333405" y="435814"/>
                </a:lnTo>
                <a:lnTo>
                  <a:pt x="335689" y="438096"/>
                </a:lnTo>
                <a:lnTo>
                  <a:pt x="337972" y="440378"/>
                </a:lnTo>
                <a:lnTo>
                  <a:pt x="335689" y="442660"/>
                </a:lnTo>
                <a:lnTo>
                  <a:pt x="331121" y="444942"/>
                </a:lnTo>
                <a:lnTo>
                  <a:pt x="328838" y="444942"/>
                </a:lnTo>
                <a:lnTo>
                  <a:pt x="326554" y="447224"/>
                </a:lnTo>
                <a:lnTo>
                  <a:pt x="321987" y="449506"/>
                </a:lnTo>
                <a:lnTo>
                  <a:pt x="324271" y="454070"/>
                </a:lnTo>
                <a:lnTo>
                  <a:pt x="321987" y="454070"/>
                </a:lnTo>
                <a:lnTo>
                  <a:pt x="317420" y="454070"/>
                </a:lnTo>
                <a:lnTo>
                  <a:pt x="317420" y="451788"/>
                </a:lnTo>
                <a:lnTo>
                  <a:pt x="312853" y="451788"/>
                </a:lnTo>
                <a:lnTo>
                  <a:pt x="310569" y="451788"/>
                </a:lnTo>
                <a:lnTo>
                  <a:pt x="306002" y="449506"/>
                </a:lnTo>
                <a:lnTo>
                  <a:pt x="306002" y="451788"/>
                </a:lnTo>
                <a:lnTo>
                  <a:pt x="306002" y="454070"/>
                </a:lnTo>
                <a:lnTo>
                  <a:pt x="306002" y="456352"/>
                </a:lnTo>
                <a:lnTo>
                  <a:pt x="306002" y="458634"/>
                </a:lnTo>
                <a:lnTo>
                  <a:pt x="306002" y="460915"/>
                </a:lnTo>
                <a:lnTo>
                  <a:pt x="306002" y="463197"/>
                </a:lnTo>
                <a:lnTo>
                  <a:pt x="306002" y="465479"/>
                </a:lnTo>
                <a:lnTo>
                  <a:pt x="306002" y="467761"/>
                </a:lnTo>
                <a:lnTo>
                  <a:pt x="306002" y="470043"/>
                </a:lnTo>
                <a:lnTo>
                  <a:pt x="306002" y="472325"/>
                </a:lnTo>
                <a:lnTo>
                  <a:pt x="306002" y="474607"/>
                </a:lnTo>
                <a:lnTo>
                  <a:pt x="306002" y="476889"/>
                </a:lnTo>
                <a:lnTo>
                  <a:pt x="306002" y="479171"/>
                </a:lnTo>
                <a:lnTo>
                  <a:pt x="306002" y="481452"/>
                </a:lnTo>
                <a:lnTo>
                  <a:pt x="303718" y="483734"/>
                </a:lnTo>
                <a:lnTo>
                  <a:pt x="303718" y="486016"/>
                </a:lnTo>
                <a:lnTo>
                  <a:pt x="303718" y="488298"/>
                </a:lnTo>
                <a:lnTo>
                  <a:pt x="303718" y="490580"/>
                </a:lnTo>
                <a:lnTo>
                  <a:pt x="301435" y="492862"/>
                </a:lnTo>
                <a:lnTo>
                  <a:pt x="301435" y="495144"/>
                </a:lnTo>
                <a:lnTo>
                  <a:pt x="301435" y="497426"/>
                </a:lnTo>
                <a:lnTo>
                  <a:pt x="303718" y="497426"/>
                </a:lnTo>
                <a:lnTo>
                  <a:pt x="303718" y="499708"/>
                </a:lnTo>
                <a:lnTo>
                  <a:pt x="303718" y="501989"/>
                </a:lnTo>
                <a:lnTo>
                  <a:pt x="301435" y="501989"/>
                </a:lnTo>
                <a:lnTo>
                  <a:pt x="303718" y="506553"/>
                </a:lnTo>
                <a:lnTo>
                  <a:pt x="308285" y="508835"/>
                </a:lnTo>
                <a:lnTo>
                  <a:pt x="310569" y="506553"/>
                </a:lnTo>
                <a:lnTo>
                  <a:pt x="310569" y="508835"/>
                </a:lnTo>
                <a:lnTo>
                  <a:pt x="312853" y="508835"/>
                </a:lnTo>
                <a:lnTo>
                  <a:pt x="315136" y="511117"/>
                </a:lnTo>
                <a:lnTo>
                  <a:pt x="317420" y="511117"/>
                </a:lnTo>
                <a:lnTo>
                  <a:pt x="317420" y="508835"/>
                </a:lnTo>
                <a:lnTo>
                  <a:pt x="317420" y="511117"/>
                </a:lnTo>
                <a:lnTo>
                  <a:pt x="319703" y="511117"/>
                </a:lnTo>
                <a:lnTo>
                  <a:pt x="319703" y="513399"/>
                </a:lnTo>
                <a:lnTo>
                  <a:pt x="321987" y="513399"/>
                </a:lnTo>
                <a:lnTo>
                  <a:pt x="321987" y="511117"/>
                </a:lnTo>
                <a:lnTo>
                  <a:pt x="324271" y="517963"/>
                </a:lnTo>
                <a:lnTo>
                  <a:pt x="324271" y="524808"/>
                </a:lnTo>
                <a:lnTo>
                  <a:pt x="328838" y="524808"/>
                </a:lnTo>
                <a:lnTo>
                  <a:pt x="331121" y="522527"/>
                </a:lnTo>
                <a:lnTo>
                  <a:pt x="333405" y="522527"/>
                </a:lnTo>
                <a:lnTo>
                  <a:pt x="335689" y="522527"/>
                </a:lnTo>
                <a:lnTo>
                  <a:pt x="337972" y="520245"/>
                </a:lnTo>
                <a:lnTo>
                  <a:pt x="340256" y="520245"/>
                </a:lnTo>
                <a:lnTo>
                  <a:pt x="342539" y="520245"/>
                </a:lnTo>
                <a:lnTo>
                  <a:pt x="344823" y="520245"/>
                </a:lnTo>
                <a:lnTo>
                  <a:pt x="347106" y="520245"/>
                </a:lnTo>
                <a:lnTo>
                  <a:pt x="351674" y="517963"/>
                </a:lnTo>
                <a:lnTo>
                  <a:pt x="351674" y="522527"/>
                </a:lnTo>
                <a:lnTo>
                  <a:pt x="353957" y="524808"/>
                </a:lnTo>
                <a:lnTo>
                  <a:pt x="349390" y="538490"/>
                </a:lnTo>
                <a:lnTo>
                  <a:pt x="347106" y="543054"/>
                </a:lnTo>
                <a:lnTo>
                  <a:pt x="344823" y="547618"/>
                </a:lnTo>
                <a:lnTo>
                  <a:pt x="342539" y="552182"/>
                </a:lnTo>
                <a:lnTo>
                  <a:pt x="337972" y="554464"/>
                </a:lnTo>
                <a:lnTo>
                  <a:pt x="360808" y="545336"/>
                </a:lnTo>
                <a:lnTo>
                  <a:pt x="365375" y="563591"/>
                </a:lnTo>
                <a:lnTo>
                  <a:pt x="376793" y="559027"/>
                </a:lnTo>
                <a:lnTo>
                  <a:pt x="379077" y="559027"/>
                </a:lnTo>
                <a:lnTo>
                  <a:pt x="381360" y="554464"/>
                </a:lnTo>
                <a:lnTo>
                  <a:pt x="383644" y="552182"/>
                </a:lnTo>
                <a:lnTo>
                  <a:pt x="388211" y="547618"/>
                </a:lnTo>
                <a:lnTo>
                  <a:pt x="404196" y="549900"/>
                </a:lnTo>
                <a:lnTo>
                  <a:pt x="408764" y="549900"/>
                </a:lnTo>
                <a:lnTo>
                  <a:pt x="411047" y="549900"/>
                </a:lnTo>
                <a:lnTo>
                  <a:pt x="415614" y="547618"/>
                </a:lnTo>
                <a:lnTo>
                  <a:pt x="415614" y="549900"/>
                </a:lnTo>
                <a:lnTo>
                  <a:pt x="417898" y="549900"/>
                </a:lnTo>
                <a:lnTo>
                  <a:pt x="417898" y="554464"/>
                </a:lnTo>
                <a:lnTo>
                  <a:pt x="417898" y="556746"/>
                </a:lnTo>
                <a:lnTo>
                  <a:pt x="417898" y="561309"/>
                </a:lnTo>
                <a:lnTo>
                  <a:pt x="420182" y="561309"/>
                </a:lnTo>
                <a:lnTo>
                  <a:pt x="422465" y="561309"/>
                </a:lnTo>
                <a:lnTo>
                  <a:pt x="424749" y="561309"/>
                </a:lnTo>
                <a:lnTo>
                  <a:pt x="427033" y="563591"/>
                </a:lnTo>
                <a:lnTo>
                  <a:pt x="429316" y="563591"/>
                </a:lnTo>
                <a:lnTo>
                  <a:pt x="433883" y="563591"/>
                </a:lnTo>
                <a:lnTo>
                  <a:pt x="436167" y="565873"/>
                </a:lnTo>
                <a:lnTo>
                  <a:pt x="438450" y="565873"/>
                </a:lnTo>
                <a:lnTo>
                  <a:pt x="440734" y="565873"/>
                </a:lnTo>
                <a:lnTo>
                  <a:pt x="443018" y="563591"/>
                </a:lnTo>
                <a:lnTo>
                  <a:pt x="447585" y="563591"/>
                </a:lnTo>
                <a:lnTo>
                  <a:pt x="452152" y="563591"/>
                </a:lnTo>
                <a:lnTo>
                  <a:pt x="456719" y="561309"/>
                </a:lnTo>
                <a:lnTo>
                  <a:pt x="456719" y="563591"/>
                </a:lnTo>
                <a:lnTo>
                  <a:pt x="459003" y="563591"/>
                </a:lnTo>
                <a:lnTo>
                  <a:pt x="463570" y="563591"/>
                </a:lnTo>
                <a:lnTo>
                  <a:pt x="468137" y="565873"/>
                </a:lnTo>
                <a:lnTo>
                  <a:pt x="470421" y="565873"/>
                </a:lnTo>
                <a:lnTo>
                  <a:pt x="479555" y="568155"/>
                </a:lnTo>
                <a:lnTo>
                  <a:pt x="481839" y="570437"/>
                </a:lnTo>
                <a:lnTo>
                  <a:pt x="481839" y="568155"/>
                </a:lnTo>
                <a:lnTo>
                  <a:pt x="484122" y="561309"/>
                </a:lnTo>
                <a:lnTo>
                  <a:pt x="490973" y="561309"/>
                </a:lnTo>
                <a:lnTo>
                  <a:pt x="495540" y="561309"/>
                </a:lnTo>
                <a:lnTo>
                  <a:pt x="504675" y="559027"/>
                </a:lnTo>
                <a:lnTo>
                  <a:pt x="506958" y="559027"/>
                </a:lnTo>
                <a:lnTo>
                  <a:pt x="511525" y="559027"/>
                </a:lnTo>
                <a:lnTo>
                  <a:pt x="516093" y="561309"/>
                </a:lnTo>
                <a:lnTo>
                  <a:pt x="518376" y="561309"/>
                </a:lnTo>
                <a:lnTo>
                  <a:pt x="520660" y="559027"/>
                </a:lnTo>
                <a:lnTo>
                  <a:pt x="522943" y="559027"/>
                </a:lnTo>
                <a:lnTo>
                  <a:pt x="525227" y="556746"/>
                </a:lnTo>
                <a:lnTo>
                  <a:pt x="527511" y="556746"/>
                </a:lnTo>
                <a:lnTo>
                  <a:pt x="532078" y="554464"/>
                </a:lnTo>
                <a:lnTo>
                  <a:pt x="541212" y="549900"/>
                </a:lnTo>
                <a:lnTo>
                  <a:pt x="545779" y="552182"/>
                </a:lnTo>
                <a:lnTo>
                  <a:pt x="548063" y="552182"/>
                </a:lnTo>
                <a:lnTo>
                  <a:pt x="550347" y="552182"/>
                </a:lnTo>
                <a:lnTo>
                  <a:pt x="552630" y="552182"/>
                </a:lnTo>
                <a:lnTo>
                  <a:pt x="554914" y="554464"/>
                </a:lnTo>
                <a:lnTo>
                  <a:pt x="559481" y="554464"/>
                </a:lnTo>
                <a:lnTo>
                  <a:pt x="566332" y="559027"/>
                </a:lnTo>
                <a:lnTo>
                  <a:pt x="568615" y="559027"/>
                </a:lnTo>
                <a:lnTo>
                  <a:pt x="570899" y="559027"/>
                </a:lnTo>
                <a:lnTo>
                  <a:pt x="575466" y="563591"/>
                </a:lnTo>
                <a:lnTo>
                  <a:pt x="577750" y="559027"/>
                </a:lnTo>
                <a:lnTo>
                  <a:pt x="584600" y="547618"/>
                </a:lnTo>
                <a:lnTo>
                  <a:pt x="586884" y="547618"/>
                </a:lnTo>
                <a:lnTo>
                  <a:pt x="589168" y="547618"/>
                </a:lnTo>
                <a:lnTo>
                  <a:pt x="591451" y="547618"/>
                </a:lnTo>
                <a:lnTo>
                  <a:pt x="593735" y="547618"/>
                </a:lnTo>
                <a:lnTo>
                  <a:pt x="593735" y="545336"/>
                </a:lnTo>
                <a:lnTo>
                  <a:pt x="596018" y="545336"/>
                </a:lnTo>
                <a:lnTo>
                  <a:pt x="593735" y="545336"/>
                </a:lnTo>
                <a:lnTo>
                  <a:pt x="596018" y="545336"/>
                </a:lnTo>
                <a:lnTo>
                  <a:pt x="596018" y="547618"/>
                </a:lnTo>
                <a:lnTo>
                  <a:pt x="598302" y="547618"/>
                </a:lnTo>
                <a:lnTo>
                  <a:pt x="598302" y="549900"/>
                </a:lnTo>
                <a:lnTo>
                  <a:pt x="600585" y="549900"/>
                </a:lnTo>
                <a:lnTo>
                  <a:pt x="600585" y="552182"/>
                </a:lnTo>
                <a:lnTo>
                  <a:pt x="600585" y="554464"/>
                </a:lnTo>
                <a:lnTo>
                  <a:pt x="600585" y="556746"/>
                </a:lnTo>
                <a:lnTo>
                  <a:pt x="602870" y="556746"/>
                </a:lnTo>
                <a:lnTo>
                  <a:pt x="607437" y="554464"/>
                </a:lnTo>
                <a:lnTo>
                  <a:pt x="609720" y="554464"/>
                </a:lnTo>
                <a:lnTo>
                  <a:pt x="609720" y="552182"/>
                </a:lnTo>
                <a:lnTo>
                  <a:pt x="612004" y="552182"/>
                </a:lnTo>
                <a:lnTo>
                  <a:pt x="614287" y="552182"/>
                </a:lnTo>
                <a:lnTo>
                  <a:pt x="616571" y="549900"/>
                </a:lnTo>
                <a:lnTo>
                  <a:pt x="618855" y="549900"/>
                </a:lnTo>
                <a:lnTo>
                  <a:pt x="618855" y="547618"/>
                </a:lnTo>
                <a:lnTo>
                  <a:pt x="621138" y="547618"/>
                </a:lnTo>
                <a:lnTo>
                  <a:pt x="621138" y="545336"/>
                </a:lnTo>
                <a:lnTo>
                  <a:pt x="621138" y="543054"/>
                </a:lnTo>
                <a:lnTo>
                  <a:pt x="621138" y="540772"/>
                </a:lnTo>
                <a:lnTo>
                  <a:pt x="621138" y="538490"/>
                </a:lnTo>
                <a:lnTo>
                  <a:pt x="623422" y="536218"/>
                </a:lnTo>
                <a:lnTo>
                  <a:pt x="627989" y="536218"/>
                </a:lnTo>
                <a:lnTo>
                  <a:pt x="630272" y="536218"/>
                </a:lnTo>
                <a:lnTo>
                  <a:pt x="632556" y="536218"/>
                </a:lnTo>
                <a:lnTo>
                  <a:pt x="639407" y="533926"/>
                </a:lnTo>
                <a:lnTo>
                  <a:pt x="641690" y="536218"/>
                </a:lnTo>
                <a:lnTo>
                  <a:pt x="646258" y="536218"/>
                </a:lnTo>
                <a:lnTo>
                  <a:pt x="648541" y="536218"/>
                </a:lnTo>
                <a:lnTo>
                  <a:pt x="653108" y="538490"/>
                </a:lnTo>
                <a:lnTo>
                  <a:pt x="655392" y="538490"/>
                </a:lnTo>
                <a:lnTo>
                  <a:pt x="657675" y="538490"/>
                </a:lnTo>
                <a:lnTo>
                  <a:pt x="659959" y="538490"/>
                </a:lnTo>
                <a:lnTo>
                  <a:pt x="662243" y="538490"/>
                </a:lnTo>
                <a:lnTo>
                  <a:pt x="664526" y="538490"/>
                </a:lnTo>
                <a:lnTo>
                  <a:pt x="664526" y="536218"/>
                </a:lnTo>
                <a:lnTo>
                  <a:pt x="664526" y="531654"/>
                </a:lnTo>
                <a:lnTo>
                  <a:pt x="664526" y="527090"/>
                </a:lnTo>
                <a:lnTo>
                  <a:pt x="664526" y="524808"/>
                </a:lnTo>
                <a:lnTo>
                  <a:pt x="664526" y="522527"/>
                </a:lnTo>
                <a:lnTo>
                  <a:pt x="662243" y="520245"/>
                </a:lnTo>
                <a:lnTo>
                  <a:pt x="662243" y="517963"/>
                </a:lnTo>
                <a:lnTo>
                  <a:pt x="662243" y="515681"/>
                </a:lnTo>
                <a:lnTo>
                  <a:pt x="662243" y="513399"/>
                </a:lnTo>
                <a:lnTo>
                  <a:pt x="664526" y="511117"/>
                </a:lnTo>
                <a:lnTo>
                  <a:pt x="664526" y="508835"/>
                </a:lnTo>
                <a:lnTo>
                  <a:pt x="664526" y="506553"/>
                </a:lnTo>
                <a:lnTo>
                  <a:pt x="666810" y="504271"/>
                </a:lnTo>
                <a:lnTo>
                  <a:pt x="666810" y="501989"/>
                </a:lnTo>
                <a:lnTo>
                  <a:pt x="666810" y="499708"/>
                </a:lnTo>
                <a:lnTo>
                  <a:pt x="666810" y="497426"/>
                </a:lnTo>
                <a:lnTo>
                  <a:pt x="666810" y="495144"/>
                </a:lnTo>
                <a:lnTo>
                  <a:pt x="669094" y="495144"/>
                </a:lnTo>
                <a:lnTo>
                  <a:pt x="666810" y="495144"/>
                </a:lnTo>
                <a:lnTo>
                  <a:pt x="666810" y="492862"/>
                </a:lnTo>
                <a:lnTo>
                  <a:pt x="666810" y="488298"/>
                </a:lnTo>
                <a:lnTo>
                  <a:pt x="666810" y="486016"/>
                </a:lnTo>
                <a:lnTo>
                  <a:pt x="666810" y="483734"/>
                </a:lnTo>
                <a:lnTo>
                  <a:pt x="666810" y="481452"/>
                </a:lnTo>
                <a:lnTo>
                  <a:pt x="666810" y="479171"/>
                </a:lnTo>
                <a:lnTo>
                  <a:pt x="666810" y="476889"/>
                </a:lnTo>
                <a:lnTo>
                  <a:pt x="666810" y="474607"/>
                </a:lnTo>
                <a:lnTo>
                  <a:pt x="666810" y="472325"/>
                </a:lnTo>
                <a:lnTo>
                  <a:pt x="666810" y="467761"/>
                </a:lnTo>
                <a:lnTo>
                  <a:pt x="666810" y="465479"/>
                </a:lnTo>
                <a:lnTo>
                  <a:pt x="666810" y="463197"/>
                </a:lnTo>
                <a:lnTo>
                  <a:pt x="666810" y="460915"/>
                </a:lnTo>
                <a:lnTo>
                  <a:pt x="666810" y="458634"/>
                </a:lnTo>
                <a:lnTo>
                  <a:pt x="664526" y="456352"/>
                </a:lnTo>
                <a:lnTo>
                  <a:pt x="664526" y="454070"/>
                </a:lnTo>
                <a:lnTo>
                  <a:pt x="662243" y="451788"/>
                </a:lnTo>
                <a:lnTo>
                  <a:pt x="662243" y="449506"/>
                </a:lnTo>
                <a:lnTo>
                  <a:pt x="657675" y="438096"/>
                </a:lnTo>
                <a:lnTo>
                  <a:pt x="664526" y="435814"/>
                </a:lnTo>
                <a:lnTo>
                  <a:pt x="675945" y="433533"/>
                </a:lnTo>
                <a:lnTo>
                  <a:pt x="675945" y="426687"/>
                </a:lnTo>
                <a:lnTo>
                  <a:pt x="685079" y="433533"/>
                </a:lnTo>
                <a:lnTo>
                  <a:pt x="687362" y="433533"/>
                </a:lnTo>
                <a:lnTo>
                  <a:pt x="694213" y="440378"/>
                </a:lnTo>
                <a:lnTo>
                  <a:pt x="698780" y="444942"/>
                </a:lnTo>
                <a:lnTo>
                  <a:pt x="698780" y="451788"/>
                </a:lnTo>
                <a:lnTo>
                  <a:pt x="710198" y="449506"/>
                </a:lnTo>
                <a:lnTo>
                  <a:pt x="717049" y="451788"/>
                </a:lnTo>
                <a:lnTo>
                  <a:pt x="719333" y="444942"/>
                </a:lnTo>
                <a:lnTo>
                  <a:pt x="719333" y="442660"/>
                </a:lnTo>
                <a:lnTo>
                  <a:pt x="719333" y="440378"/>
                </a:lnTo>
                <a:lnTo>
                  <a:pt x="719333" y="438096"/>
                </a:lnTo>
                <a:lnTo>
                  <a:pt x="719333" y="422123"/>
                </a:lnTo>
                <a:lnTo>
                  <a:pt x="721616" y="415277"/>
                </a:lnTo>
                <a:lnTo>
                  <a:pt x="723900" y="412996"/>
                </a:lnTo>
                <a:lnTo>
                  <a:pt x="730751" y="412996"/>
                </a:lnTo>
                <a:lnTo>
                  <a:pt x="739885" y="415277"/>
                </a:lnTo>
                <a:lnTo>
                  <a:pt x="739885" y="412996"/>
                </a:lnTo>
                <a:lnTo>
                  <a:pt x="737602" y="410714"/>
                </a:lnTo>
                <a:lnTo>
                  <a:pt x="733034" y="403868"/>
                </a:lnTo>
                <a:lnTo>
                  <a:pt x="733034" y="401586"/>
                </a:lnTo>
                <a:lnTo>
                  <a:pt x="733034" y="399304"/>
                </a:lnTo>
                <a:lnTo>
                  <a:pt x="733034" y="397022"/>
                </a:lnTo>
                <a:lnTo>
                  <a:pt x="730751" y="397022"/>
                </a:lnTo>
                <a:lnTo>
                  <a:pt x="730751" y="390177"/>
                </a:lnTo>
                <a:lnTo>
                  <a:pt x="730751" y="387895"/>
                </a:lnTo>
                <a:lnTo>
                  <a:pt x="730751" y="385613"/>
                </a:lnTo>
                <a:lnTo>
                  <a:pt x="730751" y="381059"/>
                </a:lnTo>
                <a:lnTo>
                  <a:pt x="730751" y="378777"/>
                </a:lnTo>
                <a:lnTo>
                  <a:pt x="733034" y="374213"/>
                </a:lnTo>
                <a:lnTo>
                  <a:pt x="733034" y="371931"/>
                </a:lnTo>
                <a:lnTo>
                  <a:pt x="733034" y="369649"/>
                </a:lnTo>
                <a:lnTo>
                  <a:pt x="735318" y="355958"/>
                </a:lnTo>
                <a:lnTo>
                  <a:pt x="737602" y="351394"/>
                </a:lnTo>
                <a:lnTo>
                  <a:pt x="737602" y="349112"/>
                </a:lnTo>
                <a:lnTo>
                  <a:pt x="737602" y="342266"/>
                </a:lnTo>
                <a:lnTo>
                  <a:pt x="739885" y="342266"/>
                </a:lnTo>
                <a:lnTo>
                  <a:pt x="749020" y="344548"/>
                </a:lnTo>
                <a:lnTo>
                  <a:pt x="751303" y="344548"/>
                </a:lnTo>
                <a:lnTo>
                  <a:pt x="758154" y="344548"/>
                </a:lnTo>
                <a:lnTo>
                  <a:pt x="771855" y="346830"/>
                </a:lnTo>
                <a:lnTo>
                  <a:pt x="774139" y="346830"/>
                </a:lnTo>
                <a:lnTo>
                  <a:pt x="778706" y="346830"/>
                </a:lnTo>
                <a:lnTo>
                  <a:pt x="780999" y="353676"/>
                </a:lnTo>
                <a:lnTo>
                  <a:pt x="780999" y="355958"/>
                </a:lnTo>
                <a:lnTo>
                  <a:pt x="780999" y="353676"/>
                </a:lnTo>
                <a:lnTo>
                  <a:pt x="783283" y="353676"/>
                </a:lnTo>
                <a:lnTo>
                  <a:pt x="783283" y="351394"/>
                </a:lnTo>
                <a:lnTo>
                  <a:pt x="780999" y="351394"/>
                </a:lnTo>
                <a:lnTo>
                  <a:pt x="783283" y="351394"/>
                </a:lnTo>
                <a:lnTo>
                  <a:pt x="783283" y="349112"/>
                </a:lnTo>
                <a:lnTo>
                  <a:pt x="785557" y="351394"/>
                </a:lnTo>
                <a:lnTo>
                  <a:pt x="799268" y="355958"/>
                </a:lnTo>
                <a:lnTo>
                  <a:pt x="799268" y="353676"/>
                </a:lnTo>
                <a:lnTo>
                  <a:pt x="799268" y="351394"/>
                </a:lnTo>
                <a:lnTo>
                  <a:pt x="799268" y="346830"/>
                </a:lnTo>
                <a:lnTo>
                  <a:pt x="799268" y="344548"/>
                </a:lnTo>
                <a:lnTo>
                  <a:pt x="799268" y="339984"/>
                </a:lnTo>
                <a:lnTo>
                  <a:pt x="803835" y="344548"/>
                </a:lnTo>
                <a:lnTo>
                  <a:pt x="806110" y="344548"/>
                </a:lnTo>
                <a:lnTo>
                  <a:pt x="815253" y="349112"/>
                </a:lnTo>
                <a:lnTo>
                  <a:pt x="815253" y="351394"/>
                </a:lnTo>
                <a:lnTo>
                  <a:pt x="815253" y="349112"/>
                </a:lnTo>
                <a:lnTo>
                  <a:pt x="815253" y="346830"/>
                </a:lnTo>
                <a:lnTo>
                  <a:pt x="812970" y="346830"/>
                </a:lnTo>
                <a:lnTo>
                  <a:pt x="812970" y="344548"/>
                </a:lnTo>
                <a:lnTo>
                  <a:pt x="812970" y="342266"/>
                </a:lnTo>
                <a:lnTo>
                  <a:pt x="826671" y="344548"/>
                </a:lnTo>
                <a:lnTo>
                  <a:pt x="831238" y="346830"/>
                </a:lnTo>
                <a:lnTo>
                  <a:pt x="831238" y="351394"/>
                </a:lnTo>
                <a:lnTo>
                  <a:pt x="833522" y="355958"/>
                </a:lnTo>
                <a:lnTo>
                  <a:pt x="833522" y="360521"/>
                </a:lnTo>
                <a:lnTo>
                  <a:pt x="835806" y="367367"/>
                </a:lnTo>
                <a:lnTo>
                  <a:pt x="838089" y="371931"/>
                </a:lnTo>
                <a:lnTo>
                  <a:pt x="840373" y="371931"/>
                </a:lnTo>
                <a:lnTo>
                  <a:pt x="840373" y="374213"/>
                </a:lnTo>
                <a:lnTo>
                  <a:pt x="842657" y="376495"/>
                </a:lnTo>
                <a:lnTo>
                  <a:pt x="847224" y="381059"/>
                </a:lnTo>
                <a:lnTo>
                  <a:pt x="849507" y="383331"/>
                </a:lnTo>
                <a:lnTo>
                  <a:pt x="851791" y="385613"/>
                </a:lnTo>
                <a:lnTo>
                  <a:pt x="851791" y="381059"/>
                </a:lnTo>
                <a:lnTo>
                  <a:pt x="851791" y="378777"/>
                </a:lnTo>
                <a:lnTo>
                  <a:pt x="851791" y="374213"/>
                </a:lnTo>
                <a:lnTo>
                  <a:pt x="851791" y="371931"/>
                </a:lnTo>
                <a:lnTo>
                  <a:pt x="851791" y="369649"/>
                </a:lnTo>
                <a:lnTo>
                  <a:pt x="854075" y="369649"/>
                </a:lnTo>
                <a:lnTo>
                  <a:pt x="856358" y="367367"/>
                </a:lnTo>
                <a:lnTo>
                  <a:pt x="858642" y="367367"/>
                </a:lnTo>
                <a:lnTo>
                  <a:pt x="860925" y="367367"/>
                </a:lnTo>
                <a:lnTo>
                  <a:pt x="865492" y="365085"/>
                </a:lnTo>
                <a:lnTo>
                  <a:pt x="870060" y="365085"/>
                </a:lnTo>
                <a:lnTo>
                  <a:pt x="872343" y="362803"/>
                </a:lnTo>
                <a:lnTo>
                  <a:pt x="876910" y="362803"/>
                </a:lnTo>
                <a:lnTo>
                  <a:pt x="879194" y="365085"/>
                </a:lnTo>
                <a:lnTo>
                  <a:pt x="881477" y="369649"/>
                </a:lnTo>
                <a:lnTo>
                  <a:pt x="883761" y="371931"/>
                </a:lnTo>
                <a:lnTo>
                  <a:pt x="883761" y="365085"/>
                </a:lnTo>
                <a:lnTo>
                  <a:pt x="883761" y="358240"/>
                </a:lnTo>
                <a:lnTo>
                  <a:pt x="888328" y="355958"/>
                </a:lnTo>
                <a:lnTo>
                  <a:pt x="890612" y="353676"/>
                </a:lnTo>
                <a:lnTo>
                  <a:pt x="892895" y="353676"/>
                </a:lnTo>
                <a:lnTo>
                  <a:pt x="895179" y="353676"/>
                </a:lnTo>
                <a:lnTo>
                  <a:pt x="895179" y="351394"/>
                </a:lnTo>
                <a:lnTo>
                  <a:pt x="895179" y="349112"/>
                </a:lnTo>
                <a:lnTo>
                  <a:pt x="897463" y="346830"/>
                </a:lnTo>
                <a:lnTo>
                  <a:pt x="899746" y="342266"/>
                </a:lnTo>
                <a:lnTo>
                  <a:pt x="904314" y="344548"/>
                </a:lnTo>
                <a:lnTo>
                  <a:pt x="913448" y="328575"/>
                </a:lnTo>
                <a:lnTo>
                  <a:pt x="915732" y="312602"/>
                </a:lnTo>
                <a:lnTo>
                  <a:pt x="911165" y="310320"/>
                </a:lnTo>
                <a:lnTo>
                  <a:pt x="904314" y="305756"/>
                </a:lnTo>
                <a:lnTo>
                  <a:pt x="906597" y="303474"/>
                </a:lnTo>
                <a:lnTo>
                  <a:pt x="906597" y="296628"/>
                </a:lnTo>
                <a:lnTo>
                  <a:pt x="922582" y="296628"/>
                </a:lnTo>
                <a:lnTo>
                  <a:pt x="924866" y="296628"/>
                </a:lnTo>
                <a:lnTo>
                  <a:pt x="936284" y="287501"/>
                </a:lnTo>
                <a:lnTo>
                  <a:pt x="938567" y="285219"/>
                </a:lnTo>
                <a:lnTo>
                  <a:pt x="936284" y="278373"/>
                </a:lnTo>
                <a:lnTo>
                  <a:pt x="934000" y="269246"/>
                </a:lnTo>
                <a:lnTo>
                  <a:pt x="931717" y="262400"/>
                </a:lnTo>
                <a:lnTo>
                  <a:pt x="929433" y="260118"/>
                </a:lnTo>
                <a:lnTo>
                  <a:pt x="924866" y="253272"/>
                </a:lnTo>
                <a:lnTo>
                  <a:pt x="924866" y="250990"/>
                </a:lnTo>
                <a:lnTo>
                  <a:pt x="931717" y="237299"/>
                </a:lnTo>
                <a:lnTo>
                  <a:pt x="940851" y="244145"/>
                </a:lnTo>
                <a:lnTo>
                  <a:pt x="943135" y="246427"/>
                </a:lnTo>
                <a:lnTo>
                  <a:pt x="943135" y="244145"/>
                </a:lnTo>
                <a:lnTo>
                  <a:pt x="943135" y="241863"/>
                </a:lnTo>
                <a:lnTo>
                  <a:pt x="943135" y="230453"/>
                </a:lnTo>
                <a:lnTo>
                  <a:pt x="945418" y="221335"/>
                </a:lnTo>
                <a:lnTo>
                  <a:pt x="945418" y="205362"/>
                </a:lnTo>
                <a:lnTo>
                  <a:pt x="945418" y="200798"/>
                </a:lnTo>
                <a:lnTo>
                  <a:pt x="954553" y="184825"/>
                </a:lnTo>
                <a:lnTo>
                  <a:pt x="961403" y="189389"/>
                </a:lnTo>
                <a:lnTo>
                  <a:pt x="961403" y="191671"/>
                </a:lnTo>
                <a:lnTo>
                  <a:pt x="963687" y="193953"/>
                </a:lnTo>
                <a:lnTo>
                  <a:pt x="965970" y="196234"/>
                </a:lnTo>
                <a:lnTo>
                  <a:pt x="970538" y="200798"/>
                </a:lnTo>
                <a:lnTo>
                  <a:pt x="970538" y="203080"/>
                </a:lnTo>
                <a:lnTo>
                  <a:pt x="977389" y="205362"/>
                </a:lnTo>
                <a:lnTo>
                  <a:pt x="979672" y="207644"/>
                </a:lnTo>
                <a:lnTo>
                  <a:pt x="981956" y="207644"/>
                </a:lnTo>
                <a:lnTo>
                  <a:pt x="995657" y="216772"/>
                </a:lnTo>
                <a:lnTo>
                  <a:pt x="997941" y="219053"/>
                </a:lnTo>
                <a:lnTo>
                  <a:pt x="997941" y="216772"/>
                </a:lnTo>
                <a:lnTo>
                  <a:pt x="1000225" y="216772"/>
                </a:lnTo>
                <a:lnTo>
                  <a:pt x="1002508" y="216772"/>
                </a:lnTo>
                <a:lnTo>
                  <a:pt x="1004792" y="216772"/>
                </a:lnTo>
                <a:lnTo>
                  <a:pt x="1004792" y="214490"/>
                </a:lnTo>
                <a:lnTo>
                  <a:pt x="1007075" y="214490"/>
                </a:lnTo>
                <a:lnTo>
                  <a:pt x="1009359" y="214490"/>
                </a:lnTo>
                <a:lnTo>
                  <a:pt x="1011643" y="214490"/>
                </a:lnTo>
                <a:lnTo>
                  <a:pt x="1011643" y="212208"/>
                </a:lnTo>
                <a:lnTo>
                  <a:pt x="1013926" y="212208"/>
                </a:lnTo>
                <a:lnTo>
                  <a:pt x="1020777" y="212208"/>
                </a:lnTo>
                <a:lnTo>
                  <a:pt x="1023060" y="212208"/>
                </a:lnTo>
                <a:lnTo>
                  <a:pt x="1025344" y="212208"/>
                </a:lnTo>
                <a:lnTo>
                  <a:pt x="1027628" y="212208"/>
                </a:lnTo>
                <a:lnTo>
                  <a:pt x="1027628" y="214490"/>
                </a:lnTo>
                <a:lnTo>
                  <a:pt x="1027628" y="216772"/>
                </a:lnTo>
                <a:lnTo>
                  <a:pt x="1027628" y="219053"/>
                </a:lnTo>
                <a:lnTo>
                  <a:pt x="1029911" y="221335"/>
                </a:lnTo>
                <a:lnTo>
                  <a:pt x="1029911" y="223617"/>
                </a:lnTo>
                <a:lnTo>
                  <a:pt x="1029911" y="228181"/>
                </a:lnTo>
                <a:lnTo>
                  <a:pt x="1029911" y="232735"/>
                </a:lnTo>
                <a:lnTo>
                  <a:pt x="1029911" y="235017"/>
                </a:lnTo>
                <a:lnTo>
                  <a:pt x="1029911" y="237299"/>
                </a:lnTo>
                <a:lnTo>
                  <a:pt x="1036762" y="237299"/>
                </a:lnTo>
                <a:lnTo>
                  <a:pt x="1039046" y="237299"/>
                </a:lnTo>
                <a:lnTo>
                  <a:pt x="1041330" y="235017"/>
                </a:lnTo>
                <a:lnTo>
                  <a:pt x="1045897" y="235017"/>
                </a:lnTo>
                <a:lnTo>
                  <a:pt x="1048180" y="235017"/>
                </a:lnTo>
                <a:lnTo>
                  <a:pt x="1055031" y="235017"/>
                </a:lnTo>
                <a:lnTo>
                  <a:pt x="1057315" y="235017"/>
                </a:lnTo>
                <a:lnTo>
                  <a:pt x="1059598" y="235017"/>
                </a:lnTo>
                <a:lnTo>
                  <a:pt x="1064165" y="232735"/>
                </a:lnTo>
                <a:lnTo>
                  <a:pt x="1068733" y="232735"/>
                </a:lnTo>
                <a:lnTo>
                  <a:pt x="1071016" y="232735"/>
                </a:lnTo>
                <a:lnTo>
                  <a:pt x="1073300" y="232735"/>
                </a:lnTo>
                <a:lnTo>
                  <a:pt x="1077867" y="232735"/>
                </a:lnTo>
                <a:lnTo>
                  <a:pt x="1080150" y="232735"/>
                </a:lnTo>
                <a:lnTo>
                  <a:pt x="1082434" y="232735"/>
                </a:lnTo>
                <a:lnTo>
                  <a:pt x="1084718" y="232735"/>
                </a:lnTo>
                <a:lnTo>
                  <a:pt x="1087001" y="232735"/>
                </a:lnTo>
                <a:lnTo>
                  <a:pt x="1089285" y="232735"/>
                </a:lnTo>
                <a:lnTo>
                  <a:pt x="1091568" y="232735"/>
                </a:lnTo>
                <a:lnTo>
                  <a:pt x="1093852" y="232735"/>
                </a:lnTo>
                <a:lnTo>
                  <a:pt x="1096136" y="232735"/>
                </a:lnTo>
                <a:lnTo>
                  <a:pt x="1096136" y="230453"/>
                </a:lnTo>
                <a:lnTo>
                  <a:pt x="1098419" y="230453"/>
                </a:lnTo>
                <a:lnTo>
                  <a:pt x="1100703" y="230453"/>
                </a:lnTo>
                <a:lnTo>
                  <a:pt x="1105270" y="230453"/>
                </a:lnTo>
                <a:lnTo>
                  <a:pt x="1107553" y="230453"/>
                </a:lnTo>
                <a:lnTo>
                  <a:pt x="1112121" y="230453"/>
                </a:lnTo>
                <a:lnTo>
                  <a:pt x="1114405" y="230453"/>
                </a:lnTo>
                <a:lnTo>
                  <a:pt x="1123539" y="230453"/>
                </a:lnTo>
                <a:lnTo>
                  <a:pt x="1130390" y="230453"/>
                </a:lnTo>
                <a:lnTo>
                  <a:pt x="1141808" y="207644"/>
                </a:lnTo>
                <a:lnTo>
                  <a:pt x="1141808" y="205362"/>
                </a:lnTo>
                <a:lnTo>
                  <a:pt x="1132673" y="189389"/>
                </a:lnTo>
                <a:lnTo>
                  <a:pt x="1128106" y="187107"/>
                </a:lnTo>
                <a:lnTo>
                  <a:pt x="1123539" y="175697"/>
                </a:lnTo>
                <a:lnTo>
                  <a:pt x="1107553" y="180261"/>
                </a:lnTo>
                <a:lnTo>
                  <a:pt x="1107553" y="177979"/>
                </a:lnTo>
                <a:lnTo>
                  <a:pt x="1107553" y="175697"/>
                </a:lnTo>
                <a:lnTo>
                  <a:pt x="1107553" y="173416"/>
                </a:lnTo>
                <a:lnTo>
                  <a:pt x="1107553" y="171134"/>
                </a:lnTo>
                <a:lnTo>
                  <a:pt x="1107553" y="166569"/>
                </a:lnTo>
                <a:lnTo>
                  <a:pt x="1107553" y="164287"/>
                </a:lnTo>
                <a:lnTo>
                  <a:pt x="1107553" y="162005"/>
                </a:lnTo>
                <a:lnTo>
                  <a:pt x="1107553" y="159723"/>
                </a:lnTo>
                <a:lnTo>
                  <a:pt x="1107553" y="155159"/>
                </a:lnTo>
                <a:lnTo>
                  <a:pt x="1109837" y="155159"/>
                </a:lnTo>
                <a:lnTo>
                  <a:pt x="1121255" y="152878"/>
                </a:lnTo>
                <a:lnTo>
                  <a:pt x="1139524" y="150597"/>
                </a:lnTo>
                <a:lnTo>
                  <a:pt x="1134957" y="143751"/>
                </a:lnTo>
                <a:lnTo>
                  <a:pt x="1130390" y="136906"/>
                </a:lnTo>
                <a:lnTo>
                  <a:pt x="1125823" y="130060"/>
                </a:lnTo>
                <a:lnTo>
                  <a:pt x="1123539" y="125498"/>
                </a:lnTo>
                <a:lnTo>
                  <a:pt x="1109837" y="130060"/>
                </a:lnTo>
                <a:lnTo>
                  <a:pt x="1105270" y="130060"/>
                </a:lnTo>
                <a:lnTo>
                  <a:pt x="1100703" y="132342"/>
                </a:lnTo>
                <a:lnTo>
                  <a:pt x="1087001" y="132342"/>
                </a:lnTo>
                <a:lnTo>
                  <a:pt x="1075583" y="132342"/>
                </a:lnTo>
                <a:lnTo>
                  <a:pt x="1068733" y="132342"/>
                </a:lnTo>
                <a:lnTo>
                  <a:pt x="1068733" y="130060"/>
                </a:lnTo>
                <a:lnTo>
                  <a:pt x="1068733" y="127779"/>
                </a:lnTo>
                <a:lnTo>
                  <a:pt x="1071016" y="111806"/>
                </a:lnTo>
                <a:lnTo>
                  <a:pt x="1071016" y="107243"/>
                </a:lnTo>
                <a:lnTo>
                  <a:pt x="1071016" y="104961"/>
                </a:lnTo>
                <a:lnTo>
                  <a:pt x="1071016" y="102680"/>
                </a:lnTo>
                <a:lnTo>
                  <a:pt x="1068733" y="98116"/>
                </a:lnTo>
                <a:lnTo>
                  <a:pt x="1068733" y="95834"/>
                </a:lnTo>
                <a:lnTo>
                  <a:pt x="1068733" y="93552"/>
                </a:lnTo>
                <a:lnTo>
                  <a:pt x="1068733" y="75298"/>
                </a:lnTo>
                <a:lnTo>
                  <a:pt x="1080150" y="68453"/>
                </a:lnTo>
                <a:lnTo>
                  <a:pt x="1089285" y="61608"/>
                </a:lnTo>
                <a:lnTo>
                  <a:pt x="1091568" y="59326"/>
                </a:lnTo>
                <a:lnTo>
                  <a:pt x="1087001" y="50199"/>
                </a:lnTo>
                <a:lnTo>
                  <a:pt x="1087001" y="47917"/>
                </a:lnTo>
                <a:lnTo>
                  <a:pt x="1093852" y="47917"/>
                </a:lnTo>
                <a:lnTo>
                  <a:pt x="1093852" y="43354"/>
                </a:lnTo>
                <a:lnTo>
                  <a:pt x="1096136" y="41072"/>
                </a:lnTo>
                <a:lnTo>
                  <a:pt x="1096136" y="36508"/>
                </a:lnTo>
                <a:lnTo>
                  <a:pt x="1093852" y="36508"/>
                </a:lnTo>
                <a:lnTo>
                  <a:pt x="1089285" y="38790"/>
                </a:lnTo>
                <a:lnTo>
                  <a:pt x="1082434" y="38790"/>
                </a:lnTo>
                <a:lnTo>
                  <a:pt x="1080150" y="38790"/>
                </a:lnTo>
                <a:lnTo>
                  <a:pt x="1077867" y="36508"/>
                </a:lnTo>
                <a:lnTo>
                  <a:pt x="1075583" y="36508"/>
                </a:lnTo>
                <a:lnTo>
                  <a:pt x="1075583" y="34227"/>
                </a:lnTo>
                <a:lnTo>
                  <a:pt x="1077867" y="34227"/>
                </a:lnTo>
                <a:lnTo>
                  <a:pt x="1077867" y="31945"/>
                </a:lnTo>
                <a:lnTo>
                  <a:pt x="1080150" y="31945"/>
                </a:lnTo>
                <a:lnTo>
                  <a:pt x="1082434" y="31945"/>
                </a:lnTo>
                <a:lnTo>
                  <a:pt x="1084718" y="31945"/>
                </a:lnTo>
                <a:lnTo>
                  <a:pt x="1084718" y="29663"/>
                </a:lnTo>
                <a:lnTo>
                  <a:pt x="1087001" y="29663"/>
                </a:lnTo>
                <a:lnTo>
                  <a:pt x="1089285" y="29663"/>
                </a:lnTo>
                <a:lnTo>
                  <a:pt x="1091568" y="29663"/>
                </a:lnTo>
                <a:lnTo>
                  <a:pt x="1091568" y="27382"/>
                </a:lnTo>
                <a:lnTo>
                  <a:pt x="1093852" y="27382"/>
                </a:lnTo>
                <a:lnTo>
                  <a:pt x="1096136" y="27382"/>
                </a:lnTo>
                <a:lnTo>
                  <a:pt x="1098419" y="27382"/>
                </a:lnTo>
                <a:lnTo>
                  <a:pt x="1098419" y="29663"/>
                </a:lnTo>
                <a:lnTo>
                  <a:pt x="1100703" y="29663"/>
                </a:lnTo>
                <a:lnTo>
                  <a:pt x="1102986" y="29663"/>
                </a:lnTo>
                <a:lnTo>
                  <a:pt x="1105270" y="29663"/>
                </a:lnTo>
                <a:lnTo>
                  <a:pt x="1107553" y="29663"/>
                </a:lnTo>
                <a:lnTo>
                  <a:pt x="1107553" y="27382"/>
                </a:lnTo>
                <a:lnTo>
                  <a:pt x="1109837" y="27382"/>
                </a:lnTo>
                <a:lnTo>
                  <a:pt x="1112121" y="25100"/>
                </a:lnTo>
                <a:lnTo>
                  <a:pt x="1114405" y="25100"/>
                </a:lnTo>
                <a:lnTo>
                  <a:pt x="1114405" y="22818"/>
                </a:lnTo>
                <a:lnTo>
                  <a:pt x="1116688" y="22818"/>
                </a:lnTo>
                <a:lnTo>
                  <a:pt x="1116688" y="20536"/>
                </a:lnTo>
                <a:lnTo>
                  <a:pt x="1114405" y="20536"/>
                </a:lnTo>
                <a:lnTo>
                  <a:pt x="1116688" y="20536"/>
                </a:lnTo>
                <a:lnTo>
                  <a:pt x="1116688" y="18254"/>
                </a:lnTo>
                <a:lnTo>
                  <a:pt x="1116688" y="15972"/>
                </a:lnTo>
                <a:lnTo>
                  <a:pt x="1118972" y="15972"/>
                </a:lnTo>
                <a:lnTo>
                  <a:pt x="1118972" y="13691"/>
                </a:lnTo>
                <a:lnTo>
                  <a:pt x="1121255" y="13691"/>
                </a:lnTo>
                <a:lnTo>
                  <a:pt x="1123539" y="13691"/>
                </a:lnTo>
                <a:lnTo>
                  <a:pt x="1125823" y="13691"/>
                </a:lnTo>
                <a:lnTo>
                  <a:pt x="1125823" y="15972"/>
                </a:lnTo>
                <a:lnTo>
                  <a:pt x="1128106" y="15972"/>
                </a:lnTo>
                <a:lnTo>
                  <a:pt x="1128106" y="18254"/>
                </a:lnTo>
                <a:lnTo>
                  <a:pt x="1130390" y="18254"/>
                </a:lnTo>
                <a:lnTo>
                  <a:pt x="1132673" y="18254"/>
                </a:lnTo>
                <a:lnTo>
                  <a:pt x="1134957" y="20536"/>
                </a:lnTo>
                <a:lnTo>
                  <a:pt x="1137240" y="22818"/>
                </a:lnTo>
                <a:lnTo>
                  <a:pt x="1139524" y="25100"/>
                </a:lnTo>
                <a:lnTo>
                  <a:pt x="1141808" y="27382"/>
                </a:lnTo>
                <a:lnTo>
                  <a:pt x="1141808" y="29663"/>
                </a:lnTo>
                <a:lnTo>
                  <a:pt x="1144091" y="29663"/>
                </a:lnTo>
                <a:lnTo>
                  <a:pt x="1144091" y="31945"/>
                </a:lnTo>
                <a:lnTo>
                  <a:pt x="1144091" y="34227"/>
                </a:lnTo>
                <a:lnTo>
                  <a:pt x="1144091" y="38790"/>
                </a:lnTo>
                <a:lnTo>
                  <a:pt x="1146375" y="41072"/>
                </a:lnTo>
                <a:lnTo>
                  <a:pt x="1146375" y="43354"/>
                </a:lnTo>
                <a:lnTo>
                  <a:pt x="1148658" y="43354"/>
                </a:lnTo>
                <a:lnTo>
                  <a:pt x="1150942" y="43354"/>
                </a:lnTo>
                <a:lnTo>
                  <a:pt x="1153226" y="41072"/>
                </a:lnTo>
                <a:lnTo>
                  <a:pt x="1155509" y="41072"/>
                </a:lnTo>
                <a:lnTo>
                  <a:pt x="1157793" y="36508"/>
                </a:lnTo>
                <a:lnTo>
                  <a:pt x="1160076" y="34227"/>
                </a:lnTo>
                <a:lnTo>
                  <a:pt x="1162360" y="31945"/>
                </a:lnTo>
                <a:lnTo>
                  <a:pt x="1164643" y="31945"/>
                </a:lnTo>
                <a:lnTo>
                  <a:pt x="1166927" y="31945"/>
                </a:lnTo>
                <a:lnTo>
                  <a:pt x="1166927" y="34227"/>
                </a:lnTo>
                <a:lnTo>
                  <a:pt x="1169211" y="36508"/>
                </a:lnTo>
                <a:lnTo>
                  <a:pt x="1171494" y="36508"/>
                </a:lnTo>
                <a:lnTo>
                  <a:pt x="1173778" y="34227"/>
                </a:lnTo>
                <a:lnTo>
                  <a:pt x="1176061" y="34227"/>
                </a:lnTo>
                <a:lnTo>
                  <a:pt x="1178345" y="34227"/>
                </a:lnTo>
                <a:lnTo>
                  <a:pt x="1180628" y="34227"/>
                </a:lnTo>
                <a:lnTo>
                  <a:pt x="1182913" y="31945"/>
                </a:lnTo>
                <a:lnTo>
                  <a:pt x="1187480" y="31945"/>
                </a:lnTo>
                <a:lnTo>
                  <a:pt x="1189763" y="29663"/>
                </a:lnTo>
                <a:lnTo>
                  <a:pt x="1192047" y="27382"/>
                </a:lnTo>
                <a:lnTo>
                  <a:pt x="1194330" y="25100"/>
                </a:lnTo>
                <a:lnTo>
                  <a:pt x="1196614" y="22818"/>
                </a:lnTo>
                <a:lnTo>
                  <a:pt x="1196614" y="25100"/>
                </a:lnTo>
                <a:lnTo>
                  <a:pt x="1198898" y="27382"/>
                </a:lnTo>
                <a:lnTo>
                  <a:pt x="1198898" y="29663"/>
                </a:lnTo>
                <a:lnTo>
                  <a:pt x="1201181" y="29663"/>
                </a:lnTo>
                <a:lnTo>
                  <a:pt x="1201181" y="31945"/>
                </a:lnTo>
                <a:lnTo>
                  <a:pt x="1205748" y="29663"/>
                </a:lnTo>
                <a:lnTo>
                  <a:pt x="1208032" y="27382"/>
                </a:lnTo>
                <a:lnTo>
                  <a:pt x="1210316" y="27382"/>
                </a:lnTo>
                <a:lnTo>
                  <a:pt x="1212599" y="25100"/>
                </a:lnTo>
                <a:lnTo>
                  <a:pt x="1214883" y="25100"/>
                </a:lnTo>
                <a:lnTo>
                  <a:pt x="1214883" y="22818"/>
                </a:lnTo>
                <a:lnTo>
                  <a:pt x="1217166" y="20536"/>
                </a:lnTo>
                <a:lnTo>
                  <a:pt x="1217166" y="18254"/>
                </a:lnTo>
                <a:lnTo>
                  <a:pt x="1217166" y="15972"/>
                </a:lnTo>
                <a:lnTo>
                  <a:pt x="1217166" y="13691"/>
                </a:lnTo>
                <a:lnTo>
                  <a:pt x="1217166" y="11409"/>
                </a:lnTo>
                <a:lnTo>
                  <a:pt x="1219450" y="11409"/>
                </a:lnTo>
                <a:lnTo>
                  <a:pt x="1221733" y="11409"/>
                </a:lnTo>
                <a:lnTo>
                  <a:pt x="1221733" y="13691"/>
                </a:lnTo>
                <a:lnTo>
                  <a:pt x="1224017" y="15972"/>
                </a:lnTo>
                <a:lnTo>
                  <a:pt x="1226301" y="15972"/>
                </a:lnTo>
                <a:lnTo>
                  <a:pt x="1228584" y="15972"/>
                </a:lnTo>
                <a:lnTo>
                  <a:pt x="1233151" y="15972"/>
                </a:lnTo>
                <a:lnTo>
                  <a:pt x="1237718" y="18254"/>
                </a:lnTo>
                <a:lnTo>
                  <a:pt x="1240002" y="20536"/>
                </a:lnTo>
                <a:lnTo>
                  <a:pt x="1242286" y="20536"/>
                </a:lnTo>
                <a:lnTo>
                  <a:pt x="1244569" y="22818"/>
                </a:lnTo>
                <a:lnTo>
                  <a:pt x="1246853" y="25100"/>
                </a:lnTo>
                <a:lnTo>
                  <a:pt x="1246853" y="27382"/>
                </a:lnTo>
                <a:lnTo>
                  <a:pt x="1251420" y="27382"/>
                </a:lnTo>
                <a:lnTo>
                  <a:pt x="1253704" y="27382"/>
                </a:lnTo>
                <a:lnTo>
                  <a:pt x="1255988" y="27382"/>
                </a:lnTo>
                <a:lnTo>
                  <a:pt x="1255988" y="25100"/>
                </a:lnTo>
                <a:lnTo>
                  <a:pt x="1255988" y="22818"/>
                </a:lnTo>
                <a:lnTo>
                  <a:pt x="1258271" y="20536"/>
                </a:lnTo>
                <a:lnTo>
                  <a:pt x="1260555" y="20536"/>
                </a:lnTo>
                <a:lnTo>
                  <a:pt x="1262838" y="18254"/>
                </a:lnTo>
                <a:lnTo>
                  <a:pt x="1265122" y="18254"/>
                </a:lnTo>
                <a:lnTo>
                  <a:pt x="1267406" y="18254"/>
                </a:lnTo>
                <a:lnTo>
                  <a:pt x="1267406" y="20536"/>
                </a:lnTo>
                <a:lnTo>
                  <a:pt x="1269689" y="22818"/>
                </a:lnTo>
                <a:lnTo>
                  <a:pt x="1269689" y="25100"/>
                </a:lnTo>
                <a:lnTo>
                  <a:pt x="1271973" y="27382"/>
                </a:lnTo>
                <a:lnTo>
                  <a:pt x="1276540" y="29663"/>
                </a:lnTo>
                <a:lnTo>
                  <a:pt x="1278823" y="27382"/>
                </a:lnTo>
                <a:lnTo>
                  <a:pt x="1281107" y="25100"/>
                </a:lnTo>
                <a:lnTo>
                  <a:pt x="1281107" y="22818"/>
                </a:lnTo>
                <a:lnTo>
                  <a:pt x="1281107" y="20536"/>
                </a:lnTo>
                <a:lnTo>
                  <a:pt x="1283391" y="20536"/>
                </a:lnTo>
                <a:lnTo>
                  <a:pt x="1283391" y="18254"/>
                </a:lnTo>
                <a:lnTo>
                  <a:pt x="1285674" y="15972"/>
                </a:lnTo>
                <a:lnTo>
                  <a:pt x="1287958" y="13691"/>
                </a:lnTo>
                <a:lnTo>
                  <a:pt x="1290241" y="13691"/>
                </a:lnTo>
                <a:lnTo>
                  <a:pt x="1292525" y="13691"/>
                </a:lnTo>
                <a:lnTo>
                  <a:pt x="1297092" y="11409"/>
                </a:lnTo>
                <a:lnTo>
                  <a:pt x="1301659" y="11409"/>
                </a:lnTo>
                <a:lnTo>
                  <a:pt x="1303943" y="13691"/>
                </a:lnTo>
                <a:lnTo>
                  <a:pt x="1303943" y="15972"/>
                </a:lnTo>
                <a:lnTo>
                  <a:pt x="1303943" y="18254"/>
                </a:lnTo>
                <a:lnTo>
                  <a:pt x="1306226" y="20536"/>
                </a:lnTo>
                <a:lnTo>
                  <a:pt x="1306226" y="22818"/>
                </a:lnTo>
                <a:lnTo>
                  <a:pt x="1306226" y="25100"/>
                </a:lnTo>
                <a:lnTo>
                  <a:pt x="1306226" y="27382"/>
                </a:lnTo>
                <a:lnTo>
                  <a:pt x="1308510" y="29663"/>
                </a:lnTo>
                <a:lnTo>
                  <a:pt x="1308510" y="31945"/>
                </a:lnTo>
                <a:lnTo>
                  <a:pt x="1310794" y="31945"/>
                </a:lnTo>
                <a:lnTo>
                  <a:pt x="1315361" y="31945"/>
                </a:lnTo>
                <a:lnTo>
                  <a:pt x="1317644" y="31945"/>
                </a:lnTo>
                <a:lnTo>
                  <a:pt x="1322211" y="29663"/>
                </a:lnTo>
                <a:lnTo>
                  <a:pt x="1324496" y="29663"/>
                </a:lnTo>
                <a:lnTo>
                  <a:pt x="1326779" y="27382"/>
                </a:lnTo>
                <a:lnTo>
                  <a:pt x="1329063" y="25100"/>
                </a:lnTo>
                <a:lnTo>
                  <a:pt x="1329063" y="22818"/>
                </a:lnTo>
                <a:lnTo>
                  <a:pt x="1329063" y="20536"/>
                </a:lnTo>
                <a:lnTo>
                  <a:pt x="1329063" y="18254"/>
                </a:lnTo>
                <a:lnTo>
                  <a:pt x="1329063" y="13691"/>
                </a:lnTo>
                <a:lnTo>
                  <a:pt x="1329063" y="11409"/>
                </a:lnTo>
                <a:lnTo>
                  <a:pt x="1331346" y="9128"/>
                </a:lnTo>
                <a:lnTo>
                  <a:pt x="1333630" y="9128"/>
                </a:lnTo>
                <a:lnTo>
                  <a:pt x="1333630" y="6846"/>
                </a:lnTo>
                <a:lnTo>
                  <a:pt x="1335913" y="6846"/>
                </a:lnTo>
                <a:lnTo>
                  <a:pt x="1335913" y="4564"/>
                </a:lnTo>
                <a:lnTo>
                  <a:pt x="1338197" y="4564"/>
                </a:lnTo>
                <a:lnTo>
                  <a:pt x="1340481" y="2282"/>
                </a:lnTo>
                <a:lnTo>
                  <a:pt x="1342764" y="2282"/>
                </a:lnTo>
                <a:lnTo>
                  <a:pt x="1342764" y="0"/>
                </a:lnTo>
                <a:lnTo>
                  <a:pt x="1345048" y="0"/>
                </a:lnTo>
                <a:lnTo>
                  <a:pt x="1347331" y="0"/>
                </a:lnTo>
                <a:lnTo>
                  <a:pt x="1349615" y="2282"/>
                </a:lnTo>
                <a:lnTo>
                  <a:pt x="1351898" y="2282"/>
                </a:lnTo>
                <a:lnTo>
                  <a:pt x="1351898" y="4564"/>
                </a:lnTo>
                <a:lnTo>
                  <a:pt x="1354182" y="4564"/>
                </a:lnTo>
                <a:lnTo>
                  <a:pt x="1356466" y="6846"/>
                </a:lnTo>
                <a:close/>
              </a:path>
            </a:pathLst>
          </a:custGeom>
          <a:solidFill>
            <a:srgbClr val="FFFFCC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" name="Freeform 10">
            <a:extLst>
              <a:ext uri="{FF2B5EF4-FFF2-40B4-BE49-F238E27FC236}">
                <a16:creationId xmlns:a16="http://schemas.microsoft.com/office/drawing/2014/main" id="{73B5C3BA-A6A1-46D4-9210-696FAEA50316}"/>
              </a:ext>
            </a:extLst>
          </p:cNvPr>
          <p:cNvSpPr/>
          <p:nvPr/>
        </p:nvSpPr>
        <p:spPr>
          <a:xfrm>
            <a:off x="5630149" y="2244567"/>
            <a:ext cx="2029453" cy="1221772"/>
          </a:xfrm>
          <a:custGeom>
            <a:avLst/>
            <a:gdLst>
              <a:gd name="connsiteX0" fmla="*/ 1397571 w 2105494"/>
              <a:gd name="connsiteY0" fmla="*/ 4564 h 1430663"/>
              <a:gd name="connsiteX1" fmla="*/ 1399854 w 2105494"/>
              <a:gd name="connsiteY1" fmla="*/ 4564 h 1430663"/>
              <a:gd name="connsiteX2" fmla="*/ 1399854 w 2105494"/>
              <a:gd name="connsiteY2" fmla="*/ 6846 h 1430663"/>
              <a:gd name="connsiteX3" fmla="*/ 1402138 w 2105494"/>
              <a:gd name="connsiteY3" fmla="*/ 6846 h 1430663"/>
              <a:gd name="connsiteX4" fmla="*/ 1404421 w 2105494"/>
              <a:gd name="connsiteY4" fmla="*/ 6846 h 1430663"/>
              <a:gd name="connsiteX5" fmla="*/ 1406705 w 2105494"/>
              <a:gd name="connsiteY5" fmla="*/ 6846 h 1430663"/>
              <a:gd name="connsiteX6" fmla="*/ 1406705 w 2105494"/>
              <a:gd name="connsiteY6" fmla="*/ 9128 h 1430663"/>
              <a:gd name="connsiteX7" fmla="*/ 1406705 w 2105494"/>
              <a:gd name="connsiteY7" fmla="*/ 11409 h 1430663"/>
              <a:gd name="connsiteX8" fmla="*/ 1404421 w 2105494"/>
              <a:gd name="connsiteY8" fmla="*/ 11409 h 1430663"/>
              <a:gd name="connsiteX9" fmla="*/ 1404421 w 2105494"/>
              <a:gd name="connsiteY9" fmla="*/ 13691 h 1430663"/>
              <a:gd name="connsiteX10" fmla="*/ 1404421 w 2105494"/>
              <a:gd name="connsiteY10" fmla="*/ 15973 h 1430663"/>
              <a:gd name="connsiteX11" fmla="*/ 1404421 w 2105494"/>
              <a:gd name="connsiteY11" fmla="*/ 18255 h 1430663"/>
              <a:gd name="connsiteX12" fmla="*/ 1404421 w 2105494"/>
              <a:gd name="connsiteY12" fmla="*/ 20537 h 1430663"/>
              <a:gd name="connsiteX13" fmla="*/ 1404421 w 2105494"/>
              <a:gd name="connsiteY13" fmla="*/ 22819 h 1430663"/>
              <a:gd name="connsiteX14" fmla="*/ 1406705 w 2105494"/>
              <a:gd name="connsiteY14" fmla="*/ 22819 h 1430663"/>
              <a:gd name="connsiteX15" fmla="*/ 1406705 w 2105494"/>
              <a:gd name="connsiteY15" fmla="*/ 25101 h 1430663"/>
              <a:gd name="connsiteX16" fmla="*/ 1404421 w 2105494"/>
              <a:gd name="connsiteY16" fmla="*/ 25101 h 1430663"/>
              <a:gd name="connsiteX17" fmla="*/ 1404421 w 2105494"/>
              <a:gd name="connsiteY17" fmla="*/ 27383 h 1430663"/>
              <a:gd name="connsiteX18" fmla="*/ 1404421 w 2105494"/>
              <a:gd name="connsiteY18" fmla="*/ 29665 h 1430663"/>
              <a:gd name="connsiteX19" fmla="*/ 1404421 w 2105494"/>
              <a:gd name="connsiteY19" fmla="*/ 31947 h 1430663"/>
              <a:gd name="connsiteX20" fmla="*/ 1402138 w 2105494"/>
              <a:gd name="connsiteY20" fmla="*/ 31947 h 1430663"/>
              <a:gd name="connsiteX21" fmla="*/ 1404421 w 2105494"/>
              <a:gd name="connsiteY21" fmla="*/ 31947 h 1430663"/>
              <a:gd name="connsiteX22" fmla="*/ 1404421 w 2105494"/>
              <a:gd name="connsiteY22" fmla="*/ 34228 h 1430663"/>
              <a:gd name="connsiteX23" fmla="*/ 1404421 w 2105494"/>
              <a:gd name="connsiteY23" fmla="*/ 36510 h 1430663"/>
              <a:gd name="connsiteX24" fmla="*/ 1402138 w 2105494"/>
              <a:gd name="connsiteY24" fmla="*/ 36510 h 1430663"/>
              <a:gd name="connsiteX25" fmla="*/ 1402138 w 2105494"/>
              <a:gd name="connsiteY25" fmla="*/ 38792 h 1430663"/>
              <a:gd name="connsiteX26" fmla="*/ 1404421 w 2105494"/>
              <a:gd name="connsiteY26" fmla="*/ 38792 h 1430663"/>
              <a:gd name="connsiteX27" fmla="*/ 1404421 w 2105494"/>
              <a:gd name="connsiteY27" fmla="*/ 41074 h 1430663"/>
              <a:gd name="connsiteX28" fmla="*/ 1404421 w 2105494"/>
              <a:gd name="connsiteY28" fmla="*/ 43356 h 1430663"/>
              <a:gd name="connsiteX29" fmla="*/ 1406705 w 2105494"/>
              <a:gd name="connsiteY29" fmla="*/ 43356 h 1430663"/>
              <a:gd name="connsiteX30" fmla="*/ 1406705 w 2105494"/>
              <a:gd name="connsiteY30" fmla="*/ 45638 h 1430663"/>
              <a:gd name="connsiteX31" fmla="*/ 1406705 w 2105494"/>
              <a:gd name="connsiteY31" fmla="*/ 47920 h 1430663"/>
              <a:gd name="connsiteX32" fmla="*/ 1406705 w 2105494"/>
              <a:gd name="connsiteY32" fmla="*/ 50202 h 1430663"/>
              <a:gd name="connsiteX33" fmla="*/ 1406705 w 2105494"/>
              <a:gd name="connsiteY33" fmla="*/ 52484 h 1430663"/>
              <a:gd name="connsiteX34" fmla="*/ 1406705 w 2105494"/>
              <a:gd name="connsiteY34" fmla="*/ 54766 h 1430663"/>
              <a:gd name="connsiteX35" fmla="*/ 1406705 w 2105494"/>
              <a:gd name="connsiteY35" fmla="*/ 57047 h 1430663"/>
              <a:gd name="connsiteX36" fmla="*/ 1408988 w 2105494"/>
              <a:gd name="connsiteY36" fmla="*/ 57047 h 1430663"/>
              <a:gd name="connsiteX37" fmla="*/ 1408988 w 2105494"/>
              <a:gd name="connsiteY37" fmla="*/ 59329 h 1430663"/>
              <a:gd name="connsiteX38" fmla="*/ 1411272 w 2105494"/>
              <a:gd name="connsiteY38" fmla="*/ 59329 h 1430663"/>
              <a:gd name="connsiteX39" fmla="*/ 1411272 w 2105494"/>
              <a:gd name="connsiteY39" fmla="*/ 61611 h 1430663"/>
              <a:gd name="connsiteX40" fmla="*/ 1413556 w 2105494"/>
              <a:gd name="connsiteY40" fmla="*/ 61611 h 1430663"/>
              <a:gd name="connsiteX41" fmla="*/ 1413556 w 2105494"/>
              <a:gd name="connsiteY41" fmla="*/ 63893 h 1430663"/>
              <a:gd name="connsiteX42" fmla="*/ 1413556 w 2105494"/>
              <a:gd name="connsiteY42" fmla="*/ 61611 h 1430663"/>
              <a:gd name="connsiteX43" fmla="*/ 1415839 w 2105494"/>
              <a:gd name="connsiteY43" fmla="*/ 61611 h 1430663"/>
              <a:gd name="connsiteX44" fmla="*/ 1418123 w 2105494"/>
              <a:gd name="connsiteY44" fmla="*/ 61611 h 1430663"/>
              <a:gd name="connsiteX45" fmla="*/ 1418123 w 2105494"/>
              <a:gd name="connsiteY45" fmla="*/ 63893 h 1430663"/>
              <a:gd name="connsiteX46" fmla="*/ 1418123 w 2105494"/>
              <a:gd name="connsiteY46" fmla="*/ 66175 h 1430663"/>
              <a:gd name="connsiteX47" fmla="*/ 1418123 w 2105494"/>
              <a:gd name="connsiteY47" fmla="*/ 68457 h 1430663"/>
              <a:gd name="connsiteX48" fmla="*/ 1418123 w 2105494"/>
              <a:gd name="connsiteY48" fmla="*/ 70739 h 1430663"/>
              <a:gd name="connsiteX49" fmla="*/ 1427257 w 2105494"/>
              <a:gd name="connsiteY49" fmla="*/ 70739 h 1430663"/>
              <a:gd name="connsiteX50" fmla="*/ 1431824 w 2105494"/>
              <a:gd name="connsiteY50" fmla="*/ 70739 h 1430663"/>
              <a:gd name="connsiteX51" fmla="*/ 1436392 w 2105494"/>
              <a:gd name="connsiteY51" fmla="*/ 70739 h 1430663"/>
              <a:gd name="connsiteX52" fmla="*/ 1443242 w 2105494"/>
              <a:gd name="connsiteY52" fmla="*/ 70739 h 1430663"/>
              <a:gd name="connsiteX53" fmla="*/ 1456944 w 2105494"/>
              <a:gd name="connsiteY53" fmla="*/ 73021 h 1430663"/>
              <a:gd name="connsiteX54" fmla="*/ 1459227 w 2105494"/>
              <a:gd name="connsiteY54" fmla="*/ 73021 h 1430663"/>
              <a:gd name="connsiteX55" fmla="*/ 1470646 w 2105494"/>
              <a:gd name="connsiteY55" fmla="*/ 73021 h 1430663"/>
              <a:gd name="connsiteX56" fmla="*/ 1479780 w 2105494"/>
              <a:gd name="connsiteY56" fmla="*/ 70739 h 1430663"/>
              <a:gd name="connsiteX57" fmla="*/ 1493481 w 2105494"/>
              <a:gd name="connsiteY57" fmla="*/ 82148 h 1430663"/>
              <a:gd name="connsiteX58" fmla="*/ 1507183 w 2105494"/>
              <a:gd name="connsiteY58" fmla="*/ 93558 h 1430663"/>
              <a:gd name="connsiteX59" fmla="*/ 1509467 w 2105494"/>
              <a:gd name="connsiteY59" fmla="*/ 88994 h 1430663"/>
              <a:gd name="connsiteX60" fmla="*/ 1514034 w 2105494"/>
              <a:gd name="connsiteY60" fmla="*/ 91276 h 1430663"/>
              <a:gd name="connsiteX61" fmla="*/ 1518601 w 2105494"/>
              <a:gd name="connsiteY61" fmla="*/ 93558 h 1430663"/>
              <a:gd name="connsiteX62" fmla="*/ 1523168 w 2105494"/>
              <a:gd name="connsiteY62" fmla="*/ 98122 h 1430663"/>
              <a:gd name="connsiteX63" fmla="*/ 1527735 w 2105494"/>
              <a:gd name="connsiteY63" fmla="*/ 100403 h 1430663"/>
              <a:gd name="connsiteX64" fmla="*/ 1530019 w 2105494"/>
              <a:gd name="connsiteY64" fmla="*/ 95840 h 1430663"/>
              <a:gd name="connsiteX65" fmla="*/ 1532302 w 2105494"/>
              <a:gd name="connsiteY65" fmla="*/ 91276 h 1430663"/>
              <a:gd name="connsiteX66" fmla="*/ 1534586 w 2105494"/>
              <a:gd name="connsiteY66" fmla="*/ 86712 h 1430663"/>
              <a:gd name="connsiteX67" fmla="*/ 1539153 w 2105494"/>
              <a:gd name="connsiteY67" fmla="*/ 82148 h 1430663"/>
              <a:gd name="connsiteX68" fmla="*/ 1539153 w 2105494"/>
              <a:gd name="connsiteY68" fmla="*/ 79866 h 1430663"/>
              <a:gd name="connsiteX69" fmla="*/ 1543721 w 2105494"/>
              <a:gd name="connsiteY69" fmla="*/ 79866 h 1430663"/>
              <a:gd name="connsiteX70" fmla="*/ 1552855 w 2105494"/>
              <a:gd name="connsiteY70" fmla="*/ 75303 h 1430663"/>
              <a:gd name="connsiteX71" fmla="*/ 1555139 w 2105494"/>
              <a:gd name="connsiteY71" fmla="*/ 75303 h 1430663"/>
              <a:gd name="connsiteX72" fmla="*/ 1557422 w 2105494"/>
              <a:gd name="connsiteY72" fmla="*/ 73021 h 1430663"/>
              <a:gd name="connsiteX73" fmla="*/ 1559706 w 2105494"/>
              <a:gd name="connsiteY73" fmla="*/ 73021 h 1430663"/>
              <a:gd name="connsiteX74" fmla="*/ 1564273 w 2105494"/>
              <a:gd name="connsiteY74" fmla="*/ 70739 h 1430663"/>
              <a:gd name="connsiteX75" fmla="*/ 1568840 w 2105494"/>
              <a:gd name="connsiteY75" fmla="*/ 70739 h 1430663"/>
              <a:gd name="connsiteX76" fmla="*/ 1584825 w 2105494"/>
              <a:gd name="connsiteY76" fmla="*/ 63893 h 1430663"/>
              <a:gd name="connsiteX77" fmla="*/ 1589392 w 2105494"/>
              <a:gd name="connsiteY77" fmla="*/ 61611 h 1430663"/>
              <a:gd name="connsiteX78" fmla="*/ 1591676 w 2105494"/>
              <a:gd name="connsiteY78" fmla="*/ 61611 h 1430663"/>
              <a:gd name="connsiteX79" fmla="*/ 1596243 w 2105494"/>
              <a:gd name="connsiteY79" fmla="*/ 59329 h 1430663"/>
              <a:gd name="connsiteX80" fmla="*/ 1598527 w 2105494"/>
              <a:gd name="connsiteY80" fmla="*/ 57047 h 1430663"/>
              <a:gd name="connsiteX81" fmla="*/ 1598527 w 2105494"/>
              <a:gd name="connsiteY81" fmla="*/ 54766 h 1430663"/>
              <a:gd name="connsiteX82" fmla="*/ 1603094 w 2105494"/>
              <a:gd name="connsiteY82" fmla="*/ 54766 h 1430663"/>
              <a:gd name="connsiteX83" fmla="*/ 1605378 w 2105494"/>
              <a:gd name="connsiteY83" fmla="*/ 54766 h 1430663"/>
              <a:gd name="connsiteX84" fmla="*/ 1607661 w 2105494"/>
              <a:gd name="connsiteY84" fmla="*/ 54766 h 1430663"/>
              <a:gd name="connsiteX85" fmla="*/ 1612229 w 2105494"/>
              <a:gd name="connsiteY85" fmla="*/ 54766 h 1430663"/>
              <a:gd name="connsiteX86" fmla="*/ 1614512 w 2105494"/>
              <a:gd name="connsiteY86" fmla="*/ 54766 h 1430663"/>
              <a:gd name="connsiteX87" fmla="*/ 1612229 w 2105494"/>
              <a:gd name="connsiteY87" fmla="*/ 52484 h 1430663"/>
              <a:gd name="connsiteX88" fmla="*/ 1612229 w 2105494"/>
              <a:gd name="connsiteY88" fmla="*/ 45638 h 1430663"/>
              <a:gd name="connsiteX89" fmla="*/ 1612229 w 2105494"/>
              <a:gd name="connsiteY89" fmla="*/ 41074 h 1430663"/>
              <a:gd name="connsiteX90" fmla="*/ 1612229 w 2105494"/>
              <a:gd name="connsiteY90" fmla="*/ 34228 h 1430663"/>
              <a:gd name="connsiteX91" fmla="*/ 1612229 w 2105494"/>
              <a:gd name="connsiteY91" fmla="*/ 31947 h 1430663"/>
              <a:gd name="connsiteX92" fmla="*/ 1614512 w 2105494"/>
              <a:gd name="connsiteY92" fmla="*/ 31947 h 1430663"/>
              <a:gd name="connsiteX93" fmla="*/ 1619079 w 2105494"/>
              <a:gd name="connsiteY93" fmla="*/ 31947 h 1430663"/>
              <a:gd name="connsiteX94" fmla="*/ 1621363 w 2105494"/>
              <a:gd name="connsiteY94" fmla="*/ 31947 h 1430663"/>
              <a:gd name="connsiteX95" fmla="*/ 1630497 w 2105494"/>
              <a:gd name="connsiteY95" fmla="*/ 31947 h 1430663"/>
              <a:gd name="connsiteX96" fmla="*/ 1632781 w 2105494"/>
              <a:gd name="connsiteY96" fmla="*/ 47920 h 1430663"/>
              <a:gd name="connsiteX97" fmla="*/ 1632781 w 2105494"/>
              <a:gd name="connsiteY97" fmla="*/ 54766 h 1430663"/>
              <a:gd name="connsiteX98" fmla="*/ 1632781 w 2105494"/>
              <a:gd name="connsiteY98" fmla="*/ 63893 h 1430663"/>
              <a:gd name="connsiteX99" fmla="*/ 1632781 w 2105494"/>
              <a:gd name="connsiteY99" fmla="*/ 70739 h 1430663"/>
              <a:gd name="connsiteX100" fmla="*/ 1635064 w 2105494"/>
              <a:gd name="connsiteY100" fmla="*/ 75303 h 1430663"/>
              <a:gd name="connsiteX101" fmla="*/ 1635064 w 2105494"/>
              <a:gd name="connsiteY101" fmla="*/ 84430 h 1430663"/>
              <a:gd name="connsiteX102" fmla="*/ 1635064 w 2105494"/>
              <a:gd name="connsiteY102" fmla="*/ 86712 h 1430663"/>
              <a:gd name="connsiteX103" fmla="*/ 1635064 w 2105494"/>
              <a:gd name="connsiteY103" fmla="*/ 88994 h 1430663"/>
              <a:gd name="connsiteX104" fmla="*/ 1635064 w 2105494"/>
              <a:gd name="connsiteY104" fmla="*/ 95840 h 1430663"/>
              <a:gd name="connsiteX105" fmla="*/ 1637348 w 2105494"/>
              <a:gd name="connsiteY105" fmla="*/ 100403 h 1430663"/>
              <a:gd name="connsiteX106" fmla="*/ 1644199 w 2105494"/>
              <a:gd name="connsiteY106" fmla="*/ 102685 h 1430663"/>
              <a:gd name="connsiteX107" fmla="*/ 1648766 w 2105494"/>
              <a:gd name="connsiteY107" fmla="*/ 104967 h 1430663"/>
              <a:gd name="connsiteX108" fmla="*/ 1653333 w 2105494"/>
              <a:gd name="connsiteY108" fmla="*/ 104967 h 1430663"/>
              <a:gd name="connsiteX109" fmla="*/ 1655617 w 2105494"/>
              <a:gd name="connsiteY109" fmla="*/ 107249 h 1430663"/>
              <a:gd name="connsiteX110" fmla="*/ 1657900 w 2105494"/>
              <a:gd name="connsiteY110" fmla="*/ 107249 h 1430663"/>
              <a:gd name="connsiteX111" fmla="*/ 1660184 w 2105494"/>
              <a:gd name="connsiteY111" fmla="*/ 109531 h 1430663"/>
              <a:gd name="connsiteX112" fmla="*/ 1669319 w 2105494"/>
              <a:gd name="connsiteY112" fmla="*/ 118659 h 1430663"/>
              <a:gd name="connsiteX113" fmla="*/ 1673886 w 2105494"/>
              <a:gd name="connsiteY113" fmla="*/ 125504 h 1430663"/>
              <a:gd name="connsiteX114" fmla="*/ 1676169 w 2105494"/>
              <a:gd name="connsiteY114" fmla="*/ 127786 h 1430663"/>
              <a:gd name="connsiteX115" fmla="*/ 1678453 w 2105494"/>
              <a:gd name="connsiteY115" fmla="*/ 139196 h 1430663"/>
              <a:gd name="connsiteX116" fmla="*/ 1680736 w 2105494"/>
              <a:gd name="connsiteY116" fmla="*/ 134632 h 1430663"/>
              <a:gd name="connsiteX117" fmla="*/ 1687587 w 2105494"/>
              <a:gd name="connsiteY117" fmla="*/ 127786 h 1430663"/>
              <a:gd name="connsiteX118" fmla="*/ 1689871 w 2105494"/>
              <a:gd name="connsiteY118" fmla="*/ 125504 h 1430663"/>
              <a:gd name="connsiteX119" fmla="*/ 1694438 w 2105494"/>
              <a:gd name="connsiteY119" fmla="*/ 127786 h 1430663"/>
              <a:gd name="connsiteX120" fmla="*/ 1705856 w 2105494"/>
              <a:gd name="connsiteY120" fmla="*/ 132350 h 1430663"/>
              <a:gd name="connsiteX121" fmla="*/ 1701289 w 2105494"/>
              <a:gd name="connsiteY121" fmla="*/ 139196 h 1430663"/>
              <a:gd name="connsiteX122" fmla="*/ 1699005 w 2105494"/>
              <a:gd name="connsiteY122" fmla="*/ 146032 h 1430663"/>
              <a:gd name="connsiteX123" fmla="*/ 1699005 w 2105494"/>
              <a:gd name="connsiteY123" fmla="*/ 155159 h 1430663"/>
              <a:gd name="connsiteX124" fmla="*/ 1696721 w 2105494"/>
              <a:gd name="connsiteY124" fmla="*/ 162005 h 1430663"/>
              <a:gd name="connsiteX125" fmla="*/ 1708140 w 2105494"/>
              <a:gd name="connsiteY125" fmla="*/ 162005 h 1430663"/>
              <a:gd name="connsiteX126" fmla="*/ 1705856 w 2105494"/>
              <a:gd name="connsiteY126" fmla="*/ 171133 h 1430663"/>
              <a:gd name="connsiteX127" fmla="*/ 1703572 w 2105494"/>
              <a:gd name="connsiteY127" fmla="*/ 175696 h 1430663"/>
              <a:gd name="connsiteX128" fmla="*/ 1714990 w 2105494"/>
              <a:gd name="connsiteY128" fmla="*/ 168851 h 1430663"/>
              <a:gd name="connsiteX129" fmla="*/ 1721841 w 2105494"/>
              <a:gd name="connsiteY129" fmla="*/ 162005 h 1430663"/>
              <a:gd name="connsiteX130" fmla="*/ 1730985 w 2105494"/>
              <a:gd name="connsiteY130" fmla="*/ 164287 h 1430663"/>
              <a:gd name="connsiteX131" fmla="*/ 1737836 w 2105494"/>
              <a:gd name="connsiteY131" fmla="*/ 164287 h 1430663"/>
              <a:gd name="connsiteX132" fmla="*/ 1740119 w 2105494"/>
              <a:gd name="connsiteY132" fmla="*/ 171133 h 1430663"/>
              <a:gd name="connsiteX133" fmla="*/ 1744687 w 2105494"/>
              <a:gd name="connsiteY133" fmla="*/ 177978 h 1430663"/>
              <a:gd name="connsiteX134" fmla="*/ 1746970 w 2105494"/>
              <a:gd name="connsiteY134" fmla="*/ 184824 h 1430663"/>
              <a:gd name="connsiteX135" fmla="*/ 1749244 w 2105494"/>
              <a:gd name="connsiteY135" fmla="*/ 182542 h 1430663"/>
              <a:gd name="connsiteX136" fmla="*/ 1762946 w 2105494"/>
              <a:gd name="connsiteY136" fmla="*/ 180260 h 1430663"/>
              <a:gd name="connsiteX137" fmla="*/ 1765239 w 2105494"/>
              <a:gd name="connsiteY137" fmla="*/ 180260 h 1430663"/>
              <a:gd name="connsiteX138" fmla="*/ 1767522 w 2105494"/>
              <a:gd name="connsiteY138" fmla="*/ 180260 h 1430663"/>
              <a:gd name="connsiteX139" fmla="*/ 1778941 w 2105494"/>
              <a:gd name="connsiteY139" fmla="*/ 175696 h 1430663"/>
              <a:gd name="connsiteX140" fmla="*/ 1781224 w 2105494"/>
              <a:gd name="connsiteY140" fmla="*/ 180260 h 1430663"/>
              <a:gd name="connsiteX141" fmla="*/ 1781224 w 2105494"/>
              <a:gd name="connsiteY141" fmla="*/ 182542 h 1430663"/>
              <a:gd name="connsiteX142" fmla="*/ 1783508 w 2105494"/>
              <a:gd name="connsiteY142" fmla="*/ 180260 h 1430663"/>
              <a:gd name="connsiteX143" fmla="*/ 1801777 w 2105494"/>
              <a:gd name="connsiteY143" fmla="*/ 175696 h 1430663"/>
              <a:gd name="connsiteX144" fmla="*/ 1801777 w 2105494"/>
              <a:gd name="connsiteY144" fmla="*/ 177978 h 1430663"/>
              <a:gd name="connsiteX145" fmla="*/ 1801777 w 2105494"/>
              <a:gd name="connsiteY145" fmla="*/ 180260 h 1430663"/>
              <a:gd name="connsiteX146" fmla="*/ 1804060 w 2105494"/>
              <a:gd name="connsiteY146" fmla="*/ 180260 h 1430663"/>
              <a:gd name="connsiteX147" fmla="*/ 1806344 w 2105494"/>
              <a:gd name="connsiteY147" fmla="*/ 177978 h 1430663"/>
              <a:gd name="connsiteX148" fmla="*/ 1815478 w 2105494"/>
              <a:gd name="connsiteY148" fmla="*/ 180260 h 1430663"/>
              <a:gd name="connsiteX149" fmla="*/ 1817762 w 2105494"/>
              <a:gd name="connsiteY149" fmla="*/ 180260 h 1430663"/>
              <a:gd name="connsiteX150" fmla="*/ 1820045 w 2105494"/>
              <a:gd name="connsiteY150" fmla="*/ 182542 h 1430663"/>
              <a:gd name="connsiteX151" fmla="*/ 1820045 w 2105494"/>
              <a:gd name="connsiteY151" fmla="*/ 184824 h 1430663"/>
              <a:gd name="connsiteX152" fmla="*/ 1820045 w 2105494"/>
              <a:gd name="connsiteY152" fmla="*/ 187106 h 1430663"/>
              <a:gd name="connsiteX153" fmla="*/ 1822329 w 2105494"/>
              <a:gd name="connsiteY153" fmla="*/ 187106 h 1430663"/>
              <a:gd name="connsiteX154" fmla="*/ 1824612 w 2105494"/>
              <a:gd name="connsiteY154" fmla="*/ 187106 h 1430663"/>
              <a:gd name="connsiteX155" fmla="*/ 1824612 w 2105494"/>
              <a:gd name="connsiteY155" fmla="*/ 189388 h 1430663"/>
              <a:gd name="connsiteX156" fmla="*/ 1824612 w 2105494"/>
              <a:gd name="connsiteY156" fmla="*/ 187106 h 1430663"/>
              <a:gd name="connsiteX157" fmla="*/ 1829180 w 2105494"/>
              <a:gd name="connsiteY157" fmla="*/ 184824 h 1430663"/>
              <a:gd name="connsiteX158" fmla="*/ 1831463 w 2105494"/>
              <a:gd name="connsiteY158" fmla="*/ 182542 h 1430663"/>
              <a:gd name="connsiteX159" fmla="*/ 1831463 w 2105494"/>
              <a:gd name="connsiteY159" fmla="*/ 180260 h 1430663"/>
              <a:gd name="connsiteX160" fmla="*/ 1829180 w 2105494"/>
              <a:gd name="connsiteY160" fmla="*/ 180260 h 1430663"/>
              <a:gd name="connsiteX161" fmla="*/ 1831463 w 2105494"/>
              <a:gd name="connsiteY161" fmla="*/ 175696 h 1430663"/>
              <a:gd name="connsiteX162" fmla="*/ 1833747 w 2105494"/>
              <a:gd name="connsiteY162" fmla="*/ 173415 h 1430663"/>
              <a:gd name="connsiteX163" fmla="*/ 1833747 w 2105494"/>
              <a:gd name="connsiteY163" fmla="*/ 171133 h 1430663"/>
              <a:gd name="connsiteX164" fmla="*/ 1836031 w 2105494"/>
              <a:gd name="connsiteY164" fmla="*/ 171133 h 1430663"/>
              <a:gd name="connsiteX165" fmla="*/ 1833747 w 2105494"/>
              <a:gd name="connsiteY165" fmla="*/ 171133 h 1430663"/>
              <a:gd name="connsiteX166" fmla="*/ 1840598 w 2105494"/>
              <a:gd name="connsiteY166" fmla="*/ 162005 h 1430663"/>
              <a:gd name="connsiteX167" fmla="*/ 1842881 w 2105494"/>
              <a:gd name="connsiteY167" fmla="*/ 159723 h 1430663"/>
              <a:gd name="connsiteX168" fmla="*/ 1842881 w 2105494"/>
              <a:gd name="connsiteY168" fmla="*/ 157441 h 1430663"/>
              <a:gd name="connsiteX169" fmla="*/ 1842881 w 2105494"/>
              <a:gd name="connsiteY169" fmla="*/ 155159 h 1430663"/>
              <a:gd name="connsiteX170" fmla="*/ 1842881 w 2105494"/>
              <a:gd name="connsiteY170" fmla="*/ 150596 h 1430663"/>
              <a:gd name="connsiteX171" fmla="*/ 1842881 w 2105494"/>
              <a:gd name="connsiteY171" fmla="*/ 146032 h 1430663"/>
              <a:gd name="connsiteX172" fmla="*/ 1845165 w 2105494"/>
              <a:gd name="connsiteY172" fmla="*/ 143750 h 1430663"/>
              <a:gd name="connsiteX173" fmla="*/ 1845165 w 2105494"/>
              <a:gd name="connsiteY173" fmla="*/ 141478 h 1430663"/>
              <a:gd name="connsiteX174" fmla="*/ 1847448 w 2105494"/>
              <a:gd name="connsiteY174" fmla="*/ 141478 h 1430663"/>
              <a:gd name="connsiteX175" fmla="*/ 1849732 w 2105494"/>
              <a:gd name="connsiteY175" fmla="*/ 139196 h 1430663"/>
              <a:gd name="connsiteX176" fmla="*/ 1856583 w 2105494"/>
              <a:gd name="connsiteY176" fmla="*/ 136914 h 1430663"/>
              <a:gd name="connsiteX177" fmla="*/ 1861150 w 2105494"/>
              <a:gd name="connsiteY177" fmla="*/ 139196 h 1430663"/>
              <a:gd name="connsiteX178" fmla="*/ 1868001 w 2105494"/>
              <a:gd name="connsiteY178" fmla="*/ 141478 h 1430663"/>
              <a:gd name="connsiteX179" fmla="*/ 1877135 w 2105494"/>
              <a:gd name="connsiteY179" fmla="*/ 141478 h 1430663"/>
              <a:gd name="connsiteX180" fmla="*/ 1877135 w 2105494"/>
              <a:gd name="connsiteY180" fmla="*/ 146032 h 1430663"/>
              <a:gd name="connsiteX181" fmla="*/ 1881702 w 2105494"/>
              <a:gd name="connsiteY181" fmla="*/ 146032 h 1430663"/>
              <a:gd name="connsiteX182" fmla="*/ 1883986 w 2105494"/>
              <a:gd name="connsiteY182" fmla="*/ 143750 h 1430663"/>
              <a:gd name="connsiteX183" fmla="*/ 1897687 w 2105494"/>
              <a:gd name="connsiteY183" fmla="*/ 141478 h 1430663"/>
              <a:gd name="connsiteX184" fmla="*/ 1902255 w 2105494"/>
              <a:gd name="connsiteY184" fmla="*/ 136914 h 1430663"/>
              <a:gd name="connsiteX185" fmla="*/ 1904538 w 2105494"/>
              <a:gd name="connsiteY185" fmla="*/ 134632 h 1430663"/>
              <a:gd name="connsiteX186" fmla="*/ 1909106 w 2105494"/>
              <a:gd name="connsiteY186" fmla="*/ 134632 h 1430663"/>
              <a:gd name="connsiteX187" fmla="*/ 1911389 w 2105494"/>
              <a:gd name="connsiteY187" fmla="*/ 134632 h 1430663"/>
              <a:gd name="connsiteX188" fmla="*/ 1915956 w 2105494"/>
              <a:gd name="connsiteY188" fmla="*/ 134632 h 1430663"/>
              <a:gd name="connsiteX189" fmla="*/ 1918240 w 2105494"/>
              <a:gd name="connsiteY189" fmla="*/ 134632 h 1430663"/>
              <a:gd name="connsiteX190" fmla="*/ 1920524 w 2105494"/>
              <a:gd name="connsiteY190" fmla="*/ 136914 h 1430663"/>
              <a:gd name="connsiteX191" fmla="*/ 1927374 w 2105494"/>
              <a:gd name="connsiteY191" fmla="*/ 139196 h 1430663"/>
              <a:gd name="connsiteX192" fmla="*/ 1931941 w 2105494"/>
              <a:gd name="connsiteY192" fmla="*/ 136914 h 1430663"/>
              <a:gd name="connsiteX193" fmla="*/ 1934225 w 2105494"/>
              <a:gd name="connsiteY193" fmla="*/ 139196 h 1430663"/>
              <a:gd name="connsiteX194" fmla="*/ 1936509 w 2105494"/>
              <a:gd name="connsiteY194" fmla="*/ 139196 h 1430663"/>
              <a:gd name="connsiteX195" fmla="*/ 1938792 w 2105494"/>
              <a:gd name="connsiteY195" fmla="*/ 139196 h 1430663"/>
              <a:gd name="connsiteX196" fmla="*/ 1941076 w 2105494"/>
              <a:gd name="connsiteY196" fmla="*/ 139196 h 1430663"/>
              <a:gd name="connsiteX197" fmla="*/ 1941076 w 2105494"/>
              <a:gd name="connsiteY197" fmla="*/ 141478 h 1430663"/>
              <a:gd name="connsiteX198" fmla="*/ 1943360 w 2105494"/>
              <a:gd name="connsiteY198" fmla="*/ 141478 h 1430663"/>
              <a:gd name="connsiteX199" fmla="*/ 1945643 w 2105494"/>
              <a:gd name="connsiteY199" fmla="*/ 141478 h 1430663"/>
              <a:gd name="connsiteX200" fmla="*/ 1947927 w 2105494"/>
              <a:gd name="connsiteY200" fmla="*/ 141478 h 1430663"/>
              <a:gd name="connsiteX201" fmla="*/ 1947927 w 2105494"/>
              <a:gd name="connsiteY201" fmla="*/ 143750 h 1430663"/>
              <a:gd name="connsiteX202" fmla="*/ 1950210 w 2105494"/>
              <a:gd name="connsiteY202" fmla="*/ 143750 h 1430663"/>
              <a:gd name="connsiteX203" fmla="*/ 1952494 w 2105494"/>
              <a:gd name="connsiteY203" fmla="*/ 143750 h 1430663"/>
              <a:gd name="connsiteX204" fmla="*/ 1957061 w 2105494"/>
              <a:gd name="connsiteY204" fmla="*/ 143750 h 1430663"/>
              <a:gd name="connsiteX205" fmla="*/ 1961628 w 2105494"/>
              <a:gd name="connsiteY205" fmla="*/ 146032 h 1430663"/>
              <a:gd name="connsiteX206" fmla="*/ 1963912 w 2105494"/>
              <a:gd name="connsiteY206" fmla="*/ 146032 h 1430663"/>
              <a:gd name="connsiteX207" fmla="*/ 1975330 w 2105494"/>
              <a:gd name="connsiteY207" fmla="*/ 148314 h 1430663"/>
              <a:gd name="connsiteX208" fmla="*/ 1977614 w 2105494"/>
              <a:gd name="connsiteY208" fmla="*/ 141478 h 1430663"/>
              <a:gd name="connsiteX209" fmla="*/ 1977614 w 2105494"/>
              <a:gd name="connsiteY209" fmla="*/ 136914 h 1430663"/>
              <a:gd name="connsiteX210" fmla="*/ 1986748 w 2105494"/>
              <a:gd name="connsiteY210" fmla="*/ 134632 h 1430663"/>
              <a:gd name="connsiteX211" fmla="*/ 1989031 w 2105494"/>
              <a:gd name="connsiteY211" fmla="*/ 132350 h 1430663"/>
              <a:gd name="connsiteX212" fmla="*/ 1991315 w 2105494"/>
              <a:gd name="connsiteY212" fmla="*/ 134632 h 1430663"/>
              <a:gd name="connsiteX213" fmla="*/ 1991315 w 2105494"/>
              <a:gd name="connsiteY213" fmla="*/ 136914 h 1430663"/>
              <a:gd name="connsiteX214" fmla="*/ 1993599 w 2105494"/>
              <a:gd name="connsiteY214" fmla="*/ 136914 h 1430663"/>
              <a:gd name="connsiteX215" fmla="*/ 1993599 w 2105494"/>
              <a:gd name="connsiteY215" fmla="*/ 139196 h 1430663"/>
              <a:gd name="connsiteX216" fmla="*/ 1995882 w 2105494"/>
              <a:gd name="connsiteY216" fmla="*/ 139196 h 1430663"/>
              <a:gd name="connsiteX217" fmla="*/ 1998166 w 2105494"/>
              <a:gd name="connsiteY217" fmla="*/ 139196 h 1430663"/>
              <a:gd name="connsiteX218" fmla="*/ 2000449 w 2105494"/>
              <a:gd name="connsiteY218" fmla="*/ 139196 h 1430663"/>
              <a:gd name="connsiteX219" fmla="*/ 2002733 w 2105494"/>
              <a:gd name="connsiteY219" fmla="*/ 139196 h 1430663"/>
              <a:gd name="connsiteX220" fmla="*/ 2009584 w 2105494"/>
              <a:gd name="connsiteY220" fmla="*/ 143750 h 1430663"/>
              <a:gd name="connsiteX221" fmla="*/ 2009584 w 2105494"/>
              <a:gd name="connsiteY221" fmla="*/ 141478 h 1430663"/>
              <a:gd name="connsiteX222" fmla="*/ 2025569 w 2105494"/>
              <a:gd name="connsiteY222" fmla="*/ 141478 h 1430663"/>
              <a:gd name="connsiteX223" fmla="*/ 2027853 w 2105494"/>
              <a:gd name="connsiteY223" fmla="*/ 141478 h 1430663"/>
              <a:gd name="connsiteX224" fmla="*/ 2032420 w 2105494"/>
              <a:gd name="connsiteY224" fmla="*/ 141478 h 1430663"/>
              <a:gd name="connsiteX225" fmla="*/ 2034703 w 2105494"/>
              <a:gd name="connsiteY225" fmla="*/ 141478 h 1430663"/>
              <a:gd name="connsiteX226" fmla="*/ 2039270 w 2105494"/>
              <a:gd name="connsiteY226" fmla="*/ 141478 h 1430663"/>
              <a:gd name="connsiteX227" fmla="*/ 2041554 w 2105494"/>
              <a:gd name="connsiteY227" fmla="*/ 150596 h 1430663"/>
              <a:gd name="connsiteX228" fmla="*/ 2055256 w 2105494"/>
              <a:gd name="connsiteY228" fmla="*/ 157441 h 1430663"/>
              <a:gd name="connsiteX229" fmla="*/ 2059823 w 2105494"/>
              <a:gd name="connsiteY229" fmla="*/ 159723 h 1430663"/>
              <a:gd name="connsiteX230" fmla="*/ 2066674 w 2105494"/>
              <a:gd name="connsiteY230" fmla="*/ 162005 h 1430663"/>
              <a:gd name="connsiteX231" fmla="*/ 2068957 w 2105494"/>
              <a:gd name="connsiteY231" fmla="*/ 162005 h 1430663"/>
              <a:gd name="connsiteX232" fmla="*/ 2071241 w 2105494"/>
              <a:gd name="connsiteY232" fmla="*/ 164287 h 1430663"/>
              <a:gd name="connsiteX233" fmla="*/ 2078092 w 2105494"/>
              <a:gd name="connsiteY233" fmla="*/ 166569 h 1430663"/>
              <a:gd name="connsiteX234" fmla="*/ 2080375 w 2105494"/>
              <a:gd name="connsiteY234" fmla="*/ 166569 h 1430663"/>
              <a:gd name="connsiteX235" fmla="*/ 2082659 w 2105494"/>
              <a:gd name="connsiteY235" fmla="*/ 166569 h 1430663"/>
              <a:gd name="connsiteX236" fmla="*/ 2084943 w 2105494"/>
              <a:gd name="connsiteY236" fmla="*/ 168851 h 1430663"/>
              <a:gd name="connsiteX237" fmla="*/ 2087226 w 2105494"/>
              <a:gd name="connsiteY237" fmla="*/ 168851 h 1430663"/>
              <a:gd name="connsiteX238" fmla="*/ 2091793 w 2105494"/>
              <a:gd name="connsiteY238" fmla="*/ 171133 h 1430663"/>
              <a:gd name="connsiteX239" fmla="*/ 2091793 w 2105494"/>
              <a:gd name="connsiteY239" fmla="*/ 173415 h 1430663"/>
              <a:gd name="connsiteX240" fmla="*/ 2089510 w 2105494"/>
              <a:gd name="connsiteY240" fmla="*/ 173415 h 1430663"/>
              <a:gd name="connsiteX241" fmla="*/ 2089510 w 2105494"/>
              <a:gd name="connsiteY241" fmla="*/ 175696 h 1430663"/>
              <a:gd name="connsiteX242" fmla="*/ 2087226 w 2105494"/>
              <a:gd name="connsiteY242" fmla="*/ 175696 h 1430663"/>
              <a:gd name="connsiteX243" fmla="*/ 2087226 w 2105494"/>
              <a:gd name="connsiteY243" fmla="*/ 177978 h 1430663"/>
              <a:gd name="connsiteX244" fmla="*/ 2087226 w 2105494"/>
              <a:gd name="connsiteY244" fmla="*/ 180260 h 1430663"/>
              <a:gd name="connsiteX245" fmla="*/ 2084943 w 2105494"/>
              <a:gd name="connsiteY245" fmla="*/ 180260 h 1430663"/>
              <a:gd name="connsiteX246" fmla="*/ 2084943 w 2105494"/>
              <a:gd name="connsiteY246" fmla="*/ 182542 h 1430663"/>
              <a:gd name="connsiteX247" fmla="*/ 2082659 w 2105494"/>
              <a:gd name="connsiteY247" fmla="*/ 184824 h 1430663"/>
              <a:gd name="connsiteX248" fmla="*/ 2075808 w 2105494"/>
              <a:gd name="connsiteY248" fmla="*/ 196233 h 1430663"/>
              <a:gd name="connsiteX249" fmla="*/ 2075808 w 2105494"/>
              <a:gd name="connsiteY249" fmla="*/ 200797 h 1430663"/>
              <a:gd name="connsiteX250" fmla="*/ 2075808 w 2105494"/>
              <a:gd name="connsiteY250" fmla="*/ 203079 h 1430663"/>
              <a:gd name="connsiteX251" fmla="*/ 2073524 w 2105494"/>
              <a:gd name="connsiteY251" fmla="*/ 203079 h 1430663"/>
              <a:gd name="connsiteX252" fmla="*/ 2068957 w 2105494"/>
              <a:gd name="connsiteY252" fmla="*/ 203079 h 1430663"/>
              <a:gd name="connsiteX253" fmla="*/ 2059823 w 2105494"/>
              <a:gd name="connsiteY253" fmla="*/ 198515 h 1430663"/>
              <a:gd name="connsiteX254" fmla="*/ 2059823 w 2105494"/>
              <a:gd name="connsiteY254" fmla="*/ 196233 h 1430663"/>
              <a:gd name="connsiteX255" fmla="*/ 2052972 w 2105494"/>
              <a:gd name="connsiteY255" fmla="*/ 184824 h 1430663"/>
              <a:gd name="connsiteX256" fmla="*/ 2050689 w 2105494"/>
              <a:gd name="connsiteY256" fmla="*/ 187106 h 1430663"/>
              <a:gd name="connsiteX257" fmla="*/ 2048405 w 2105494"/>
              <a:gd name="connsiteY257" fmla="*/ 187106 h 1430663"/>
              <a:gd name="connsiteX258" fmla="*/ 2046121 w 2105494"/>
              <a:gd name="connsiteY258" fmla="*/ 187106 h 1430663"/>
              <a:gd name="connsiteX259" fmla="*/ 2043838 w 2105494"/>
              <a:gd name="connsiteY259" fmla="*/ 189388 h 1430663"/>
              <a:gd name="connsiteX260" fmla="*/ 2039270 w 2105494"/>
              <a:gd name="connsiteY260" fmla="*/ 189388 h 1430663"/>
              <a:gd name="connsiteX261" fmla="*/ 2032420 w 2105494"/>
              <a:gd name="connsiteY261" fmla="*/ 189388 h 1430663"/>
              <a:gd name="connsiteX262" fmla="*/ 2025569 w 2105494"/>
              <a:gd name="connsiteY262" fmla="*/ 189388 h 1430663"/>
              <a:gd name="connsiteX263" fmla="*/ 2025569 w 2105494"/>
              <a:gd name="connsiteY263" fmla="*/ 191670 h 1430663"/>
              <a:gd name="connsiteX264" fmla="*/ 2030136 w 2105494"/>
              <a:gd name="connsiteY264" fmla="*/ 209925 h 1430663"/>
              <a:gd name="connsiteX265" fmla="*/ 2036987 w 2105494"/>
              <a:gd name="connsiteY265" fmla="*/ 209925 h 1430663"/>
              <a:gd name="connsiteX266" fmla="*/ 2041554 w 2105494"/>
              <a:gd name="connsiteY266" fmla="*/ 209925 h 1430663"/>
              <a:gd name="connsiteX267" fmla="*/ 2043838 w 2105494"/>
              <a:gd name="connsiteY267" fmla="*/ 221334 h 1430663"/>
              <a:gd name="connsiteX268" fmla="*/ 2043838 w 2105494"/>
              <a:gd name="connsiteY268" fmla="*/ 223616 h 1430663"/>
              <a:gd name="connsiteX269" fmla="*/ 2043838 w 2105494"/>
              <a:gd name="connsiteY269" fmla="*/ 225898 h 1430663"/>
              <a:gd name="connsiteX270" fmla="*/ 2043838 w 2105494"/>
              <a:gd name="connsiteY270" fmla="*/ 228180 h 1430663"/>
              <a:gd name="connsiteX271" fmla="*/ 2043838 w 2105494"/>
              <a:gd name="connsiteY271" fmla="*/ 230462 h 1430663"/>
              <a:gd name="connsiteX272" fmla="*/ 2043838 w 2105494"/>
              <a:gd name="connsiteY272" fmla="*/ 232744 h 1430663"/>
              <a:gd name="connsiteX273" fmla="*/ 2046121 w 2105494"/>
              <a:gd name="connsiteY273" fmla="*/ 235026 h 1430663"/>
              <a:gd name="connsiteX274" fmla="*/ 2048405 w 2105494"/>
              <a:gd name="connsiteY274" fmla="*/ 235026 h 1430663"/>
              <a:gd name="connsiteX275" fmla="*/ 2050689 w 2105494"/>
              <a:gd name="connsiteY275" fmla="*/ 235026 h 1430663"/>
              <a:gd name="connsiteX276" fmla="*/ 2055256 w 2105494"/>
              <a:gd name="connsiteY276" fmla="*/ 235026 h 1430663"/>
              <a:gd name="connsiteX277" fmla="*/ 2057539 w 2105494"/>
              <a:gd name="connsiteY277" fmla="*/ 235026 h 1430663"/>
              <a:gd name="connsiteX278" fmla="*/ 2062106 w 2105494"/>
              <a:gd name="connsiteY278" fmla="*/ 235026 h 1430663"/>
              <a:gd name="connsiteX279" fmla="*/ 2064390 w 2105494"/>
              <a:gd name="connsiteY279" fmla="*/ 232744 h 1430663"/>
              <a:gd name="connsiteX280" fmla="*/ 2066674 w 2105494"/>
              <a:gd name="connsiteY280" fmla="*/ 232744 h 1430663"/>
              <a:gd name="connsiteX281" fmla="*/ 2071241 w 2105494"/>
              <a:gd name="connsiteY281" fmla="*/ 232744 h 1430663"/>
              <a:gd name="connsiteX282" fmla="*/ 2073524 w 2105494"/>
              <a:gd name="connsiteY282" fmla="*/ 230462 h 1430663"/>
              <a:gd name="connsiteX283" fmla="*/ 2075808 w 2105494"/>
              <a:gd name="connsiteY283" fmla="*/ 232744 h 1430663"/>
              <a:gd name="connsiteX284" fmla="*/ 2078092 w 2105494"/>
              <a:gd name="connsiteY284" fmla="*/ 232744 h 1430663"/>
              <a:gd name="connsiteX285" fmla="*/ 2080375 w 2105494"/>
              <a:gd name="connsiteY285" fmla="*/ 235026 h 1430663"/>
              <a:gd name="connsiteX286" fmla="*/ 2082659 w 2105494"/>
              <a:gd name="connsiteY286" fmla="*/ 235026 h 1430663"/>
              <a:gd name="connsiteX287" fmla="*/ 2087226 w 2105494"/>
              <a:gd name="connsiteY287" fmla="*/ 237308 h 1430663"/>
              <a:gd name="connsiteX288" fmla="*/ 2087226 w 2105494"/>
              <a:gd name="connsiteY288" fmla="*/ 239590 h 1430663"/>
              <a:gd name="connsiteX289" fmla="*/ 2087226 w 2105494"/>
              <a:gd name="connsiteY289" fmla="*/ 241871 h 1430663"/>
              <a:gd name="connsiteX290" fmla="*/ 2089510 w 2105494"/>
              <a:gd name="connsiteY290" fmla="*/ 241871 h 1430663"/>
              <a:gd name="connsiteX291" fmla="*/ 2089510 w 2105494"/>
              <a:gd name="connsiteY291" fmla="*/ 244153 h 1430663"/>
              <a:gd name="connsiteX292" fmla="*/ 2089510 w 2105494"/>
              <a:gd name="connsiteY292" fmla="*/ 246435 h 1430663"/>
              <a:gd name="connsiteX293" fmla="*/ 2091793 w 2105494"/>
              <a:gd name="connsiteY293" fmla="*/ 246435 h 1430663"/>
              <a:gd name="connsiteX294" fmla="*/ 2091793 w 2105494"/>
              <a:gd name="connsiteY294" fmla="*/ 248717 h 1430663"/>
              <a:gd name="connsiteX295" fmla="*/ 2094077 w 2105494"/>
              <a:gd name="connsiteY295" fmla="*/ 250999 h 1430663"/>
              <a:gd name="connsiteX296" fmla="*/ 2094077 w 2105494"/>
              <a:gd name="connsiteY296" fmla="*/ 253281 h 1430663"/>
              <a:gd name="connsiteX297" fmla="*/ 2096360 w 2105494"/>
              <a:gd name="connsiteY297" fmla="*/ 253281 h 1430663"/>
              <a:gd name="connsiteX298" fmla="*/ 2096360 w 2105494"/>
              <a:gd name="connsiteY298" fmla="*/ 255563 h 1430663"/>
              <a:gd name="connsiteX299" fmla="*/ 2098644 w 2105494"/>
              <a:gd name="connsiteY299" fmla="*/ 257845 h 1430663"/>
              <a:gd name="connsiteX300" fmla="*/ 2098644 w 2105494"/>
              <a:gd name="connsiteY300" fmla="*/ 260127 h 1430663"/>
              <a:gd name="connsiteX301" fmla="*/ 2100928 w 2105494"/>
              <a:gd name="connsiteY301" fmla="*/ 262409 h 1430663"/>
              <a:gd name="connsiteX302" fmla="*/ 2100928 w 2105494"/>
              <a:gd name="connsiteY302" fmla="*/ 264690 h 1430663"/>
              <a:gd name="connsiteX303" fmla="*/ 2103211 w 2105494"/>
              <a:gd name="connsiteY303" fmla="*/ 266972 h 1430663"/>
              <a:gd name="connsiteX304" fmla="*/ 2105495 w 2105494"/>
              <a:gd name="connsiteY304" fmla="*/ 269254 h 1430663"/>
              <a:gd name="connsiteX305" fmla="*/ 2105495 w 2105494"/>
              <a:gd name="connsiteY305" fmla="*/ 271536 h 1430663"/>
              <a:gd name="connsiteX306" fmla="*/ 2105495 w 2105494"/>
              <a:gd name="connsiteY306" fmla="*/ 278382 h 1430663"/>
              <a:gd name="connsiteX307" fmla="*/ 2105495 w 2105494"/>
              <a:gd name="connsiteY307" fmla="*/ 280664 h 1430663"/>
              <a:gd name="connsiteX308" fmla="*/ 2105495 w 2105494"/>
              <a:gd name="connsiteY308" fmla="*/ 282946 h 1430663"/>
              <a:gd name="connsiteX309" fmla="*/ 2105495 w 2105494"/>
              <a:gd name="connsiteY309" fmla="*/ 285227 h 1430663"/>
              <a:gd name="connsiteX310" fmla="*/ 2105495 w 2105494"/>
              <a:gd name="connsiteY310" fmla="*/ 287509 h 1430663"/>
              <a:gd name="connsiteX311" fmla="*/ 2105495 w 2105494"/>
              <a:gd name="connsiteY311" fmla="*/ 289791 h 1430663"/>
              <a:gd name="connsiteX312" fmla="*/ 2103211 w 2105494"/>
              <a:gd name="connsiteY312" fmla="*/ 289791 h 1430663"/>
              <a:gd name="connsiteX313" fmla="*/ 2100928 w 2105494"/>
              <a:gd name="connsiteY313" fmla="*/ 289791 h 1430663"/>
              <a:gd name="connsiteX314" fmla="*/ 2098644 w 2105494"/>
              <a:gd name="connsiteY314" fmla="*/ 287509 h 1430663"/>
              <a:gd name="connsiteX315" fmla="*/ 2098644 w 2105494"/>
              <a:gd name="connsiteY315" fmla="*/ 289791 h 1430663"/>
              <a:gd name="connsiteX316" fmla="*/ 2094077 w 2105494"/>
              <a:gd name="connsiteY316" fmla="*/ 292073 h 1430663"/>
              <a:gd name="connsiteX317" fmla="*/ 2089510 w 2105494"/>
              <a:gd name="connsiteY317" fmla="*/ 292073 h 1430663"/>
              <a:gd name="connsiteX318" fmla="*/ 2087226 w 2105494"/>
              <a:gd name="connsiteY318" fmla="*/ 292073 h 1430663"/>
              <a:gd name="connsiteX319" fmla="*/ 2080375 w 2105494"/>
              <a:gd name="connsiteY319" fmla="*/ 294345 h 1430663"/>
              <a:gd name="connsiteX320" fmla="*/ 2078092 w 2105494"/>
              <a:gd name="connsiteY320" fmla="*/ 294345 h 1430663"/>
              <a:gd name="connsiteX321" fmla="*/ 2075808 w 2105494"/>
              <a:gd name="connsiteY321" fmla="*/ 289791 h 1430663"/>
              <a:gd name="connsiteX322" fmla="*/ 2073524 w 2105494"/>
              <a:gd name="connsiteY322" fmla="*/ 287509 h 1430663"/>
              <a:gd name="connsiteX323" fmla="*/ 2068957 w 2105494"/>
              <a:gd name="connsiteY323" fmla="*/ 282946 h 1430663"/>
              <a:gd name="connsiteX324" fmla="*/ 2059823 w 2105494"/>
              <a:gd name="connsiteY324" fmla="*/ 285227 h 1430663"/>
              <a:gd name="connsiteX325" fmla="*/ 2059823 w 2105494"/>
              <a:gd name="connsiteY325" fmla="*/ 287509 h 1430663"/>
              <a:gd name="connsiteX326" fmla="*/ 2059823 w 2105494"/>
              <a:gd name="connsiteY326" fmla="*/ 289791 h 1430663"/>
              <a:gd name="connsiteX327" fmla="*/ 2059823 w 2105494"/>
              <a:gd name="connsiteY327" fmla="*/ 298909 h 1430663"/>
              <a:gd name="connsiteX328" fmla="*/ 2057539 w 2105494"/>
              <a:gd name="connsiteY328" fmla="*/ 301191 h 1430663"/>
              <a:gd name="connsiteX329" fmla="*/ 2055256 w 2105494"/>
              <a:gd name="connsiteY329" fmla="*/ 301191 h 1430663"/>
              <a:gd name="connsiteX330" fmla="*/ 2048405 w 2105494"/>
              <a:gd name="connsiteY330" fmla="*/ 301191 h 1430663"/>
              <a:gd name="connsiteX331" fmla="*/ 2046121 w 2105494"/>
              <a:gd name="connsiteY331" fmla="*/ 301191 h 1430663"/>
              <a:gd name="connsiteX332" fmla="*/ 2046121 w 2105494"/>
              <a:gd name="connsiteY332" fmla="*/ 303473 h 1430663"/>
              <a:gd name="connsiteX333" fmla="*/ 2041554 w 2105494"/>
              <a:gd name="connsiteY333" fmla="*/ 303473 h 1430663"/>
              <a:gd name="connsiteX334" fmla="*/ 2034703 w 2105494"/>
              <a:gd name="connsiteY334" fmla="*/ 305755 h 1430663"/>
              <a:gd name="connsiteX335" fmla="*/ 2034703 w 2105494"/>
              <a:gd name="connsiteY335" fmla="*/ 298909 h 1430663"/>
              <a:gd name="connsiteX336" fmla="*/ 2025569 w 2105494"/>
              <a:gd name="connsiteY336" fmla="*/ 308037 h 1430663"/>
              <a:gd name="connsiteX337" fmla="*/ 2023285 w 2105494"/>
              <a:gd name="connsiteY337" fmla="*/ 308037 h 1430663"/>
              <a:gd name="connsiteX338" fmla="*/ 2021002 w 2105494"/>
              <a:gd name="connsiteY338" fmla="*/ 310319 h 1430663"/>
              <a:gd name="connsiteX339" fmla="*/ 2018718 w 2105494"/>
              <a:gd name="connsiteY339" fmla="*/ 310319 h 1430663"/>
              <a:gd name="connsiteX340" fmla="*/ 2016435 w 2105494"/>
              <a:gd name="connsiteY340" fmla="*/ 312601 h 1430663"/>
              <a:gd name="connsiteX341" fmla="*/ 2014151 w 2105494"/>
              <a:gd name="connsiteY341" fmla="*/ 312601 h 1430663"/>
              <a:gd name="connsiteX342" fmla="*/ 2011867 w 2105494"/>
              <a:gd name="connsiteY342" fmla="*/ 312601 h 1430663"/>
              <a:gd name="connsiteX343" fmla="*/ 2009584 w 2105494"/>
              <a:gd name="connsiteY343" fmla="*/ 314883 h 1430663"/>
              <a:gd name="connsiteX344" fmla="*/ 2009584 w 2105494"/>
              <a:gd name="connsiteY344" fmla="*/ 312601 h 1430663"/>
              <a:gd name="connsiteX345" fmla="*/ 2007300 w 2105494"/>
              <a:gd name="connsiteY345" fmla="*/ 312601 h 1430663"/>
              <a:gd name="connsiteX346" fmla="*/ 2005016 w 2105494"/>
              <a:gd name="connsiteY346" fmla="*/ 308037 h 1430663"/>
              <a:gd name="connsiteX347" fmla="*/ 2002733 w 2105494"/>
              <a:gd name="connsiteY347" fmla="*/ 303473 h 1430663"/>
              <a:gd name="connsiteX348" fmla="*/ 2000449 w 2105494"/>
              <a:gd name="connsiteY348" fmla="*/ 301191 h 1430663"/>
              <a:gd name="connsiteX349" fmla="*/ 1998166 w 2105494"/>
              <a:gd name="connsiteY349" fmla="*/ 301191 h 1430663"/>
              <a:gd name="connsiteX350" fmla="*/ 1998166 w 2105494"/>
              <a:gd name="connsiteY350" fmla="*/ 298909 h 1430663"/>
              <a:gd name="connsiteX351" fmla="*/ 1995882 w 2105494"/>
              <a:gd name="connsiteY351" fmla="*/ 298909 h 1430663"/>
              <a:gd name="connsiteX352" fmla="*/ 1993599 w 2105494"/>
              <a:gd name="connsiteY352" fmla="*/ 296637 h 1430663"/>
              <a:gd name="connsiteX353" fmla="*/ 1989031 w 2105494"/>
              <a:gd name="connsiteY353" fmla="*/ 296637 h 1430663"/>
              <a:gd name="connsiteX354" fmla="*/ 1986748 w 2105494"/>
              <a:gd name="connsiteY354" fmla="*/ 296637 h 1430663"/>
              <a:gd name="connsiteX355" fmla="*/ 1982181 w 2105494"/>
              <a:gd name="connsiteY355" fmla="*/ 298909 h 1430663"/>
              <a:gd name="connsiteX356" fmla="*/ 1982181 w 2105494"/>
              <a:gd name="connsiteY356" fmla="*/ 301191 h 1430663"/>
              <a:gd name="connsiteX357" fmla="*/ 1979897 w 2105494"/>
              <a:gd name="connsiteY357" fmla="*/ 303473 h 1430663"/>
              <a:gd name="connsiteX358" fmla="*/ 1977614 w 2105494"/>
              <a:gd name="connsiteY358" fmla="*/ 305755 h 1430663"/>
              <a:gd name="connsiteX359" fmla="*/ 1977614 w 2105494"/>
              <a:gd name="connsiteY359" fmla="*/ 308037 h 1430663"/>
              <a:gd name="connsiteX360" fmla="*/ 1975330 w 2105494"/>
              <a:gd name="connsiteY360" fmla="*/ 310319 h 1430663"/>
              <a:gd name="connsiteX361" fmla="*/ 1975330 w 2105494"/>
              <a:gd name="connsiteY361" fmla="*/ 312601 h 1430663"/>
              <a:gd name="connsiteX362" fmla="*/ 1975330 w 2105494"/>
              <a:gd name="connsiteY362" fmla="*/ 314883 h 1430663"/>
              <a:gd name="connsiteX363" fmla="*/ 1973046 w 2105494"/>
              <a:gd name="connsiteY363" fmla="*/ 314883 h 1430663"/>
              <a:gd name="connsiteX364" fmla="*/ 1975330 w 2105494"/>
              <a:gd name="connsiteY364" fmla="*/ 317165 h 1430663"/>
              <a:gd name="connsiteX365" fmla="*/ 1975330 w 2105494"/>
              <a:gd name="connsiteY365" fmla="*/ 319446 h 1430663"/>
              <a:gd name="connsiteX366" fmla="*/ 1975330 w 2105494"/>
              <a:gd name="connsiteY366" fmla="*/ 321728 h 1430663"/>
              <a:gd name="connsiteX367" fmla="*/ 1977614 w 2105494"/>
              <a:gd name="connsiteY367" fmla="*/ 321728 h 1430663"/>
              <a:gd name="connsiteX368" fmla="*/ 1977614 w 2105494"/>
              <a:gd name="connsiteY368" fmla="*/ 324010 h 1430663"/>
              <a:gd name="connsiteX369" fmla="*/ 1979897 w 2105494"/>
              <a:gd name="connsiteY369" fmla="*/ 324010 h 1430663"/>
              <a:gd name="connsiteX370" fmla="*/ 1979897 w 2105494"/>
              <a:gd name="connsiteY370" fmla="*/ 326292 h 1430663"/>
              <a:gd name="connsiteX371" fmla="*/ 1982181 w 2105494"/>
              <a:gd name="connsiteY371" fmla="*/ 328574 h 1430663"/>
              <a:gd name="connsiteX372" fmla="*/ 1984464 w 2105494"/>
              <a:gd name="connsiteY372" fmla="*/ 328574 h 1430663"/>
              <a:gd name="connsiteX373" fmla="*/ 1984464 w 2105494"/>
              <a:gd name="connsiteY373" fmla="*/ 326292 h 1430663"/>
              <a:gd name="connsiteX374" fmla="*/ 1986748 w 2105494"/>
              <a:gd name="connsiteY374" fmla="*/ 326292 h 1430663"/>
              <a:gd name="connsiteX375" fmla="*/ 1989031 w 2105494"/>
              <a:gd name="connsiteY375" fmla="*/ 324010 h 1430663"/>
              <a:gd name="connsiteX376" fmla="*/ 1991315 w 2105494"/>
              <a:gd name="connsiteY376" fmla="*/ 324010 h 1430663"/>
              <a:gd name="connsiteX377" fmla="*/ 1993599 w 2105494"/>
              <a:gd name="connsiteY377" fmla="*/ 326292 h 1430663"/>
              <a:gd name="connsiteX378" fmla="*/ 1995882 w 2105494"/>
              <a:gd name="connsiteY378" fmla="*/ 328574 h 1430663"/>
              <a:gd name="connsiteX379" fmla="*/ 1995882 w 2105494"/>
              <a:gd name="connsiteY379" fmla="*/ 330856 h 1430663"/>
              <a:gd name="connsiteX380" fmla="*/ 1998166 w 2105494"/>
              <a:gd name="connsiteY380" fmla="*/ 330856 h 1430663"/>
              <a:gd name="connsiteX381" fmla="*/ 1998166 w 2105494"/>
              <a:gd name="connsiteY381" fmla="*/ 333138 h 1430663"/>
              <a:gd name="connsiteX382" fmla="*/ 2002733 w 2105494"/>
              <a:gd name="connsiteY382" fmla="*/ 335420 h 1430663"/>
              <a:gd name="connsiteX383" fmla="*/ 2002733 w 2105494"/>
              <a:gd name="connsiteY383" fmla="*/ 337702 h 1430663"/>
              <a:gd name="connsiteX384" fmla="*/ 2005016 w 2105494"/>
              <a:gd name="connsiteY384" fmla="*/ 337702 h 1430663"/>
              <a:gd name="connsiteX385" fmla="*/ 2007300 w 2105494"/>
              <a:gd name="connsiteY385" fmla="*/ 342265 h 1430663"/>
              <a:gd name="connsiteX386" fmla="*/ 2000449 w 2105494"/>
              <a:gd name="connsiteY386" fmla="*/ 344547 h 1430663"/>
              <a:gd name="connsiteX387" fmla="*/ 1998166 w 2105494"/>
              <a:gd name="connsiteY387" fmla="*/ 346829 h 1430663"/>
              <a:gd name="connsiteX388" fmla="*/ 1995882 w 2105494"/>
              <a:gd name="connsiteY388" fmla="*/ 346829 h 1430663"/>
              <a:gd name="connsiteX389" fmla="*/ 1995882 w 2105494"/>
              <a:gd name="connsiteY389" fmla="*/ 349111 h 1430663"/>
              <a:gd name="connsiteX390" fmla="*/ 1993599 w 2105494"/>
              <a:gd name="connsiteY390" fmla="*/ 351393 h 1430663"/>
              <a:gd name="connsiteX391" fmla="*/ 1993599 w 2105494"/>
              <a:gd name="connsiteY391" fmla="*/ 353675 h 1430663"/>
              <a:gd name="connsiteX392" fmla="*/ 1991315 w 2105494"/>
              <a:gd name="connsiteY392" fmla="*/ 360521 h 1430663"/>
              <a:gd name="connsiteX393" fmla="*/ 1991315 w 2105494"/>
              <a:gd name="connsiteY393" fmla="*/ 362802 h 1430663"/>
              <a:gd name="connsiteX394" fmla="*/ 1993599 w 2105494"/>
              <a:gd name="connsiteY394" fmla="*/ 362802 h 1430663"/>
              <a:gd name="connsiteX395" fmla="*/ 1995882 w 2105494"/>
              <a:gd name="connsiteY395" fmla="*/ 362802 h 1430663"/>
              <a:gd name="connsiteX396" fmla="*/ 1998166 w 2105494"/>
              <a:gd name="connsiteY396" fmla="*/ 365084 h 1430663"/>
              <a:gd name="connsiteX397" fmla="*/ 2000449 w 2105494"/>
              <a:gd name="connsiteY397" fmla="*/ 365084 h 1430663"/>
              <a:gd name="connsiteX398" fmla="*/ 2002733 w 2105494"/>
              <a:gd name="connsiteY398" fmla="*/ 367366 h 1430663"/>
              <a:gd name="connsiteX399" fmla="*/ 2005016 w 2105494"/>
              <a:gd name="connsiteY399" fmla="*/ 367366 h 1430663"/>
              <a:gd name="connsiteX400" fmla="*/ 2007300 w 2105494"/>
              <a:gd name="connsiteY400" fmla="*/ 367366 h 1430663"/>
              <a:gd name="connsiteX401" fmla="*/ 2009584 w 2105494"/>
              <a:gd name="connsiteY401" fmla="*/ 367366 h 1430663"/>
              <a:gd name="connsiteX402" fmla="*/ 2009584 w 2105494"/>
              <a:gd name="connsiteY402" fmla="*/ 369648 h 1430663"/>
              <a:gd name="connsiteX403" fmla="*/ 2011867 w 2105494"/>
              <a:gd name="connsiteY403" fmla="*/ 369648 h 1430663"/>
              <a:gd name="connsiteX404" fmla="*/ 2011867 w 2105494"/>
              <a:gd name="connsiteY404" fmla="*/ 374212 h 1430663"/>
              <a:gd name="connsiteX405" fmla="*/ 2011867 w 2105494"/>
              <a:gd name="connsiteY405" fmla="*/ 376494 h 1430663"/>
              <a:gd name="connsiteX406" fmla="*/ 2011867 w 2105494"/>
              <a:gd name="connsiteY406" fmla="*/ 378776 h 1430663"/>
              <a:gd name="connsiteX407" fmla="*/ 2009584 w 2105494"/>
              <a:gd name="connsiteY407" fmla="*/ 378776 h 1430663"/>
              <a:gd name="connsiteX408" fmla="*/ 2007300 w 2105494"/>
              <a:gd name="connsiteY408" fmla="*/ 378776 h 1430663"/>
              <a:gd name="connsiteX409" fmla="*/ 2005016 w 2105494"/>
              <a:gd name="connsiteY409" fmla="*/ 378776 h 1430663"/>
              <a:gd name="connsiteX410" fmla="*/ 2002733 w 2105494"/>
              <a:gd name="connsiteY410" fmla="*/ 376494 h 1430663"/>
              <a:gd name="connsiteX411" fmla="*/ 2000449 w 2105494"/>
              <a:gd name="connsiteY411" fmla="*/ 376494 h 1430663"/>
              <a:gd name="connsiteX412" fmla="*/ 1998166 w 2105494"/>
              <a:gd name="connsiteY412" fmla="*/ 376494 h 1430663"/>
              <a:gd name="connsiteX413" fmla="*/ 1995882 w 2105494"/>
              <a:gd name="connsiteY413" fmla="*/ 376494 h 1430663"/>
              <a:gd name="connsiteX414" fmla="*/ 1995882 w 2105494"/>
              <a:gd name="connsiteY414" fmla="*/ 374212 h 1430663"/>
              <a:gd name="connsiteX415" fmla="*/ 1991315 w 2105494"/>
              <a:gd name="connsiteY415" fmla="*/ 374212 h 1430663"/>
              <a:gd name="connsiteX416" fmla="*/ 1986748 w 2105494"/>
              <a:gd name="connsiteY416" fmla="*/ 371930 h 1430663"/>
              <a:gd name="connsiteX417" fmla="*/ 1984464 w 2105494"/>
              <a:gd name="connsiteY417" fmla="*/ 374212 h 1430663"/>
              <a:gd name="connsiteX418" fmla="*/ 1984464 w 2105494"/>
              <a:gd name="connsiteY418" fmla="*/ 376494 h 1430663"/>
              <a:gd name="connsiteX419" fmla="*/ 1984464 w 2105494"/>
              <a:gd name="connsiteY419" fmla="*/ 378776 h 1430663"/>
              <a:gd name="connsiteX420" fmla="*/ 1982181 w 2105494"/>
              <a:gd name="connsiteY420" fmla="*/ 378776 h 1430663"/>
              <a:gd name="connsiteX421" fmla="*/ 1982181 w 2105494"/>
              <a:gd name="connsiteY421" fmla="*/ 383339 h 1430663"/>
              <a:gd name="connsiteX422" fmla="*/ 1979897 w 2105494"/>
              <a:gd name="connsiteY422" fmla="*/ 385621 h 1430663"/>
              <a:gd name="connsiteX423" fmla="*/ 1979897 w 2105494"/>
              <a:gd name="connsiteY423" fmla="*/ 387903 h 1430663"/>
              <a:gd name="connsiteX424" fmla="*/ 1979897 w 2105494"/>
              <a:gd name="connsiteY424" fmla="*/ 390185 h 1430663"/>
              <a:gd name="connsiteX425" fmla="*/ 1977614 w 2105494"/>
              <a:gd name="connsiteY425" fmla="*/ 390185 h 1430663"/>
              <a:gd name="connsiteX426" fmla="*/ 1977614 w 2105494"/>
              <a:gd name="connsiteY426" fmla="*/ 392467 h 1430663"/>
              <a:gd name="connsiteX427" fmla="*/ 1979897 w 2105494"/>
              <a:gd name="connsiteY427" fmla="*/ 392467 h 1430663"/>
              <a:gd name="connsiteX428" fmla="*/ 1982181 w 2105494"/>
              <a:gd name="connsiteY428" fmla="*/ 394749 h 1430663"/>
              <a:gd name="connsiteX429" fmla="*/ 1984464 w 2105494"/>
              <a:gd name="connsiteY429" fmla="*/ 397031 h 1430663"/>
              <a:gd name="connsiteX430" fmla="*/ 1984464 w 2105494"/>
              <a:gd name="connsiteY430" fmla="*/ 399313 h 1430663"/>
              <a:gd name="connsiteX431" fmla="*/ 1984464 w 2105494"/>
              <a:gd name="connsiteY431" fmla="*/ 401595 h 1430663"/>
              <a:gd name="connsiteX432" fmla="*/ 1984464 w 2105494"/>
              <a:gd name="connsiteY432" fmla="*/ 403877 h 1430663"/>
              <a:gd name="connsiteX433" fmla="*/ 1984464 w 2105494"/>
              <a:gd name="connsiteY433" fmla="*/ 406158 h 1430663"/>
              <a:gd name="connsiteX434" fmla="*/ 1986748 w 2105494"/>
              <a:gd name="connsiteY434" fmla="*/ 408440 h 1430663"/>
              <a:gd name="connsiteX435" fmla="*/ 1984464 w 2105494"/>
              <a:gd name="connsiteY435" fmla="*/ 408440 h 1430663"/>
              <a:gd name="connsiteX436" fmla="*/ 1982181 w 2105494"/>
              <a:gd name="connsiteY436" fmla="*/ 408440 h 1430663"/>
              <a:gd name="connsiteX437" fmla="*/ 1979897 w 2105494"/>
              <a:gd name="connsiteY437" fmla="*/ 408440 h 1430663"/>
              <a:gd name="connsiteX438" fmla="*/ 1979897 w 2105494"/>
              <a:gd name="connsiteY438" fmla="*/ 410722 h 1430663"/>
              <a:gd name="connsiteX439" fmla="*/ 1979897 w 2105494"/>
              <a:gd name="connsiteY439" fmla="*/ 413004 h 1430663"/>
              <a:gd name="connsiteX440" fmla="*/ 1977614 w 2105494"/>
              <a:gd name="connsiteY440" fmla="*/ 413004 h 1430663"/>
              <a:gd name="connsiteX441" fmla="*/ 1977614 w 2105494"/>
              <a:gd name="connsiteY441" fmla="*/ 415286 h 1430663"/>
              <a:gd name="connsiteX442" fmla="*/ 1975330 w 2105494"/>
              <a:gd name="connsiteY442" fmla="*/ 415286 h 1430663"/>
              <a:gd name="connsiteX443" fmla="*/ 1975330 w 2105494"/>
              <a:gd name="connsiteY443" fmla="*/ 417568 h 1430663"/>
              <a:gd name="connsiteX444" fmla="*/ 1975330 w 2105494"/>
              <a:gd name="connsiteY444" fmla="*/ 419850 h 1430663"/>
              <a:gd name="connsiteX445" fmla="*/ 1975330 w 2105494"/>
              <a:gd name="connsiteY445" fmla="*/ 422132 h 1430663"/>
              <a:gd name="connsiteX446" fmla="*/ 1975330 w 2105494"/>
              <a:gd name="connsiteY446" fmla="*/ 424414 h 1430663"/>
              <a:gd name="connsiteX447" fmla="*/ 1975330 w 2105494"/>
              <a:gd name="connsiteY447" fmla="*/ 426696 h 1430663"/>
              <a:gd name="connsiteX448" fmla="*/ 1977614 w 2105494"/>
              <a:gd name="connsiteY448" fmla="*/ 431259 h 1430663"/>
              <a:gd name="connsiteX449" fmla="*/ 1977614 w 2105494"/>
              <a:gd name="connsiteY449" fmla="*/ 433541 h 1430663"/>
              <a:gd name="connsiteX450" fmla="*/ 1975330 w 2105494"/>
              <a:gd name="connsiteY450" fmla="*/ 433541 h 1430663"/>
              <a:gd name="connsiteX451" fmla="*/ 1973046 w 2105494"/>
              <a:gd name="connsiteY451" fmla="*/ 433541 h 1430663"/>
              <a:gd name="connsiteX452" fmla="*/ 1975330 w 2105494"/>
              <a:gd name="connsiteY452" fmla="*/ 435823 h 1430663"/>
              <a:gd name="connsiteX453" fmla="*/ 1975330 w 2105494"/>
              <a:gd name="connsiteY453" fmla="*/ 440387 h 1430663"/>
              <a:gd name="connsiteX454" fmla="*/ 1979897 w 2105494"/>
              <a:gd name="connsiteY454" fmla="*/ 447233 h 1430663"/>
              <a:gd name="connsiteX455" fmla="*/ 1982181 w 2105494"/>
              <a:gd name="connsiteY455" fmla="*/ 449514 h 1430663"/>
              <a:gd name="connsiteX456" fmla="*/ 1982181 w 2105494"/>
              <a:gd name="connsiteY456" fmla="*/ 451787 h 1430663"/>
              <a:gd name="connsiteX457" fmla="*/ 1982181 w 2105494"/>
              <a:gd name="connsiteY457" fmla="*/ 454069 h 1430663"/>
              <a:gd name="connsiteX458" fmla="*/ 1984464 w 2105494"/>
              <a:gd name="connsiteY458" fmla="*/ 454069 h 1430663"/>
              <a:gd name="connsiteX459" fmla="*/ 1984464 w 2105494"/>
              <a:gd name="connsiteY459" fmla="*/ 456351 h 1430663"/>
              <a:gd name="connsiteX460" fmla="*/ 1984464 w 2105494"/>
              <a:gd name="connsiteY460" fmla="*/ 458633 h 1430663"/>
              <a:gd name="connsiteX461" fmla="*/ 1982181 w 2105494"/>
              <a:gd name="connsiteY461" fmla="*/ 458633 h 1430663"/>
              <a:gd name="connsiteX462" fmla="*/ 1979897 w 2105494"/>
              <a:gd name="connsiteY462" fmla="*/ 458633 h 1430663"/>
              <a:gd name="connsiteX463" fmla="*/ 1977614 w 2105494"/>
              <a:gd name="connsiteY463" fmla="*/ 458633 h 1430663"/>
              <a:gd name="connsiteX464" fmla="*/ 1975330 w 2105494"/>
              <a:gd name="connsiteY464" fmla="*/ 458633 h 1430663"/>
              <a:gd name="connsiteX465" fmla="*/ 1975330 w 2105494"/>
              <a:gd name="connsiteY465" fmla="*/ 460915 h 1430663"/>
              <a:gd name="connsiteX466" fmla="*/ 1973046 w 2105494"/>
              <a:gd name="connsiteY466" fmla="*/ 460915 h 1430663"/>
              <a:gd name="connsiteX467" fmla="*/ 1973046 w 2105494"/>
              <a:gd name="connsiteY467" fmla="*/ 463196 h 1430663"/>
              <a:gd name="connsiteX468" fmla="*/ 1975330 w 2105494"/>
              <a:gd name="connsiteY468" fmla="*/ 465478 h 1430663"/>
              <a:gd name="connsiteX469" fmla="*/ 1975330 w 2105494"/>
              <a:gd name="connsiteY469" fmla="*/ 467760 h 1430663"/>
              <a:gd name="connsiteX470" fmla="*/ 1975330 w 2105494"/>
              <a:gd name="connsiteY470" fmla="*/ 470042 h 1430663"/>
              <a:gd name="connsiteX471" fmla="*/ 1975330 w 2105494"/>
              <a:gd name="connsiteY471" fmla="*/ 472324 h 1430663"/>
              <a:gd name="connsiteX472" fmla="*/ 1977614 w 2105494"/>
              <a:gd name="connsiteY472" fmla="*/ 472324 h 1430663"/>
              <a:gd name="connsiteX473" fmla="*/ 1979897 w 2105494"/>
              <a:gd name="connsiteY473" fmla="*/ 472324 h 1430663"/>
              <a:gd name="connsiteX474" fmla="*/ 1977614 w 2105494"/>
              <a:gd name="connsiteY474" fmla="*/ 474606 h 1430663"/>
              <a:gd name="connsiteX475" fmla="*/ 1979897 w 2105494"/>
              <a:gd name="connsiteY475" fmla="*/ 476888 h 1430663"/>
              <a:gd name="connsiteX476" fmla="*/ 1977614 w 2105494"/>
              <a:gd name="connsiteY476" fmla="*/ 476888 h 1430663"/>
              <a:gd name="connsiteX477" fmla="*/ 1977614 w 2105494"/>
              <a:gd name="connsiteY477" fmla="*/ 483733 h 1430663"/>
              <a:gd name="connsiteX478" fmla="*/ 1975330 w 2105494"/>
              <a:gd name="connsiteY478" fmla="*/ 483733 h 1430663"/>
              <a:gd name="connsiteX479" fmla="*/ 1973046 w 2105494"/>
              <a:gd name="connsiteY479" fmla="*/ 483733 h 1430663"/>
              <a:gd name="connsiteX480" fmla="*/ 1970763 w 2105494"/>
              <a:gd name="connsiteY480" fmla="*/ 486015 h 1430663"/>
              <a:gd name="connsiteX481" fmla="*/ 1963912 w 2105494"/>
              <a:gd name="connsiteY481" fmla="*/ 486015 h 1430663"/>
              <a:gd name="connsiteX482" fmla="*/ 1966195 w 2105494"/>
              <a:gd name="connsiteY482" fmla="*/ 488297 h 1430663"/>
              <a:gd name="connsiteX483" fmla="*/ 1968479 w 2105494"/>
              <a:gd name="connsiteY483" fmla="*/ 490579 h 1430663"/>
              <a:gd name="connsiteX484" fmla="*/ 1970763 w 2105494"/>
              <a:gd name="connsiteY484" fmla="*/ 492861 h 1430663"/>
              <a:gd name="connsiteX485" fmla="*/ 1954777 w 2105494"/>
              <a:gd name="connsiteY485" fmla="*/ 492861 h 1430663"/>
              <a:gd name="connsiteX486" fmla="*/ 1954777 w 2105494"/>
              <a:gd name="connsiteY486" fmla="*/ 495143 h 1430663"/>
              <a:gd name="connsiteX487" fmla="*/ 1954777 w 2105494"/>
              <a:gd name="connsiteY487" fmla="*/ 497425 h 1430663"/>
              <a:gd name="connsiteX488" fmla="*/ 1954777 w 2105494"/>
              <a:gd name="connsiteY488" fmla="*/ 499707 h 1430663"/>
              <a:gd name="connsiteX489" fmla="*/ 1954777 w 2105494"/>
              <a:gd name="connsiteY489" fmla="*/ 501989 h 1430663"/>
              <a:gd name="connsiteX490" fmla="*/ 1952494 w 2105494"/>
              <a:gd name="connsiteY490" fmla="*/ 501989 h 1430663"/>
              <a:gd name="connsiteX491" fmla="*/ 1950210 w 2105494"/>
              <a:gd name="connsiteY491" fmla="*/ 501989 h 1430663"/>
              <a:gd name="connsiteX492" fmla="*/ 1947927 w 2105494"/>
              <a:gd name="connsiteY492" fmla="*/ 501989 h 1430663"/>
              <a:gd name="connsiteX493" fmla="*/ 1947927 w 2105494"/>
              <a:gd name="connsiteY493" fmla="*/ 499707 h 1430663"/>
              <a:gd name="connsiteX494" fmla="*/ 1950210 w 2105494"/>
              <a:gd name="connsiteY494" fmla="*/ 499707 h 1430663"/>
              <a:gd name="connsiteX495" fmla="*/ 1950210 w 2105494"/>
              <a:gd name="connsiteY495" fmla="*/ 497425 h 1430663"/>
              <a:gd name="connsiteX496" fmla="*/ 1947927 w 2105494"/>
              <a:gd name="connsiteY496" fmla="*/ 495143 h 1430663"/>
              <a:gd name="connsiteX497" fmla="*/ 1950210 w 2105494"/>
              <a:gd name="connsiteY497" fmla="*/ 492861 h 1430663"/>
              <a:gd name="connsiteX498" fmla="*/ 1950210 w 2105494"/>
              <a:gd name="connsiteY498" fmla="*/ 490579 h 1430663"/>
              <a:gd name="connsiteX499" fmla="*/ 1952494 w 2105494"/>
              <a:gd name="connsiteY499" fmla="*/ 488297 h 1430663"/>
              <a:gd name="connsiteX500" fmla="*/ 1952494 w 2105494"/>
              <a:gd name="connsiteY500" fmla="*/ 486015 h 1430663"/>
              <a:gd name="connsiteX501" fmla="*/ 1950210 w 2105494"/>
              <a:gd name="connsiteY501" fmla="*/ 486015 h 1430663"/>
              <a:gd name="connsiteX502" fmla="*/ 1945643 w 2105494"/>
              <a:gd name="connsiteY502" fmla="*/ 486015 h 1430663"/>
              <a:gd name="connsiteX503" fmla="*/ 1943360 w 2105494"/>
              <a:gd name="connsiteY503" fmla="*/ 486015 h 1430663"/>
              <a:gd name="connsiteX504" fmla="*/ 1943360 w 2105494"/>
              <a:gd name="connsiteY504" fmla="*/ 483733 h 1430663"/>
              <a:gd name="connsiteX505" fmla="*/ 1938792 w 2105494"/>
              <a:gd name="connsiteY505" fmla="*/ 483733 h 1430663"/>
              <a:gd name="connsiteX506" fmla="*/ 1938792 w 2105494"/>
              <a:gd name="connsiteY506" fmla="*/ 486015 h 1430663"/>
              <a:gd name="connsiteX507" fmla="*/ 1938792 w 2105494"/>
              <a:gd name="connsiteY507" fmla="*/ 488297 h 1430663"/>
              <a:gd name="connsiteX508" fmla="*/ 1936509 w 2105494"/>
              <a:gd name="connsiteY508" fmla="*/ 492861 h 1430663"/>
              <a:gd name="connsiteX509" fmla="*/ 1936509 w 2105494"/>
              <a:gd name="connsiteY509" fmla="*/ 495143 h 1430663"/>
              <a:gd name="connsiteX510" fmla="*/ 1934225 w 2105494"/>
              <a:gd name="connsiteY510" fmla="*/ 497425 h 1430663"/>
              <a:gd name="connsiteX511" fmla="*/ 1929658 w 2105494"/>
              <a:gd name="connsiteY511" fmla="*/ 501989 h 1430663"/>
              <a:gd name="connsiteX512" fmla="*/ 1920524 w 2105494"/>
              <a:gd name="connsiteY512" fmla="*/ 504271 h 1430663"/>
              <a:gd name="connsiteX513" fmla="*/ 1913673 w 2105494"/>
              <a:gd name="connsiteY513" fmla="*/ 506552 h 1430663"/>
              <a:gd name="connsiteX514" fmla="*/ 1911389 w 2105494"/>
              <a:gd name="connsiteY514" fmla="*/ 508834 h 1430663"/>
              <a:gd name="connsiteX515" fmla="*/ 1902255 w 2105494"/>
              <a:gd name="connsiteY515" fmla="*/ 513398 h 1430663"/>
              <a:gd name="connsiteX516" fmla="*/ 1897687 w 2105494"/>
              <a:gd name="connsiteY516" fmla="*/ 515680 h 1430663"/>
              <a:gd name="connsiteX517" fmla="*/ 1897687 w 2105494"/>
              <a:gd name="connsiteY517" fmla="*/ 511116 h 1430663"/>
              <a:gd name="connsiteX518" fmla="*/ 1897687 w 2105494"/>
              <a:gd name="connsiteY518" fmla="*/ 501989 h 1430663"/>
              <a:gd name="connsiteX519" fmla="*/ 1897687 w 2105494"/>
              <a:gd name="connsiteY519" fmla="*/ 497425 h 1430663"/>
              <a:gd name="connsiteX520" fmla="*/ 1895404 w 2105494"/>
              <a:gd name="connsiteY520" fmla="*/ 497425 h 1430663"/>
              <a:gd name="connsiteX521" fmla="*/ 1893120 w 2105494"/>
              <a:gd name="connsiteY521" fmla="*/ 499707 h 1430663"/>
              <a:gd name="connsiteX522" fmla="*/ 1890837 w 2105494"/>
              <a:gd name="connsiteY522" fmla="*/ 499707 h 1430663"/>
              <a:gd name="connsiteX523" fmla="*/ 1888553 w 2105494"/>
              <a:gd name="connsiteY523" fmla="*/ 501989 h 1430663"/>
              <a:gd name="connsiteX524" fmla="*/ 1886270 w 2105494"/>
              <a:gd name="connsiteY524" fmla="*/ 501989 h 1430663"/>
              <a:gd name="connsiteX525" fmla="*/ 1883986 w 2105494"/>
              <a:gd name="connsiteY525" fmla="*/ 501989 h 1430663"/>
              <a:gd name="connsiteX526" fmla="*/ 1883986 w 2105494"/>
              <a:gd name="connsiteY526" fmla="*/ 504271 h 1430663"/>
              <a:gd name="connsiteX527" fmla="*/ 1881702 w 2105494"/>
              <a:gd name="connsiteY527" fmla="*/ 504271 h 1430663"/>
              <a:gd name="connsiteX528" fmla="*/ 1879419 w 2105494"/>
              <a:gd name="connsiteY528" fmla="*/ 504271 h 1430663"/>
              <a:gd name="connsiteX529" fmla="*/ 1877135 w 2105494"/>
              <a:gd name="connsiteY529" fmla="*/ 506552 h 1430663"/>
              <a:gd name="connsiteX530" fmla="*/ 1874852 w 2105494"/>
              <a:gd name="connsiteY530" fmla="*/ 506552 h 1430663"/>
              <a:gd name="connsiteX531" fmla="*/ 1872568 w 2105494"/>
              <a:gd name="connsiteY531" fmla="*/ 504271 h 1430663"/>
              <a:gd name="connsiteX532" fmla="*/ 1872568 w 2105494"/>
              <a:gd name="connsiteY532" fmla="*/ 501989 h 1430663"/>
              <a:gd name="connsiteX533" fmla="*/ 1870285 w 2105494"/>
              <a:gd name="connsiteY533" fmla="*/ 499707 h 1430663"/>
              <a:gd name="connsiteX534" fmla="*/ 1868001 w 2105494"/>
              <a:gd name="connsiteY534" fmla="*/ 495143 h 1430663"/>
              <a:gd name="connsiteX535" fmla="*/ 1868001 w 2105494"/>
              <a:gd name="connsiteY535" fmla="*/ 492861 h 1430663"/>
              <a:gd name="connsiteX536" fmla="*/ 1865717 w 2105494"/>
              <a:gd name="connsiteY536" fmla="*/ 492861 h 1430663"/>
              <a:gd name="connsiteX537" fmla="*/ 1865717 w 2105494"/>
              <a:gd name="connsiteY537" fmla="*/ 495143 h 1430663"/>
              <a:gd name="connsiteX538" fmla="*/ 1863434 w 2105494"/>
              <a:gd name="connsiteY538" fmla="*/ 495143 h 1430663"/>
              <a:gd name="connsiteX539" fmla="*/ 1861150 w 2105494"/>
              <a:gd name="connsiteY539" fmla="*/ 495143 h 1430663"/>
              <a:gd name="connsiteX540" fmla="*/ 1863434 w 2105494"/>
              <a:gd name="connsiteY540" fmla="*/ 495143 h 1430663"/>
              <a:gd name="connsiteX541" fmla="*/ 1863434 w 2105494"/>
              <a:gd name="connsiteY541" fmla="*/ 492861 h 1430663"/>
              <a:gd name="connsiteX542" fmla="*/ 1861150 w 2105494"/>
              <a:gd name="connsiteY542" fmla="*/ 492861 h 1430663"/>
              <a:gd name="connsiteX543" fmla="*/ 1861150 w 2105494"/>
              <a:gd name="connsiteY543" fmla="*/ 490579 h 1430663"/>
              <a:gd name="connsiteX544" fmla="*/ 1861150 w 2105494"/>
              <a:gd name="connsiteY544" fmla="*/ 488297 h 1430663"/>
              <a:gd name="connsiteX545" fmla="*/ 1861150 w 2105494"/>
              <a:gd name="connsiteY545" fmla="*/ 483733 h 1430663"/>
              <a:gd name="connsiteX546" fmla="*/ 1858866 w 2105494"/>
              <a:gd name="connsiteY546" fmla="*/ 481451 h 1430663"/>
              <a:gd name="connsiteX547" fmla="*/ 1861150 w 2105494"/>
              <a:gd name="connsiteY547" fmla="*/ 481451 h 1430663"/>
              <a:gd name="connsiteX548" fmla="*/ 1858866 w 2105494"/>
              <a:gd name="connsiteY548" fmla="*/ 474606 h 1430663"/>
              <a:gd name="connsiteX549" fmla="*/ 1856583 w 2105494"/>
              <a:gd name="connsiteY549" fmla="*/ 474606 h 1430663"/>
              <a:gd name="connsiteX550" fmla="*/ 1854299 w 2105494"/>
              <a:gd name="connsiteY550" fmla="*/ 476888 h 1430663"/>
              <a:gd name="connsiteX551" fmla="*/ 1852016 w 2105494"/>
              <a:gd name="connsiteY551" fmla="*/ 476888 h 1430663"/>
              <a:gd name="connsiteX552" fmla="*/ 1849732 w 2105494"/>
              <a:gd name="connsiteY552" fmla="*/ 476888 h 1430663"/>
              <a:gd name="connsiteX553" fmla="*/ 1847448 w 2105494"/>
              <a:gd name="connsiteY553" fmla="*/ 479170 h 1430663"/>
              <a:gd name="connsiteX554" fmla="*/ 1845165 w 2105494"/>
              <a:gd name="connsiteY554" fmla="*/ 479170 h 1430663"/>
              <a:gd name="connsiteX555" fmla="*/ 1842881 w 2105494"/>
              <a:gd name="connsiteY555" fmla="*/ 481451 h 1430663"/>
              <a:gd name="connsiteX556" fmla="*/ 1842881 w 2105494"/>
              <a:gd name="connsiteY556" fmla="*/ 483733 h 1430663"/>
              <a:gd name="connsiteX557" fmla="*/ 1842881 w 2105494"/>
              <a:gd name="connsiteY557" fmla="*/ 486015 h 1430663"/>
              <a:gd name="connsiteX558" fmla="*/ 1840598 w 2105494"/>
              <a:gd name="connsiteY558" fmla="*/ 486015 h 1430663"/>
              <a:gd name="connsiteX559" fmla="*/ 1838314 w 2105494"/>
              <a:gd name="connsiteY559" fmla="*/ 488297 h 1430663"/>
              <a:gd name="connsiteX560" fmla="*/ 1836031 w 2105494"/>
              <a:gd name="connsiteY560" fmla="*/ 488297 h 1430663"/>
              <a:gd name="connsiteX561" fmla="*/ 1836031 w 2105494"/>
              <a:gd name="connsiteY561" fmla="*/ 490579 h 1430663"/>
              <a:gd name="connsiteX562" fmla="*/ 1833747 w 2105494"/>
              <a:gd name="connsiteY562" fmla="*/ 490579 h 1430663"/>
              <a:gd name="connsiteX563" fmla="*/ 1831463 w 2105494"/>
              <a:gd name="connsiteY563" fmla="*/ 492861 h 1430663"/>
              <a:gd name="connsiteX564" fmla="*/ 1829180 w 2105494"/>
              <a:gd name="connsiteY564" fmla="*/ 492861 h 1430663"/>
              <a:gd name="connsiteX565" fmla="*/ 1826896 w 2105494"/>
              <a:gd name="connsiteY565" fmla="*/ 495143 h 1430663"/>
              <a:gd name="connsiteX566" fmla="*/ 1824612 w 2105494"/>
              <a:gd name="connsiteY566" fmla="*/ 495143 h 1430663"/>
              <a:gd name="connsiteX567" fmla="*/ 1824612 w 2105494"/>
              <a:gd name="connsiteY567" fmla="*/ 497425 h 1430663"/>
              <a:gd name="connsiteX568" fmla="*/ 1822329 w 2105494"/>
              <a:gd name="connsiteY568" fmla="*/ 497425 h 1430663"/>
              <a:gd name="connsiteX569" fmla="*/ 1820045 w 2105494"/>
              <a:gd name="connsiteY569" fmla="*/ 497425 h 1430663"/>
              <a:gd name="connsiteX570" fmla="*/ 1817762 w 2105494"/>
              <a:gd name="connsiteY570" fmla="*/ 497425 h 1430663"/>
              <a:gd name="connsiteX571" fmla="*/ 1810911 w 2105494"/>
              <a:gd name="connsiteY571" fmla="*/ 501989 h 1430663"/>
              <a:gd name="connsiteX572" fmla="*/ 1808627 w 2105494"/>
              <a:gd name="connsiteY572" fmla="*/ 501989 h 1430663"/>
              <a:gd name="connsiteX573" fmla="*/ 1806344 w 2105494"/>
              <a:gd name="connsiteY573" fmla="*/ 501989 h 1430663"/>
              <a:gd name="connsiteX574" fmla="*/ 1806344 w 2105494"/>
              <a:gd name="connsiteY574" fmla="*/ 499707 h 1430663"/>
              <a:gd name="connsiteX575" fmla="*/ 1804060 w 2105494"/>
              <a:gd name="connsiteY575" fmla="*/ 501989 h 1430663"/>
              <a:gd name="connsiteX576" fmla="*/ 1801777 w 2105494"/>
              <a:gd name="connsiteY576" fmla="*/ 501989 h 1430663"/>
              <a:gd name="connsiteX577" fmla="*/ 1797209 w 2105494"/>
              <a:gd name="connsiteY577" fmla="*/ 501989 h 1430663"/>
              <a:gd name="connsiteX578" fmla="*/ 1794926 w 2105494"/>
              <a:gd name="connsiteY578" fmla="*/ 504271 h 1430663"/>
              <a:gd name="connsiteX579" fmla="*/ 1792642 w 2105494"/>
              <a:gd name="connsiteY579" fmla="*/ 504271 h 1430663"/>
              <a:gd name="connsiteX580" fmla="*/ 1794926 w 2105494"/>
              <a:gd name="connsiteY580" fmla="*/ 508834 h 1430663"/>
              <a:gd name="connsiteX581" fmla="*/ 1794926 w 2105494"/>
              <a:gd name="connsiteY581" fmla="*/ 511116 h 1430663"/>
              <a:gd name="connsiteX582" fmla="*/ 1792642 w 2105494"/>
              <a:gd name="connsiteY582" fmla="*/ 513398 h 1430663"/>
              <a:gd name="connsiteX583" fmla="*/ 1790358 w 2105494"/>
              <a:gd name="connsiteY583" fmla="*/ 513398 h 1430663"/>
              <a:gd name="connsiteX584" fmla="*/ 1790358 w 2105494"/>
              <a:gd name="connsiteY584" fmla="*/ 515680 h 1430663"/>
              <a:gd name="connsiteX585" fmla="*/ 1790358 w 2105494"/>
              <a:gd name="connsiteY585" fmla="*/ 517962 h 1430663"/>
              <a:gd name="connsiteX586" fmla="*/ 1792642 w 2105494"/>
              <a:gd name="connsiteY586" fmla="*/ 520244 h 1430663"/>
              <a:gd name="connsiteX587" fmla="*/ 1792642 w 2105494"/>
              <a:gd name="connsiteY587" fmla="*/ 522526 h 1430663"/>
              <a:gd name="connsiteX588" fmla="*/ 1792642 w 2105494"/>
              <a:gd name="connsiteY588" fmla="*/ 524808 h 1430663"/>
              <a:gd name="connsiteX589" fmla="*/ 1790358 w 2105494"/>
              <a:gd name="connsiteY589" fmla="*/ 524808 h 1430663"/>
              <a:gd name="connsiteX590" fmla="*/ 1788075 w 2105494"/>
              <a:gd name="connsiteY590" fmla="*/ 524808 h 1430663"/>
              <a:gd name="connsiteX591" fmla="*/ 1790358 w 2105494"/>
              <a:gd name="connsiteY591" fmla="*/ 527089 h 1430663"/>
              <a:gd name="connsiteX592" fmla="*/ 1790358 w 2105494"/>
              <a:gd name="connsiteY592" fmla="*/ 536217 h 1430663"/>
              <a:gd name="connsiteX593" fmla="*/ 1790358 w 2105494"/>
              <a:gd name="connsiteY593" fmla="*/ 538499 h 1430663"/>
              <a:gd name="connsiteX594" fmla="*/ 1790358 w 2105494"/>
              <a:gd name="connsiteY594" fmla="*/ 540781 h 1430663"/>
              <a:gd name="connsiteX595" fmla="*/ 1790358 w 2105494"/>
              <a:gd name="connsiteY595" fmla="*/ 543063 h 1430663"/>
              <a:gd name="connsiteX596" fmla="*/ 1790358 w 2105494"/>
              <a:gd name="connsiteY596" fmla="*/ 545345 h 1430663"/>
              <a:gd name="connsiteX597" fmla="*/ 1790358 w 2105494"/>
              <a:gd name="connsiteY597" fmla="*/ 547627 h 1430663"/>
              <a:gd name="connsiteX598" fmla="*/ 1790358 w 2105494"/>
              <a:gd name="connsiteY598" fmla="*/ 549908 h 1430663"/>
              <a:gd name="connsiteX599" fmla="*/ 1788075 w 2105494"/>
              <a:gd name="connsiteY599" fmla="*/ 556754 h 1430663"/>
              <a:gd name="connsiteX600" fmla="*/ 1788075 w 2105494"/>
              <a:gd name="connsiteY600" fmla="*/ 559036 h 1430663"/>
              <a:gd name="connsiteX601" fmla="*/ 1788075 w 2105494"/>
              <a:gd name="connsiteY601" fmla="*/ 561318 h 1430663"/>
              <a:gd name="connsiteX602" fmla="*/ 1788075 w 2105494"/>
              <a:gd name="connsiteY602" fmla="*/ 565882 h 1430663"/>
              <a:gd name="connsiteX603" fmla="*/ 1785791 w 2105494"/>
              <a:gd name="connsiteY603" fmla="*/ 563600 h 1430663"/>
              <a:gd name="connsiteX604" fmla="*/ 1783508 w 2105494"/>
              <a:gd name="connsiteY604" fmla="*/ 563600 h 1430663"/>
              <a:gd name="connsiteX605" fmla="*/ 1783508 w 2105494"/>
              <a:gd name="connsiteY605" fmla="*/ 568164 h 1430663"/>
              <a:gd name="connsiteX606" fmla="*/ 1781224 w 2105494"/>
              <a:gd name="connsiteY606" fmla="*/ 568164 h 1430663"/>
              <a:gd name="connsiteX607" fmla="*/ 1781224 w 2105494"/>
              <a:gd name="connsiteY607" fmla="*/ 570445 h 1430663"/>
              <a:gd name="connsiteX608" fmla="*/ 1781224 w 2105494"/>
              <a:gd name="connsiteY608" fmla="*/ 572727 h 1430663"/>
              <a:gd name="connsiteX609" fmla="*/ 1781224 w 2105494"/>
              <a:gd name="connsiteY609" fmla="*/ 575009 h 1430663"/>
              <a:gd name="connsiteX610" fmla="*/ 1781224 w 2105494"/>
              <a:gd name="connsiteY610" fmla="*/ 577291 h 1430663"/>
              <a:gd name="connsiteX611" fmla="*/ 1781224 w 2105494"/>
              <a:gd name="connsiteY611" fmla="*/ 579573 h 1430663"/>
              <a:gd name="connsiteX612" fmla="*/ 1781224 w 2105494"/>
              <a:gd name="connsiteY612" fmla="*/ 581855 h 1430663"/>
              <a:gd name="connsiteX613" fmla="*/ 1781224 w 2105494"/>
              <a:gd name="connsiteY613" fmla="*/ 584137 h 1430663"/>
              <a:gd name="connsiteX614" fmla="*/ 1778941 w 2105494"/>
              <a:gd name="connsiteY614" fmla="*/ 584137 h 1430663"/>
              <a:gd name="connsiteX615" fmla="*/ 1778941 w 2105494"/>
              <a:gd name="connsiteY615" fmla="*/ 586419 h 1430663"/>
              <a:gd name="connsiteX616" fmla="*/ 1778941 w 2105494"/>
              <a:gd name="connsiteY616" fmla="*/ 588701 h 1430663"/>
              <a:gd name="connsiteX617" fmla="*/ 1778941 w 2105494"/>
              <a:gd name="connsiteY617" fmla="*/ 590983 h 1430663"/>
              <a:gd name="connsiteX618" fmla="*/ 1778941 w 2105494"/>
              <a:gd name="connsiteY618" fmla="*/ 593264 h 1430663"/>
              <a:gd name="connsiteX619" fmla="*/ 1778941 w 2105494"/>
              <a:gd name="connsiteY619" fmla="*/ 595546 h 1430663"/>
              <a:gd name="connsiteX620" fmla="*/ 1776657 w 2105494"/>
              <a:gd name="connsiteY620" fmla="*/ 595546 h 1430663"/>
              <a:gd name="connsiteX621" fmla="*/ 1776657 w 2105494"/>
              <a:gd name="connsiteY621" fmla="*/ 600110 h 1430663"/>
              <a:gd name="connsiteX622" fmla="*/ 1776657 w 2105494"/>
              <a:gd name="connsiteY622" fmla="*/ 602392 h 1430663"/>
              <a:gd name="connsiteX623" fmla="*/ 1776657 w 2105494"/>
              <a:gd name="connsiteY623" fmla="*/ 604674 h 1430663"/>
              <a:gd name="connsiteX624" fmla="*/ 1776657 w 2105494"/>
              <a:gd name="connsiteY624" fmla="*/ 606946 h 1430663"/>
              <a:gd name="connsiteX625" fmla="*/ 1769806 w 2105494"/>
              <a:gd name="connsiteY625" fmla="*/ 606946 h 1430663"/>
              <a:gd name="connsiteX626" fmla="*/ 1767522 w 2105494"/>
              <a:gd name="connsiteY626" fmla="*/ 606946 h 1430663"/>
              <a:gd name="connsiteX627" fmla="*/ 1765239 w 2105494"/>
              <a:gd name="connsiteY627" fmla="*/ 606946 h 1430663"/>
              <a:gd name="connsiteX628" fmla="*/ 1760672 w 2105494"/>
              <a:gd name="connsiteY628" fmla="*/ 604674 h 1430663"/>
              <a:gd name="connsiteX629" fmla="*/ 1753821 w 2105494"/>
              <a:gd name="connsiteY629" fmla="*/ 604674 h 1430663"/>
              <a:gd name="connsiteX630" fmla="*/ 1753821 w 2105494"/>
              <a:gd name="connsiteY630" fmla="*/ 606946 h 1430663"/>
              <a:gd name="connsiteX631" fmla="*/ 1753821 w 2105494"/>
              <a:gd name="connsiteY631" fmla="*/ 609228 h 1430663"/>
              <a:gd name="connsiteX632" fmla="*/ 1753821 w 2105494"/>
              <a:gd name="connsiteY632" fmla="*/ 611510 h 1430663"/>
              <a:gd name="connsiteX633" fmla="*/ 1753821 w 2105494"/>
              <a:gd name="connsiteY633" fmla="*/ 613792 h 1430663"/>
              <a:gd name="connsiteX634" fmla="*/ 1753821 w 2105494"/>
              <a:gd name="connsiteY634" fmla="*/ 616074 h 1430663"/>
              <a:gd name="connsiteX635" fmla="*/ 1753821 w 2105494"/>
              <a:gd name="connsiteY635" fmla="*/ 618356 h 1430663"/>
              <a:gd name="connsiteX636" fmla="*/ 1753821 w 2105494"/>
              <a:gd name="connsiteY636" fmla="*/ 620638 h 1430663"/>
              <a:gd name="connsiteX637" fmla="*/ 1751537 w 2105494"/>
              <a:gd name="connsiteY637" fmla="*/ 620638 h 1430663"/>
              <a:gd name="connsiteX638" fmla="*/ 1749244 w 2105494"/>
              <a:gd name="connsiteY638" fmla="*/ 620638 h 1430663"/>
              <a:gd name="connsiteX639" fmla="*/ 1746970 w 2105494"/>
              <a:gd name="connsiteY639" fmla="*/ 620638 h 1430663"/>
              <a:gd name="connsiteX640" fmla="*/ 1744687 w 2105494"/>
              <a:gd name="connsiteY640" fmla="*/ 620638 h 1430663"/>
              <a:gd name="connsiteX641" fmla="*/ 1742403 w 2105494"/>
              <a:gd name="connsiteY641" fmla="*/ 620638 h 1430663"/>
              <a:gd name="connsiteX642" fmla="*/ 1742403 w 2105494"/>
              <a:gd name="connsiteY642" fmla="*/ 618356 h 1430663"/>
              <a:gd name="connsiteX643" fmla="*/ 1740119 w 2105494"/>
              <a:gd name="connsiteY643" fmla="*/ 618356 h 1430663"/>
              <a:gd name="connsiteX644" fmla="*/ 1737836 w 2105494"/>
              <a:gd name="connsiteY644" fmla="*/ 618356 h 1430663"/>
              <a:gd name="connsiteX645" fmla="*/ 1735552 w 2105494"/>
              <a:gd name="connsiteY645" fmla="*/ 618356 h 1430663"/>
              <a:gd name="connsiteX646" fmla="*/ 1733268 w 2105494"/>
              <a:gd name="connsiteY646" fmla="*/ 618356 h 1430663"/>
              <a:gd name="connsiteX647" fmla="*/ 1728701 w 2105494"/>
              <a:gd name="connsiteY647" fmla="*/ 618356 h 1430663"/>
              <a:gd name="connsiteX648" fmla="*/ 1730985 w 2105494"/>
              <a:gd name="connsiteY648" fmla="*/ 632047 h 1430663"/>
              <a:gd name="connsiteX649" fmla="*/ 1733268 w 2105494"/>
              <a:gd name="connsiteY649" fmla="*/ 641175 h 1430663"/>
              <a:gd name="connsiteX650" fmla="*/ 1735552 w 2105494"/>
              <a:gd name="connsiteY650" fmla="*/ 650302 h 1430663"/>
              <a:gd name="connsiteX651" fmla="*/ 1735552 w 2105494"/>
              <a:gd name="connsiteY651" fmla="*/ 654866 h 1430663"/>
              <a:gd name="connsiteX652" fmla="*/ 1737836 w 2105494"/>
              <a:gd name="connsiteY652" fmla="*/ 657148 h 1430663"/>
              <a:gd name="connsiteX653" fmla="*/ 1737836 w 2105494"/>
              <a:gd name="connsiteY653" fmla="*/ 661712 h 1430663"/>
              <a:gd name="connsiteX654" fmla="*/ 1740119 w 2105494"/>
              <a:gd name="connsiteY654" fmla="*/ 661712 h 1430663"/>
              <a:gd name="connsiteX655" fmla="*/ 1740119 w 2105494"/>
              <a:gd name="connsiteY655" fmla="*/ 663994 h 1430663"/>
              <a:gd name="connsiteX656" fmla="*/ 1740119 w 2105494"/>
              <a:gd name="connsiteY656" fmla="*/ 666276 h 1430663"/>
              <a:gd name="connsiteX657" fmla="*/ 1742403 w 2105494"/>
              <a:gd name="connsiteY657" fmla="*/ 668557 h 1430663"/>
              <a:gd name="connsiteX658" fmla="*/ 1742403 w 2105494"/>
              <a:gd name="connsiteY658" fmla="*/ 670839 h 1430663"/>
              <a:gd name="connsiteX659" fmla="*/ 1742403 w 2105494"/>
              <a:gd name="connsiteY659" fmla="*/ 673121 h 1430663"/>
              <a:gd name="connsiteX660" fmla="*/ 1742403 w 2105494"/>
              <a:gd name="connsiteY660" fmla="*/ 675403 h 1430663"/>
              <a:gd name="connsiteX661" fmla="*/ 1740119 w 2105494"/>
              <a:gd name="connsiteY661" fmla="*/ 675403 h 1430663"/>
              <a:gd name="connsiteX662" fmla="*/ 1737836 w 2105494"/>
              <a:gd name="connsiteY662" fmla="*/ 677685 h 1430663"/>
              <a:gd name="connsiteX663" fmla="*/ 1735552 w 2105494"/>
              <a:gd name="connsiteY663" fmla="*/ 679967 h 1430663"/>
              <a:gd name="connsiteX664" fmla="*/ 1733268 w 2105494"/>
              <a:gd name="connsiteY664" fmla="*/ 682249 h 1430663"/>
              <a:gd name="connsiteX665" fmla="*/ 1730985 w 2105494"/>
              <a:gd name="connsiteY665" fmla="*/ 682249 h 1430663"/>
              <a:gd name="connsiteX666" fmla="*/ 1728701 w 2105494"/>
              <a:gd name="connsiteY666" fmla="*/ 684531 h 1430663"/>
              <a:gd name="connsiteX667" fmla="*/ 1726408 w 2105494"/>
              <a:gd name="connsiteY667" fmla="*/ 684531 h 1430663"/>
              <a:gd name="connsiteX668" fmla="*/ 1726408 w 2105494"/>
              <a:gd name="connsiteY668" fmla="*/ 686813 h 1430663"/>
              <a:gd name="connsiteX669" fmla="*/ 1724134 w 2105494"/>
              <a:gd name="connsiteY669" fmla="*/ 686813 h 1430663"/>
              <a:gd name="connsiteX670" fmla="*/ 1721841 w 2105494"/>
              <a:gd name="connsiteY670" fmla="*/ 686813 h 1430663"/>
              <a:gd name="connsiteX671" fmla="*/ 1719558 w 2105494"/>
              <a:gd name="connsiteY671" fmla="*/ 689095 h 1430663"/>
              <a:gd name="connsiteX672" fmla="*/ 1717283 w 2105494"/>
              <a:gd name="connsiteY672" fmla="*/ 691376 h 1430663"/>
              <a:gd name="connsiteX673" fmla="*/ 1714990 w 2105494"/>
              <a:gd name="connsiteY673" fmla="*/ 691376 h 1430663"/>
              <a:gd name="connsiteX674" fmla="*/ 1708140 w 2105494"/>
              <a:gd name="connsiteY674" fmla="*/ 695940 h 1430663"/>
              <a:gd name="connsiteX675" fmla="*/ 1705856 w 2105494"/>
              <a:gd name="connsiteY675" fmla="*/ 698222 h 1430663"/>
              <a:gd name="connsiteX676" fmla="*/ 1703572 w 2105494"/>
              <a:gd name="connsiteY676" fmla="*/ 700504 h 1430663"/>
              <a:gd name="connsiteX677" fmla="*/ 1701289 w 2105494"/>
              <a:gd name="connsiteY677" fmla="*/ 702786 h 1430663"/>
              <a:gd name="connsiteX678" fmla="*/ 1699005 w 2105494"/>
              <a:gd name="connsiteY678" fmla="*/ 705068 h 1430663"/>
              <a:gd name="connsiteX679" fmla="*/ 1696721 w 2105494"/>
              <a:gd name="connsiteY679" fmla="*/ 707350 h 1430663"/>
              <a:gd name="connsiteX680" fmla="*/ 1689871 w 2105494"/>
              <a:gd name="connsiteY680" fmla="*/ 711914 h 1430663"/>
              <a:gd name="connsiteX681" fmla="*/ 1696721 w 2105494"/>
              <a:gd name="connsiteY681" fmla="*/ 727887 h 1430663"/>
              <a:gd name="connsiteX682" fmla="*/ 1701289 w 2105494"/>
              <a:gd name="connsiteY682" fmla="*/ 732451 h 1430663"/>
              <a:gd name="connsiteX683" fmla="*/ 1703572 w 2105494"/>
              <a:gd name="connsiteY683" fmla="*/ 739296 h 1430663"/>
              <a:gd name="connsiteX684" fmla="*/ 1703572 w 2105494"/>
              <a:gd name="connsiteY684" fmla="*/ 743860 h 1430663"/>
              <a:gd name="connsiteX685" fmla="*/ 1703572 w 2105494"/>
              <a:gd name="connsiteY685" fmla="*/ 746142 h 1430663"/>
              <a:gd name="connsiteX686" fmla="*/ 1705856 w 2105494"/>
              <a:gd name="connsiteY686" fmla="*/ 759833 h 1430663"/>
              <a:gd name="connsiteX687" fmla="*/ 1705856 w 2105494"/>
              <a:gd name="connsiteY687" fmla="*/ 764397 h 1430663"/>
              <a:gd name="connsiteX688" fmla="*/ 1699005 w 2105494"/>
              <a:gd name="connsiteY688" fmla="*/ 768951 h 1430663"/>
              <a:gd name="connsiteX689" fmla="*/ 1696721 w 2105494"/>
              <a:gd name="connsiteY689" fmla="*/ 768951 h 1430663"/>
              <a:gd name="connsiteX690" fmla="*/ 1694438 w 2105494"/>
              <a:gd name="connsiteY690" fmla="*/ 768951 h 1430663"/>
              <a:gd name="connsiteX691" fmla="*/ 1694438 w 2105494"/>
              <a:gd name="connsiteY691" fmla="*/ 771233 h 1430663"/>
              <a:gd name="connsiteX692" fmla="*/ 1692154 w 2105494"/>
              <a:gd name="connsiteY692" fmla="*/ 771233 h 1430663"/>
              <a:gd name="connsiteX693" fmla="*/ 1687587 w 2105494"/>
              <a:gd name="connsiteY693" fmla="*/ 771233 h 1430663"/>
              <a:gd name="connsiteX694" fmla="*/ 1689871 w 2105494"/>
              <a:gd name="connsiteY694" fmla="*/ 773515 h 1430663"/>
              <a:gd name="connsiteX695" fmla="*/ 1687587 w 2105494"/>
              <a:gd name="connsiteY695" fmla="*/ 771233 h 1430663"/>
              <a:gd name="connsiteX696" fmla="*/ 1678453 w 2105494"/>
              <a:gd name="connsiteY696" fmla="*/ 773515 h 1430663"/>
              <a:gd name="connsiteX697" fmla="*/ 1680736 w 2105494"/>
              <a:gd name="connsiteY697" fmla="*/ 775797 h 1430663"/>
              <a:gd name="connsiteX698" fmla="*/ 1680736 w 2105494"/>
              <a:gd name="connsiteY698" fmla="*/ 778079 h 1430663"/>
              <a:gd name="connsiteX699" fmla="*/ 1680736 w 2105494"/>
              <a:gd name="connsiteY699" fmla="*/ 780361 h 1430663"/>
              <a:gd name="connsiteX700" fmla="*/ 1683020 w 2105494"/>
              <a:gd name="connsiteY700" fmla="*/ 782643 h 1430663"/>
              <a:gd name="connsiteX701" fmla="*/ 1683020 w 2105494"/>
              <a:gd name="connsiteY701" fmla="*/ 784925 h 1430663"/>
              <a:gd name="connsiteX702" fmla="*/ 1683020 w 2105494"/>
              <a:gd name="connsiteY702" fmla="*/ 782643 h 1430663"/>
              <a:gd name="connsiteX703" fmla="*/ 1685304 w 2105494"/>
              <a:gd name="connsiteY703" fmla="*/ 782643 h 1430663"/>
              <a:gd name="connsiteX704" fmla="*/ 1687587 w 2105494"/>
              <a:gd name="connsiteY704" fmla="*/ 784925 h 1430663"/>
              <a:gd name="connsiteX705" fmla="*/ 1687587 w 2105494"/>
              <a:gd name="connsiteY705" fmla="*/ 787207 h 1430663"/>
              <a:gd name="connsiteX706" fmla="*/ 1687587 w 2105494"/>
              <a:gd name="connsiteY706" fmla="*/ 789488 h 1430663"/>
              <a:gd name="connsiteX707" fmla="*/ 1687587 w 2105494"/>
              <a:gd name="connsiteY707" fmla="*/ 791770 h 1430663"/>
              <a:gd name="connsiteX708" fmla="*/ 1687587 w 2105494"/>
              <a:gd name="connsiteY708" fmla="*/ 794052 h 1430663"/>
              <a:gd name="connsiteX709" fmla="*/ 1692154 w 2105494"/>
              <a:gd name="connsiteY709" fmla="*/ 794052 h 1430663"/>
              <a:gd name="connsiteX710" fmla="*/ 1694438 w 2105494"/>
              <a:gd name="connsiteY710" fmla="*/ 794052 h 1430663"/>
              <a:gd name="connsiteX711" fmla="*/ 1705856 w 2105494"/>
              <a:gd name="connsiteY711" fmla="*/ 791770 h 1430663"/>
              <a:gd name="connsiteX712" fmla="*/ 1705856 w 2105494"/>
              <a:gd name="connsiteY712" fmla="*/ 794052 h 1430663"/>
              <a:gd name="connsiteX713" fmla="*/ 1705856 w 2105494"/>
              <a:gd name="connsiteY713" fmla="*/ 796334 h 1430663"/>
              <a:gd name="connsiteX714" fmla="*/ 1708140 w 2105494"/>
              <a:gd name="connsiteY714" fmla="*/ 800898 h 1430663"/>
              <a:gd name="connsiteX715" fmla="*/ 1705856 w 2105494"/>
              <a:gd name="connsiteY715" fmla="*/ 803180 h 1430663"/>
              <a:gd name="connsiteX716" fmla="*/ 1708140 w 2105494"/>
              <a:gd name="connsiteY716" fmla="*/ 803180 h 1430663"/>
              <a:gd name="connsiteX717" fmla="*/ 1708140 w 2105494"/>
              <a:gd name="connsiteY717" fmla="*/ 805462 h 1430663"/>
              <a:gd name="connsiteX718" fmla="*/ 1708140 w 2105494"/>
              <a:gd name="connsiteY718" fmla="*/ 812307 h 1430663"/>
              <a:gd name="connsiteX719" fmla="*/ 1708140 w 2105494"/>
              <a:gd name="connsiteY719" fmla="*/ 814589 h 1430663"/>
              <a:gd name="connsiteX720" fmla="*/ 1708140 w 2105494"/>
              <a:gd name="connsiteY720" fmla="*/ 816871 h 1430663"/>
              <a:gd name="connsiteX721" fmla="*/ 1710423 w 2105494"/>
              <a:gd name="connsiteY721" fmla="*/ 819153 h 1430663"/>
              <a:gd name="connsiteX722" fmla="*/ 1712716 w 2105494"/>
              <a:gd name="connsiteY722" fmla="*/ 819153 h 1430663"/>
              <a:gd name="connsiteX723" fmla="*/ 1712716 w 2105494"/>
              <a:gd name="connsiteY723" fmla="*/ 816871 h 1430663"/>
              <a:gd name="connsiteX724" fmla="*/ 1714990 w 2105494"/>
              <a:gd name="connsiteY724" fmla="*/ 816871 h 1430663"/>
              <a:gd name="connsiteX725" fmla="*/ 1717283 w 2105494"/>
              <a:gd name="connsiteY725" fmla="*/ 816871 h 1430663"/>
              <a:gd name="connsiteX726" fmla="*/ 1719558 w 2105494"/>
              <a:gd name="connsiteY726" fmla="*/ 816871 h 1430663"/>
              <a:gd name="connsiteX727" fmla="*/ 1721841 w 2105494"/>
              <a:gd name="connsiteY727" fmla="*/ 816871 h 1430663"/>
              <a:gd name="connsiteX728" fmla="*/ 1724134 w 2105494"/>
              <a:gd name="connsiteY728" fmla="*/ 816871 h 1430663"/>
              <a:gd name="connsiteX729" fmla="*/ 1724134 w 2105494"/>
              <a:gd name="connsiteY729" fmla="*/ 814589 h 1430663"/>
              <a:gd name="connsiteX730" fmla="*/ 1721841 w 2105494"/>
              <a:gd name="connsiteY730" fmla="*/ 814589 h 1430663"/>
              <a:gd name="connsiteX731" fmla="*/ 1724134 w 2105494"/>
              <a:gd name="connsiteY731" fmla="*/ 814589 h 1430663"/>
              <a:gd name="connsiteX732" fmla="*/ 1726408 w 2105494"/>
              <a:gd name="connsiteY732" fmla="*/ 814589 h 1430663"/>
              <a:gd name="connsiteX733" fmla="*/ 1726408 w 2105494"/>
              <a:gd name="connsiteY733" fmla="*/ 812307 h 1430663"/>
              <a:gd name="connsiteX734" fmla="*/ 1728701 w 2105494"/>
              <a:gd name="connsiteY734" fmla="*/ 812307 h 1430663"/>
              <a:gd name="connsiteX735" fmla="*/ 1730985 w 2105494"/>
              <a:gd name="connsiteY735" fmla="*/ 812307 h 1430663"/>
              <a:gd name="connsiteX736" fmla="*/ 1733268 w 2105494"/>
              <a:gd name="connsiteY736" fmla="*/ 812307 h 1430663"/>
              <a:gd name="connsiteX737" fmla="*/ 1735552 w 2105494"/>
              <a:gd name="connsiteY737" fmla="*/ 812307 h 1430663"/>
              <a:gd name="connsiteX738" fmla="*/ 1740119 w 2105494"/>
              <a:gd name="connsiteY738" fmla="*/ 810025 h 1430663"/>
              <a:gd name="connsiteX739" fmla="*/ 1746970 w 2105494"/>
              <a:gd name="connsiteY739" fmla="*/ 810025 h 1430663"/>
              <a:gd name="connsiteX740" fmla="*/ 1744687 w 2105494"/>
              <a:gd name="connsiteY740" fmla="*/ 803180 h 1430663"/>
              <a:gd name="connsiteX741" fmla="*/ 1742403 w 2105494"/>
              <a:gd name="connsiteY741" fmla="*/ 800898 h 1430663"/>
              <a:gd name="connsiteX742" fmla="*/ 1744687 w 2105494"/>
              <a:gd name="connsiteY742" fmla="*/ 798616 h 1430663"/>
              <a:gd name="connsiteX743" fmla="*/ 1744687 w 2105494"/>
              <a:gd name="connsiteY743" fmla="*/ 796334 h 1430663"/>
              <a:gd name="connsiteX744" fmla="*/ 1746970 w 2105494"/>
              <a:gd name="connsiteY744" fmla="*/ 794052 h 1430663"/>
              <a:gd name="connsiteX745" fmla="*/ 1744687 w 2105494"/>
              <a:gd name="connsiteY745" fmla="*/ 794052 h 1430663"/>
              <a:gd name="connsiteX746" fmla="*/ 1744687 w 2105494"/>
              <a:gd name="connsiteY746" fmla="*/ 791770 h 1430663"/>
              <a:gd name="connsiteX747" fmla="*/ 1749244 w 2105494"/>
              <a:gd name="connsiteY747" fmla="*/ 791770 h 1430663"/>
              <a:gd name="connsiteX748" fmla="*/ 1751537 w 2105494"/>
              <a:gd name="connsiteY748" fmla="*/ 794052 h 1430663"/>
              <a:gd name="connsiteX749" fmla="*/ 1756105 w 2105494"/>
              <a:gd name="connsiteY749" fmla="*/ 794052 h 1430663"/>
              <a:gd name="connsiteX750" fmla="*/ 1756105 w 2105494"/>
              <a:gd name="connsiteY750" fmla="*/ 796334 h 1430663"/>
              <a:gd name="connsiteX751" fmla="*/ 1758388 w 2105494"/>
              <a:gd name="connsiteY751" fmla="*/ 796334 h 1430663"/>
              <a:gd name="connsiteX752" fmla="*/ 1758388 w 2105494"/>
              <a:gd name="connsiteY752" fmla="*/ 798616 h 1430663"/>
              <a:gd name="connsiteX753" fmla="*/ 1760672 w 2105494"/>
              <a:gd name="connsiteY753" fmla="*/ 803180 h 1430663"/>
              <a:gd name="connsiteX754" fmla="*/ 1762946 w 2105494"/>
              <a:gd name="connsiteY754" fmla="*/ 805462 h 1430663"/>
              <a:gd name="connsiteX755" fmla="*/ 1760672 w 2105494"/>
              <a:gd name="connsiteY755" fmla="*/ 807744 h 1430663"/>
              <a:gd name="connsiteX756" fmla="*/ 1762946 w 2105494"/>
              <a:gd name="connsiteY756" fmla="*/ 810025 h 1430663"/>
              <a:gd name="connsiteX757" fmla="*/ 1767522 w 2105494"/>
              <a:gd name="connsiteY757" fmla="*/ 814589 h 1430663"/>
              <a:gd name="connsiteX758" fmla="*/ 1769806 w 2105494"/>
              <a:gd name="connsiteY758" fmla="*/ 816871 h 1430663"/>
              <a:gd name="connsiteX759" fmla="*/ 1772090 w 2105494"/>
              <a:gd name="connsiteY759" fmla="*/ 819153 h 1430663"/>
              <a:gd name="connsiteX760" fmla="*/ 1776657 w 2105494"/>
              <a:gd name="connsiteY760" fmla="*/ 823717 h 1430663"/>
              <a:gd name="connsiteX761" fmla="*/ 1778941 w 2105494"/>
              <a:gd name="connsiteY761" fmla="*/ 823717 h 1430663"/>
              <a:gd name="connsiteX762" fmla="*/ 1781224 w 2105494"/>
              <a:gd name="connsiteY762" fmla="*/ 819153 h 1430663"/>
              <a:gd name="connsiteX763" fmla="*/ 1781224 w 2105494"/>
              <a:gd name="connsiteY763" fmla="*/ 816871 h 1430663"/>
              <a:gd name="connsiteX764" fmla="*/ 1783508 w 2105494"/>
              <a:gd name="connsiteY764" fmla="*/ 816871 h 1430663"/>
              <a:gd name="connsiteX765" fmla="*/ 1785791 w 2105494"/>
              <a:gd name="connsiteY765" fmla="*/ 816871 h 1430663"/>
              <a:gd name="connsiteX766" fmla="*/ 1788075 w 2105494"/>
              <a:gd name="connsiteY766" fmla="*/ 816871 h 1430663"/>
              <a:gd name="connsiteX767" fmla="*/ 1790358 w 2105494"/>
              <a:gd name="connsiteY767" fmla="*/ 816871 h 1430663"/>
              <a:gd name="connsiteX768" fmla="*/ 1792642 w 2105494"/>
              <a:gd name="connsiteY768" fmla="*/ 816871 h 1430663"/>
              <a:gd name="connsiteX769" fmla="*/ 1794926 w 2105494"/>
              <a:gd name="connsiteY769" fmla="*/ 819153 h 1430663"/>
              <a:gd name="connsiteX770" fmla="*/ 1797209 w 2105494"/>
              <a:gd name="connsiteY770" fmla="*/ 819153 h 1430663"/>
              <a:gd name="connsiteX771" fmla="*/ 1799493 w 2105494"/>
              <a:gd name="connsiteY771" fmla="*/ 821435 h 1430663"/>
              <a:gd name="connsiteX772" fmla="*/ 1801777 w 2105494"/>
              <a:gd name="connsiteY772" fmla="*/ 821435 h 1430663"/>
              <a:gd name="connsiteX773" fmla="*/ 1804060 w 2105494"/>
              <a:gd name="connsiteY773" fmla="*/ 821435 h 1430663"/>
              <a:gd name="connsiteX774" fmla="*/ 1808627 w 2105494"/>
              <a:gd name="connsiteY774" fmla="*/ 823717 h 1430663"/>
              <a:gd name="connsiteX775" fmla="*/ 1810911 w 2105494"/>
              <a:gd name="connsiteY775" fmla="*/ 823717 h 1430663"/>
              <a:gd name="connsiteX776" fmla="*/ 1813195 w 2105494"/>
              <a:gd name="connsiteY776" fmla="*/ 823717 h 1430663"/>
              <a:gd name="connsiteX777" fmla="*/ 1815478 w 2105494"/>
              <a:gd name="connsiteY777" fmla="*/ 823717 h 1430663"/>
              <a:gd name="connsiteX778" fmla="*/ 1817762 w 2105494"/>
              <a:gd name="connsiteY778" fmla="*/ 823717 h 1430663"/>
              <a:gd name="connsiteX779" fmla="*/ 1820045 w 2105494"/>
              <a:gd name="connsiteY779" fmla="*/ 823717 h 1430663"/>
              <a:gd name="connsiteX780" fmla="*/ 1822329 w 2105494"/>
              <a:gd name="connsiteY780" fmla="*/ 823717 h 1430663"/>
              <a:gd name="connsiteX781" fmla="*/ 1824612 w 2105494"/>
              <a:gd name="connsiteY781" fmla="*/ 823717 h 1430663"/>
              <a:gd name="connsiteX782" fmla="*/ 1826896 w 2105494"/>
              <a:gd name="connsiteY782" fmla="*/ 823717 h 1430663"/>
              <a:gd name="connsiteX783" fmla="*/ 1829180 w 2105494"/>
              <a:gd name="connsiteY783" fmla="*/ 823717 h 1430663"/>
              <a:gd name="connsiteX784" fmla="*/ 1831463 w 2105494"/>
              <a:gd name="connsiteY784" fmla="*/ 823717 h 1430663"/>
              <a:gd name="connsiteX785" fmla="*/ 1831463 w 2105494"/>
              <a:gd name="connsiteY785" fmla="*/ 825999 h 1430663"/>
              <a:gd name="connsiteX786" fmla="*/ 1831463 w 2105494"/>
              <a:gd name="connsiteY786" fmla="*/ 828281 h 1430663"/>
              <a:gd name="connsiteX787" fmla="*/ 1831463 w 2105494"/>
              <a:gd name="connsiteY787" fmla="*/ 830563 h 1430663"/>
              <a:gd name="connsiteX788" fmla="*/ 1831463 w 2105494"/>
              <a:gd name="connsiteY788" fmla="*/ 832844 h 1430663"/>
              <a:gd name="connsiteX789" fmla="*/ 1831463 w 2105494"/>
              <a:gd name="connsiteY789" fmla="*/ 835126 h 1430663"/>
              <a:gd name="connsiteX790" fmla="*/ 1831463 w 2105494"/>
              <a:gd name="connsiteY790" fmla="*/ 839690 h 1430663"/>
              <a:gd name="connsiteX791" fmla="*/ 1831463 w 2105494"/>
              <a:gd name="connsiteY791" fmla="*/ 844254 h 1430663"/>
              <a:gd name="connsiteX792" fmla="*/ 1831463 w 2105494"/>
              <a:gd name="connsiteY792" fmla="*/ 848818 h 1430663"/>
              <a:gd name="connsiteX793" fmla="*/ 1831463 w 2105494"/>
              <a:gd name="connsiteY793" fmla="*/ 851100 h 1430663"/>
              <a:gd name="connsiteX794" fmla="*/ 1833747 w 2105494"/>
              <a:gd name="connsiteY794" fmla="*/ 851100 h 1430663"/>
              <a:gd name="connsiteX795" fmla="*/ 1838314 w 2105494"/>
              <a:gd name="connsiteY795" fmla="*/ 846536 h 1430663"/>
              <a:gd name="connsiteX796" fmla="*/ 1842881 w 2105494"/>
              <a:gd name="connsiteY796" fmla="*/ 841972 h 1430663"/>
              <a:gd name="connsiteX797" fmla="*/ 1842881 w 2105494"/>
              <a:gd name="connsiteY797" fmla="*/ 844254 h 1430663"/>
              <a:gd name="connsiteX798" fmla="*/ 1842881 w 2105494"/>
              <a:gd name="connsiteY798" fmla="*/ 846536 h 1430663"/>
              <a:gd name="connsiteX799" fmla="*/ 1842881 w 2105494"/>
              <a:gd name="connsiteY799" fmla="*/ 851100 h 1430663"/>
              <a:gd name="connsiteX800" fmla="*/ 1842881 w 2105494"/>
              <a:gd name="connsiteY800" fmla="*/ 855663 h 1430663"/>
              <a:gd name="connsiteX801" fmla="*/ 1838314 w 2105494"/>
              <a:gd name="connsiteY801" fmla="*/ 855663 h 1430663"/>
              <a:gd name="connsiteX802" fmla="*/ 1836031 w 2105494"/>
              <a:gd name="connsiteY802" fmla="*/ 857945 h 1430663"/>
              <a:gd name="connsiteX803" fmla="*/ 1838314 w 2105494"/>
              <a:gd name="connsiteY803" fmla="*/ 860227 h 1430663"/>
              <a:gd name="connsiteX804" fmla="*/ 1838314 w 2105494"/>
              <a:gd name="connsiteY804" fmla="*/ 862509 h 1430663"/>
              <a:gd name="connsiteX805" fmla="*/ 1836031 w 2105494"/>
              <a:gd name="connsiteY805" fmla="*/ 862509 h 1430663"/>
              <a:gd name="connsiteX806" fmla="*/ 1833747 w 2105494"/>
              <a:gd name="connsiteY806" fmla="*/ 862509 h 1430663"/>
              <a:gd name="connsiteX807" fmla="*/ 1833747 w 2105494"/>
              <a:gd name="connsiteY807" fmla="*/ 864791 h 1430663"/>
              <a:gd name="connsiteX808" fmla="*/ 1831463 w 2105494"/>
              <a:gd name="connsiteY808" fmla="*/ 864791 h 1430663"/>
              <a:gd name="connsiteX809" fmla="*/ 1831463 w 2105494"/>
              <a:gd name="connsiteY809" fmla="*/ 867073 h 1430663"/>
              <a:gd name="connsiteX810" fmla="*/ 1831463 w 2105494"/>
              <a:gd name="connsiteY810" fmla="*/ 869355 h 1430663"/>
              <a:gd name="connsiteX811" fmla="*/ 1833747 w 2105494"/>
              <a:gd name="connsiteY811" fmla="*/ 869355 h 1430663"/>
              <a:gd name="connsiteX812" fmla="*/ 1833747 w 2105494"/>
              <a:gd name="connsiteY812" fmla="*/ 871637 h 1430663"/>
              <a:gd name="connsiteX813" fmla="*/ 1836031 w 2105494"/>
              <a:gd name="connsiteY813" fmla="*/ 871637 h 1430663"/>
              <a:gd name="connsiteX814" fmla="*/ 1836031 w 2105494"/>
              <a:gd name="connsiteY814" fmla="*/ 873919 h 1430663"/>
              <a:gd name="connsiteX815" fmla="*/ 1836031 w 2105494"/>
              <a:gd name="connsiteY815" fmla="*/ 876200 h 1430663"/>
              <a:gd name="connsiteX816" fmla="*/ 1833747 w 2105494"/>
              <a:gd name="connsiteY816" fmla="*/ 876200 h 1430663"/>
              <a:gd name="connsiteX817" fmla="*/ 1833747 w 2105494"/>
              <a:gd name="connsiteY817" fmla="*/ 878482 h 1430663"/>
              <a:gd name="connsiteX818" fmla="*/ 1831463 w 2105494"/>
              <a:gd name="connsiteY818" fmla="*/ 878482 h 1430663"/>
              <a:gd name="connsiteX819" fmla="*/ 1829180 w 2105494"/>
              <a:gd name="connsiteY819" fmla="*/ 878482 h 1430663"/>
              <a:gd name="connsiteX820" fmla="*/ 1829180 w 2105494"/>
              <a:gd name="connsiteY820" fmla="*/ 876200 h 1430663"/>
              <a:gd name="connsiteX821" fmla="*/ 1826896 w 2105494"/>
              <a:gd name="connsiteY821" fmla="*/ 876200 h 1430663"/>
              <a:gd name="connsiteX822" fmla="*/ 1824612 w 2105494"/>
              <a:gd name="connsiteY822" fmla="*/ 876200 h 1430663"/>
              <a:gd name="connsiteX823" fmla="*/ 1822329 w 2105494"/>
              <a:gd name="connsiteY823" fmla="*/ 876200 h 1430663"/>
              <a:gd name="connsiteX824" fmla="*/ 1822329 w 2105494"/>
              <a:gd name="connsiteY824" fmla="*/ 878482 h 1430663"/>
              <a:gd name="connsiteX825" fmla="*/ 1820045 w 2105494"/>
              <a:gd name="connsiteY825" fmla="*/ 878482 h 1430663"/>
              <a:gd name="connsiteX826" fmla="*/ 1820045 w 2105494"/>
              <a:gd name="connsiteY826" fmla="*/ 880764 h 1430663"/>
              <a:gd name="connsiteX827" fmla="*/ 1817762 w 2105494"/>
              <a:gd name="connsiteY827" fmla="*/ 880764 h 1430663"/>
              <a:gd name="connsiteX828" fmla="*/ 1815478 w 2105494"/>
              <a:gd name="connsiteY828" fmla="*/ 880764 h 1430663"/>
              <a:gd name="connsiteX829" fmla="*/ 1815478 w 2105494"/>
              <a:gd name="connsiteY829" fmla="*/ 878482 h 1430663"/>
              <a:gd name="connsiteX830" fmla="*/ 1813195 w 2105494"/>
              <a:gd name="connsiteY830" fmla="*/ 878482 h 1430663"/>
              <a:gd name="connsiteX831" fmla="*/ 1810911 w 2105494"/>
              <a:gd name="connsiteY831" fmla="*/ 878482 h 1430663"/>
              <a:gd name="connsiteX832" fmla="*/ 1810911 w 2105494"/>
              <a:gd name="connsiteY832" fmla="*/ 880764 h 1430663"/>
              <a:gd name="connsiteX833" fmla="*/ 1808627 w 2105494"/>
              <a:gd name="connsiteY833" fmla="*/ 880764 h 1430663"/>
              <a:gd name="connsiteX834" fmla="*/ 1808627 w 2105494"/>
              <a:gd name="connsiteY834" fmla="*/ 883046 h 1430663"/>
              <a:gd name="connsiteX835" fmla="*/ 1806344 w 2105494"/>
              <a:gd name="connsiteY835" fmla="*/ 883046 h 1430663"/>
              <a:gd name="connsiteX836" fmla="*/ 1806344 w 2105494"/>
              <a:gd name="connsiteY836" fmla="*/ 885328 h 1430663"/>
              <a:gd name="connsiteX837" fmla="*/ 1808627 w 2105494"/>
              <a:gd name="connsiteY837" fmla="*/ 885328 h 1430663"/>
              <a:gd name="connsiteX838" fmla="*/ 1808627 w 2105494"/>
              <a:gd name="connsiteY838" fmla="*/ 887610 h 1430663"/>
              <a:gd name="connsiteX839" fmla="*/ 1810911 w 2105494"/>
              <a:gd name="connsiteY839" fmla="*/ 887610 h 1430663"/>
              <a:gd name="connsiteX840" fmla="*/ 1810911 w 2105494"/>
              <a:gd name="connsiteY840" fmla="*/ 889892 h 1430663"/>
              <a:gd name="connsiteX841" fmla="*/ 1810911 w 2105494"/>
              <a:gd name="connsiteY841" fmla="*/ 892174 h 1430663"/>
              <a:gd name="connsiteX842" fmla="*/ 1810911 w 2105494"/>
              <a:gd name="connsiteY842" fmla="*/ 894456 h 1430663"/>
              <a:gd name="connsiteX843" fmla="*/ 1808627 w 2105494"/>
              <a:gd name="connsiteY843" fmla="*/ 894456 h 1430663"/>
              <a:gd name="connsiteX844" fmla="*/ 1808627 w 2105494"/>
              <a:gd name="connsiteY844" fmla="*/ 896738 h 1430663"/>
              <a:gd name="connsiteX845" fmla="*/ 1808627 w 2105494"/>
              <a:gd name="connsiteY845" fmla="*/ 899019 h 1430663"/>
              <a:gd name="connsiteX846" fmla="*/ 1808627 w 2105494"/>
              <a:gd name="connsiteY846" fmla="*/ 901301 h 1430663"/>
              <a:gd name="connsiteX847" fmla="*/ 1808627 w 2105494"/>
              <a:gd name="connsiteY847" fmla="*/ 903583 h 1430663"/>
              <a:gd name="connsiteX848" fmla="*/ 1806344 w 2105494"/>
              <a:gd name="connsiteY848" fmla="*/ 903583 h 1430663"/>
              <a:gd name="connsiteX849" fmla="*/ 1804060 w 2105494"/>
              <a:gd name="connsiteY849" fmla="*/ 903583 h 1430663"/>
              <a:gd name="connsiteX850" fmla="*/ 1804060 w 2105494"/>
              <a:gd name="connsiteY850" fmla="*/ 905865 h 1430663"/>
              <a:gd name="connsiteX851" fmla="*/ 1801777 w 2105494"/>
              <a:gd name="connsiteY851" fmla="*/ 905865 h 1430663"/>
              <a:gd name="connsiteX852" fmla="*/ 1799493 w 2105494"/>
              <a:gd name="connsiteY852" fmla="*/ 905865 h 1430663"/>
              <a:gd name="connsiteX853" fmla="*/ 1799493 w 2105494"/>
              <a:gd name="connsiteY853" fmla="*/ 908147 h 1430663"/>
              <a:gd name="connsiteX854" fmla="*/ 1799493 w 2105494"/>
              <a:gd name="connsiteY854" fmla="*/ 910429 h 1430663"/>
              <a:gd name="connsiteX855" fmla="*/ 1797209 w 2105494"/>
              <a:gd name="connsiteY855" fmla="*/ 910429 h 1430663"/>
              <a:gd name="connsiteX856" fmla="*/ 1797209 w 2105494"/>
              <a:gd name="connsiteY856" fmla="*/ 912711 h 1430663"/>
              <a:gd name="connsiteX857" fmla="*/ 1797209 w 2105494"/>
              <a:gd name="connsiteY857" fmla="*/ 914983 h 1430663"/>
              <a:gd name="connsiteX858" fmla="*/ 1797209 w 2105494"/>
              <a:gd name="connsiteY858" fmla="*/ 917265 h 1430663"/>
              <a:gd name="connsiteX859" fmla="*/ 1797209 w 2105494"/>
              <a:gd name="connsiteY859" fmla="*/ 919556 h 1430663"/>
              <a:gd name="connsiteX860" fmla="*/ 1794926 w 2105494"/>
              <a:gd name="connsiteY860" fmla="*/ 919556 h 1430663"/>
              <a:gd name="connsiteX861" fmla="*/ 1794926 w 2105494"/>
              <a:gd name="connsiteY861" fmla="*/ 921829 h 1430663"/>
              <a:gd name="connsiteX862" fmla="*/ 1790358 w 2105494"/>
              <a:gd name="connsiteY862" fmla="*/ 921829 h 1430663"/>
              <a:gd name="connsiteX863" fmla="*/ 1790358 w 2105494"/>
              <a:gd name="connsiteY863" fmla="*/ 924111 h 1430663"/>
              <a:gd name="connsiteX864" fmla="*/ 1788075 w 2105494"/>
              <a:gd name="connsiteY864" fmla="*/ 924111 h 1430663"/>
              <a:gd name="connsiteX865" fmla="*/ 1785791 w 2105494"/>
              <a:gd name="connsiteY865" fmla="*/ 924111 h 1430663"/>
              <a:gd name="connsiteX866" fmla="*/ 1785791 w 2105494"/>
              <a:gd name="connsiteY866" fmla="*/ 926393 h 1430663"/>
              <a:gd name="connsiteX867" fmla="*/ 1783508 w 2105494"/>
              <a:gd name="connsiteY867" fmla="*/ 926393 h 1430663"/>
              <a:gd name="connsiteX868" fmla="*/ 1783508 w 2105494"/>
              <a:gd name="connsiteY868" fmla="*/ 928675 h 1430663"/>
              <a:gd name="connsiteX869" fmla="*/ 1783508 w 2105494"/>
              <a:gd name="connsiteY869" fmla="*/ 926393 h 1430663"/>
              <a:gd name="connsiteX870" fmla="*/ 1781224 w 2105494"/>
              <a:gd name="connsiteY870" fmla="*/ 928675 h 1430663"/>
              <a:gd name="connsiteX871" fmla="*/ 1778941 w 2105494"/>
              <a:gd name="connsiteY871" fmla="*/ 930957 h 1430663"/>
              <a:gd name="connsiteX872" fmla="*/ 1778941 w 2105494"/>
              <a:gd name="connsiteY872" fmla="*/ 933238 h 1430663"/>
              <a:gd name="connsiteX873" fmla="*/ 1776657 w 2105494"/>
              <a:gd name="connsiteY873" fmla="*/ 933238 h 1430663"/>
              <a:gd name="connsiteX874" fmla="*/ 1776657 w 2105494"/>
              <a:gd name="connsiteY874" fmla="*/ 935520 h 1430663"/>
              <a:gd name="connsiteX875" fmla="*/ 1774373 w 2105494"/>
              <a:gd name="connsiteY875" fmla="*/ 937802 h 1430663"/>
              <a:gd name="connsiteX876" fmla="*/ 1769806 w 2105494"/>
              <a:gd name="connsiteY876" fmla="*/ 937802 h 1430663"/>
              <a:gd name="connsiteX877" fmla="*/ 1767522 w 2105494"/>
              <a:gd name="connsiteY877" fmla="*/ 937802 h 1430663"/>
              <a:gd name="connsiteX878" fmla="*/ 1767522 w 2105494"/>
              <a:gd name="connsiteY878" fmla="*/ 935520 h 1430663"/>
              <a:gd name="connsiteX879" fmla="*/ 1767522 w 2105494"/>
              <a:gd name="connsiteY879" fmla="*/ 933238 h 1430663"/>
              <a:gd name="connsiteX880" fmla="*/ 1765239 w 2105494"/>
              <a:gd name="connsiteY880" fmla="*/ 933238 h 1430663"/>
              <a:gd name="connsiteX881" fmla="*/ 1765239 w 2105494"/>
              <a:gd name="connsiteY881" fmla="*/ 930957 h 1430663"/>
              <a:gd name="connsiteX882" fmla="*/ 1765239 w 2105494"/>
              <a:gd name="connsiteY882" fmla="*/ 928675 h 1430663"/>
              <a:gd name="connsiteX883" fmla="*/ 1762946 w 2105494"/>
              <a:gd name="connsiteY883" fmla="*/ 928675 h 1430663"/>
              <a:gd name="connsiteX884" fmla="*/ 1762946 w 2105494"/>
              <a:gd name="connsiteY884" fmla="*/ 926393 h 1430663"/>
              <a:gd name="connsiteX885" fmla="*/ 1760672 w 2105494"/>
              <a:gd name="connsiteY885" fmla="*/ 926393 h 1430663"/>
              <a:gd name="connsiteX886" fmla="*/ 1760672 w 2105494"/>
              <a:gd name="connsiteY886" fmla="*/ 928675 h 1430663"/>
              <a:gd name="connsiteX887" fmla="*/ 1758388 w 2105494"/>
              <a:gd name="connsiteY887" fmla="*/ 928675 h 1430663"/>
              <a:gd name="connsiteX888" fmla="*/ 1756105 w 2105494"/>
              <a:gd name="connsiteY888" fmla="*/ 928675 h 1430663"/>
              <a:gd name="connsiteX889" fmla="*/ 1756105 w 2105494"/>
              <a:gd name="connsiteY889" fmla="*/ 926393 h 1430663"/>
              <a:gd name="connsiteX890" fmla="*/ 1756105 w 2105494"/>
              <a:gd name="connsiteY890" fmla="*/ 924111 h 1430663"/>
              <a:gd name="connsiteX891" fmla="*/ 1753821 w 2105494"/>
              <a:gd name="connsiteY891" fmla="*/ 921829 h 1430663"/>
              <a:gd name="connsiteX892" fmla="*/ 1753821 w 2105494"/>
              <a:gd name="connsiteY892" fmla="*/ 919556 h 1430663"/>
              <a:gd name="connsiteX893" fmla="*/ 1751537 w 2105494"/>
              <a:gd name="connsiteY893" fmla="*/ 919556 h 1430663"/>
              <a:gd name="connsiteX894" fmla="*/ 1749244 w 2105494"/>
              <a:gd name="connsiteY894" fmla="*/ 919556 h 1430663"/>
              <a:gd name="connsiteX895" fmla="*/ 1749244 w 2105494"/>
              <a:gd name="connsiteY895" fmla="*/ 917265 h 1430663"/>
              <a:gd name="connsiteX896" fmla="*/ 1746970 w 2105494"/>
              <a:gd name="connsiteY896" fmla="*/ 917265 h 1430663"/>
              <a:gd name="connsiteX897" fmla="*/ 1746970 w 2105494"/>
              <a:gd name="connsiteY897" fmla="*/ 914983 h 1430663"/>
              <a:gd name="connsiteX898" fmla="*/ 1744687 w 2105494"/>
              <a:gd name="connsiteY898" fmla="*/ 914983 h 1430663"/>
              <a:gd name="connsiteX899" fmla="*/ 1746970 w 2105494"/>
              <a:gd name="connsiteY899" fmla="*/ 914983 h 1430663"/>
              <a:gd name="connsiteX900" fmla="*/ 1746970 w 2105494"/>
              <a:gd name="connsiteY900" fmla="*/ 912711 h 1430663"/>
              <a:gd name="connsiteX901" fmla="*/ 1746970 w 2105494"/>
              <a:gd name="connsiteY901" fmla="*/ 910429 h 1430663"/>
              <a:gd name="connsiteX902" fmla="*/ 1744687 w 2105494"/>
              <a:gd name="connsiteY902" fmla="*/ 910429 h 1430663"/>
              <a:gd name="connsiteX903" fmla="*/ 1744687 w 2105494"/>
              <a:gd name="connsiteY903" fmla="*/ 908147 h 1430663"/>
              <a:gd name="connsiteX904" fmla="*/ 1742403 w 2105494"/>
              <a:gd name="connsiteY904" fmla="*/ 908147 h 1430663"/>
              <a:gd name="connsiteX905" fmla="*/ 1740119 w 2105494"/>
              <a:gd name="connsiteY905" fmla="*/ 908147 h 1430663"/>
              <a:gd name="connsiteX906" fmla="*/ 1737836 w 2105494"/>
              <a:gd name="connsiteY906" fmla="*/ 908147 h 1430663"/>
              <a:gd name="connsiteX907" fmla="*/ 1735552 w 2105494"/>
              <a:gd name="connsiteY907" fmla="*/ 908147 h 1430663"/>
              <a:gd name="connsiteX908" fmla="*/ 1733268 w 2105494"/>
              <a:gd name="connsiteY908" fmla="*/ 908147 h 1430663"/>
              <a:gd name="connsiteX909" fmla="*/ 1730985 w 2105494"/>
              <a:gd name="connsiteY909" fmla="*/ 908147 h 1430663"/>
              <a:gd name="connsiteX910" fmla="*/ 1730985 w 2105494"/>
              <a:gd name="connsiteY910" fmla="*/ 910429 h 1430663"/>
              <a:gd name="connsiteX911" fmla="*/ 1730985 w 2105494"/>
              <a:gd name="connsiteY911" fmla="*/ 912711 h 1430663"/>
              <a:gd name="connsiteX912" fmla="*/ 1728701 w 2105494"/>
              <a:gd name="connsiteY912" fmla="*/ 912711 h 1430663"/>
              <a:gd name="connsiteX913" fmla="*/ 1728701 w 2105494"/>
              <a:gd name="connsiteY913" fmla="*/ 914983 h 1430663"/>
              <a:gd name="connsiteX914" fmla="*/ 1728701 w 2105494"/>
              <a:gd name="connsiteY914" fmla="*/ 917265 h 1430663"/>
              <a:gd name="connsiteX915" fmla="*/ 1728701 w 2105494"/>
              <a:gd name="connsiteY915" fmla="*/ 919556 h 1430663"/>
              <a:gd name="connsiteX916" fmla="*/ 1726408 w 2105494"/>
              <a:gd name="connsiteY916" fmla="*/ 919556 h 1430663"/>
              <a:gd name="connsiteX917" fmla="*/ 1724134 w 2105494"/>
              <a:gd name="connsiteY917" fmla="*/ 919556 h 1430663"/>
              <a:gd name="connsiteX918" fmla="*/ 1724134 w 2105494"/>
              <a:gd name="connsiteY918" fmla="*/ 921829 h 1430663"/>
              <a:gd name="connsiteX919" fmla="*/ 1721841 w 2105494"/>
              <a:gd name="connsiteY919" fmla="*/ 921829 h 1430663"/>
              <a:gd name="connsiteX920" fmla="*/ 1721841 w 2105494"/>
              <a:gd name="connsiteY920" fmla="*/ 924111 h 1430663"/>
              <a:gd name="connsiteX921" fmla="*/ 1719558 w 2105494"/>
              <a:gd name="connsiteY921" fmla="*/ 924111 h 1430663"/>
              <a:gd name="connsiteX922" fmla="*/ 1719558 w 2105494"/>
              <a:gd name="connsiteY922" fmla="*/ 926393 h 1430663"/>
              <a:gd name="connsiteX923" fmla="*/ 1719558 w 2105494"/>
              <a:gd name="connsiteY923" fmla="*/ 928675 h 1430663"/>
              <a:gd name="connsiteX924" fmla="*/ 1717283 w 2105494"/>
              <a:gd name="connsiteY924" fmla="*/ 928675 h 1430663"/>
              <a:gd name="connsiteX925" fmla="*/ 1717283 w 2105494"/>
              <a:gd name="connsiteY925" fmla="*/ 930957 h 1430663"/>
              <a:gd name="connsiteX926" fmla="*/ 1714990 w 2105494"/>
              <a:gd name="connsiteY926" fmla="*/ 930957 h 1430663"/>
              <a:gd name="connsiteX927" fmla="*/ 1714990 w 2105494"/>
              <a:gd name="connsiteY927" fmla="*/ 933238 h 1430663"/>
              <a:gd name="connsiteX928" fmla="*/ 1712716 w 2105494"/>
              <a:gd name="connsiteY928" fmla="*/ 933238 h 1430663"/>
              <a:gd name="connsiteX929" fmla="*/ 1710423 w 2105494"/>
              <a:gd name="connsiteY929" fmla="*/ 933238 h 1430663"/>
              <a:gd name="connsiteX930" fmla="*/ 1710423 w 2105494"/>
              <a:gd name="connsiteY930" fmla="*/ 935520 h 1430663"/>
              <a:gd name="connsiteX931" fmla="*/ 1708140 w 2105494"/>
              <a:gd name="connsiteY931" fmla="*/ 935520 h 1430663"/>
              <a:gd name="connsiteX932" fmla="*/ 1708140 w 2105494"/>
              <a:gd name="connsiteY932" fmla="*/ 937802 h 1430663"/>
              <a:gd name="connsiteX933" fmla="*/ 1705856 w 2105494"/>
              <a:gd name="connsiteY933" fmla="*/ 937802 h 1430663"/>
              <a:gd name="connsiteX934" fmla="*/ 1705856 w 2105494"/>
              <a:gd name="connsiteY934" fmla="*/ 940084 h 1430663"/>
              <a:gd name="connsiteX935" fmla="*/ 1705856 w 2105494"/>
              <a:gd name="connsiteY935" fmla="*/ 942366 h 1430663"/>
              <a:gd name="connsiteX936" fmla="*/ 1703572 w 2105494"/>
              <a:gd name="connsiteY936" fmla="*/ 944648 h 1430663"/>
              <a:gd name="connsiteX937" fmla="*/ 1701289 w 2105494"/>
              <a:gd name="connsiteY937" fmla="*/ 944648 h 1430663"/>
              <a:gd name="connsiteX938" fmla="*/ 1701289 w 2105494"/>
              <a:gd name="connsiteY938" fmla="*/ 946930 h 1430663"/>
              <a:gd name="connsiteX939" fmla="*/ 1699005 w 2105494"/>
              <a:gd name="connsiteY939" fmla="*/ 946930 h 1430663"/>
              <a:gd name="connsiteX940" fmla="*/ 1699005 w 2105494"/>
              <a:gd name="connsiteY940" fmla="*/ 949212 h 1430663"/>
              <a:gd name="connsiteX941" fmla="*/ 1699005 w 2105494"/>
              <a:gd name="connsiteY941" fmla="*/ 951494 h 1430663"/>
              <a:gd name="connsiteX942" fmla="*/ 1699005 w 2105494"/>
              <a:gd name="connsiteY942" fmla="*/ 953775 h 1430663"/>
              <a:gd name="connsiteX943" fmla="*/ 1699005 w 2105494"/>
              <a:gd name="connsiteY943" fmla="*/ 956057 h 1430663"/>
              <a:gd name="connsiteX944" fmla="*/ 1699005 w 2105494"/>
              <a:gd name="connsiteY944" fmla="*/ 958339 h 1430663"/>
              <a:gd name="connsiteX945" fmla="*/ 1696721 w 2105494"/>
              <a:gd name="connsiteY945" fmla="*/ 958339 h 1430663"/>
              <a:gd name="connsiteX946" fmla="*/ 1696721 w 2105494"/>
              <a:gd name="connsiteY946" fmla="*/ 960621 h 1430663"/>
              <a:gd name="connsiteX947" fmla="*/ 1694438 w 2105494"/>
              <a:gd name="connsiteY947" fmla="*/ 960621 h 1430663"/>
              <a:gd name="connsiteX948" fmla="*/ 1694438 w 2105494"/>
              <a:gd name="connsiteY948" fmla="*/ 958339 h 1430663"/>
              <a:gd name="connsiteX949" fmla="*/ 1692154 w 2105494"/>
              <a:gd name="connsiteY949" fmla="*/ 958339 h 1430663"/>
              <a:gd name="connsiteX950" fmla="*/ 1689871 w 2105494"/>
              <a:gd name="connsiteY950" fmla="*/ 958339 h 1430663"/>
              <a:gd name="connsiteX951" fmla="*/ 1687587 w 2105494"/>
              <a:gd name="connsiteY951" fmla="*/ 958339 h 1430663"/>
              <a:gd name="connsiteX952" fmla="*/ 1687587 w 2105494"/>
              <a:gd name="connsiteY952" fmla="*/ 956057 h 1430663"/>
              <a:gd name="connsiteX953" fmla="*/ 1685304 w 2105494"/>
              <a:gd name="connsiteY953" fmla="*/ 956057 h 1430663"/>
              <a:gd name="connsiteX954" fmla="*/ 1685304 w 2105494"/>
              <a:gd name="connsiteY954" fmla="*/ 953775 h 1430663"/>
              <a:gd name="connsiteX955" fmla="*/ 1685304 w 2105494"/>
              <a:gd name="connsiteY955" fmla="*/ 951494 h 1430663"/>
              <a:gd name="connsiteX956" fmla="*/ 1687587 w 2105494"/>
              <a:gd name="connsiteY956" fmla="*/ 951494 h 1430663"/>
              <a:gd name="connsiteX957" fmla="*/ 1687587 w 2105494"/>
              <a:gd name="connsiteY957" fmla="*/ 949212 h 1430663"/>
              <a:gd name="connsiteX958" fmla="*/ 1687587 w 2105494"/>
              <a:gd name="connsiteY958" fmla="*/ 946930 h 1430663"/>
              <a:gd name="connsiteX959" fmla="*/ 1687587 w 2105494"/>
              <a:gd name="connsiteY959" fmla="*/ 944648 h 1430663"/>
              <a:gd name="connsiteX960" fmla="*/ 1687587 w 2105494"/>
              <a:gd name="connsiteY960" fmla="*/ 942366 h 1430663"/>
              <a:gd name="connsiteX961" fmla="*/ 1687587 w 2105494"/>
              <a:gd name="connsiteY961" fmla="*/ 940084 h 1430663"/>
              <a:gd name="connsiteX962" fmla="*/ 1687587 w 2105494"/>
              <a:gd name="connsiteY962" fmla="*/ 937802 h 1430663"/>
              <a:gd name="connsiteX963" fmla="*/ 1685304 w 2105494"/>
              <a:gd name="connsiteY963" fmla="*/ 937802 h 1430663"/>
              <a:gd name="connsiteX964" fmla="*/ 1683020 w 2105494"/>
              <a:gd name="connsiteY964" fmla="*/ 935520 h 1430663"/>
              <a:gd name="connsiteX965" fmla="*/ 1683020 w 2105494"/>
              <a:gd name="connsiteY965" fmla="*/ 937802 h 1430663"/>
              <a:gd name="connsiteX966" fmla="*/ 1680736 w 2105494"/>
              <a:gd name="connsiteY966" fmla="*/ 937802 h 1430663"/>
              <a:gd name="connsiteX967" fmla="*/ 1678453 w 2105494"/>
              <a:gd name="connsiteY967" fmla="*/ 940084 h 1430663"/>
              <a:gd name="connsiteX968" fmla="*/ 1678453 w 2105494"/>
              <a:gd name="connsiteY968" fmla="*/ 942366 h 1430663"/>
              <a:gd name="connsiteX969" fmla="*/ 1676169 w 2105494"/>
              <a:gd name="connsiteY969" fmla="*/ 942366 h 1430663"/>
              <a:gd name="connsiteX970" fmla="*/ 1673886 w 2105494"/>
              <a:gd name="connsiteY970" fmla="*/ 944648 h 1430663"/>
              <a:gd name="connsiteX971" fmla="*/ 1671602 w 2105494"/>
              <a:gd name="connsiteY971" fmla="*/ 944648 h 1430663"/>
              <a:gd name="connsiteX972" fmla="*/ 1671602 w 2105494"/>
              <a:gd name="connsiteY972" fmla="*/ 942366 h 1430663"/>
              <a:gd name="connsiteX973" fmla="*/ 1669319 w 2105494"/>
              <a:gd name="connsiteY973" fmla="*/ 942366 h 1430663"/>
              <a:gd name="connsiteX974" fmla="*/ 1667035 w 2105494"/>
              <a:gd name="connsiteY974" fmla="*/ 940084 h 1430663"/>
              <a:gd name="connsiteX975" fmla="*/ 1664751 w 2105494"/>
              <a:gd name="connsiteY975" fmla="*/ 940084 h 1430663"/>
              <a:gd name="connsiteX976" fmla="*/ 1664751 w 2105494"/>
              <a:gd name="connsiteY976" fmla="*/ 937802 h 1430663"/>
              <a:gd name="connsiteX977" fmla="*/ 1662468 w 2105494"/>
              <a:gd name="connsiteY977" fmla="*/ 937802 h 1430663"/>
              <a:gd name="connsiteX978" fmla="*/ 1660184 w 2105494"/>
              <a:gd name="connsiteY978" fmla="*/ 937802 h 1430663"/>
              <a:gd name="connsiteX979" fmla="*/ 1657900 w 2105494"/>
              <a:gd name="connsiteY979" fmla="*/ 937802 h 1430663"/>
              <a:gd name="connsiteX980" fmla="*/ 1657900 w 2105494"/>
              <a:gd name="connsiteY980" fmla="*/ 940084 h 1430663"/>
              <a:gd name="connsiteX981" fmla="*/ 1655617 w 2105494"/>
              <a:gd name="connsiteY981" fmla="*/ 940084 h 1430663"/>
              <a:gd name="connsiteX982" fmla="*/ 1653333 w 2105494"/>
              <a:gd name="connsiteY982" fmla="*/ 942366 h 1430663"/>
              <a:gd name="connsiteX983" fmla="*/ 1651050 w 2105494"/>
              <a:gd name="connsiteY983" fmla="*/ 942366 h 1430663"/>
              <a:gd name="connsiteX984" fmla="*/ 1648766 w 2105494"/>
              <a:gd name="connsiteY984" fmla="*/ 942366 h 1430663"/>
              <a:gd name="connsiteX985" fmla="*/ 1646482 w 2105494"/>
              <a:gd name="connsiteY985" fmla="*/ 942366 h 1430663"/>
              <a:gd name="connsiteX986" fmla="*/ 1644199 w 2105494"/>
              <a:gd name="connsiteY986" fmla="*/ 942366 h 1430663"/>
              <a:gd name="connsiteX987" fmla="*/ 1641915 w 2105494"/>
              <a:gd name="connsiteY987" fmla="*/ 942366 h 1430663"/>
              <a:gd name="connsiteX988" fmla="*/ 1639632 w 2105494"/>
              <a:gd name="connsiteY988" fmla="*/ 942366 h 1430663"/>
              <a:gd name="connsiteX989" fmla="*/ 1637348 w 2105494"/>
              <a:gd name="connsiteY989" fmla="*/ 942366 h 1430663"/>
              <a:gd name="connsiteX990" fmla="*/ 1635064 w 2105494"/>
              <a:gd name="connsiteY990" fmla="*/ 942366 h 1430663"/>
              <a:gd name="connsiteX991" fmla="*/ 1632781 w 2105494"/>
              <a:gd name="connsiteY991" fmla="*/ 942366 h 1430663"/>
              <a:gd name="connsiteX992" fmla="*/ 1630497 w 2105494"/>
              <a:gd name="connsiteY992" fmla="*/ 942366 h 1430663"/>
              <a:gd name="connsiteX993" fmla="*/ 1630497 w 2105494"/>
              <a:gd name="connsiteY993" fmla="*/ 940084 h 1430663"/>
              <a:gd name="connsiteX994" fmla="*/ 1628214 w 2105494"/>
              <a:gd name="connsiteY994" fmla="*/ 940084 h 1430663"/>
              <a:gd name="connsiteX995" fmla="*/ 1625930 w 2105494"/>
              <a:gd name="connsiteY995" fmla="*/ 940084 h 1430663"/>
              <a:gd name="connsiteX996" fmla="*/ 1623646 w 2105494"/>
              <a:gd name="connsiteY996" fmla="*/ 940084 h 1430663"/>
              <a:gd name="connsiteX997" fmla="*/ 1623646 w 2105494"/>
              <a:gd name="connsiteY997" fmla="*/ 937802 h 1430663"/>
              <a:gd name="connsiteX998" fmla="*/ 1621363 w 2105494"/>
              <a:gd name="connsiteY998" fmla="*/ 937802 h 1430663"/>
              <a:gd name="connsiteX999" fmla="*/ 1621363 w 2105494"/>
              <a:gd name="connsiteY999" fmla="*/ 935520 h 1430663"/>
              <a:gd name="connsiteX1000" fmla="*/ 1619079 w 2105494"/>
              <a:gd name="connsiteY1000" fmla="*/ 935520 h 1430663"/>
              <a:gd name="connsiteX1001" fmla="*/ 1616796 w 2105494"/>
              <a:gd name="connsiteY1001" fmla="*/ 935520 h 1430663"/>
              <a:gd name="connsiteX1002" fmla="*/ 1616796 w 2105494"/>
              <a:gd name="connsiteY1002" fmla="*/ 933238 h 1430663"/>
              <a:gd name="connsiteX1003" fmla="*/ 1614512 w 2105494"/>
              <a:gd name="connsiteY1003" fmla="*/ 933238 h 1430663"/>
              <a:gd name="connsiteX1004" fmla="*/ 1612229 w 2105494"/>
              <a:gd name="connsiteY1004" fmla="*/ 933238 h 1430663"/>
              <a:gd name="connsiteX1005" fmla="*/ 1612229 w 2105494"/>
              <a:gd name="connsiteY1005" fmla="*/ 930957 h 1430663"/>
              <a:gd name="connsiteX1006" fmla="*/ 1609945 w 2105494"/>
              <a:gd name="connsiteY1006" fmla="*/ 930957 h 1430663"/>
              <a:gd name="connsiteX1007" fmla="*/ 1607661 w 2105494"/>
              <a:gd name="connsiteY1007" fmla="*/ 930957 h 1430663"/>
              <a:gd name="connsiteX1008" fmla="*/ 1607661 w 2105494"/>
              <a:gd name="connsiteY1008" fmla="*/ 928675 h 1430663"/>
              <a:gd name="connsiteX1009" fmla="*/ 1605378 w 2105494"/>
              <a:gd name="connsiteY1009" fmla="*/ 928675 h 1430663"/>
              <a:gd name="connsiteX1010" fmla="*/ 1605378 w 2105494"/>
              <a:gd name="connsiteY1010" fmla="*/ 926393 h 1430663"/>
              <a:gd name="connsiteX1011" fmla="*/ 1603094 w 2105494"/>
              <a:gd name="connsiteY1011" fmla="*/ 926393 h 1430663"/>
              <a:gd name="connsiteX1012" fmla="*/ 1603094 w 2105494"/>
              <a:gd name="connsiteY1012" fmla="*/ 924111 h 1430663"/>
              <a:gd name="connsiteX1013" fmla="*/ 1600810 w 2105494"/>
              <a:gd name="connsiteY1013" fmla="*/ 924111 h 1430663"/>
              <a:gd name="connsiteX1014" fmla="*/ 1600810 w 2105494"/>
              <a:gd name="connsiteY1014" fmla="*/ 921829 h 1430663"/>
              <a:gd name="connsiteX1015" fmla="*/ 1603094 w 2105494"/>
              <a:gd name="connsiteY1015" fmla="*/ 921829 h 1430663"/>
              <a:gd name="connsiteX1016" fmla="*/ 1603094 w 2105494"/>
              <a:gd name="connsiteY1016" fmla="*/ 919556 h 1430663"/>
              <a:gd name="connsiteX1017" fmla="*/ 1603094 w 2105494"/>
              <a:gd name="connsiteY1017" fmla="*/ 917265 h 1430663"/>
              <a:gd name="connsiteX1018" fmla="*/ 1600810 w 2105494"/>
              <a:gd name="connsiteY1018" fmla="*/ 917265 h 1430663"/>
              <a:gd name="connsiteX1019" fmla="*/ 1600810 w 2105494"/>
              <a:gd name="connsiteY1019" fmla="*/ 914983 h 1430663"/>
              <a:gd name="connsiteX1020" fmla="*/ 1598527 w 2105494"/>
              <a:gd name="connsiteY1020" fmla="*/ 914983 h 1430663"/>
              <a:gd name="connsiteX1021" fmla="*/ 1598527 w 2105494"/>
              <a:gd name="connsiteY1021" fmla="*/ 917265 h 1430663"/>
              <a:gd name="connsiteX1022" fmla="*/ 1596243 w 2105494"/>
              <a:gd name="connsiteY1022" fmla="*/ 917265 h 1430663"/>
              <a:gd name="connsiteX1023" fmla="*/ 1596243 w 2105494"/>
              <a:gd name="connsiteY1023" fmla="*/ 919556 h 1430663"/>
              <a:gd name="connsiteX1024" fmla="*/ 1593960 w 2105494"/>
              <a:gd name="connsiteY1024" fmla="*/ 919556 h 1430663"/>
              <a:gd name="connsiteX1025" fmla="*/ 1593960 w 2105494"/>
              <a:gd name="connsiteY1025" fmla="*/ 921829 h 1430663"/>
              <a:gd name="connsiteX1026" fmla="*/ 1593960 w 2105494"/>
              <a:gd name="connsiteY1026" fmla="*/ 924111 h 1430663"/>
              <a:gd name="connsiteX1027" fmla="*/ 1591676 w 2105494"/>
              <a:gd name="connsiteY1027" fmla="*/ 926393 h 1430663"/>
              <a:gd name="connsiteX1028" fmla="*/ 1591676 w 2105494"/>
              <a:gd name="connsiteY1028" fmla="*/ 928675 h 1430663"/>
              <a:gd name="connsiteX1029" fmla="*/ 1591676 w 2105494"/>
              <a:gd name="connsiteY1029" fmla="*/ 930957 h 1430663"/>
              <a:gd name="connsiteX1030" fmla="*/ 1591676 w 2105494"/>
              <a:gd name="connsiteY1030" fmla="*/ 933238 h 1430663"/>
              <a:gd name="connsiteX1031" fmla="*/ 1591676 w 2105494"/>
              <a:gd name="connsiteY1031" fmla="*/ 935520 h 1430663"/>
              <a:gd name="connsiteX1032" fmla="*/ 1591676 w 2105494"/>
              <a:gd name="connsiteY1032" fmla="*/ 937802 h 1430663"/>
              <a:gd name="connsiteX1033" fmla="*/ 1593960 w 2105494"/>
              <a:gd name="connsiteY1033" fmla="*/ 937802 h 1430663"/>
              <a:gd name="connsiteX1034" fmla="*/ 1593960 w 2105494"/>
              <a:gd name="connsiteY1034" fmla="*/ 940084 h 1430663"/>
              <a:gd name="connsiteX1035" fmla="*/ 1593960 w 2105494"/>
              <a:gd name="connsiteY1035" fmla="*/ 942366 h 1430663"/>
              <a:gd name="connsiteX1036" fmla="*/ 1591676 w 2105494"/>
              <a:gd name="connsiteY1036" fmla="*/ 942366 h 1430663"/>
              <a:gd name="connsiteX1037" fmla="*/ 1591676 w 2105494"/>
              <a:gd name="connsiteY1037" fmla="*/ 944648 h 1430663"/>
              <a:gd name="connsiteX1038" fmla="*/ 1591676 w 2105494"/>
              <a:gd name="connsiteY1038" fmla="*/ 946930 h 1430663"/>
              <a:gd name="connsiteX1039" fmla="*/ 1593960 w 2105494"/>
              <a:gd name="connsiteY1039" fmla="*/ 946930 h 1430663"/>
              <a:gd name="connsiteX1040" fmla="*/ 1593960 w 2105494"/>
              <a:gd name="connsiteY1040" fmla="*/ 949212 h 1430663"/>
              <a:gd name="connsiteX1041" fmla="*/ 1593960 w 2105494"/>
              <a:gd name="connsiteY1041" fmla="*/ 951494 h 1430663"/>
              <a:gd name="connsiteX1042" fmla="*/ 1593960 w 2105494"/>
              <a:gd name="connsiteY1042" fmla="*/ 953775 h 1430663"/>
              <a:gd name="connsiteX1043" fmla="*/ 1591676 w 2105494"/>
              <a:gd name="connsiteY1043" fmla="*/ 953775 h 1430663"/>
              <a:gd name="connsiteX1044" fmla="*/ 1591676 w 2105494"/>
              <a:gd name="connsiteY1044" fmla="*/ 956057 h 1430663"/>
              <a:gd name="connsiteX1045" fmla="*/ 1591676 w 2105494"/>
              <a:gd name="connsiteY1045" fmla="*/ 958339 h 1430663"/>
              <a:gd name="connsiteX1046" fmla="*/ 1591676 w 2105494"/>
              <a:gd name="connsiteY1046" fmla="*/ 956057 h 1430663"/>
              <a:gd name="connsiteX1047" fmla="*/ 1589392 w 2105494"/>
              <a:gd name="connsiteY1047" fmla="*/ 956057 h 1430663"/>
              <a:gd name="connsiteX1048" fmla="*/ 1589392 w 2105494"/>
              <a:gd name="connsiteY1048" fmla="*/ 953775 h 1430663"/>
              <a:gd name="connsiteX1049" fmla="*/ 1587109 w 2105494"/>
              <a:gd name="connsiteY1049" fmla="*/ 953775 h 1430663"/>
              <a:gd name="connsiteX1050" fmla="*/ 1587109 w 2105494"/>
              <a:gd name="connsiteY1050" fmla="*/ 951494 h 1430663"/>
              <a:gd name="connsiteX1051" fmla="*/ 1587109 w 2105494"/>
              <a:gd name="connsiteY1051" fmla="*/ 949212 h 1430663"/>
              <a:gd name="connsiteX1052" fmla="*/ 1587109 w 2105494"/>
              <a:gd name="connsiteY1052" fmla="*/ 946930 h 1430663"/>
              <a:gd name="connsiteX1053" fmla="*/ 1587109 w 2105494"/>
              <a:gd name="connsiteY1053" fmla="*/ 944648 h 1430663"/>
              <a:gd name="connsiteX1054" fmla="*/ 1584825 w 2105494"/>
              <a:gd name="connsiteY1054" fmla="*/ 944648 h 1430663"/>
              <a:gd name="connsiteX1055" fmla="*/ 1584825 w 2105494"/>
              <a:gd name="connsiteY1055" fmla="*/ 942366 h 1430663"/>
              <a:gd name="connsiteX1056" fmla="*/ 1582542 w 2105494"/>
              <a:gd name="connsiteY1056" fmla="*/ 942366 h 1430663"/>
              <a:gd name="connsiteX1057" fmla="*/ 1580258 w 2105494"/>
              <a:gd name="connsiteY1057" fmla="*/ 942366 h 1430663"/>
              <a:gd name="connsiteX1058" fmla="*/ 1577975 w 2105494"/>
              <a:gd name="connsiteY1058" fmla="*/ 942366 h 1430663"/>
              <a:gd name="connsiteX1059" fmla="*/ 1575691 w 2105494"/>
              <a:gd name="connsiteY1059" fmla="*/ 942366 h 1430663"/>
              <a:gd name="connsiteX1060" fmla="*/ 1575691 w 2105494"/>
              <a:gd name="connsiteY1060" fmla="*/ 940084 h 1430663"/>
              <a:gd name="connsiteX1061" fmla="*/ 1575691 w 2105494"/>
              <a:gd name="connsiteY1061" fmla="*/ 937802 h 1430663"/>
              <a:gd name="connsiteX1062" fmla="*/ 1573407 w 2105494"/>
              <a:gd name="connsiteY1062" fmla="*/ 937802 h 1430663"/>
              <a:gd name="connsiteX1063" fmla="*/ 1573407 w 2105494"/>
              <a:gd name="connsiteY1063" fmla="*/ 935520 h 1430663"/>
              <a:gd name="connsiteX1064" fmla="*/ 1571124 w 2105494"/>
              <a:gd name="connsiteY1064" fmla="*/ 935520 h 1430663"/>
              <a:gd name="connsiteX1065" fmla="*/ 1568840 w 2105494"/>
              <a:gd name="connsiteY1065" fmla="*/ 935520 h 1430663"/>
              <a:gd name="connsiteX1066" fmla="*/ 1568840 w 2105494"/>
              <a:gd name="connsiteY1066" fmla="*/ 937802 h 1430663"/>
              <a:gd name="connsiteX1067" fmla="*/ 1566556 w 2105494"/>
              <a:gd name="connsiteY1067" fmla="*/ 937802 h 1430663"/>
              <a:gd name="connsiteX1068" fmla="*/ 1566556 w 2105494"/>
              <a:gd name="connsiteY1068" fmla="*/ 940084 h 1430663"/>
              <a:gd name="connsiteX1069" fmla="*/ 1566556 w 2105494"/>
              <a:gd name="connsiteY1069" fmla="*/ 942366 h 1430663"/>
              <a:gd name="connsiteX1070" fmla="*/ 1564273 w 2105494"/>
              <a:gd name="connsiteY1070" fmla="*/ 942366 h 1430663"/>
              <a:gd name="connsiteX1071" fmla="*/ 1564273 w 2105494"/>
              <a:gd name="connsiteY1071" fmla="*/ 944648 h 1430663"/>
              <a:gd name="connsiteX1072" fmla="*/ 1561989 w 2105494"/>
              <a:gd name="connsiteY1072" fmla="*/ 944648 h 1430663"/>
              <a:gd name="connsiteX1073" fmla="*/ 1559706 w 2105494"/>
              <a:gd name="connsiteY1073" fmla="*/ 946930 h 1430663"/>
              <a:gd name="connsiteX1074" fmla="*/ 1557422 w 2105494"/>
              <a:gd name="connsiteY1074" fmla="*/ 946930 h 1430663"/>
              <a:gd name="connsiteX1075" fmla="*/ 1555139 w 2105494"/>
              <a:gd name="connsiteY1075" fmla="*/ 946930 h 1430663"/>
              <a:gd name="connsiteX1076" fmla="*/ 1555139 w 2105494"/>
              <a:gd name="connsiteY1076" fmla="*/ 949212 h 1430663"/>
              <a:gd name="connsiteX1077" fmla="*/ 1552855 w 2105494"/>
              <a:gd name="connsiteY1077" fmla="*/ 949212 h 1430663"/>
              <a:gd name="connsiteX1078" fmla="*/ 1550571 w 2105494"/>
              <a:gd name="connsiteY1078" fmla="*/ 949212 h 1430663"/>
              <a:gd name="connsiteX1079" fmla="*/ 1550571 w 2105494"/>
              <a:gd name="connsiteY1079" fmla="*/ 946930 h 1430663"/>
              <a:gd name="connsiteX1080" fmla="*/ 1550571 w 2105494"/>
              <a:gd name="connsiteY1080" fmla="*/ 944648 h 1430663"/>
              <a:gd name="connsiteX1081" fmla="*/ 1550571 w 2105494"/>
              <a:gd name="connsiteY1081" fmla="*/ 942366 h 1430663"/>
              <a:gd name="connsiteX1082" fmla="*/ 1550571 w 2105494"/>
              <a:gd name="connsiteY1082" fmla="*/ 940084 h 1430663"/>
              <a:gd name="connsiteX1083" fmla="*/ 1548288 w 2105494"/>
              <a:gd name="connsiteY1083" fmla="*/ 940084 h 1430663"/>
              <a:gd name="connsiteX1084" fmla="*/ 1548288 w 2105494"/>
              <a:gd name="connsiteY1084" fmla="*/ 942366 h 1430663"/>
              <a:gd name="connsiteX1085" fmla="*/ 1546004 w 2105494"/>
              <a:gd name="connsiteY1085" fmla="*/ 942366 h 1430663"/>
              <a:gd name="connsiteX1086" fmla="*/ 1543721 w 2105494"/>
              <a:gd name="connsiteY1086" fmla="*/ 944648 h 1430663"/>
              <a:gd name="connsiteX1087" fmla="*/ 1541437 w 2105494"/>
              <a:gd name="connsiteY1087" fmla="*/ 944648 h 1430663"/>
              <a:gd name="connsiteX1088" fmla="*/ 1541437 w 2105494"/>
              <a:gd name="connsiteY1088" fmla="*/ 946930 h 1430663"/>
              <a:gd name="connsiteX1089" fmla="*/ 1539153 w 2105494"/>
              <a:gd name="connsiteY1089" fmla="*/ 946930 h 1430663"/>
              <a:gd name="connsiteX1090" fmla="*/ 1536870 w 2105494"/>
              <a:gd name="connsiteY1090" fmla="*/ 946930 h 1430663"/>
              <a:gd name="connsiteX1091" fmla="*/ 1534586 w 2105494"/>
              <a:gd name="connsiteY1091" fmla="*/ 946930 h 1430663"/>
              <a:gd name="connsiteX1092" fmla="*/ 1534586 w 2105494"/>
              <a:gd name="connsiteY1092" fmla="*/ 949212 h 1430663"/>
              <a:gd name="connsiteX1093" fmla="*/ 1532302 w 2105494"/>
              <a:gd name="connsiteY1093" fmla="*/ 949212 h 1430663"/>
              <a:gd name="connsiteX1094" fmla="*/ 1532302 w 2105494"/>
              <a:gd name="connsiteY1094" fmla="*/ 951494 h 1430663"/>
              <a:gd name="connsiteX1095" fmla="*/ 1530019 w 2105494"/>
              <a:gd name="connsiteY1095" fmla="*/ 951494 h 1430663"/>
              <a:gd name="connsiteX1096" fmla="*/ 1530019 w 2105494"/>
              <a:gd name="connsiteY1096" fmla="*/ 953775 h 1430663"/>
              <a:gd name="connsiteX1097" fmla="*/ 1527735 w 2105494"/>
              <a:gd name="connsiteY1097" fmla="*/ 953775 h 1430663"/>
              <a:gd name="connsiteX1098" fmla="*/ 1525452 w 2105494"/>
              <a:gd name="connsiteY1098" fmla="*/ 953775 h 1430663"/>
              <a:gd name="connsiteX1099" fmla="*/ 1523168 w 2105494"/>
              <a:gd name="connsiteY1099" fmla="*/ 953775 h 1430663"/>
              <a:gd name="connsiteX1100" fmla="*/ 1523168 w 2105494"/>
              <a:gd name="connsiteY1100" fmla="*/ 956057 h 1430663"/>
              <a:gd name="connsiteX1101" fmla="*/ 1520885 w 2105494"/>
              <a:gd name="connsiteY1101" fmla="*/ 956057 h 1430663"/>
              <a:gd name="connsiteX1102" fmla="*/ 1518601 w 2105494"/>
              <a:gd name="connsiteY1102" fmla="*/ 956057 h 1430663"/>
              <a:gd name="connsiteX1103" fmla="*/ 1516317 w 2105494"/>
              <a:gd name="connsiteY1103" fmla="*/ 956057 h 1430663"/>
              <a:gd name="connsiteX1104" fmla="*/ 1516317 w 2105494"/>
              <a:gd name="connsiteY1104" fmla="*/ 958339 h 1430663"/>
              <a:gd name="connsiteX1105" fmla="*/ 1514034 w 2105494"/>
              <a:gd name="connsiteY1105" fmla="*/ 958339 h 1430663"/>
              <a:gd name="connsiteX1106" fmla="*/ 1514034 w 2105494"/>
              <a:gd name="connsiteY1106" fmla="*/ 960621 h 1430663"/>
              <a:gd name="connsiteX1107" fmla="*/ 1514034 w 2105494"/>
              <a:gd name="connsiteY1107" fmla="*/ 962903 h 1430663"/>
              <a:gd name="connsiteX1108" fmla="*/ 1511750 w 2105494"/>
              <a:gd name="connsiteY1108" fmla="*/ 962903 h 1430663"/>
              <a:gd name="connsiteX1109" fmla="*/ 1511750 w 2105494"/>
              <a:gd name="connsiteY1109" fmla="*/ 965185 h 1430663"/>
              <a:gd name="connsiteX1110" fmla="*/ 1511750 w 2105494"/>
              <a:gd name="connsiteY1110" fmla="*/ 967467 h 1430663"/>
              <a:gd name="connsiteX1111" fmla="*/ 1511750 w 2105494"/>
              <a:gd name="connsiteY1111" fmla="*/ 969749 h 1430663"/>
              <a:gd name="connsiteX1112" fmla="*/ 1511750 w 2105494"/>
              <a:gd name="connsiteY1112" fmla="*/ 972031 h 1430663"/>
              <a:gd name="connsiteX1113" fmla="*/ 1509467 w 2105494"/>
              <a:gd name="connsiteY1113" fmla="*/ 972031 h 1430663"/>
              <a:gd name="connsiteX1114" fmla="*/ 1509467 w 2105494"/>
              <a:gd name="connsiteY1114" fmla="*/ 974313 h 1430663"/>
              <a:gd name="connsiteX1115" fmla="*/ 1507183 w 2105494"/>
              <a:gd name="connsiteY1115" fmla="*/ 974313 h 1430663"/>
              <a:gd name="connsiteX1116" fmla="*/ 1507183 w 2105494"/>
              <a:gd name="connsiteY1116" fmla="*/ 976594 h 1430663"/>
              <a:gd name="connsiteX1117" fmla="*/ 1504900 w 2105494"/>
              <a:gd name="connsiteY1117" fmla="*/ 976594 h 1430663"/>
              <a:gd name="connsiteX1118" fmla="*/ 1504900 w 2105494"/>
              <a:gd name="connsiteY1118" fmla="*/ 974313 h 1430663"/>
              <a:gd name="connsiteX1119" fmla="*/ 1502616 w 2105494"/>
              <a:gd name="connsiteY1119" fmla="*/ 974313 h 1430663"/>
              <a:gd name="connsiteX1120" fmla="*/ 1502616 w 2105494"/>
              <a:gd name="connsiteY1120" fmla="*/ 972031 h 1430663"/>
              <a:gd name="connsiteX1121" fmla="*/ 1502616 w 2105494"/>
              <a:gd name="connsiteY1121" fmla="*/ 969749 h 1430663"/>
              <a:gd name="connsiteX1122" fmla="*/ 1502616 w 2105494"/>
              <a:gd name="connsiteY1122" fmla="*/ 967467 h 1430663"/>
              <a:gd name="connsiteX1123" fmla="*/ 1500332 w 2105494"/>
              <a:gd name="connsiteY1123" fmla="*/ 967467 h 1430663"/>
              <a:gd name="connsiteX1124" fmla="*/ 1500332 w 2105494"/>
              <a:gd name="connsiteY1124" fmla="*/ 965185 h 1430663"/>
              <a:gd name="connsiteX1125" fmla="*/ 1498049 w 2105494"/>
              <a:gd name="connsiteY1125" fmla="*/ 965185 h 1430663"/>
              <a:gd name="connsiteX1126" fmla="*/ 1495765 w 2105494"/>
              <a:gd name="connsiteY1126" fmla="*/ 965185 h 1430663"/>
              <a:gd name="connsiteX1127" fmla="*/ 1493481 w 2105494"/>
              <a:gd name="connsiteY1127" fmla="*/ 965185 h 1430663"/>
              <a:gd name="connsiteX1128" fmla="*/ 1493481 w 2105494"/>
              <a:gd name="connsiteY1128" fmla="*/ 967467 h 1430663"/>
              <a:gd name="connsiteX1129" fmla="*/ 1491198 w 2105494"/>
              <a:gd name="connsiteY1129" fmla="*/ 967467 h 1430663"/>
              <a:gd name="connsiteX1130" fmla="*/ 1488914 w 2105494"/>
              <a:gd name="connsiteY1130" fmla="*/ 967467 h 1430663"/>
              <a:gd name="connsiteX1131" fmla="*/ 1488914 w 2105494"/>
              <a:gd name="connsiteY1131" fmla="*/ 969749 h 1430663"/>
              <a:gd name="connsiteX1132" fmla="*/ 1486631 w 2105494"/>
              <a:gd name="connsiteY1132" fmla="*/ 969749 h 1430663"/>
              <a:gd name="connsiteX1133" fmla="*/ 1484347 w 2105494"/>
              <a:gd name="connsiteY1133" fmla="*/ 969749 h 1430663"/>
              <a:gd name="connsiteX1134" fmla="*/ 1482063 w 2105494"/>
              <a:gd name="connsiteY1134" fmla="*/ 969749 h 1430663"/>
              <a:gd name="connsiteX1135" fmla="*/ 1479780 w 2105494"/>
              <a:gd name="connsiteY1135" fmla="*/ 969749 h 1430663"/>
              <a:gd name="connsiteX1136" fmla="*/ 1479780 w 2105494"/>
              <a:gd name="connsiteY1136" fmla="*/ 972031 h 1430663"/>
              <a:gd name="connsiteX1137" fmla="*/ 1479780 w 2105494"/>
              <a:gd name="connsiteY1137" fmla="*/ 974313 h 1430663"/>
              <a:gd name="connsiteX1138" fmla="*/ 1479780 w 2105494"/>
              <a:gd name="connsiteY1138" fmla="*/ 976594 h 1430663"/>
              <a:gd name="connsiteX1139" fmla="*/ 1479780 w 2105494"/>
              <a:gd name="connsiteY1139" fmla="*/ 978876 h 1430663"/>
              <a:gd name="connsiteX1140" fmla="*/ 1477496 w 2105494"/>
              <a:gd name="connsiteY1140" fmla="*/ 978876 h 1430663"/>
              <a:gd name="connsiteX1141" fmla="*/ 1477496 w 2105494"/>
              <a:gd name="connsiteY1141" fmla="*/ 981158 h 1430663"/>
              <a:gd name="connsiteX1142" fmla="*/ 1475213 w 2105494"/>
              <a:gd name="connsiteY1142" fmla="*/ 981158 h 1430663"/>
              <a:gd name="connsiteX1143" fmla="*/ 1472929 w 2105494"/>
              <a:gd name="connsiteY1143" fmla="*/ 981158 h 1430663"/>
              <a:gd name="connsiteX1144" fmla="*/ 1472929 w 2105494"/>
              <a:gd name="connsiteY1144" fmla="*/ 983440 h 1430663"/>
              <a:gd name="connsiteX1145" fmla="*/ 1470646 w 2105494"/>
              <a:gd name="connsiteY1145" fmla="*/ 983440 h 1430663"/>
              <a:gd name="connsiteX1146" fmla="*/ 1470646 w 2105494"/>
              <a:gd name="connsiteY1146" fmla="*/ 985722 h 1430663"/>
              <a:gd name="connsiteX1147" fmla="*/ 1468362 w 2105494"/>
              <a:gd name="connsiteY1147" fmla="*/ 985722 h 1430663"/>
              <a:gd name="connsiteX1148" fmla="*/ 1468362 w 2105494"/>
              <a:gd name="connsiteY1148" fmla="*/ 988004 h 1430663"/>
              <a:gd name="connsiteX1149" fmla="*/ 1468362 w 2105494"/>
              <a:gd name="connsiteY1149" fmla="*/ 990286 h 1430663"/>
              <a:gd name="connsiteX1150" fmla="*/ 1466078 w 2105494"/>
              <a:gd name="connsiteY1150" fmla="*/ 990286 h 1430663"/>
              <a:gd name="connsiteX1151" fmla="*/ 1466078 w 2105494"/>
              <a:gd name="connsiteY1151" fmla="*/ 992568 h 1430663"/>
              <a:gd name="connsiteX1152" fmla="*/ 1468362 w 2105494"/>
              <a:gd name="connsiteY1152" fmla="*/ 992568 h 1430663"/>
              <a:gd name="connsiteX1153" fmla="*/ 1468362 w 2105494"/>
              <a:gd name="connsiteY1153" fmla="*/ 994850 h 1430663"/>
              <a:gd name="connsiteX1154" fmla="*/ 1470646 w 2105494"/>
              <a:gd name="connsiteY1154" fmla="*/ 994850 h 1430663"/>
              <a:gd name="connsiteX1155" fmla="*/ 1470646 w 2105494"/>
              <a:gd name="connsiteY1155" fmla="*/ 997131 h 1430663"/>
              <a:gd name="connsiteX1156" fmla="*/ 1470646 w 2105494"/>
              <a:gd name="connsiteY1156" fmla="*/ 999413 h 1430663"/>
              <a:gd name="connsiteX1157" fmla="*/ 1470646 w 2105494"/>
              <a:gd name="connsiteY1157" fmla="*/ 1001695 h 1430663"/>
              <a:gd name="connsiteX1158" fmla="*/ 1470646 w 2105494"/>
              <a:gd name="connsiteY1158" fmla="*/ 1003977 h 1430663"/>
              <a:gd name="connsiteX1159" fmla="*/ 1470646 w 2105494"/>
              <a:gd name="connsiteY1159" fmla="*/ 1006259 h 1430663"/>
              <a:gd name="connsiteX1160" fmla="*/ 1468362 w 2105494"/>
              <a:gd name="connsiteY1160" fmla="*/ 1006259 h 1430663"/>
              <a:gd name="connsiteX1161" fmla="*/ 1468362 w 2105494"/>
              <a:gd name="connsiteY1161" fmla="*/ 1008541 h 1430663"/>
              <a:gd name="connsiteX1162" fmla="*/ 1468362 w 2105494"/>
              <a:gd name="connsiteY1162" fmla="*/ 1010823 h 1430663"/>
              <a:gd name="connsiteX1163" fmla="*/ 1468362 w 2105494"/>
              <a:gd name="connsiteY1163" fmla="*/ 1013105 h 1430663"/>
              <a:gd name="connsiteX1164" fmla="*/ 1466078 w 2105494"/>
              <a:gd name="connsiteY1164" fmla="*/ 1013105 h 1430663"/>
              <a:gd name="connsiteX1165" fmla="*/ 1466078 w 2105494"/>
              <a:gd name="connsiteY1165" fmla="*/ 1010823 h 1430663"/>
              <a:gd name="connsiteX1166" fmla="*/ 1463795 w 2105494"/>
              <a:gd name="connsiteY1166" fmla="*/ 1010823 h 1430663"/>
              <a:gd name="connsiteX1167" fmla="*/ 1461511 w 2105494"/>
              <a:gd name="connsiteY1167" fmla="*/ 1010823 h 1430663"/>
              <a:gd name="connsiteX1168" fmla="*/ 1459227 w 2105494"/>
              <a:gd name="connsiteY1168" fmla="*/ 1010823 h 1430663"/>
              <a:gd name="connsiteX1169" fmla="*/ 1459227 w 2105494"/>
              <a:gd name="connsiteY1169" fmla="*/ 1008541 h 1430663"/>
              <a:gd name="connsiteX1170" fmla="*/ 1456944 w 2105494"/>
              <a:gd name="connsiteY1170" fmla="*/ 1008541 h 1430663"/>
              <a:gd name="connsiteX1171" fmla="*/ 1454660 w 2105494"/>
              <a:gd name="connsiteY1171" fmla="*/ 1008541 h 1430663"/>
              <a:gd name="connsiteX1172" fmla="*/ 1454660 w 2105494"/>
              <a:gd name="connsiteY1172" fmla="*/ 1006259 h 1430663"/>
              <a:gd name="connsiteX1173" fmla="*/ 1452377 w 2105494"/>
              <a:gd name="connsiteY1173" fmla="*/ 1006259 h 1430663"/>
              <a:gd name="connsiteX1174" fmla="*/ 1450093 w 2105494"/>
              <a:gd name="connsiteY1174" fmla="*/ 1006259 h 1430663"/>
              <a:gd name="connsiteX1175" fmla="*/ 1447810 w 2105494"/>
              <a:gd name="connsiteY1175" fmla="*/ 1006259 h 1430663"/>
              <a:gd name="connsiteX1176" fmla="*/ 1445526 w 2105494"/>
              <a:gd name="connsiteY1176" fmla="*/ 1006259 h 1430663"/>
              <a:gd name="connsiteX1177" fmla="*/ 1445526 w 2105494"/>
              <a:gd name="connsiteY1177" fmla="*/ 1008541 h 1430663"/>
              <a:gd name="connsiteX1178" fmla="*/ 1445526 w 2105494"/>
              <a:gd name="connsiteY1178" fmla="*/ 1010823 h 1430663"/>
              <a:gd name="connsiteX1179" fmla="*/ 1445526 w 2105494"/>
              <a:gd name="connsiteY1179" fmla="*/ 1013105 h 1430663"/>
              <a:gd name="connsiteX1180" fmla="*/ 1443242 w 2105494"/>
              <a:gd name="connsiteY1180" fmla="*/ 1013105 h 1430663"/>
              <a:gd name="connsiteX1181" fmla="*/ 1443242 w 2105494"/>
              <a:gd name="connsiteY1181" fmla="*/ 1015387 h 1430663"/>
              <a:gd name="connsiteX1182" fmla="*/ 1443242 w 2105494"/>
              <a:gd name="connsiteY1182" fmla="*/ 1017669 h 1430663"/>
              <a:gd name="connsiteX1183" fmla="*/ 1440959 w 2105494"/>
              <a:gd name="connsiteY1183" fmla="*/ 1017669 h 1430663"/>
              <a:gd name="connsiteX1184" fmla="*/ 1440959 w 2105494"/>
              <a:gd name="connsiteY1184" fmla="*/ 1019950 h 1430663"/>
              <a:gd name="connsiteX1185" fmla="*/ 1438675 w 2105494"/>
              <a:gd name="connsiteY1185" fmla="*/ 1019950 h 1430663"/>
              <a:gd name="connsiteX1186" fmla="*/ 1438675 w 2105494"/>
              <a:gd name="connsiteY1186" fmla="*/ 1022232 h 1430663"/>
              <a:gd name="connsiteX1187" fmla="*/ 1436392 w 2105494"/>
              <a:gd name="connsiteY1187" fmla="*/ 1022232 h 1430663"/>
              <a:gd name="connsiteX1188" fmla="*/ 1434108 w 2105494"/>
              <a:gd name="connsiteY1188" fmla="*/ 1022232 h 1430663"/>
              <a:gd name="connsiteX1189" fmla="*/ 1431824 w 2105494"/>
              <a:gd name="connsiteY1189" fmla="*/ 1022232 h 1430663"/>
              <a:gd name="connsiteX1190" fmla="*/ 1429541 w 2105494"/>
              <a:gd name="connsiteY1190" fmla="*/ 1022232 h 1430663"/>
              <a:gd name="connsiteX1191" fmla="*/ 1429541 w 2105494"/>
              <a:gd name="connsiteY1191" fmla="*/ 1024514 h 1430663"/>
              <a:gd name="connsiteX1192" fmla="*/ 1429541 w 2105494"/>
              <a:gd name="connsiteY1192" fmla="*/ 1026796 h 1430663"/>
              <a:gd name="connsiteX1193" fmla="*/ 1429541 w 2105494"/>
              <a:gd name="connsiteY1193" fmla="*/ 1029078 h 1430663"/>
              <a:gd name="connsiteX1194" fmla="*/ 1427257 w 2105494"/>
              <a:gd name="connsiteY1194" fmla="*/ 1029078 h 1430663"/>
              <a:gd name="connsiteX1195" fmla="*/ 1427257 w 2105494"/>
              <a:gd name="connsiteY1195" fmla="*/ 1031360 h 1430663"/>
              <a:gd name="connsiteX1196" fmla="*/ 1424973 w 2105494"/>
              <a:gd name="connsiteY1196" fmla="*/ 1031360 h 1430663"/>
              <a:gd name="connsiteX1197" fmla="*/ 1424973 w 2105494"/>
              <a:gd name="connsiteY1197" fmla="*/ 1033642 h 1430663"/>
              <a:gd name="connsiteX1198" fmla="*/ 1422690 w 2105494"/>
              <a:gd name="connsiteY1198" fmla="*/ 1033642 h 1430663"/>
              <a:gd name="connsiteX1199" fmla="*/ 1420406 w 2105494"/>
              <a:gd name="connsiteY1199" fmla="*/ 1033642 h 1430663"/>
              <a:gd name="connsiteX1200" fmla="*/ 1420406 w 2105494"/>
              <a:gd name="connsiteY1200" fmla="*/ 1031360 h 1430663"/>
              <a:gd name="connsiteX1201" fmla="*/ 1418123 w 2105494"/>
              <a:gd name="connsiteY1201" fmla="*/ 1031360 h 1430663"/>
              <a:gd name="connsiteX1202" fmla="*/ 1415839 w 2105494"/>
              <a:gd name="connsiteY1202" fmla="*/ 1031360 h 1430663"/>
              <a:gd name="connsiteX1203" fmla="*/ 1415839 w 2105494"/>
              <a:gd name="connsiteY1203" fmla="*/ 1029078 h 1430663"/>
              <a:gd name="connsiteX1204" fmla="*/ 1413556 w 2105494"/>
              <a:gd name="connsiteY1204" fmla="*/ 1029078 h 1430663"/>
              <a:gd name="connsiteX1205" fmla="*/ 1411272 w 2105494"/>
              <a:gd name="connsiteY1205" fmla="*/ 1029078 h 1430663"/>
              <a:gd name="connsiteX1206" fmla="*/ 1411272 w 2105494"/>
              <a:gd name="connsiteY1206" fmla="*/ 1031360 h 1430663"/>
              <a:gd name="connsiteX1207" fmla="*/ 1408988 w 2105494"/>
              <a:gd name="connsiteY1207" fmla="*/ 1031360 h 1430663"/>
              <a:gd name="connsiteX1208" fmla="*/ 1408988 w 2105494"/>
              <a:gd name="connsiteY1208" fmla="*/ 1033642 h 1430663"/>
              <a:gd name="connsiteX1209" fmla="*/ 1408988 w 2105494"/>
              <a:gd name="connsiteY1209" fmla="*/ 1035924 h 1430663"/>
              <a:gd name="connsiteX1210" fmla="*/ 1408988 w 2105494"/>
              <a:gd name="connsiteY1210" fmla="*/ 1038206 h 1430663"/>
              <a:gd name="connsiteX1211" fmla="*/ 1406705 w 2105494"/>
              <a:gd name="connsiteY1211" fmla="*/ 1038206 h 1430663"/>
              <a:gd name="connsiteX1212" fmla="*/ 1406705 w 2105494"/>
              <a:gd name="connsiteY1212" fmla="*/ 1040488 h 1430663"/>
              <a:gd name="connsiteX1213" fmla="*/ 1408988 w 2105494"/>
              <a:gd name="connsiteY1213" fmla="*/ 1040488 h 1430663"/>
              <a:gd name="connsiteX1214" fmla="*/ 1408988 w 2105494"/>
              <a:gd name="connsiteY1214" fmla="*/ 1042769 h 1430663"/>
              <a:gd name="connsiteX1215" fmla="*/ 1411272 w 2105494"/>
              <a:gd name="connsiteY1215" fmla="*/ 1042769 h 1430663"/>
              <a:gd name="connsiteX1216" fmla="*/ 1411272 w 2105494"/>
              <a:gd name="connsiteY1216" fmla="*/ 1045051 h 1430663"/>
              <a:gd name="connsiteX1217" fmla="*/ 1413556 w 2105494"/>
              <a:gd name="connsiteY1217" fmla="*/ 1047333 h 1430663"/>
              <a:gd name="connsiteX1218" fmla="*/ 1413556 w 2105494"/>
              <a:gd name="connsiteY1218" fmla="*/ 1049615 h 1430663"/>
              <a:gd name="connsiteX1219" fmla="*/ 1413556 w 2105494"/>
              <a:gd name="connsiteY1219" fmla="*/ 1051897 h 1430663"/>
              <a:gd name="connsiteX1220" fmla="*/ 1413556 w 2105494"/>
              <a:gd name="connsiteY1220" fmla="*/ 1054179 h 1430663"/>
              <a:gd name="connsiteX1221" fmla="*/ 1415839 w 2105494"/>
              <a:gd name="connsiteY1221" fmla="*/ 1054179 h 1430663"/>
              <a:gd name="connsiteX1222" fmla="*/ 1415839 w 2105494"/>
              <a:gd name="connsiteY1222" fmla="*/ 1056461 h 1430663"/>
              <a:gd name="connsiteX1223" fmla="*/ 1415839 w 2105494"/>
              <a:gd name="connsiteY1223" fmla="*/ 1058743 h 1430663"/>
              <a:gd name="connsiteX1224" fmla="*/ 1418123 w 2105494"/>
              <a:gd name="connsiteY1224" fmla="*/ 1058743 h 1430663"/>
              <a:gd name="connsiteX1225" fmla="*/ 1420406 w 2105494"/>
              <a:gd name="connsiteY1225" fmla="*/ 1058743 h 1430663"/>
              <a:gd name="connsiteX1226" fmla="*/ 1420406 w 2105494"/>
              <a:gd name="connsiteY1226" fmla="*/ 1061025 h 1430663"/>
              <a:gd name="connsiteX1227" fmla="*/ 1422690 w 2105494"/>
              <a:gd name="connsiteY1227" fmla="*/ 1061025 h 1430663"/>
              <a:gd name="connsiteX1228" fmla="*/ 1422690 w 2105494"/>
              <a:gd name="connsiteY1228" fmla="*/ 1063306 h 1430663"/>
              <a:gd name="connsiteX1229" fmla="*/ 1424973 w 2105494"/>
              <a:gd name="connsiteY1229" fmla="*/ 1063306 h 1430663"/>
              <a:gd name="connsiteX1230" fmla="*/ 1424973 w 2105494"/>
              <a:gd name="connsiteY1230" fmla="*/ 1065588 h 1430663"/>
              <a:gd name="connsiteX1231" fmla="*/ 1427257 w 2105494"/>
              <a:gd name="connsiteY1231" fmla="*/ 1065588 h 1430663"/>
              <a:gd name="connsiteX1232" fmla="*/ 1427257 w 2105494"/>
              <a:gd name="connsiteY1232" fmla="*/ 1067870 h 1430663"/>
              <a:gd name="connsiteX1233" fmla="*/ 1429541 w 2105494"/>
              <a:gd name="connsiteY1233" fmla="*/ 1067870 h 1430663"/>
              <a:gd name="connsiteX1234" fmla="*/ 1429541 w 2105494"/>
              <a:gd name="connsiteY1234" fmla="*/ 1070143 h 1430663"/>
              <a:gd name="connsiteX1235" fmla="*/ 1431824 w 2105494"/>
              <a:gd name="connsiteY1235" fmla="*/ 1070143 h 1430663"/>
              <a:gd name="connsiteX1236" fmla="*/ 1434108 w 2105494"/>
              <a:gd name="connsiteY1236" fmla="*/ 1070143 h 1430663"/>
              <a:gd name="connsiteX1237" fmla="*/ 1434108 w 2105494"/>
              <a:gd name="connsiteY1237" fmla="*/ 1072434 h 1430663"/>
              <a:gd name="connsiteX1238" fmla="*/ 1434108 w 2105494"/>
              <a:gd name="connsiteY1238" fmla="*/ 1074716 h 1430663"/>
              <a:gd name="connsiteX1239" fmla="*/ 1436392 w 2105494"/>
              <a:gd name="connsiteY1239" fmla="*/ 1074716 h 1430663"/>
              <a:gd name="connsiteX1240" fmla="*/ 1436392 w 2105494"/>
              <a:gd name="connsiteY1240" fmla="*/ 1076988 h 1430663"/>
              <a:gd name="connsiteX1241" fmla="*/ 1436392 w 2105494"/>
              <a:gd name="connsiteY1241" fmla="*/ 1079270 h 1430663"/>
              <a:gd name="connsiteX1242" fmla="*/ 1436392 w 2105494"/>
              <a:gd name="connsiteY1242" fmla="*/ 1081552 h 1430663"/>
              <a:gd name="connsiteX1243" fmla="*/ 1434108 w 2105494"/>
              <a:gd name="connsiteY1243" fmla="*/ 1081552 h 1430663"/>
              <a:gd name="connsiteX1244" fmla="*/ 1434108 w 2105494"/>
              <a:gd name="connsiteY1244" fmla="*/ 1083834 h 1430663"/>
              <a:gd name="connsiteX1245" fmla="*/ 1434108 w 2105494"/>
              <a:gd name="connsiteY1245" fmla="*/ 1086116 h 1430663"/>
              <a:gd name="connsiteX1246" fmla="*/ 1434108 w 2105494"/>
              <a:gd name="connsiteY1246" fmla="*/ 1088398 h 1430663"/>
              <a:gd name="connsiteX1247" fmla="*/ 1434108 w 2105494"/>
              <a:gd name="connsiteY1247" fmla="*/ 1090680 h 1430663"/>
              <a:gd name="connsiteX1248" fmla="*/ 1434108 w 2105494"/>
              <a:gd name="connsiteY1248" fmla="*/ 1092962 h 1430663"/>
              <a:gd name="connsiteX1249" fmla="*/ 1434108 w 2105494"/>
              <a:gd name="connsiteY1249" fmla="*/ 1095243 h 1430663"/>
              <a:gd name="connsiteX1250" fmla="*/ 1434108 w 2105494"/>
              <a:gd name="connsiteY1250" fmla="*/ 1097525 h 1430663"/>
              <a:gd name="connsiteX1251" fmla="*/ 1434108 w 2105494"/>
              <a:gd name="connsiteY1251" fmla="*/ 1099807 h 1430663"/>
              <a:gd name="connsiteX1252" fmla="*/ 1431824 w 2105494"/>
              <a:gd name="connsiteY1252" fmla="*/ 1099807 h 1430663"/>
              <a:gd name="connsiteX1253" fmla="*/ 1431824 w 2105494"/>
              <a:gd name="connsiteY1253" fmla="*/ 1102089 h 1430663"/>
              <a:gd name="connsiteX1254" fmla="*/ 1429541 w 2105494"/>
              <a:gd name="connsiteY1254" fmla="*/ 1102089 h 1430663"/>
              <a:gd name="connsiteX1255" fmla="*/ 1429541 w 2105494"/>
              <a:gd name="connsiteY1255" fmla="*/ 1099807 h 1430663"/>
              <a:gd name="connsiteX1256" fmla="*/ 1431824 w 2105494"/>
              <a:gd name="connsiteY1256" fmla="*/ 1097525 h 1430663"/>
              <a:gd name="connsiteX1257" fmla="*/ 1431824 w 2105494"/>
              <a:gd name="connsiteY1257" fmla="*/ 1095243 h 1430663"/>
              <a:gd name="connsiteX1258" fmla="*/ 1429541 w 2105494"/>
              <a:gd name="connsiteY1258" fmla="*/ 1095243 h 1430663"/>
              <a:gd name="connsiteX1259" fmla="*/ 1427257 w 2105494"/>
              <a:gd name="connsiteY1259" fmla="*/ 1095243 h 1430663"/>
              <a:gd name="connsiteX1260" fmla="*/ 1427257 w 2105494"/>
              <a:gd name="connsiteY1260" fmla="*/ 1097525 h 1430663"/>
              <a:gd name="connsiteX1261" fmla="*/ 1424973 w 2105494"/>
              <a:gd name="connsiteY1261" fmla="*/ 1097525 h 1430663"/>
              <a:gd name="connsiteX1262" fmla="*/ 1424973 w 2105494"/>
              <a:gd name="connsiteY1262" fmla="*/ 1099807 h 1430663"/>
              <a:gd name="connsiteX1263" fmla="*/ 1422690 w 2105494"/>
              <a:gd name="connsiteY1263" fmla="*/ 1099807 h 1430663"/>
              <a:gd name="connsiteX1264" fmla="*/ 1422690 w 2105494"/>
              <a:gd name="connsiteY1264" fmla="*/ 1102089 h 1430663"/>
              <a:gd name="connsiteX1265" fmla="*/ 1422690 w 2105494"/>
              <a:gd name="connsiteY1265" fmla="*/ 1104371 h 1430663"/>
              <a:gd name="connsiteX1266" fmla="*/ 1420406 w 2105494"/>
              <a:gd name="connsiteY1266" fmla="*/ 1104371 h 1430663"/>
              <a:gd name="connsiteX1267" fmla="*/ 1420406 w 2105494"/>
              <a:gd name="connsiteY1267" fmla="*/ 1106653 h 1430663"/>
              <a:gd name="connsiteX1268" fmla="*/ 1420406 w 2105494"/>
              <a:gd name="connsiteY1268" fmla="*/ 1108935 h 1430663"/>
              <a:gd name="connsiteX1269" fmla="*/ 1418123 w 2105494"/>
              <a:gd name="connsiteY1269" fmla="*/ 1108935 h 1430663"/>
              <a:gd name="connsiteX1270" fmla="*/ 1418123 w 2105494"/>
              <a:gd name="connsiteY1270" fmla="*/ 1111217 h 1430663"/>
              <a:gd name="connsiteX1271" fmla="*/ 1418123 w 2105494"/>
              <a:gd name="connsiteY1271" fmla="*/ 1113499 h 1430663"/>
              <a:gd name="connsiteX1272" fmla="*/ 1420406 w 2105494"/>
              <a:gd name="connsiteY1272" fmla="*/ 1113499 h 1430663"/>
              <a:gd name="connsiteX1273" fmla="*/ 1420406 w 2105494"/>
              <a:gd name="connsiteY1273" fmla="*/ 1115781 h 1430663"/>
              <a:gd name="connsiteX1274" fmla="*/ 1422690 w 2105494"/>
              <a:gd name="connsiteY1274" fmla="*/ 1118063 h 1430663"/>
              <a:gd name="connsiteX1275" fmla="*/ 1424973 w 2105494"/>
              <a:gd name="connsiteY1275" fmla="*/ 1118063 h 1430663"/>
              <a:gd name="connsiteX1276" fmla="*/ 1424973 w 2105494"/>
              <a:gd name="connsiteY1276" fmla="*/ 1120344 h 1430663"/>
              <a:gd name="connsiteX1277" fmla="*/ 1427257 w 2105494"/>
              <a:gd name="connsiteY1277" fmla="*/ 1120344 h 1430663"/>
              <a:gd name="connsiteX1278" fmla="*/ 1429541 w 2105494"/>
              <a:gd name="connsiteY1278" fmla="*/ 1120344 h 1430663"/>
              <a:gd name="connsiteX1279" fmla="*/ 1429541 w 2105494"/>
              <a:gd name="connsiteY1279" fmla="*/ 1122626 h 1430663"/>
              <a:gd name="connsiteX1280" fmla="*/ 1431824 w 2105494"/>
              <a:gd name="connsiteY1280" fmla="*/ 1122626 h 1430663"/>
              <a:gd name="connsiteX1281" fmla="*/ 1431824 w 2105494"/>
              <a:gd name="connsiteY1281" fmla="*/ 1124908 h 1430663"/>
              <a:gd name="connsiteX1282" fmla="*/ 1434108 w 2105494"/>
              <a:gd name="connsiteY1282" fmla="*/ 1124908 h 1430663"/>
              <a:gd name="connsiteX1283" fmla="*/ 1436392 w 2105494"/>
              <a:gd name="connsiteY1283" fmla="*/ 1124908 h 1430663"/>
              <a:gd name="connsiteX1284" fmla="*/ 1438675 w 2105494"/>
              <a:gd name="connsiteY1284" fmla="*/ 1124908 h 1430663"/>
              <a:gd name="connsiteX1285" fmla="*/ 1440959 w 2105494"/>
              <a:gd name="connsiteY1285" fmla="*/ 1124908 h 1430663"/>
              <a:gd name="connsiteX1286" fmla="*/ 1440959 w 2105494"/>
              <a:gd name="connsiteY1286" fmla="*/ 1127190 h 1430663"/>
              <a:gd name="connsiteX1287" fmla="*/ 1443242 w 2105494"/>
              <a:gd name="connsiteY1287" fmla="*/ 1127190 h 1430663"/>
              <a:gd name="connsiteX1288" fmla="*/ 1443242 w 2105494"/>
              <a:gd name="connsiteY1288" fmla="*/ 1129472 h 1430663"/>
              <a:gd name="connsiteX1289" fmla="*/ 1440959 w 2105494"/>
              <a:gd name="connsiteY1289" fmla="*/ 1129472 h 1430663"/>
              <a:gd name="connsiteX1290" fmla="*/ 1440959 w 2105494"/>
              <a:gd name="connsiteY1290" fmla="*/ 1131754 h 1430663"/>
              <a:gd name="connsiteX1291" fmla="*/ 1438675 w 2105494"/>
              <a:gd name="connsiteY1291" fmla="*/ 1131754 h 1430663"/>
              <a:gd name="connsiteX1292" fmla="*/ 1436392 w 2105494"/>
              <a:gd name="connsiteY1292" fmla="*/ 1131754 h 1430663"/>
              <a:gd name="connsiteX1293" fmla="*/ 1436392 w 2105494"/>
              <a:gd name="connsiteY1293" fmla="*/ 1129472 h 1430663"/>
              <a:gd name="connsiteX1294" fmla="*/ 1434108 w 2105494"/>
              <a:gd name="connsiteY1294" fmla="*/ 1129472 h 1430663"/>
              <a:gd name="connsiteX1295" fmla="*/ 1431824 w 2105494"/>
              <a:gd name="connsiteY1295" fmla="*/ 1129472 h 1430663"/>
              <a:gd name="connsiteX1296" fmla="*/ 1429541 w 2105494"/>
              <a:gd name="connsiteY1296" fmla="*/ 1129472 h 1430663"/>
              <a:gd name="connsiteX1297" fmla="*/ 1427257 w 2105494"/>
              <a:gd name="connsiteY1297" fmla="*/ 1129472 h 1430663"/>
              <a:gd name="connsiteX1298" fmla="*/ 1424973 w 2105494"/>
              <a:gd name="connsiteY1298" fmla="*/ 1129472 h 1430663"/>
              <a:gd name="connsiteX1299" fmla="*/ 1424973 w 2105494"/>
              <a:gd name="connsiteY1299" fmla="*/ 1127190 h 1430663"/>
              <a:gd name="connsiteX1300" fmla="*/ 1422690 w 2105494"/>
              <a:gd name="connsiteY1300" fmla="*/ 1127190 h 1430663"/>
              <a:gd name="connsiteX1301" fmla="*/ 1420406 w 2105494"/>
              <a:gd name="connsiteY1301" fmla="*/ 1127190 h 1430663"/>
              <a:gd name="connsiteX1302" fmla="*/ 1418123 w 2105494"/>
              <a:gd name="connsiteY1302" fmla="*/ 1127190 h 1430663"/>
              <a:gd name="connsiteX1303" fmla="*/ 1415839 w 2105494"/>
              <a:gd name="connsiteY1303" fmla="*/ 1129472 h 1430663"/>
              <a:gd name="connsiteX1304" fmla="*/ 1415839 w 2105494"/>
              <a:gd name="connsiteY1304" fmla="*/ 1131754 h 1430663"/>
              <a:gd name="connsiteX1305" fmla="*/ 1413556 w 2105494"/>
              <a:gd name="connsiteY1305" fmla="*/ 1131754 h 1430663"/>
              <a:gd name="connsiteX1306" fmla="*/ 1413556 w 2105494"/>
              <a:gd name="connsiteY1306" fmla="*/ 1134036 h 1430663"/>
              <a:gd name="connsiteX1307" fmla="*/ 1411272 w 2105494"/>
              <a:gd name="connsiteY1307" fmla="*/ 1134036 h 1430663"/>
              <a:gd name="connsiteX1308" fmla="*/ 1408988 w 2105494"/>
              <a:gd name="connsiteY1308" fmla="*/ 1136318 h 1430663"/>
              <a:gd name="connsiteX1309" fmla="*/ 1408988 w 2105494"/>
              <a:gd name="connsiteY1309" fmla="*/ 1134036 h 1430663"/>
              <a:gd name="connsiteX1310" fmla="*/ 1406705 w 2105494"/>
              <a:gd name="connsiteY1310" fmla="*/ 1134036 h 1430663"/>
              <a:gd name="connsiteX1311" fmla="*/ 1404421 w 2105494"/>
              <a:gd name="connsiteY1311" fmla="*/ 1134036 h 1430663"/>
              <a:gd name="connsiteX1312" fmla="*/ 1404421 w 2105494"/>
              <a:gd name="connsiteY1312" fmla="*/ 1131754 h 1430663"/>
              <a:gd name="connsiteX1313" fmla="*/ 1402138 w 2105494"/>
              <a:gd name="connsiteY1313" fmla="*/ 1131754 h 1430663"/>
              <a:gd name="connsiteX1314" fmla="*/ 1399854 w 2105494"/>
              <a:gd name="connsiteY1314" fmla="*/ 1131754 h 1430663"/>
              <a:gd name="connsiteX1315" fmla="*/ 1399854 w 2105494"/>
              <a:gd name="connsiteY1315" fmla="*/ 1129472 h 1430663"/>
              <a:gd name="connsiteX1316" fmla="*/ 1397571 w 2105494"/>
              <a:gd name="connsiteY1316" fmla="*/ 1129472 h 1430663"/>
              <a:gd name="connsiteX1317" fmla="*/ 1395287 w 2105494"/>
              <a:gd name="connsiteY1317" fmla="*/ 1129472 h 1430663"/>
              <a:gd name="connsiteX1318" fmla="*/ 1395287 w 2105494"/>
              <a:gd name="connsiteY1318" fmla="*/ 1127190 h 1430663"/>
              <a:gd name="connsiteX1319" fmla="*/ 1393003 w 2105494"/>
              <a:gd name="connsiteY1319" fmla="*/ 1127190 h 1430663"/>
              <a:gd name="connsiteX1320" fmla="*/ 1390720 w 2105494"/>
              <a:gd name="connsiteY1320" fmla="*/ 1127190 h 1430663"/>
              <a:gd name="connsiteX1321" fmla="*/ 1388436 w 2105494"/>
              <a:gd name="connsiteY1321" fmla="*/ 1127190 h 1430663"/>
              <a:gd name="connsiteX1322" fmla="*/ 1386152 w 2105494"/>
              <a:gd name="connsiteY1322" fmla="*/ 1127190 h 1430663"/>
              <a:gd name="connsiteX1323" fmla="*/ 1386152 w 2105494"/>
              <a:gd name="connsiteY1323" fmla="*/ 1129472 h 1430663"/>
              <a:gd name="connsiteX1324" fmla="*/ 1386152 w 2105494"/>
              <a:gd name="connsiteY1324" fmla="*/ 1127190 h 1430663"/>
              <a:gd name="connsiteX1325" fmla="*/ 1383869 w 2105494"/>
              <a:gd name="connsiteY1325" fmla="*/ 1127190 h 1430663"/>
              <a:gd name="connsiteX1326" fmla="*/ 1381585 w 2105494"/>
              <a:gd name="connsiteY1326" fmla="*/ 1127190 h 1430663"/>
              <a:gd name="connsiteX1327" fmla="*/ 1379302 w 2105494"/>
              <a:gd name="connsiteY1327" fmla="*/ 1127190 h 1430663"/>
              <a:gd name="connsiteX1328" fmla="*/ 1379302 w 2105494"/>
              <a:gd name="connsiteY1328" fmla="*/ 1129472 h 1430663"/>
              <a:gd name="connsiteX1329" fmla="*/ 1377018 w 2105494"/>
              <a:gd name="connsiteY1329" fmla="*/ 1129472 h 1430663"/>
              <a:gd name="connsiteX1330" fmla="*/ 1377018 w 2105494"/>
              <a:gd name="connsiteY1330" fmla="*/ 1131754 h 1430663"/>
              <a:gd name="connsiteX1331" fmla="*/ 1377018 w 2105494"/>
              <a:gd name="connsiteY1331" fmla="*/ 1134036 h 1430663"/>
              <a:gd name="connsiteX1332" fmla="*/ 1374734 w 2105494"/>
              <a:gd name="connsiteY1332" fmla="*/ 1134036 h 1430663"/>
              <a:gd name="connsiteX1333" fmla="*/ 1374734 w 2105494"/>
              <a:gd name="connsiteY1333" fmla="*/ 1136318 h 1430663"/>
              <a:gd name="connsiteX1334" fmla="*/ 1374734 w 2105494"/>
              <a:gd name="connsiteY1334" fmla="*/ 1138600 h 1430663"/>
              <a:gd name="connsiteX1335" fmla="*/ 1374734 w 2105494"/>
              <a:gd name="connsiteY1335" fmla="*/ 1140881 h 1430663"/>
              <a:gd name="connsiteX1336" fmla="*/ 1374734 w 2105494"/>
              <a:gd name="connsiteY1336" fmla="*/ 1143163 h 1430663"/>
              <a:gd name="connsiteX1337" fmla="*/ 1374734 w 2105494"/>
              <a:gd name="connsiteY1337" fmla="*/ 1145445 h 1430663"/>
              <a:gd name="connsiteX1338" fmla="*/ 1372451 w 2105494"/>
              <a:gd name="connsiteY1338" fmla="*/ 1145445 h 1430663"/>
              <a:gd name="connsiteX1339" fmla="*/ 1370167 w 2105494"/>
              <a:gd name="connsiteY1339" fmla="*/ 1145445 h 1430663"/>
              <a:gd name="connsiteX1340" fmla="*/ 1370167 w 2105494"/>
              <a:gd name="connsiteY1340" fmla="*/ 1143163 h 1430663"/>
              <a:gd name="connsiteX1341" fmla="*/ 1370167 w 2105494"/>
              <a:gd name="connsiteY1341" fmla="*/ 1140881 h 1430663"/>
              <a:gd name="connsiteX1342" fmla="*/ 1367884 w 2105494"/>
              <a:gd name="connsiteY1342" fmla="*/ 1140881 h 1430663"/>
              <a:gd name="connsiteX1343" fmla="*/ 1365600 w 2105494"/>
              <a:gd name="connsiteY1343" fmla="*/ 1140881 h 1430663"/>
              <a:gd name="connsiteX1344" fmla="*/ 1363317 w 2105494"/>
              <a:gd name="connsiteY1344" fmla="*/ 1140881 h 1430663"/>
              <a:gd name="connsiteX1345" fmla="*/ 1363317 w 2105494"/>
              <a:gd name="connsiteY1345" fmla="*/ 1138600 h 1430663"/>
              <a:gd name="connsiteX1346" fmla="*/ 1361033 w 2105494"/>
              <a:gd name="connsiteY1346" fmla="*/ 1138600 h 1430663"/>
              <a:gd name="connsiteX1347" fmla="*/ 1361033 w 2105494"/>
              <a:gd name="connsiteY1347" fmla="*/ 1140881 h 1430663"/>
              <a:gd name="connsiteX1348" fmla="*/ 1358749 w 2105494"/>
              <a:gd name="connsiteY1348" fmla="*/ 1140881 h 1430663"/>
              <a:gd name="connsiteX1349" fmla="*/ 1358749 w 2105494"/>
              <a:gd name="connsiteY1349" fmla="*/ 1143163 h 1430663"/>
              <a:gd name="connsiteX1350" fmla="*/ 1358749 w 2105494"/>
              <a:gd name="connsiteY1350" fmla="*/ 1140881 h 1430663"/>
              <a:gd name="connsiteX1351" fmla="*/ 1356466 w 2105494"/>
              <a:gd name="connsiteY1351" fmla="*/ 1140881 h 1430663"/>
              <a:gd name="connsiteX1352" fmla="*/ 1354182 w 2105494"/>
              <a:gd name="connsiteY1352" fmla="*/ 1140881 h 1430663"/>
              <a:gd name="connsiteX1353" fmla="*/ 1351898 w 2105494"/>
              <a:gd name="connsiteY1353" fmla="*/ 1140881 h 1430663"/>
              <a:gd name="connsiteX1354" fmla="*/ 1351898 w 2105494"/>
              <a:gd name="connsiteY1354" fmla="*/ 1138600 h 1430663"/>
              <a:gd name="connsiteX1355" fmla="*/ 1351898 w 2105494"/>
              <a:gd name="connsiteY1355" fmla="*/ 1140881 h 1430663"/>
              <a:gd name="connsiteX1356" fmla="*/ 1349615 w 2105494"/>
              <a:gd name="connsiteY1356" fmla="*/ 1140881 h 1430663"/>
              <a:gd name="connsiteX1357" fmla="*/ 1349615 w 2105494"/>
              <a:gd name="connsiteY1357" fmla="*/ 1143163 h 1430663"/>
              <a:gd name="connsiteX1358" fmla="*/ 1347331 w 2105494"/>
              <a:gd name="connsiteY1358" fmla="*/ 1143163 h 1430663"/>
              <a:gd name="connsiteX1359" fmla="*/ 1347331 w 2105494"/>
              <a:gd name="connsiteY1359" fmla="*/ 1145445 h 1430663"/>
              <a:gd name="connsiteX1360" fmla="*/ 1345048 w 2105494"/>
              <a:gd name="connsiteY1360" fmla="*/ 1145445 h 1430663"/>
              <a:gd name="connsiteX1361" fmla="*/ 1342764 w 2105494"/>
              <a:gd name="connsiteY1361" fmla="*/ 1145445 h 1430663"/>
              <a:gd name="connsiteX1362" fmla="*/ 1342764 w 2105494"/>
              <a:gd name="connsiteY1362" fmla="*/ 1147727 h 1430663"/>
              <a:gd name="connsiteX1363" fmla="*/ 1342764 w 2105494"/>
              <a:gd name="connsiteY1363" fmla="*/ 1150009 h 1430663"/>
              <a:gd name="connsiteX1364" fmla="*/ 1340481 w 2105494"/>
              <a:gd name="connsiteY1364" fmla="*/ 1150009 h 1430663"/>
              <a:gd name="connsiteX1365" fmla="*/ 1340481 w 2105494"/>
              <a:gd name="connsiteY1365" fmla="*/ 1152291 h 1430663"/>
              <a:gd name="connsiteX1366" fmla="*/ 1340481 w 2105494"/>
              <a:gd name="connsiteY1366" fmla="*/ 1154573 h 1430663"/>
              <a:gd name="connsiteX1367" fmla="*/ 1340481 w 2105494"/>
              <a:gd name="connsiteY1367" fmla="*/ 1156855 h 1430663"/>
              <a:gd name="connsiteX1368" fmla="*/ 1338197 w 2105494"/>
              <a:gd name="connsiteY1368" fmla="*/ 1156855 h 1430663"/>
              <a:gd name="connsiteX1369" fmla="*/ 1338197 w 2105494"/>
              <a:gd name="connsiteY1369" fmla="*/ 1159137 h 1430663"/>
              <a:gd name="connsiteX1370" fmla="*/ 1335913 w 2105494"/>
              <a:gd name="connsiteY1370" fmla="*/ 1161419 h 1430663"/>
              <a:gd name="connsiteX1371" fmla="*/ 1335913 w 2105494"/>
              <a:gd name="connsiteY1371" fmla="*/ 1163700 h 1430663"/>
              <a:gd name="connsiteX1372" fmla="*/ 1335913 w 2105494"/>
              <a:gd name="connsiteY1372" fmla="*/ 1165982 h 1430663"/>
              <a:gd name="connsiteX1373" fmla="*/ 1335913 w 2105494"/>
              <a:gd name="connsiteY1373" fmla="*/ 1168264 h 1430663"/>
              <a:gd name="connsiteX1374" fmla="*/ 1338197 w 2105494"/>
              <a:gd name="connsiteY1374" fmla="*/ 1170546 h 1430663"/>
              <a:gd name="connsiteX1375" fmla="*/ 1338197 w 2105494"/>
              <a:gd name="connsiteY1375" fmla="*/ 1172828 h 1430663"/>
              <a:gd name="connsiteX1376" fmla="*/ 1338197 w 2105494"/>
              <a:gd name="connsiteY1376" fmla="*/ 1175110 h 1430663"/>
              <a:gd name="connsiteX1377" fmla="*/ 1338197 w 2105494"/>
              <a:gd name="connsiteY1377" fmla="*/ 1177392 h 1430663"/>
              <a:gd name="connsiteX1378" fmla="*/ 1338197 w 2105494"/>
              <a:gd name="connsiteY1378" fmla="*/ 1179674 h 1430663"/>
              <a:gd name="connsiteX1379" fmla="*/ 1335913 w 2105494"/>
              <a:gd name="connsiteY1379" fmla="*/ 1179674 h 1430663"/>
              <a:gd name="connsiteX1380" fmla="*/ 1333630 w 2105494"/>
              <a:gd name="connsiteY1380" fmla="*/ 1179674 h 1430663"/>
              <a:gd name="connsiteX1381" fmla="*/ 1331346 w 2105494"/>
              <a:gd name="connsiteY1381" fmla="*/ 1179674 h 1430663"/>
              <a:gd name="connsiteX1382" fmla="*/ 1329063 w 2105494"/>
              <a:gd name="connsiteY1382" fmla="*/ 1179674 h 1430663"/>
              <a:gd name="connsiteX1383" fmla="*/ 1329063 w 2105494"/>
              <a:gd name="connsiteY1383" fmla="*/ 1181956 h 1430663"/>
              <a:gd name="connsiteX1384" fmla="*/ 1326779 w 2105494"/>
              <a:gd name="connsiteY1384" fmla="*/ 1181956 h 1430663"/>
              <a:gd name="connsiteX1385" fmla="*/ 1326779 w 2105494"/>
              <a:gd name="connsiteY1385" fmla="*/ 1184237 h 1430663"/>
              <a:gd name="connsiteX1386" fmla="*/ 1324495 w 2105494"/>
              <a:gd name="connsiteY1386" fmla="*/ 1184237 h 1430663"/>
              <a:gd name="connsiteX1387" fmla="*/ 1324495 w 2105494"/>
              <a:gd name="connsiteY1387" fmla="*/ 1186519 h 1430663"/>
              <a:gd name="connsiteX1388" fmla="*/ 1322212 w 2105494"/>
              <a:gd name="connsiteY1388" fmla="*/ 1186519 h 1430663"/>
              <a:gd name="connsiteX1389" fmla="*/ 1322212 w 2105494"/>
              <a:gd name="connsiteY1389" fmla="*/ 1188801 h 1430663"/>
              <a:gd name="connsiteX1390" fmla="*/ 1319928 w 2105494"/>
              <a:gd name="connsiteY1390" fmla="*/ 1188801 h 1430663"/>
              <a:gd name="connsiteX1391" fmla="*/ 1317644 w 2105494"/>
              <a:gd name="connsiteY1391" fmla="*/ 1188801 h 1430663"/>
              <a:gd name="connsiteX1392" fmla="*/ 1315361 w 2105494"/>
              <a:gd name="connsiteY1392" fmla="*/ 1188801 h 1430663"/>
              <a:gd name="connsiteX1393" fmla="*/ 1315361 w 2105494"/>
              <a:gd name="connsiteY1393" fmla="*/ 1191083 h 1430663"/>
              <a:gd name="connsiteX1394" fmla="*/ 1315361 w 2105494"/>
              <a:gd name="connsiteY1394" fmla="*/ 1193365 h 1430663"/>
              <a:gd name="connsiteX1395" fmla="*/ 1315361 w 2105494"/>
              <a:gd name="connsiteY1395" fmla="*/ 1195647 h 1430663"/>
              <a:gd name="connsiteX1396" fmla="*/ 1313077 w 2105494"/>
              <a:gd name="connsiteY1396" fmla="*/ 1195647 h 1430663"/>
              <a:gd name="connsiteX1397" fmla="*/ 1313077 w 2105494"/>
              <a:gd name="connsiteY1397" fmla="*/ 1197929 h 1430663"/>
              <a:gd name="connsiteX1398" fmla="*/ 1313077 w 2105494"/>
              <a:gd name="connsiteY1398" fmla="*/ 1200211 h 1430663"/>
              <a:gd name="connsiteX1399" fmla="*/ 1310794 w 2105494"/>
              <a:gd name="connsiteY1399" fmla="*/ 1200211 h 1430663"/>
              <a:gd name="connsiteX1400" fmla="*/ 1308510 w 2105494"/>
              <a:gd name="connsiteY1400" fmla="*/ 1200211 h 1430663"/>
              <a:gd name="connsiteX1401" fmla="*/ 1306227 w 2105494"/>
              <a:gd name="connsiteY1401" fmla="*/ 1200211 h 1430663"/>
              <a:gd name="connsiteX1402" fmla="*/ 1306227 w 2105494"/>
              <a:gd name="connsiteY1402" fmla="*/ 1197929 h 1430663"/>
              <a:gd name="connsiteX1403" fmla="*/ 1303943 w 2105494"/>
              <a:gd name="connsiteY1403" fmla="*/ 1197929 h 1430663"/>
              <a:gd name="connsiteX1404" fmla="*/ 1303943 w 2105494"/>
              <a:gd name="connsiteY1404" fmla="*/ 1200211 h 1430663"/>
              <a:gd name="connsiteX1405" fmla="*/ 1301659 w 2105494"/>
              <a:gd name="connsiteY1405" fmla="*/ 1200211 h 1430663"/>
              <a:gd name="connsiteX1406" fmla="*/ 1299376 w 2105494"/>
              <a:gd name="connsiteY1406" fmla="*/ 1202493 h 1430663"/>
              <a:gd name="connsiteX1407" fmla="*/ 1299376 w 2105494"/>
              <a:gd name="connsiteY1407" fmla="*/ 1204775 h 1430663"/>
              <a:gd name="connsiteX1408" fmla="*/ 1299376 w 2105494"/>
              <a:gd name="connsiteY1408" fmla="*/ 1207056 h 1430663"/>
              <a:gd name="connsiteX1409" fmla="*/ 1301659 w 2105494"/>
              <a:gd name="connsiteY1409" fmla="*/ 1207056 h 1430663"/>
              <a:gd name="connsiteX1410" fmla="*/ 1299376 w 2105494"/>
              <a:gd name="connsiteY1410" fmla="*/ 1207056 h 1430663"/>
              <a:gd name="connsiteX1411" fmla="*/ 1299376 w 2105494"/>
              <a:gd name="connsiteY1411" fmla="*/ 1209338 h 1430663"/>
              <a:gd name="connsiteX1412" fmla="*/ 1297092 w 2105494"/>
              <a:gd name="connsiteY1412" fmla="*/ 1211620 h 1430663"/>
              <a:gd name="connsiteX1413" fmla="*/ 1297092 w 2105494"/>
              <a:gd name="connsiteY1413" fmla="*/ 1213902 h 1430663"/>
              <a:gd name="connsiteX1414" fmla="*/ 1294809 w 2105494"/>
              <a:gd name="connsiteY1414" fmla="*/ 1213902 h 1430663"/>
              <a:gd name="connsiteX1415" fmla="*/ 1292525 w 2105494"/>
              <a:gd name="connsiteY1415" fmla="*/ 1213902 h 1430663"/>
              <a:gd name="connsiteX1416" fmla="*/ 1290242 w 2105494"/>
              <a:gd name="connsiteY1416" fmla="*/ 1213902 h 1430663"/>
              <a:gd name="connsiteX1417" fmla="*/ 1287958 w 2105494"/>
              <a:gd name="connsiteY1417" fmla="*/ 1213902 h 1430663"/>
              <a:gd name="connsiteX1418" fmla="*/ 1285674 w 2105494"/>
              <a:gd name="connsiteY1418" fmla="*/ 1213902 h 1430663"/>
              <a:gd name="connsiteX1419" fmla="*/ 1285674 w 2105494"/>
              <a:gd name="connsiteY1419" fmla="*/ 1216184 h 1430663"/>
              <a:gd name="connsiteX1420" fmla="*/ 1285674 w 2105494"/>
              <a:gd name="connsiteY1420" fmla="*/ 1218466 h 1430663"/>
              <a:gd name="connsiteX1421" fmla="*/ 1283391 w 2105494"/>
              <a:gd name="connsiteY1421" fmla="*/ 1218466 h 1430663"/>
              <a:gd name="connsiteX1422" fmla="*/ 1283391 w 2105494"/>
              <a:gd name="connsiteY1422" fmla="*/ 1220748 h 1430663"/>
              <a:gd name="connsiteX1423" fmla="*/ 1283391 w 2105494"/>
              <a:gd name="connsiteY1423" fmla="*/ 1223030 h 1430663"/>
              <a:gd name="connsiteX1424" fmla="*/ 1283391 w 2105494"/>
              <a:gd name="connsiteY1424" fmla="*/ 1225312 h 1430663"/>
              <a:gd name="connsiteX1425" fmla="*/ 1283391 w 2105494"/>
              <a:gd name="connsiteY1425" fmla="*/ 1227594 h 1430663"/>
              <a:gd name="connsiteX1426" fmla="*/ 1285674 w 2105494"/>
              <a:gd name="connsiteY1426" fmla="*/ 1229866 h 1430663"/>
              <a:gd name="connsiteX1427" fmla="*/ 1285674 w 2105494"/>
              <a:gd name="connsiteY1427" fmla="*/ 1232148 h 1430663"/>
              <a:gd name="connsiteX1428" fmla="*/ 1285674 w 2105494"/>
              <a:gd name="connsiteY1428" fmla="*/ 1234430 h 1430663"/>
              <a:gd name="connsiteX1429" fmla="*/ 1285674 w 2105494"/>
              <a:gd name="connsiteY1429" fmla="*/ 1236712 h 1430663"/>
              <a:gd name="connsiteX1430" fmla="*/ 1283391 w 2105494"/>
              <a:gd name="connsiteY1430" fmla="*/ 1236712 h 1430663"/>
              <a:gd name="connsiteX1431" fmla="*/ 1283391 w 2105494"/>
              <a:gd name="connsiteY1431" fmla="*/ 1238993 h 1430663"/>
              <a:gd name="connsiteX1432" fmla="*/ 1281107 w 2105494"/>
              <a:gd name="connsiteY1432" fmla="*/ 1238993 h 1430663"/>
              <a:gd name="connsiteX1433" fmla="*/ 1278823 w 2105494"/>
              <a:gd name="connsiteY1433" fmla="*/ 1238993 h 1430663"/>
              <a:gd name="connsiteX1434" fmla="*/ 1278823 w 2105494"/>
              <a:gd name="connsiteY1434" fmla="*/ 1241275 h 1430663"/>
              <a:gd name="connsiteX1435" fmla="*/ 1276540 w 2105494"/>
              <a:gd name="connsiteY1435" fmla="*/ 1241275 h 1430663"/>
              <a:gd name="connsiteX1436" fmla="*/ 1276540 w 2105494"/>
              <a:gd name="connsiteY1436" fmla="*/ 1243557 h 1430663"/>
              <a:gd name="connsiteX1437" fmla="*/ 1274256 w 2105494"/>
              <a:gd name="connsiteY1437" fmla="*/ 1243557 h 1430663"/>
              <a:gd name="connsiteX1438" fmla="*/ 1276540 w 2105494"/>
              <a:gd name="connsiteY1438" fmla="*/ 1243557 h 1430663"/>
              <a:gd name="connsiteX1439" fmla="*/ 1276540 w 2105494"/>
              <a:gd name="connsiteY1439" fmla="*/ 1245839 h 1430663"/>
              <a:gd name="connsiteX1440" fmla="*/ 1278823 w 2105494"/>
              <a:gd name="connsiteY1440" fmla="*/ 1248121 h 1430663"/>
              <a:gd name="connsiteX1441" fmla="*/ 1281107 w 2105494"/>
              <a:gd name="connsiteY1441" fmla="*/ 1248121 h 1430663"/>
              <a:gd name="connsiteX1442" fmla="*/ 1283391 w 2105494"/>
              <a:gd name="connsiteY1442" fmla="*/ 1248121 h 1430663"/>
              <a:gd name="connsiteX1443" fmla="*/ 1285674 w 2105494"/>
              <a:gd name="connsiteY1443" fmla="*/ 1248121 h 1430663"/>
              <a:gd name="connsiteX1444" fmla="*/ 1287958 w 2105494"/>
              <a:gd name="connsiteY1444" fmla="*/ 1248121 h 1430663"/>
              <a:gd name="connsiteX1445" fmla="*/ 1290242 w 2105494"/>
              <a:gd name="connsiteY1445" fmla="*/ 1248121 h 1430663"/>
              <a:gd name="connsiteX1446" fmla="*/ 1290242 w 2105494"/>
              <a:gd name="connsiteY1446" fmla="*/ 1250403 h 1430663"/>
              <a:gd name="connsiteX1447" fmla="*/ 1290242 w 2105494"/>
              <a:gd name="connsiteY1447" fmla="*/ 1252685 h 1430663"/>
              <a:gd name="connsiteX1448" fmla="*/ 1290242 w 2105494"/>
              <a:gd name="connsiteY1448" fmla="*/ 1254967 h 1430663"/>
              <a:gd name="connsiteX1449" fmla="*/ 1287958 w 2105494"/>
              <a:gd name="connsiteY1449" fmla="*/ 1254967 h 1430663"/>
              <a:gd name="connsiteX1450" fmla="*/ 1287958 w 2105494"/>
              <a:gd name="connsiteY1450" fmla="*/ 1257249 h 1430663"/>
              <a:gd name="connsiteX1451" fmla="*/ 1285674 w 2105494"/>
              <a:gd name="connsiteY1451" fmla="*/ 1257249 h 1430663"/>
              <a:gd name="connsiteX1452" fmla="*/ 1285674 w 2105494"/>
              <a:gd name="connsiteY1452" fmla="*/ 1259531 h 1430663"/>
              <a:gd name="connsiteX1453" fmla="*/ 1283391 w 2105494"/>
              <a:gd name="connsiteY1453" fmla="*/ 1259531 h 1430663"/>
              <a:gd name="connsiteX1454" fmla="*/ 1283391 w 2105494"/>
              <a:gd name="connsiteY1454" fmla="*/ 1261812 h 1430663"/>
              <a:gd name="connsiteX1455" fmla="*/ 1281107 w 2105494"/>
              <a:gd name="connsiteY1455" fmla="*/ 1261812 h 1430663"/>
              <a:gd name="connsiteX1456" fmla="*/ 1281107 w 2105494"/>
              <a:gd name="connsiteY1456" fmla="*/ 1264094 h 1430663"/>
              <a:gd name="connsiteX1457" fmla="*/ 1278823 w 2105494"/>
              <a:gd name="connsiteY1457" fmla="*/ 1264094 h 1430663"/>
              <a:gd name="connsiteX1458" fmla="*/ 1278823 w 2105494"/>
              <a:gd name="connsiteY1458" fmla="*/ 1266376 h 1430663"/>
              <a:gd name="connsiteX1459" fmla="*/ 1276540 w 2105494"/>
              <a:gd name="connsiteY1459" fmla="*/ 1266376 h 1430663"/>
              <a:gd name="connsiteX1460" fmla="*/ 1274256 w 2105494"/>
              <a:gd name="connsiteY1460" fmla="*/ 1266376 h 1430663"/>
              <a:gd name="connsiteX1461" fmla="*/ 1271973 w 2105494"/>
              <a:gd name="connsiteY1461" fmla="*/ 1266376 h 1430663"/>
              <a:gd name="connsiteX1462" fmla="*/ 1271973 w 2105494"/>
              <a:gd name="connsiteY1462" fmla="*/ 1268658 h 1430663"/>
              <a:gd name="connsiteX1463" fmla="*/ 1269689 w 2105494"/>
              <a:gd name="connsiteY1463" fmla="*/ 1268658 h 1430663"/>
              <a:gd name="connsiteX1464" fmla="*/ 1269689 w 2105494"/>
              <a:gd name="connsiteY1464" fmla="*/ 1270940 h 1430663"/>
              <a:gd name="connsiteX1465" fmla="*/ 1267405 w 2105494"/>
              <a:gd name="connsiteY1465" fmla="*/ 1270940 h 1430663"/>
              <a:gd name="connsiteX1466" fmla="*/ 1265122 w 2105494"/>
              <a:gd name="connsiteY1466" fmla="*/ 1270940 h 1430663"/>
              <a:gd name="connsiteX1467" fmla="*/ 1262838 w 2105494"/>
              <a:gd name="connsiteY1467" fmla="*/ 1268658 h 1430663"/>
              <a:gd name="connsiteX1468" fmla="*/ 1260555 w 2105494"/>
              <a:gd name="connsiteY1468" fmla="*/ 1266376 h 1430663"/>
              <a:gd name="connsiteX1469" fmla="*/ 1260555 w 2105494"/>
              <a:gd name="connsiteY1469" fmla="*/ 1264094 h 1430663"/>
              <a:gd name="connsiteX1470" fmla="*/ 1258271 w 2105494"/>
              <a:gd name="connsiteY1470" fmla="*/ 1264094 h 1430663"/>
              <a:gd name="connsiteX1471" fmla="*/ 1258271 w 2105494"/>
              <a:gd name="connsiteY1471" fmla="*/ 1261812 h 1430663"/>
              <a:gd name="connsiteX1472" fmla="*/ 1255988 w 2105494"/>
              <a:gd name="connsiteY1472" fmla="*/ 1261812 h 1430663"/>
              <a:gd name="connsiteX1473" fmla="*/ 1255988 w 2105494"/>
              <a:gd name="connsiteY1473" fmla="*/ 1259531 h 1430663"/>
              <a:gd name="connsiteX1474" fmla="*/ 1255988 w 2105494"/>
              <a:gd name="connsiteY1474" fmla="*/ 1257249 h 1430663"/>
              <a:gd name="connsiteX1475" fmla="*/ 1258271 w 2105494"/>
              <a:gd name="connsiteY1475" fmla="*/ 1257249 h 1430663"/>
              <a:gd name="connsiteX1476" fmla="*/ 1258271 w 2105494"/>
              <a:gd name="connsiteY1476" fmla="*/ 1254967 h 1430663"/>
              <a:gd name="connsiteX1477" fmla="*/ 1258271 w 2105494"/>
              <a:gd name="connsiteY1477" fmla="*/ 1252685 h 1430663"/>
              <a:gd name="connsiteX1478" fmla="*/ 1258271 w 2105494"/>
              <a:gd name="connsiteY1478" fmla="*/ 1250403 h 1430663"/>
              <a:gd name="connsiteX1479" fmla="*/ 1258271 w 2105494"/>
              <a:gd name="connsiteY1479" fmla="*/ 1248121 h 1430663"/>
              <a:gd name="connsiteX1480" fmla="*/ 1258271 w 2105494"/>
              <a:gd name="connsiteY1480" fmla="*/ 1245839 h 1430663"/>
              <a:gd name="connsiteX1481" fmla="*/ 1258271 w 2105494"/>
              <a:gd name="connsiteY1481" fmla="*/ 1243557 h 1430663"/>
              <a:gd name="connsiteX1482" fmla="*/ 1258271 w 2105494"/>
              <a:gd name="connsiteY1482" fmla="*/ 1241275 h 1430663"/>
              <a:gd name="connsiteX1483" fmla="*/ 1258271 w 2105494"/>
              <a:gd name="connsiteY1483" fmla="*/ 1238993 h 1430663"/>
              <a:gd name="connsiteX1484" fmla="*/ 1258271 w 2105494"/>
              <a:gd name="connsiteY1484" fmla="*/ 1236712 h 1430663"/>
              <a:gd name="connsiteX1485" fmla="*/ 1255988 w 2105494"/>
              <a:gd name="connsiteY1485" fmla="*/ 1236712 h 1430663"/>
              <a:gd name="connsiteX1486" fmla="*/ 1255988 w 2105494"/>
              <a:gd name="connsiteY1486" fmla="*/ 1234430 h 1430663"/>
              <a:gd name="connsiteX1487" fmla="*/ 1253704 w 2105494"/>
              <a:gd name="connsiteY1487" fmla="*/ 1234430 h 1430663"/>
              <a:gd name="connsiteX1488" fmla="*/ 1253704 w 2105494"/>
              <a:gd name="connsiteY1488" fmla="*/ 1232148 h 1430663"/>
              <a:gd name="connsiteX1489" fmla="*/ 1251420 w 2105494"/>
              <a:gd name="connsiteY1489" fmla="*/ 1232148 h 1430663"/>
              <a:gd name="connsiteX1490" fmla="*/ 1249137 w 2105494"/>
              <a:gd name="connsiteY1490" fmla="*/ 1232148 h 1430663"/>
              <a:gd name="connsiteX1491" fmla="*/ 1246853 w 2105494"/>
              <a:gd name="connsiteY1491" fmla="*/ 1229866 h 1430663"/>
              <a:gd name="connsiteX1492" fmla="*/ 1249137 w 2105494"/>
              <a:gd name="connsiteY1492" fmla="*/ 1229866 h 1430663"/>
              <a:gd name="connsiteX1493" fmla="*/ 1249137 w 2105494"/>
              <a:gd name="connsiteY1493" fmla="*/ 1227594 h 1430663"/>
              <a:gd name="connsiteX1494" fmla="*/ 1246853 w 2105494"/>
              <a:gd name="connsiteY1494" fmla="*/ 1227594 h 1430663"/>
              <a:gd name="connsiteX1495" fmla="*/ 1246853 w 2105494"/>
              <a:gd name="connsiteY1495" fmla="*/ 1225312 h 1430663"/>
              <a:gd name="connsiteX1496" fmla="*/ 1244569 w 2105494"/>
              <a:gd name="connsiteY1496" fmla="*/ 1225312 h 1430663"/>
              <a:gd name="connsiteX1497" fmla="*/ 1242286 w 2105494"/>
              <a:gd name="connsiteY1497" fmla="*/ 1225312 h 1430663"/>
              <a:gd name="connsiteX1498" fmla="*/ 1242286 w 2105494"/>
              <a:gd name="connsiteY1498" fmla="*/ 1227594 h 1430663"/>
              <a:gd name="connsiteX1499" fmla="*/ 1240002 w 2105494"/>
              <a:gd name="connsiteY1499" fmla="*/ 1227594 h 1430663"/>
              <a:gd name="connsiteX1500" fmla="*/ 1237719 w 2105494"/>
              <a:gd name="connsiteY1500" fmla="*/ 1227594 h 1430663"/>
              <a:gd name="connsiteX1501" fmla="*/ 1237719 w 2105494"/>
              <a:gd name="connsiteY1501" fmla="*/ 1229866 h 1430663"/>
              <a:gd name="connsiteX1502" fmla="*/ 1235435 w 2105494"/>
              <a:gd name="connsiteY1502" fmla="*/ 1229866 h 1430663"/>
              <a:gd name="connsiteX1503" fmla="*/ 1235435 w 2105494"/>
              <a:gd name="connsiteY1503" fmla="*/ 1227594 h 1430663"/>
              <a:gd name="connsiteX1504" fmla="*/ 1235435 w 2105494"/>
              <a:gd name="connsiteY1504" fmla="*/ 1225312 h 1430663"/>
              <a:gd name="connsiteX1505" fmla="*/ 1233152 w 2105494"/>
              <a:gd name="connsiteY1505" fmla="*/ 1225312 h 1430663"/>
              <a:gd name="connsiteX1506" fmla="*/ 1233152 w 2105494"/>
              <a:gd name="connsiteY1506" fmla="*/ 1223030 h 1430663"/>
              <a:gd name="connsiteX1507" fmla="*/ 1233152 w 2105494"/>
              <a:gd name="connsiteY1507" fmla="*/ 1220748 h 1430663"/>
              <a:gd name="connsiteX1508" fmla="*/ 1230868 w 2105494"/>
              <a:gd name="connsiteY1508" fmla="*/ 1220748 h 1430663"/>
              <a:gd name="connsiteX1509" fmla="*/ 1230868 w 2105494"/>
              <a:gd name="connsiteY1509" fmla="*/ 1218466 h 1430663"/>
              <a:gd name="connsiteX1510" fmla="*/ 1228584 w 2105494"/>
              <a:gd name="connsiteY1510" fmla="*/ 1218466 h 1430663"/>
              <a:gd name="connsiteX1511" fmla="*/ 1226301 w 2105494"/>
              <a:gd name="connsiteY1511" fmla="*/ 1218466 h 1430663"/>
              <a:gd name="connsiteX1512" fmla="*/ 1224017 w 2105494"/>
              <a:gd name="connsiteY1512" fmla="*/ 1218466 h 1430663"/>
              <a:gd name="connsiteX1513" fmla="*/ 1221734 w 2105494"/>
              <a:gd name="connsiteY1513" fmla="*/ 1218466 h 1430663"/>
              <a:gd name="connsiteX1514" fmla="*/ 1221734 w 2105494"/>
              <a:gd name="connsiteY1514" fmla="*/ 1220748 h 1430663"/>
              <a:gd name="connsiteX1515" fmla="*/ 1219450 w 2105494"/>
              <a:gd name="connsiteY1515" fmla="*/ 1220748 h 1430663"/>
              <a:gd name="connsiteX1516" fmla="*/ 1217166 w 2105494"/>
              <a:gd name="connsiteY1516" fmla="*/ 1220748 h 1430663"/>
              <a:gd name="connsiteX1517" fmla="*/ 1217166 w 2105494"/>
              <a:gd name="connsiteY1517" fmla="*/ 1223030 h 1430663"/>
              <a:gd name="connsiteX1518" fmla="*/ 1217166 w 2105494"/>
              <a:gd name="connsiteY1518" fmla="*/ 1225312 h 1430663"/>
              <a:gd name="connsiteX1519" fmla="*/ 1214883 w 2105494"/>
              <a:gd name="connsiteY1519" fmla="*/ 1225312 h 1430663"/>
              <a:gd name="connsiteX1520" fmla="*/ 1214883 w 2105494"/>
              <a:gd name="connsiteY1520" fmla="*/ 1227594 h 1430663"/>
              <a:gd name="connsiteX1521" fmla="*/ 1212599 w 2105494"/>
              <a:gd name="connsiteY1521" fmla="*/ 1227594 h 1430663"/>
              <a:gd name="connsiteX1522" fmla="*/ 1210315 w 2105494"/>
              <a:gd name="connsiteY1522" fmla="*/ 1227594 h 1430663"/>
              <a:gd name="connsiteX1523" fmla="*/ 1208032 w 2105494"/>
              <a:gd name="connsiteY1523" fmla="*/ 1227594 h 1430663"/>
              <a:gd name="connsiteX1524" fmla="*/ 1205748 w 2105494"/>
              <a:gd name="connsiteY1524" fmla="*/ 1227594 h 1430663"/>
              <a:gd name="connsiteX1525" fmla="*/ 1203465 w 2105494"/>
              <a:gd name="connsiteY1525" fmla="*/ 1225312 h 1430663"/>
              <a:gd name="connsiteX1526" fmla="*/ 1201181 w 2105494"/>
              <a:gd name="connsiteY1526" fmla="*/ 1225312 h 1430663"/>
              <a:gd name="connsiteX1527" fmla="*/ 1201181 w 2105494"/>
              <a:gd name="connsiteY1527" fmla="*/ 1223030 h 1430663"/>
              <a:gd name="connsiteX1528" fmla="*/ 1198898 w 2105494"/>
              <a:gd name="connsiteY1528" fmla="*/ 1223030 h 1430663"/>
              <a:gd name="connsiteX1529" fmla="*/ 1198898 w 2105494"/>
              <a:gd name="connsiteY1529" fmla="*/ 1220748 h 1430663"/>
              <a:gd name="connsiteX1530" fmla="*/ 1198898 w 2105494"/>
              <a:gd name="connsiteY1530" fmla="*/ 1218466 h 1430663"/>
              <a:gd name="connsiteX1531" fmla="*/ 1196614 w 2105494"/>
              <a:gd name="connsiteY1531" fmla="*/ 1218466 h 1430663"/>
              <a:gd name="connsiteX1532" fmla="*/ 1196614 w 2105494"/>
              <a:gd name="connsiteY1532" fmla="*/ 1216184 h 1430663"/>
              <a:gd name="connsiteX1533" fmla="*/ 1198898 w 2105494"/>
              <a:gd name="connsiteY1533" fmla="*/ 1216184 h 1430663"/>
              <a:gd name="connsiteX1534" fmla="*/ 1198898 w 2105494"/>
              <a:gd name="connsiteY1534" fmla="*/ 1213902 h 1430663"/>
              <a:gd name="connsiteX1535" fmla="*/ 1198898 w 2105494"/>
              <a:gd name="connsiteY1535" fmla="*/ 1211620 h 1430663"/>
              <a:gd name="connsiteX1536" fmla="*/ 1196614 w 2105494"/>
              <a:gd name="connsiteY1536" fmla="*/ 1211620 h 1430663"/>
              <a:gd name="connsiteX1537" fmla="*/ 1196614 w 2105494"/>
              <a:gd name="connsiteY1537" fmla="*/ 1209338 h 1430663"/>
              <a:gd name="connsiteX1538" fmla="*/ 1194330 w 2105494"/>
              <a:gd name="connsiteY1538" fmla="*/ 1209338 h 1430663"/>
              <a:gd name="connsiteX1539" fmla="*/ 1194330 w 2105494"/>
              <a:gd name="connsiteY1539" fmla="*/ 1207056 h 1430663"/>
              <a:gd name="connsiteX1540" fmla="*/ 1194330 w 2105494"/>
              <a:gd name="connsiteY1540" fmla="*/ 1204775 h 1430663"/>
              <a:gd name="connsiteX1541" fmla="*/ 1194330 w 2105494"/>
              <a:gd name="connsiteY1541" fmla="*/ 1202493 h 1430663"/>
              <a:gd name="connsiteX1542" fmla="*/ 1192047 w 2105494"/>
              <a:gd name="connsiteY1542" fmla="*/ 1202493 h 1430663"/>
              <a:gd name="connsiteX1543" fmla="*/ 1189763 w 2105494"/>
              <a:gd name="connsiteY1543" fmla="*/ 1202493 h 1430663"/>
              <a:gd name="connsiteX1544" fmla="*/ 1189763 w 2105494"/>
              <a:gd name="connsiteY1544" fmla="*/ 1204775 h 1430663"/>
              <a:gd name="connsiteX1545" fmla="*/ 1187480 w 2105494"/>
              <a:gd name="connsiteY1545" fmla="*/ 1204775 h 1430663"/>
              <a:gd name="connsiteX1546" fmla="*/ 1185196 w 2105494"/>
              <a:gd name="connsiteY1546" fmla="*/ 1204775 h 1430663"/>
              <a:gd name="connsiteX1547" fmla="*/ 1185196 w 2105494"/>
              <a:gd name="connsiteY1547" fmla="*/ 1207056 h 1430663"/>
              <a:gd name="connsiteX1548" fmla="*/ 1185196 w 2105494"/>
              <a:gd name="connsiteY1548" fmla="*/ 1209338 h 1430663"/>
              <a:gd name="connsiteX1549" fmla="*/ 1182912 w 2105494"/>
              <a:gd name="connsiteY1549" fmla="*/ 1209338 h 1430663"/>
              <a:gd name="connsiteX1550" fmla="*/ 1180629 w 2105494"/>
              <a:gd name="connsiteY1550" fmla="*/ 1209338 h 1430663"/>
              <a:gd name="connsiteX1551" fmla="*/ 1178345 w 2105494"/>
              <a:gd name="connsiteY1551" fmla="*/ 1209338 h 1430663"/>
              <a:gd name="connsiteX1552" fmla="*/ 1176062 w 2105494"/>
              <a:gd name="connsiteY1552" fmla="*/ 1209338 h 1430663"/>
              <a:gd name="connsiteX1553" fmla="*/ 1173778 w 2105494"/>
              <a:gd name="connsiteY1553" fmla="*/ 1209338 h 1430663"/>
              <a:gd name="connsiteX1554" fmla="*/ 1173778 w 2105494"/>
              <a:gd name="connsiteY1554" fmla="*/ 1211620 h 1430663"/>
              <a:gd name="connsiteX1555" fmla="*/ 1171494 w 2105494"/>
              <a:gd name="connsiteY1555" fmla="*/ 1211620 h 1430663"/>
              <a:gd name="connsiteX1556" fmla="*/ 1171494 w 2105494"/>
              <a:gd name="connsiteY1556" fmla="*/ 1213902 h 1430663"/>
              <a:gd name="connsiteX1557" fmla="*/ 1169211 w 2105494"/>
              <a:gd name="connsiteY1557" fmla="*/ 1213902 h 1430663"/>
              <a:gd name="connsiteX1558" fmla="*/ 1166927 w 2105494"/>
              <a:gd name="connsiteY1558" fmla="*/ 1216184 h 1430663"/>
              <a:gd name="connsiteX1559" fmla="*/ 1164644 w 2105494"/>
              <a:gd name="connsiteY1559" fmla="*/ 1216184 h 1430663"/>
              <a:gd name="connsiteX1560" fmla="*/ 1162360 w 2105494"/>
              <a:gd name="connsiteY1560" fmla="*/ 1216184 h 1430663"/>
              <a:gd name="connsiteX1561" fmla="*/ 1162360 w 2105494"/>
              <a:gd name="connsiteY1561" fmla="*/ 1218466 h 1430663"/>
              <a:gd name="connsiteX1562" fmla="*/ 1160076 w 2105494"/>
              <a:gd name="connsiteY1562" fmla="*/ 1218466 h 1430663"/>
              <a:gd name="connsiteX1563" fmla="*/ 1160076 w 2105494"/>
              <a:gd name="connsiteY1563" fmla="*/ 1220748 h 1430663"/>
              <a:gd name="connsiteX1564" fmla="*/ 1157793 w 2105494"/>
              <a:gd name="connsiteY1564" fmla="*/ 1220748 h 1430663"/>
              <a:gd name="connsiteX1565" fmla="*/ 1155509 w 2105494"/>
              <a:gd name="connsiteY1565" fmla="*/ 1220748 h 1430663"/>
              <a:gd name="connsiteX1566" fmla="*/ 1153226 w 2105494"/>
              <a:gd name="connsiteY1566" fmla="*/ 1220748 h 1430663"/>
              <a:gd name="connsiteX1567" fmla="*/ 1153226 w 2105494"/>
              <a:gd name="connsiteY1567" fmla="*/ 1223030 h 1430663"/>
              <a:gd name="connsiteX1568" fmla="*/ 1150942 w 2105494"/>
              <a:gd name="connsiteY1568" fmla="*/ 1223030 h 1430663"/>
              <a:gd name="connsiteX1569" fmla="*/ 1150942 w 2105494"/>
              <a:gd name="connsiteY1569" fmla="*/ 1225312 h 1430663"/>
              <a:gd name="connsiteX1570" fmla="*/ 1148659 w 2105494"/>
              <a:gd name="connsiteY1570" fmla="*/ 1225312 h 1430663"/>
              <a:gd name="connsiteX1571" fmla="*/ 1148659 w 2105494"/>
              <a:gd name="connsiteY1571" fmla="*/ 1227594 h 1430663"/>
              <a:gd name="connsiteX1572" fmla="*/ 1146375 w 2105494"/>
              <a:gd name="connsiteY1572" fmla="*/ 1227594 h 1430663"/>
              <a:gd name="connsiteX1573" fmla="*/ 1144091 w 2105494"/>
              <a:gd name="connsiteY1573" fmla="*/ 1227594 h 1430663"/>
              <a:gd name="connsiteX1574" fmla="*/ 1141808 w 2105494"/>
              <a:gd name="connsiteY1574" fmla="*/ 1227594 h 1430663"/>
              <a:gd name="connsiteX1575" fmla="*/ 1139524 w 2105494"/>
              <a:gd name="connsiteY1575" fmla="*/ 1227594 h 1430663"/>
              <a:gd name="connsiteX1576" fmla="*/ 1137240 w 2105494"/>
              <a:gd name="connsiteY1576" fmla="*/ 1227594 h 1430663"/>
              <a:gd name="connsiteX1577" fmla="*/ 1137240 w 2105494"/>
              <a:gd name="connsiteY1577" fmla="*/ 1229866 h 1430663"/>
              <a:gd name="connsiteX1578" fmla="*/ 1137240 w 2105494"/>
              <a:gd name="connsiteY1578" fmla="*/ 1232148 h 1430663"/>
              <a:gd name="connsiteX1579" fmla="*/ 1137240 w 2105494"/>
              <a:gd name="connsiteY1579" fmla="*/ 1234430 h 1430663"/>
              <a:gd name="connsiteX1580" fmla="*/ 1137240 w 2105494"/>
              <a:gd name="connsiteY1580" fmla="*/ 1236712 h 1430663"/>
              <a:gd name="connsiteX1581" fmla="*/ 1137240 w 2105494"/>
              <a:gd name="connsiteY1581" fmla="*/ 1238993 h 1430663"/>
              <a:gd name="connsiteX1582" fmla="*/ 1137240 w 2105494"/>
              <a:gd name="connsiteY1582" fmla="*/ 1241275 h 1430663"/>
              <a:gd name="connsiteX1583" fmla="*/ 1137240 w 2105494"/>
              <a:gd name="connsiteY1583" fmla="*/ 1243557 h 1430663"/>
              <a:gd name="connsiteX1584" fmla="*/ 1137240 w 2105494"/>
              <a:gd name="connsiteY1584" fmla="*/ 1245839 h 1430663"/>
              <a:gd name="connsiteX1585" fmla="*/ 1137240 w 2105494"/>
              <a:gd name="connsiteY1585" fmla="*/ 1248121 h 1430663"/>
              <a:gd name="connsiteX1586" fmla="*/ 1137240 w 2105494"/>
              <a:gd name="connsiteY1586" fmla="*/ 1250403 h 1430663"/>
              <a:gd name="connsiteX1587" fmla="*/ 1137240 w 2105494"/>
              <a:gd name="connsiteY1587" fmla="*/ 1252685 h 1430663"/>
              <a:gd name="connsiteX1588" fmla="*/ 1134957 w 2105494"/>
              <a:gd name="connsiteY1588" fmla="*/ 1252685 h 1430663"/>
              <a:gd name="connsiteX1589" fmla="*/ 1134957 w 2105494"/>
              <a:gd name="connsiteY1589" fmla="*/ 1254967 h 1430663"/>
              <a:gd name="connsiteX1590" fmla="*/ 1132673 w 2105494"/>
              <a:gd name="connsiteY1590" fmla="*/ 1254967 h 1430663"/>
              <a:gd name="connsiteX1591" fmla="*/ 1130390 w 2105494"/>
              <a:gd name="connsiteY1591" fmla="*/ 1254967 h 1430663"/>
              <a:gd name="connsiteX1592" fmla="*/ 1128106 w 2105494"/>
              <a:gd name="connsiteY1592" fmla="*/ 1254967 h 1430663"/>
              <a:gd name="connsiteX1593" fmla="*/ 1125822 w 2105494"/>
              <a:gd name="connsiteY1593" fmla="*/ 1254967 h 1430663"/>
              <a:gd name="connsiteX1594" fmla="*/ 1125822 w 2105494"/>
              <a:gd name="connsiteY1594" fmla="*/ 1252685 h 1430663"/>
              <a:gd name="connsiteX1595" fmla="*/ 1123539 w 2105494"/>
              <a:gd name="connsiteY1595" fmla="*/ 1252685 h 1430663"/>
              <a:gd name="connsiteX1596" fmla="*/ 1123539 w 2105494"/>
              <a:gd name="connsiteY1596" fmla="*/ 1250403 h 1430663"/>
              <a:gd name="connsiteX1597" fmla="*/ 1121255 w 2105494"/>
              <a:gd name="connsiteY1597" fmla="*/ 1250403 h 1430663"/>
              <a:gd name="connsiteX1598" fmla="*/ 1121255 w 2105494"/>
              <a:gd name="connsiteY1598" fmla="*/ 1248121 h 1430663"/>
              <a:gd name="connsiteX1599" fmla="*/ 1121255 w 2105494"/>
              <a:gd name="connsiteY1599" fmla="*/ 1245839 h 1430663"/>
              <a:gd name="connsiteX1600" fmla="*/ 1118972 w 2105494"/>
              <a:gd name="connsiteY1600" fmla="*/ 1245839 h 1430663"/>
              <a:gd name="connsiteX1601" fmla="*/ 1118972 w 2105494"/>
              <a:gd name="connsiteY1601" fmla="*/ 1243557 h 1430663"/>
              <a:gd name="connsiteX1602" fmla="*/ 1118972 w 2105494"/>
              <a:gd name="connsiteY1602" fmla="*/ 1245839 h 1430663"/>
              <a:gd name="connsiteX1603" fmla="*/ 1116688 w 2105494"/>
              <a:gd name="connsiteY1603" fmla="*/ 1245839 h 1430663"/>
              <a:gd name="connsiteX1604" fmla="*/ 1114405 w 2105494"/>
              <a:gd name="connsiteY1604" fmla="*/ 1245839 h 1430663"/>
              <a:gd name="connsiteX1605" fmla="*/ 1114405 w 2105494"/>
              <a:gd name="connsiteY1605" fmla="*/ 1243557 h 1430663"/>
              <a:gd name="connsiteX1606" fmla="*/ 1112121 w 2105494"/>
              <a:gd name="connsiteY1606" fmla="*/ 1241275 h 1430663"/>
              <a:gd name="connsiteX1607" fmla="*/ 1109837 w 2105494"/>
              <a:gd name="connsiteY1607" fmla="*/ 1241275 h 1430663"/>
              <a:gd name="connsiteX1608" fmla="*/ 1107554 w 2105494"/>
              <a:gd name="connsiteY1608" fmla="*/ 1241275 h 1430663"/>
              <a:gd name="connsiteX1609" fmla="*/ 1107554 w 2105494"/>
              <a:gd name="connsiteY1609" fmla="*/ 1238993 h 1430663"/>
              <a:gd name="connsiteX1610" fmla="*/ 1105270 w 2105494"/>
              <a:gd name="connsiteY1610" fmla="*/ 1238993 h 1430663"/>
              <a:gd name="connsiteX1611" fmla="*/ 1105270 w 2105494"/>
              <a:gd name="connsiteY1611" fmla="*/ 1241275 h 1430663"/>
              <a:gd name="connsiteX1612" fmla="*/ 1102986 w 2105494"/>
              <a:gd name="connsiteY1612" fmla="*/ 1241275 h 1430663"/>
              <a:gd name="connsiteX1613" fmla="*/ 1102986 w 2105494"/>
              <a:gd name="connsiteY1613" fmla="*/ 1243557 h 1430663"/>
              <a:gd name="connsiteX1614" fmla="*/ 1100703 w 2105494"/>
              <a:gd name="connsiteY1614" fmla="*/ 1243557 h 1430663"/>
              <a:gd name="connsiteX1615" fmla="*/ 1100703 w 2105494"/>
              <a:gd name="connsiteY1615" fmla="*/ 1245839 h 1430663"/>
              <a:gd name="connsiteX1616" fmla="*/ 1100703 w 2105494"/>
              <a:gd name="connsiteY1616" fmla="*/ 1248121 h 1430663"/>
              <a:gd name="connsiteX1617" fmla="*/ 1098419 w 2105494"/>
              <a:gd name="connsiteY1617" fmla="*/ 1248121 h 1430663"/>
              <a:gd name="connsiteX1618" fmla="*/ 1098419 w 2105494"/>
              <a:gd name="connsiteY1618" fmla="*/ 1250403 h 1430663"/>
              <a:gd name="connsiteX1619" fmla="*/ 1096136 w 2105494"/>
              <a:gd name="connsiteY1619" fmla="*/ 1250403 h 1430663"/>
              <a:gd name="connsiteX1620" fmla="*/ 1096136 w 2105494"/>
              <a:gd name="connsiteY1620" fmla="*/ 1252685 h 1430663"/>
              <a:gd name="connsiteX1621" fmla="*/ 1093852 w 2105494"/>
              <a:gd name="connsiteY1621" fmla="*/ 1252685 h 1430663"/>
              <a:gd name="connsiteX1622" fmla="*/ 1091569 w 2105494"/>
              <a:gd name="connsiteY1622" fmla="*/ 1252685 h 1430663"/>
              <a:gd name="connsiteX1623" fmla="*/ 1089285 w 2105494"/>
              <a:gd name="connsiteY1623" fmla="*/ 1252685 h 1430663"/>
              <a:gd name="connsiteX1624" fmla="*/ 1089285 w 2105494"/>
              <a:gd name="connsiteY1624" fmla="*/ 1254967 h 1430663"/>
              <a:gd name="connsiteX1625" fmla="*/ 1087001 w 2105494"/>
              <a:gd name="connsiteY1625" fmla="*/ 1254967 h 1430663"/>
              <a:gd name="connsiteX1626" fmla="*/ 1084718 w 2105494"/>
              <a:gd name="connsiteY1626" fmla="*/ 1254967 h 1430663"/>
              <a:gd name="connsiteX1627" fmla="*/ 1082434 w 2105494"/>
              <a:gd name="connsiteY1627" fmla="*/ 1254967 h 1430663"/>
              <a:gd name="connsiteX1628" fmla="*/ 1080151 w 2105494"/>
              <a:gd name="connsiteY1628" fmla="*/ 1254967 h 1430663"/>
              <a:gd name="connsiteX1629" fmla="*/ 1077867 w 2105494"/>
              <a:gd name="connsiteY1629" fmla="*/ 1254967 h 1430663"/>
              <a:gd name="connsiteX1630" fmla="*/ 1077867 w 2105494"/>
              <a:gd name="connsiteY1630" fmla="*/ 1257249 h 1430663"/>
              <a:gd name="connsiteX1631" fmla="*/ 1075583 w 2105494"/>
              <a:gd name="connsiteY1631" fmla="*/ 1257249 h 1430663"/>
              <a:gd name="connsiteX1632" fmla="*/ 1073300 w 2105494"/>
              <a:gd name="connsiteY1632" fmla="*/ 1257249 h 1430663"/>
              <a:gd name="connsiteX1633" fmla="*/ 1071016 w 2105494"/>
              <a:gd name="connsiteY1633" fmla="*/ 1257249 h 1430663"/>
              <a:gd name="connsiteX1634" fmla="*/ 1071016 w 2105494"/>
              <a:gd name="connsiteY1634" fmla="*/ 1254967 h 1430663"/>
              <a:gd name="connsiteX1635" fmla="*/ 1068732 w 2105494"/>
              <a:gd name="connsiteY1635" fmla="*/ 1254967 h 1430663"/>
              <a:gd name="connsiteX1636" fmla="*/ 1066449 w 2105494"/>
              <a:gd name="connsiteY1636" fmla="*/ 1254967 h 1430663"/>
              <a:gd name="connsiteX1637" fmla="*/ 1064165 w 2105494"/>
              <a:gd name="connsiteY1637" fmla="*/ 1254967 h 1430663"/>
              <a:gd name="connsiteX1638" fmla="*/ 1064165 w 2105494"/>
              <a:gd name="connsiteY1638" fmla="*/ 1257249 h 1430663"/>
              <a:gd name="connsiteX1639" fmla="*/ 1064165 w 2105494"/>
              <a:gd name="connsiteY1639" fmla="*/ 1259531 h 1430663"/>
              <a:gd name="connsiteX1640" fmla="*/ 1061882 w 2105494"/>
              <a:gd name="connsiteY1640" fmla="*/ 1259531 h 1430663"/>
              <a:gd name="connsiteX1641" fmla="*/ 1061882 w 2105494"/>
              <a:gd name="connsiteY1641" fmla="*/ 1261812 h 1430663"/>
              <a:gd name="connsiteX1642" fmla="*/ 1061882 w 2105494"/>
              <a:gd name="connsiteY1642" fmla="*/ 1264094 h 1430663"/>
              <a:gd name="connsiteX1643" fmla="*/ 1059598 w 2105494"/>
              <a:gd name="connsiteY1643" fmla="*/ 1264094 h 1430663"/>
              <a:gd name="connsiteX1644" fmla="*/ 1059598 w 2105494"/>
              <a:gd name="connsiteY1644" fmla="*/ 1261812 h 1430663"/>
              <a:gd name="connsiteX1645" fmla="*/ 1057315 w 2105494"/>
              <a:gd name="connsiteY1645" fmla="*/ 1261812 h 1430663"/>
              <a:gd name="connsiteX1646" fmla="*/ 1057315 w 2105494"/>
              <a:gd name="connsiteY1646" fmla="*/ 1264094 h 1430663"/>
              <a:gd name="connsiteX1647" fmla="*/ 1055031 w 2105494"/>
              <a:gd name="connsiteY1647" fmla="*/ 1264094 h 1430663"/>
              <a:gd name="connsiteX1648" fmla="*/ 1052747 w 2105494"/>
              <a:gd name="connsiteY1648" fmla="*/ 1264094 h 1430663"/>
              <a:gd name="connsiteX1649" fmla="*/ 1052747 w 2105494"/>
              <a:gd name="connsiteY1649" fmla="*/ 1266376 h 1430663"/>
              <a:gd name="connsiteX1650" fmla="*/ 1050464 w 2105494"/>
              <a:gd name="connsiteY1650" fmla="*/ 1266376 h 1430663"/>
              <a:gd name="connsiteX1651" fmla="*/ 1048180 w 2105494"/>
              <a:gd name="connsiteY1651" fmla="*/ 1266376 h 1430663"/>
              <a:gd name="connsiteX1652" fmla="*/ 1045897 w 2105494"/>
              <a:gd name="connsiteY1652" fmla="*/ 1266376 h 1430663"/>
              <a:gd name="connsiteX1653" fmla="*/ 1043613 w 2105494"/>
              <a:gd name="connsiteY1653" fmla="*/ 1266376 h 1430663"/>
              <a:gd name="connsiteX1654" fmla="*/ 1041330 w 2105494"/>
              <a:gd name="connsiteY1654" fmla="*/ 1266376 h 1430663"/>
              <a:gd name="connsiteX1655" fmla="*/ 1041330 w 2105494"/>
              <a:gd name="connsiteY1655" fmla="*/ 1268658 h 1430663"/>
              <a:gd name="connsiteX1656" fmla="*/ 1039046 w 2105494"/>
              <a:gd name="connsiteY1656" fmla="*/ 1268658 h 1430663"/>
              <a:gd name="connsiteX1657" fmla="*/ 1036762 w 2105494"/>
              <a:gd name="connsiteY1657" fmla="*/ 1268658 h 1430663"/>
              <a:gd name="connsiteX1658" fmla="*/ 1036762 w 2105494"/>
              <a:gd name="connsiteY1658" fmla="*/ 1270940 h 1430663"/>
              <a:gd name="connsiteX1659" fmla="*/ 1034479 w 2105494"/>
              <a:gd name="connsiteY1659" fmla="*/ 1270940 h 1430663"/>
              <a:gd name="connsiteX1660" fmla="*/ 1032195 w 2105494"/>
              <a:gd name="connsiteY1660" fmla="*/ 1270940 h 1430663"/>
              <a:gd name="connsiteX1661" fmla="*/ 1032195 w 2105494"/>
              <a:gd name="connsiteY1661" fmla="*/ 1273222 h 1430663"/>
              <a:gd name="connsiteX1662" fmla="*/ 1029911 w 2105494"/>
              <a:gd name="connsiteY1662" fmla="*/ 1273222 h 1430663"/>
              <a:gd name="connsiteX1663" fmla="*/ 1029911 w 2105494"/>
              <a:gd name="connsiteY1663" fmla="*/ 1275504 h 1430663"/>
              <a:gd name="connsiteX1664" fmla="*/ 1027628 w 2105494"/>
              <a:gd name="connsiteY1664" fmla="*/ 1275504 h 1430663"/>
              <a:gd name="connsiteX1665" fmla="*/ 1027628 w 2105494"/>
              <a:gd name="connsiteY1665" fmla="*/ 1277786 h 1430663"/>
              <a:gd name="connsiteX1666" fmla="*/ 1025344 w 2105494"/>
              <a:gd name="connsiteY1666" fmla="*/ 1277786 h 1430663"/>
              <a:gd name="connsiteX1667" fmla="*/ 1025344 w 2105494"/>
              <a:gd name="connsiteY1667" fmla="*/ 1280068 h 1430663"/>
              <a:gd name="connsiteX1668" fmla="*/ 1023061 w 2105494"/>
              <a:gd name="connsiteY1668" fmla="*/ 1280068 h 1430663"/>
              <a:gd name="connsiteX1669" fmla="*/ 1023061 w 2105494"/>
              <a:gd name="connsiteY1669" fmla="*/ 1282349 h 1430663"/>
              <a:gd name="connsiteX1670" fmla="*/ 1020777 w 2105494"/>
              <a:gd name="connsiteY1670" fmla="*/ 1282349 h 1430663"/>
              <a:gd name="connsiteX1671" fmla="*/ 1020777 w 2105494"/>
              <a:gd name="connsiteY1671" fmla="*/ 1284631 h 1430663"/>
              <a:gd name="connsiteX1672" fmla="*/ 1018493 w 2105494"/>
              <a:gd name="connsiteY1672" fmla="*/ 1286913 h 1430663"/>
              <a:gd name="connsiteX1673" fmla="*/ 1018493 w 2105494"/>
              <a:gd name="connsiteY1673" fmla="*/ 1289195 h 1430663"/>
              <a:gd name="connsiteX1674" fmla="*/ 1016210 w 2105494"/>
              <a:gd name="connsiteY1674" fmla="*/ 1289195 h 1430663"/>
              <a:gd name="connsiteX1675" fmla="*/ 1016210 w 2105494"/>
              <a:gd name="connsiteY1675" fmla="*/ 1291477 h 1430663"/>
              <a:gd name="connsiteX1676" fmla="*/ 1016210 w 2105494"/>
              <a:gd name="connsiteY1676" fmla="*/ 1293759 h 1430663"/>
              <a:gd name="connsiteX1677" fmla="*/ 1016210 w 2105494"/>
              <a:gd name="connsiteY1677" fmla="*/ 1296041 h 1430663"/>
              <a:gd name="connsiteX1678" fmla="*/ 1013926 w 2105494"/>
              <a:gd name="connsiteY1678" fmla="*/ 1296041 h 1430663"/>
              <a:gd name="connsiteX1679" fmla="*/ 1013926 w 2105494"/>
              <a:gd name="connsiteY1679" fmla="*/ 1298323 h 1430663"/>
              <a:gd name="connsiteX1680" fmla="*/ 1013926 w 2105494"/>
              <a:gd name="connsiteY1680" fmla="*/ 1296041 h 1430663"/>
              <a:gd name="connsiteX1681" fmla="*/ 1011643 w 2105494"/>
              <a:gd name="connsiteY1681" fmla="*/ 1296041 h 1430663"/>
              <a:gd name="connsiteX1682" fmla="*/ 1009359 w 2105494"/>
              <a:gd name="connsiteY1682" fmla="*/ 1296041 h 1430663"/>
              <a:gd name="connsiteX1683" fmla="*/ 1009359 w 2105494"/>
              <a:gd name="connsiteY1683" fmla="*/ 1298323 h 1430663"/>
              <a:gd name="connsiteX1684" fmla="*/ 1007076 w 2105494"/>
              <a:gd name="connsiteY1684" fmla="*/ 1298323 h 1430663"/>
              <a:gd name="connsiteX1685" fmla="*/ 1004792 w 2105494"/>
              <a:gd name="connsiteY1685" fmla="*/ 1298323 h 1430663"/>
              <a:gd name="connsiteX1686" fmla="*/ 1002508 w 2105494"/>
              <a:gd name="connsiteY1686" fmla="*/ 1298323 h 1430663"/>
              <a:gd name="connsiteX1687" fmla="*/ 1000225 w 2105494"/>
              <a:gd name="connsiteY1687" fmla="*/ 1298323 h 1430663"/>
              <a:gd name="connsiteX1688" fmla="*/ 997941 w 2105494"/>
              <a:gd name="connsiteY1688" fmla="*/ 1298323 h 1430663"/>
              <a:gd name="connsiteX1689" fmla="*/ 995657 w 2105494"/>
              <a:gd name="connsiteY1689" fmla="*/ 1298323 h 1430663"/>
              <a:gd name="connsiteX1690" fmla="*/ 993374 w 2105494"/>
              <a:gd name="connsiteY1690" fmla="*/ 1298323 h 1430663"/>
              <a:gd name="connsiteX1691" fmla="*/ 991090 w 2105494"/>
              <a:gd name="connsiteY1691" fmla="*/ 1298323 h 1430663"/>
              <a:gd name="connsiteX1692" fmla="*/ 991090 w 2105494"/>
              <a:gd name="connsiteY1692" fmla="*/ 1300605 h 1430663"/>
              <a:gd name="connsiteX1693" fmla="*/ 988807 w 2105494"/>
              <a:gd name="connsiteY1693" fmla="*/ 1300605 h 1430663"/>
              <a:gd name="connsiteX1694" fmla="*/ 988807 w 2105494"/>
              <a:gd name="connsiteY1694" fmla="*/ 1302887 h 1430663"/>
              <a:gd name="connsiteX1695" fmla="*/ 988807 w 2105494"/>
              <a:gd name="connsiteY1695" fmla="*/ 1305168 h 1430663"/>
              <a:gd name="connsiteX1696" fmla="*/ 986523 w 2105494"/>
              <a:gd name="connsiteY1696" fmla="*/ 1305168 h 1430663"/>
              <a:gd name="connsiteX1697" fmla="*/ 986523 w 2105494"/>
              <a:gd name="connsiteY1697" fmla="*/ 1307450 h 1430663"/>
              <a:gd name="connsiteX1698" fmla="*/ 986523 w 2105494"/>
              <a:gd name="connsiteY1698" fmla="*/ 1309732 h 1430663"/>
              <a:gd name="connsiteX1699" fmla="*/ 984240 w 2105494"/>
              <a:gd name="connsiteY1699" fmla="*/ 1309732 h 1430663"/>
              <a:gd name="connsiteX1700" fmla="*/ 984240 w 2105494"/>
              <a:gd name="connsiteY1700" fmla="*/ 1312014 h 1430663"/>
              <a:gd name="connsiteX1701" fmla="*/ 981956 w 2105494"/>
              <a:gd name="connsiteY1701" fmla="*/ 1312014 h 1430663"/>
              <a:gd name="connsiteX1702" fmla="*/ 979672 w 2105494"/>
              <a:gd name="connsiteY1702" fmla="*/ 1312014 h 1430663"/>
              <a:gd name="connsiteX1703" fmla="*/ 979672 w 2105494"/>
              <a:gd name="connsiteY1703" fmla="*/ 1314296 h 1430663"/>
              <a:gd name="connsiteX1704" fmla="*/ 977389 w 2105494"/>
              <a:gd name="connsiteY1704" fmla="*/ 1314296 h 1430663"/>
              <a:gd name="connsiteX1705" fmla="*/ 977389 w 2105494"/>
              <a:gd name="connsiteY1705" fmla="*/ 1316578 h 1430663"/>
              <a:gd name="connsiteX1706" fmla="*/ 977389 w 2105494"/>
              <a:gd name="connsiteY1706" fmla="*/ 1318860 h 1430663"/>
              <a:gd name="connsiteX1707" fmla="*/ 979672 w 2105494"/>
              <a:gd name="connsiteY1707" fmla="*/ 1318860 h 1430663"/>
              <a:gd name="connsiteX1708" fmla="*/ 979672 w 2105494"/>
              <a:gd name="connsiteY1708" fmla="*/ 1321142 h 1430663"/>
              <a:gd name="connsiteX1709" fmla="*/ 981956 w 2105494"/>
              <a:gd name="connsiteY1709" fmla="*/ 1321142 h 1430663"/>
              <a:gd name="connsiteX1710" fmla="*/ 984240 w 2105494"/>
              <a:gd name="connsiteY1710" fmla="*/ 1321142 h 1430663"/>
              <a:gd name="connsiteX1711" fmla="*/ 984240 w 2105494"/>
              <a:gd name="connsiteY1711" fmla="*/ 1323424 h 1430663"/>
              <a:gd name="connsiteX1712" fmla="*/ 984240 w 2105494"/>
              <a:gd name="connsiteY1712" fmla="*/ 1325706 h 1430663"/>
              <a:gd name="connsiteX1713" fmla="*/ 984240 w 2105494"/>
              <a:gd name="connsiteY1713" fmla="*/ 1327987 h 1430663"/>
              <a:gd name="connsiteX1714" fmla="*/ 981956 w 2105494"/>
              <a:gd name="connsiteY1714" fmla="*/ 1327987 h 1430663"/>
              <a:gd name="connsiteX1715" fmla="*/ 981956 w 2105494"/>
              <a:gd name="connsiteY1715" fmla="*/ 1330269 h 1430663"/>
              <a:gd name="connsiteX1716" fmla="*/ 979672 w 2105494"/>
              <a:gd name="connsiteY1716" fmla="*/ 1330269 h 1430663"/>
              <a:gd name="connsiteX1717" fmla="*/ 977389 w 2105494"/>
              <a:gd name="connsiteY1717" fmla="*/ 1330269 h 1430663"/>
              <a:gd name="connsiteX1718" fmla="*/ 977389 w 2105494"/>
              <a:gd name="connsiteY1718" fmla="*/ 1332551 h 1430663"/>
              <a:gd name="connsiteX1719" fmla="*/ 975105 w 2105494"/>
              <a:gd name="connsiteY1719" fmla="*/ 1332551 h 1430663"/>
              <a:gd name="connsiteX1720" fmla="*/ 972822 w 2105494"/>
              <a:gd name="connsiteY1720" fmla="*/ 1332551 h 1430663"/>
              <a:gd name="connsiteX1721" fmla="*/ 972822 w 2105494"/>
              <a:gd name="connsiteY1721" fmla="*/ 1334833 h 1430663"/>
              <a:gd name="connsiteX1722" fmla="*/ 970538 w 2105494"/>
              <a:gd name="connsiteY1722" fmla="*/ 1334833 h 1430663"/>
              <a:gd name="connsiteX1723" fmla="*/ 968254 w 2105494"/>
              <a:gd name="connsiteY1723" fmla="*/ 1334833 h 1430663"/>
              <a:gd name="connsiteX1724" fmla="*/ 965971 w 2105494"/>
              <a:gd name="connsiteY1724" fmla="*/ 1334833 h 1430663"/>
              <a:gd name="connsiteX1725" fmla="*/ 965971 w 2105494"/>
              <a:gd name="connsiteY1725" fmla="*/ 1337115 h 1430663"/>
              <a:gd name="connsiteX1726" fmla="*/ 963687 w 2105494"/>
              <a:gd name="connsiteY1726" fmla="*/ 1337115 h 1430663"/>
              <a:gd name="connsiteX1727" fmla="*/ 961403 w 2105494"/>
              <a:gd name="connsiteY1727" fmla="*/ 1337115 h 1430663"/>
              <a:gd name="connsiteX1728" fmla="*/ 961403 w 2105494"/>
              <a:gd name="connsiteY1728" fmla="*/ 1339397 h 1430663"/>
              <a:gd name="connsiteX1729" fmla="*/ 961403 w 2105494"/>
              <a:gd name="connsiteY1729" fmla="*/ 1341679 h 1430663"/>
              <a:gd name="connsiteX1730" fmla="*/ 959120 w 2105494"/>
              <a:gd name="connsiteY1730" fmla="*/ 1341679 h 1430663"/>
              <a:gd name="connsiteX1731" fmla="*/ 959120 w 2105494"/>
              <a:gd name="connsiteY1731" fmla="*/ 1343961 h 1430663"/>
              <a:gd name="connsiteX1732" fmla="*/ 959120 w 2105494"/>
              <a:gd name="connsiteY1732" fmla="*/ 1346243 h 1430663"/>
              <a:gd name="connsiteX1733" fmla="*/ 956836 w 2105494"/>
              <a:gd name="connsiteY1733" fmla="*/ 1346243 h 1430663"/>
              <a:gd name="connsiteX1734" fmla="*/ 956836 w 2105494"/>
              <a:gd name="connsiteY1734" fmla="*/ 1348524 h 1430663"/>
              <a:gd name="connsiteX1735" fmla="*/ 954553 w 2105494"/>
              <a:gd name="connsiteY1735" fmla="*/ 1348524 h 1430663"/>
              <a:gd name="connsiteX1736" fmla="*/ 954553 w 2105494"/>
              <a:gd name="connsiteY1736" fmla="*/ 1350806 h 1430663"/>
              <a:gd name="connsiteX1737" fmla="*/ 952269 w 2105494"/>
              <a:gd name="connsiteY1737" fmla="*/ 1350806 h 1430663"/>
              <a:gd name="connsiteX1738" fmla="*/ 949986 w 2105494"/>
              <a:gd name="connsiteY1738" fmla="*/ 1350806 h 1430663"/>
              <a:gd name="connsiteX1739" fmla="*/ 949986 w 2105494"/>
              <a:gd name="connsiteY1739" fmla="*/ 1353088 h 1430663"/>
              <a:gd name="connsiteX1740" fmla="*/ 947702 w 2105494"/>
              <a:gd name="connsiteY1740" fmla="*/ 1353088 h 1430663"/>
              <a:gd name="connsiteX1741" fmla="*/ 945418 w 2105494"/>
              <a:gd name="connsiteY1741" fmla="*/ 1353088 h 1430663"/>
              <a:gd name="connsiteX1742" fmla="*/ 943135 w 2105494"/>
              <a:gd name="connsiteY1742" fmla="*/ 1353088 h 1430663"/>
              <a:gd name="connsiteX1743" fmla="*/ 940851 w 2105494"/>
              <a:gd name="connsiteY1743" fmla="*/ 1353088 h 1430663"/>
              <a:gd name="connsiteX1744" fmla="*/ 938568 w 2105494"/>
              <a:gd name="connsiteY1744" fmla="*/ 1353088 h 1430663"/>
              <a:gd name="connsiteX1745" fmla="*/ 938568 w 2105494"/>
              <a:gd name="connsiteY1745" fmla="*/ 1355370 h 1430663"/>
              <a:gd name="connsiteX1746" fmla="*/ 938568 w 2105494"/>
              <a:gd name="connsiteY1746" fmla="*/ 1357652 h 1430663"/>
              <a:gd name="connsiteX1747" fmla="*/ 940851 w 2105494"/>
              <a:gd name="connsiteY1747" fmla="*/ 1357652 h 1430663"/>
              <a:gd name="connsiteX1748" fmla="*/ 938568 w 2105494"/>
              <a:gd name="connsiteY1748" fmla="*/ 1357652 h 1430663"/>
              <a:gd name="connsiteX1749" fmla="*/ 940851 w 2105494"/>
              <a:gd name="connsiteY1749" fmla="*/ 1357652 h 1430663"/>
              <a:gd name="connsiteX1750" fmla="*/ 940851 w 2105494"/>
              <a:gd name="connsiteY1750" fmla="*/ 1359934 h 1430663"/>
              <a:gd name="connsiteX1751" fmla="*/ 940851 w 2105494"/>
              <a:gd name="connsiteY1751" fmla="*/ 1362216 h 1430663"/>
              <a:gd name="connsiteX1752" fmla="*/ 938568 w 2105494"/>
              <a:gd name="connsiteY1752" fmla="*/ 1362216 h 1430663"/>
              <a:gd name="connsiteX1753" fmla="*/ 938568 w 2105494"/>
              <a:gd name="connsiteY1753" fmla="*/ 1364498 h 1430663"/>
              <a:gd name="connsiteX1754" fmla="*/ 936284 w 2105494"/>
              <a:gd name="connsiteY1754" fmla="*/ 1364498 h 1430663"/>
              <a:gd name="connsiteX1755" fmla="*/ 936284 w 2105494"/>
              <a:gd name="connsiteY1755" fmla="*/ 1366780 h 1430663"/>
              <a:gd name="connsiteX1756" fmla="*/ 934001 w 2105494"/>
              <a:gd name="connsiteY1756" fmla="*/ 1366780 h 1430663"/>
              <a:gd name="connsiteX1757" fmla="*/ 934001 w 2105494"/>
              <a:gd name="connsiteY1757" fmla="*/ 1369062 h 1430663"/>
              <a:gd name="connsiteX1758" fmla="*/ 934001 w 2105494"/>
              <a:gd name="connsiteY1758" fmla="*/ 1371343 h 1430663"/>
              <a:gd name="connsiteX1759" fmla="*/ 931717 w 2105494"/>
              <a:gd name="connsiteY1759" fmla="*/ 1371343 h 1430663"/>
              <a:gd name="connsiteX1760" fmla="*/ 929433 w 2105494"/>
              <a:gd name="connsiteY1760" fmla="*/ 1371343 h 1430663"/>
              <a:gd name="connsiteX1761" fmla="*/ 929433 w 2105494"/>
              <a:gd name="connsiteY1761" fmla="*/ 1373625 h 1430663"/>
              <a:gd name="connsiteX1762" fmla="*/ 927150 w 2105494"/>
              <a:gd name="connsiteY1762" fmla="*/ 1373625 h 1430663"/>
              <a:gd name="connsiteX1763" fmla="*/ 927150 w 2105494"/>
              <a:gd name="connsiteY1763" fmla="*/ 1375907 h 1430663"/>
              <a:gd name="connsiteX1764" fmla="*/ 924866 w 2105494"/>
              <a:gd name="connsiteY1764" fmla="*/ 1375907 h 1430663"/>
              <a:gd name="connsiteX1765" fmla="*/ 924866 w 2105494"/>
              <a:gd name="connsiteY1765" fmla="*/ 1378189 h 1430663"/>
              <a:gd name="connsiteX1766" fmla="*/ 924866 w 2105494"/>
              <a:gd name="connsiteY1766" fmla="*/ 1380471 h 1430663"/>
              <a:gd name="connsiteX1767" fmla="*/ 927150 w 2105494"/>
              <a:gd name="connsiteY1767" fmla="*/ 1380471 h 1430663"/>
              <a:gd name="connsiteX1768" fmla="*/ 927150 w 2105494"/>
              <a:gd name="connsiteY1768" fmla="*/ 1382753 h 1430663"/>
              <a:gd name="connsiteX1769" fmla="*/ 929433 w 2105494"/>
              <a:gd name="connsiteY1769" fmla="*/ 1382753 h 1430663"/>
              <a:gd name="connsiteX1770" fmla="*/ 929433 w 2105494"/>
              <a:gd name="connsiteY1770" fmla="*/ 1385025 h 1430663"/>
              <a:gd name="connsiteX1771" fmla="*/ 929433 w 2105494"/>
              <a:gd name="connsiteY1771" fmla="*/ 1387307 h 1430663"/>
              <a:gd name="connsiteX1772" fmla="*/ 931717 w 2105494"/>
              <a:gd name="connsiteY1772" fmla="*/ 1387307 h 1430663"/>
              <a:gd name="connsiteX1773" fmla="*/ 931717 w 2105494"/>
              <a:gd name="connsiteY1773" fmla="*/ 1389589 h 1430663"/>
              <a:gd name="connsiteX1774" fmla="*/ 929433 w 2105494"/>
              <a:gd name="connsiteY1774" fmla="*/ 1389589 h 1430663"/>
              <a:gd name="connsiteX1775" fmla="*/ 929433 w 2105494"/>
              <a:gd name="connsiteY1775" fmla="*/ 1391871 h 1430663"/>
              <a:gd name="connsiteX1776" fmla="*/ 927150 w 2105494"/>
              <a:gd name="connsiteY1776" fmla="*/ 1391871 h 1430663"/>
              <a:gd name="connsiteX1777" fmla="*/ 927150 w 2105494"/>
              <a:gd name="connsiteY1777" fmla="*/ 1394153 h 1430663"/>
              <a:gd name="connsiteX1778" fmla="*/ 927150 w 2105494"/>
              <a:gd name="connsiteY1778" fmla="*/ 1396435 h 1430663"/>
              <a:gd name="connsiteX1779" fmla="*/ 924866 w 2105494"/>
              <a:gd name="connsiteY1779" fmla="*/ 1396435 h 1430663"/>
              <a:gd name="connsiteX1780" fmla="*/ 924866 w 2105494"/>
              <a:gd name="connsiteY1780" fmla="*/ 1398717 h 1430663"/>
              <a:gd name="connsiteX1781" fmla="*/ 922582 w 2105494"/>
              <a:gd name="connsiteY1781" fmla="*/ 1398717 h 1430663"/>
              <a:gd name="connsiteX1782" fmla="*/ 922582 w 2105494"/>
              <a:gd name="connsiteY1782" fmla="*/ 1400999 h 1430663"/>
              <a:gd name="connsiteX1783" fmla="*/ 920299 w 2105494"/>
              <a:gd name="connsiteY1783" fmla="*/ 1400999 h 1430663"/>
              <a:gd name="connsiteX1784" fmla="*/ 920299 w 2105494"/>
              <a:gd name="connsiteY1784" fmla="*/ 1403280 h 1430663"/>
              <a:gd name="connsiteX1785" fmla="*/ 920299 w 2105494"/>
              <a:gd name="connsiteY1785" fmla="*/ 1405562 h 1430663"/>
              <a:gd name="connsiteX1786" fmla="*/ 920299 w 2105494"/>
              <a:gd name="connsiteY1786" fmla="*/ 1407844 h 1430663"/>
              <a:gd name="connsiteX1787" fmla="*/ 920299 w 2105494"/>
              <a:gd name="connsiteY1787" fmla="*/ 1410126 h 1430663"/>
              <a:gd name="connsiteX1788" fmla="*/ 918015 w 2105494"/>
              <a:gd name="connsiteY1788" fmla="*/ 1410126 h 1430663"/>
              <a:gd name="connsiteX1789" fmla="*/ 918015 w 2105494"/>
              <a:gd name="connsiteY1789" fmla="*/ 1412408 h 1430663"/>
              <a:gd name="connsiteX1790" fmla="*/ 915732 w 2105494"/>
              <a:gd name="connsiteY1790" fmla="*/ 1412408 h 1430663"/>
              <a:gd name="connsiteX1791" fmla="*/ 913448 w 2105494"/>
              <a:gd name="connsiteY1791" fmla="*/ 1412408 h 1430663"/>
              <a:gd name="connsiteX1792" fmla="*/ 911164 w 2105494"/>
              <a:gd name="connsiteY1792" fmla="*/ 1412408 h 1430663"/>
              <a:gd name="connsiteX1793" fmla="*/ 908881 w 2105494"/>
              <a:gd name="connsiteY1793" fmla="*/ 1412408 h 1430663"/>
              <a:gd name="connsiteX1794" fmla="*/ 906597 w 2105494"/>
              <a:gd name="connsiteY1794" fmla="*/ 1412408 h 1430663"/>
              <a:gd name="connsiteX1795" fmla="*/ 904314 w 2105494"/>
              <a:gd name="connsiteY1795" fmla="*/ 1412408 h 1430663"/>
              <a:gd name="connsiteX1796" fmla="*/ 904314 w 2105494"/>
              <a:gd name="connsiteY1796" fmla="*/ 1414690 h 1430663"/>
              <a:gd name="connsiteX1797" fmla="*/ 902030 w 2105494"/>
              <a:gd name="connsiteY1797" fmla="*/ 1414690 h 1430663"/>
              <a:gd name="connsiteX1798" fmla="*/ 899746 w 2105494"/>
              <a:gd name="connsiteY1798" fmla="*/ 1414690 h 1430663"/>
              <a:gd name="connsiteX1799" fmla="*/ 899746 w 2105494"/>
              <a:gd name="connsiteY1799" fmla="*/ 1416972 h 1430663"/>
              <a:gd name="connsiteX1800" fmla="*/ 897463 w 2105494"/>
              <a:gd name="connsiteY1800" fmla="*/ 1416972 h 1430663"/>
              <a:gd name="connsiteX1801" fmla="*/ 897463 w 2105494"/>
              <a:gd name="connsiteY1801" fmla="*/ 1414690 h 1430663"/>
              <a:gd name="connsiteX1802" fmla="*/ 895179 w 2105494"/>
              <a:gd name="connsiteY1802" fmla="*/ 1414690 h 1430663"/>
              <a:gd name="connsiteX1803" fmla="*/ 895179 w 2105494"/>
              <a:gd name="connsiteY1803" fmla="*/ 1416972 h 1430663"/>
              <a:gd name="connsiteX1804" fmla="*/ 892896 w 2105494"/>
              <a:gd name="connsiteY1804" fmla="*/ 1416972 h 1430663"/>
              <a:gd name="connsiteX1805" fmla="*/ 890612 w 2105494"/>
              <a:gd name="connsiteY1805" fmla="*/ 1416972 h 1430663"/>
              <a:gd name="connsiteX1806" fmla="*/ 888328 w 2105494"/>
              <a:gd name="connsiteY1806" fmla="*/ 1416972 h 1430663"/>
              <a:gd name="connsiteX1807" fmla="*/ 886045 w 2105494"/>
              <a:gd name="connsiteY1807" fmla="*/ 1416972 h 1430663"/>
              <a:gd name="connsiteX1808" fmla="*/ 883761 w 2105494"/>
              <a:gd name="connsiteY1808" fmla="*/ 1416972 h 1430663"/>
              <a:gd name="connsiteX1809" fmla="*/ 881478 w 2105494"/>
              <a:gd name="connsiteY1809" fmla="*/ 1416972 h 1430663"/>
              <a:gd name="connsiteX1810" fmla="*/ 881478 w 2105494"/>
              <a:gd name="connsiteY1810" fmla="*/ 1419254 h 1430663"/>
              <a:gd name="connsiteX1811" fmla="*/ 881478 w 2105494"/>
              <a:gd name="connsiteY1811" fmla="*/ 1421535 h 1430663"/>
              <a:gd name="connsiteX1812" fmla="*/ 879194 w 2105494"/>
              <a:gd name="connsiteY1812" fmla="*/ 1421535 h 1430663"/>
              <a:gd name="connsiteX1813" fmla="*/ 879194 w 2105494"/>
              <a:gd name="connsiteY1813" fmla="*/ 1423818 h 1430663"/>
              <a:gd name="connsiteX1814" fmla="*/ 879194 w 2105494"/>
              <a:gd name="connsiteY1814" fmla="*/ 1426099 h 1430663"/>
              <a:gd name="connsiteX1815" fmla="*/ 876911 w 2105494"/>
              <a:gd name="connsiteY1815" fmla="*/ 1426099 h 1430663"/>
              <a:gd name="connsiteX1816" fmla="*/ 876911 w 2105494"/>
              <a:gd name="connsiteY1816" fmla="*/ 1428381 h 1430663"/>
              <a:gd name="connsiteX1817" fmla="*/ 876911 w 2105494"/>
              <a:gd name="connsiteY1817" fmla="*/ 1430663 h 1430663"/>
              <a:gd name="connsiteX1818" fmla="*/ 874627 w 2105494"/>
              <a:gd name="connsiteY1818" fmla="*/ 1430663 h 1430663"/>
              <a:gd name="connsiteX1819" fmla="*/ 863209 w 2105494"/>
              <a:gd name="connsiteY1819" fmla="*/ 1412408 h 1430663"/>
              <a:gd name="connsiteX1820" fmla="*/ 860925 w 2105494"/>
              <a:gd name="connsiteY1820" fmla="*/ 1410126 h 1430663"/>
              <a:gd name="connsiteX1821" fmla="*/ 854074 w 2105494"/>
              <a:gd name="connsiteY1821" fmla="*/ 1398717 h 1430663"/>
              <a:gd name="connsiteX1822" fmla="*/ 851791 w 2105494"/>
              <a:gd name="connsiteY1822" fmla="*/ 1394153 h 1430663"/>
              <a:gd name="connsiteX1823" fmla="*/ 851791 w 2105494"/>
              <a:gd name="connsiteY1823" fmla="*/ 1391871 h 1430663"/>
              <a:gd name="connsiteX1824" fmla="*/ 840373 w 2105494"/>
              <a:gd name="connsiteY1824" fmla="*/ 1375907 h 1430663"/>
              <a:gd name="connsiteX1825" fmla="*/ 831238 w 2105494"/>
              <a:gd name="connsiteY1825" fmla="*/ 1362216 h 1430663"/>
              <a:gd name="connsiteX1826" fmla="*/ 831238 w 2105494"/>
              <a:gd name="connsiteY1826" fmla="*/ 1359934 h 1430663"/>
              <a:gd name="connsiteX1827" fmla="*/ 828955 w 2105494"/>
              <a:gd name="connsiteY1827" fmla="*/ 1357652 h 1430663"/>
              <a:gd name="connsiteX1828" fmla="*/ 831238 w 2105494"/>
              <a:gd name="connsiteY1828" fmla="*/ 1355370 h 1430663"/>
              <a:gd name="connsiteX1829" fmla="*/ 833522 w 2105494"/>
              <a:gd name="connsiteY1829" fmla="*/ 1355370 h 1430663"/>
              <a:gd name="connsiteX1830" fmla="*/ 835806 w 2105494"/>
              <a:gd name="connsiteY1830" fmla="*/ 1353088 h 1430663"/>
              <a:gd name="connsiteX1831" fmla="*/ 835806 w 2105494"/>
              <a:gd name="connsiteY1831" fmla="*/ 1355370 h 1430663"/>
              <a:gd name="connsiteX1832" fmla="*/ 838089 w 2105494"/>
              <a:gd name="connsiteY1832" fmla="*/ 1355370 h 1430663"/>
              <a:gd name="connsiteX1833" fmla="*/ 838089 w 2105494"/>
              <a:gd name="connsiteY1833" fmla="*/ 1353088 h 1430663"/>
              <a:gd name="connsiteX1834" fmla="*/ 840373 w 2105494"/>
              <a:gd name="connsiteY1834" fmla="*/ 1353088 h 1430663"/>
              <a:gd name="connsiteX1835" fmla="*/ 838089 w 2105494"/>
              <a:gd name="connsiteY1835" fmla="*/ 1353088 h 1430663"/>
              <a:gd name="connsiteX1836" fmla="*/ 838089 w 2105494"/>
              <a:gd name="connsiteY1836" fmla="*/ 1350806 h 1430663"/>
              <a:gd name="connsiteX1837" fmla="*/ 840373 w 2105494"/>
              <a:gd name="connsiteY1837" fmla="*/ 1348524 h 1430663"/>
              <a:gd name="connsiteX1838" fmla="*/ 835806 w 2105494"/>
              <a:gd name="connsiteY1838" fmla="*/ 1348524 h 1430663"/>
              <a:gd name="connsiteX1839" fmla="*/ 838089 w 2105494"/>
              <a:gd name="connsiteY1839" fmla="*/ 1346243 h 1430663"/>
              <a:gd name="connsiteX1840" fmla="*/ 838089 w 2105494"/>
              <a:gd name="connsiteY1840" fmla="*/ 1343961 h 1430663"/>
              <a:gd name="connsiteX1841" fmla="*/ 840373 w 2105494"/>
              <a:gd name="connsiteY1841" fmla="*/ 1343961 h 1430663"/>
              <a:gd name="connsiteX1842" fmla="*/ 840373 w 2105494"/>
              <a:gd name="connsiteY1842" fmla="*/ 1341679 h 1430663"/>
              <a:gd name="connsiteX1843" fmla="*/ 842657 w 2105494"/>
              <a:gd name="connsiteY1843" fmla="*/ 1341679 h 1430663"/>
              <a:gd name="connsiteX1844" fmla="*/ 842657 w 2105494"/>
              <a:gd name="connsiteY1844" fmla="*/ 1339397 h 1430663"/>
              <a:gd name="connsiteX1845" fmla="*/ 844940 w 2105494"/>
              <a:gd name="connsiteY1845" fmla="*/ 1337115 h 1430663"/>
              <a:gd name="connsiteX1846" fmla="*/ 849507 w 2105494"/>
              <a:gd name="connsiteY1846" fmla="*/ 1332551 h 1430663"/>
              <a:gd name="connsiteX1847" fmla="*/ 851791 w 2105494"/>
              <a:gd name="connsiteY1847" fmla="*/ 1327987 h 1430663"/>
              <a:gd name="connsiteX1848" fmla="*/ 854074 w 2105494"/>
              <a:gd name="connsiteY1848" fmla="*/ 1325706 h 1430663"/>
              <a:gd name="connsiteX1849" fmla="*/ 856358 w 2105494"/>
              <a:gd name="connsiteY1849" fmla="*/ 1323424 h 1430663"/>
              <a:gd name="connsiteX1850" fmla="*/ 858642 w 2105494"/>
              <a:gd name="connsiteY1850" fmla="*/ 1321142 h 1430663"/>
              <a:gd name="connsiteX1851" fmla="*/ 860925 w 2105494"/>
              <a:gd name="connsiteY1851" fmla="*/ 1316578 h 1430663"/>
              <a:gd name="connsiteX1852" fmla="*/ 865492 w 2105494"/>
              <a:gd name="connsiteY1852" fmla="*/ 1309732 h 1430663"/>
              <a:gd name="connsiteX1853" fmla="*/ 870060 w 2105494"/>
              <a:gd name="connsiteY1853" fmla="*/ 1307450 h 1430663"/>
              <a:gd name="connsiteX1854" fmla="*/ 874627 w 2105494"/>
              <a:gd name="connsiteY1854" fmla="*/ 1300605 h 1430663"/>
              <a:gd name="connsiteX1855" fmla="*/ 876911 w 2105494"/>
              <a:gd name="connsiteY1855" fmla="*/ 1298323 h 1430663"/>
              <a:gd name="connsiteX1856" fmla="*/ 879194 w 2105494"/>
              <a:gd name="connsiteY1856" fmla="*/ 1296041 h 1430663"/>
              <a:gd name="connsiteX1857" fmla="*/ 890612 w 2105494"/>
              <a:gd name="connsiteY1857" fmla="*/ 1282349 h 1430663"/>
              <a:gd name="connsiteX1858" fmla="*/ 890612 w 2105494"/>
              <a:gd name="connsiteY1858" fmla="*/ 1280068 h 1430663"/>
              <a:gd name="connsiteX1859" fmla="*/ 895179 w 2105494"/>
              <a:gd name="connsiteY1859" fmla="*/ 1275504 h 1430663"/>
              <a:gd name="connsiteX1860" fmla="*/ 897463 w 2105494"/>
              <a:gd name="connsiteY1860" fmla="*/ 1273222 h 1430663"/>
              <a:gd name="connsiteX1861" fmla="*/ 902030 w 2105494"/>
              <a:gd name="connsiteY1861" fmla="*/ 1268658 h 1430663"/>
              <a:gd name="connsiteX1862" fmla="*/ 902030 w 2105494"/>
              <a:gd name="connsiteY1862" fmla="*/ 1266376 h 1430663"/>
              <a:gd name="connsiteX1863" fmla="*/ 906597 w 2105494"/>
              <a:gd name="connsiteY1863" fmla="*/ 1261812 h 1430663"/>
              <a:gd name="connsiteX1864" fmla="*/ 904314 w 2105494"/>
              <a:gd name="connsiteY1864" fmla="*/ 1259531 h 1430663"/>
              <a:gd name="connsiteX1865" fmla="*/ 902030 w 2105494"/>
              <a:gd name="connsiteY1865" fmla="*/ 1257249 h 1430663"/>
              <a:gd name="connsiteX1866" fmla="*/ 899746 w 2105494"/>
              <a:gd name="connsiteY1866" fmla="*/ 1257249 h 1430663"/>
              <a:gd name="connsiteX1867" fmla="*/ 895179 w 2105494"/>
              <a:gd name="connsiteY1867" fmla="*/ 1254967 h 1430663"/>
              <a:gd name="connsiteX1868" fmla="*/ 892896 w 2105494"/>
              <a:gd name="connsiteY1868" fmla="*/ 1254967 h 1430663"/>
              <a:gd name="connsiteX1869" fmla="*/ 890612 w 2105494"/>
              <a:gd name="connsiteY1869" fmla="*/ 1254967 h 1430663"/>
              <a:gd name="connsiteX1870" fmla="*/ 890612 w 2105494"/>
              <a:gd name="connsiteY1870" fmla="*/ 1252685 h 1430663"/>
              <a:gd name="connsiteX1871" fmla="*/ 888328 w 2105494"/>
              <a:gd name="connsiteY1871" fmla="*/ 1252685 h 1430663"/>
              <a:gd name="connsiteX1872" fmla="*/ 886045 w 2105494"/>
              <a:gd name="connsiteY1872" fmla="*/ 1252685 h 1430663"/>
              <a:gd name="connsiteX1873" fmla="*/ 881478 w 2105494"/>
              <a:gd name="connsiteY1873" fmla="*/ 1254967 h 1430663"/>
              <a:gd name="connsiteX1874" fmla="*/ 879194 w 2105494"/>
              <a:gd name="connsiteY1874" fmla="*/ 1254967 h 1430663"/>
              <a:gd name="connsiteX1875" fmla="*/ 874627 w 2105494"/>
              <a:gd name="connsiteY1875" fmla="*/ 1254967 h 1430663"/>
              <a:gd name="connsiteX1876" fmla="*/ 872343 w 2105494"/>
              <a:gd name="connsiteY1876" fmla="*/ 1254967 h 1430663"/>
              <a:gd name="connsiteX1877" fmla="*/ 870060 w 2105494"/>
              <a:gd name="connsiteY1877" fmla="*/ 1254967 h 1430663"/>
              <a:gd name="connsiteX1878" fmla="*/ 860925 w 2105494"/>
              <a:gd name="connsiteY1878" fmla="*/ 1257249 h 1430663"/>
              <a:gd name="connsiteX1879" fmla="*/ 856358 w 2105494"/>
              <a:gd name="connsiteY1879" fmla="*/ 1257249 h 1430663"/>
              <a:gd name="connsiteX1880" fmla="*/ 851791 w 2105494"/>
              <a:gd name="connsiteY1880" fmla="*/ 1259531 h 1430663"/>
              <a:gd name="connsiteX1881" fmla="*/ 847224 w 2105494"/>
              <a:gd name="connsiteY1881" fmla="*/ 1259531 h 1430663"/>
              <a:gd name="connsiteX1882" fmla="*/ 844940 w 2105494"/>
              <a:gd name="connsiteY1882" fmla="*/ 1259531 h 1430663"/>
              <a:gd name="connsiteX1883" fmla="*/ 842657 w 2105494"/>
              <a:gd name="connsiteY1883" fmla="*/ 1259531 h 1430663"/>
              <a:gd name="connsiteX1884" fmla="*/ 838089 w 2105494"/>
              <a:gd name="connsiteY1884" fmla="*/ 1259531 h 1430663"/>
              <a:gd name="connsiteX1885" fmla="*/ 835806 w 2105494"/>
              <a:gd name="connsiteY1885" fmla="*/ 1259531 h 1430663"/>
              <a:gd name="connsiteX1886" fmla="*/ 833522 w 2105494"/>
              <a:gd name="connsiteY1886" fmla="*/ 1259531 h 1430663"/>
              <a:gd name="connsiteX1887" fmla="*/ 828955 w 2105494"/>
              <a:gd name="connsiteY1887" fmla="*/ 1261812 h 1430663"/>
              <a:gd name="connsiteX1888" fmla="*/ 826671 w 2105494"/>
              <a:gd name="connsiteY1888" fmla="*/ 1261812 h 1430663"/>
              <a:gd name="connsiteX1889" fmla="*/ 824388 w 2105494"/>
              <a:gd name="connsiteY1889" fmla="*/ 1261812 h 1430663"/>
              <a:gd name="connsiteX1890" fmla="*/ 822104 w 2105494"/>
              <a:gd name="connsiteY1890" fmla="*/ 1261812 h 1430663"/>
              <a:gd name="connsiteX1891" fmla="*/ 819821 w 2105494"/>
              <a:gd name="connsiteY1891" fmla="*/ 1261812 h 1430663"/>
              <a:gd name="connsiteX1892" fmla="*/ 817537 w 2105494"/>
              <a:gd name="connsiteY1892" fmla="*/ 1264094 h 1430663"/>
              <a:gd name="connsiteX1893" fmla="*/ 815253 w 2105494"/>
              <a:gd name="connsiteY1893" fmla="*/ 1261812 h 1430663"/>
              <a:gd name="connsiteX1894" fmla="*/ 815253 w 2105494"/>
              <a:gd name="connsiteY1894" fmla="*/ 1259531 h 1430663"/>
              <a:gd name="connsiteX1895" fmla="*/ 812970 w 2105494"/>
              <a:gd name="connsiteY1895" fmla="*/ 1257249 h 1430663"/>
              <a:gd name="connsiteX1896" fmla="*/ 815253 w 2105494"/>
              <a:gd name="connsiteY1896" fmla="*/ 1254967 h 1430663"/>
              <a:gd name="connsiteX1897" fmla="*/ 815253 w 2105494"/>
              <a:gd name="connsiteY1897" fmla="*/ 1252685 h 1430663"/>
              <a:gd name="connsiteX1898" fmla="*/ 815253 w 2105494"/>
              <a:gd name="connsiteY1898" fmla="*/ 1250403 h 1430663"/>
              <a:gd name="connsiteX1899" fmla="*/ 815253 w 2105494"/>
              <a:gd name="connsiteY1899" fmla="*/ 1248121 h 1430663"/>
              <a:gd name="connsiteX1900" fmla="*/ 815253 w 2105494"/>
              <a:gd name="connsiteY1900" fmla="*/ 1245839 h 1430663"/>
              <a:gd name="connsiteX1901" fmla="*/ 815253 w 2105494"/>
              <a:gd name="connsiteY1901" fmla="*/ 1243557 h 1430663"/>
              <a:gd name="connsiteX1902" fmla="*/ 815253 w 2105494"/>
              <a:gd name="connsiteY1902" fmla="*/ 1241275 h 1430663"/>
              <a:gd name="connsiteX1903" fmla="*/ 812970 w 2105494"/>
              <a:gd name="connsiteY1903" fmla="*/ 1241275 h 1430663"/>
              <a:gd name="connsiteX1904" fmla="*/ 812970 w 2105494"/>
              <a:gd name="connsiteY1904" fmla="*/ 1238993 h 1430663"/>
              <a:gd name="connsiteX1905" fmla="*/ 810686 w 2105494"/>
              <a:gd name="connsiteY1905" fmla="*/ 1238993 h 1430663"/>
              <a:gd name="connsiteX1906" fmla="*/ 810686 w 2105494"/>
              <a:gd name="connsiteY1906" fmla="*/ 1236712 h 1430663"/>
              <a:gd name="connsiteX1907" fmla="*/ 810686 w 2105494"/>
              <a:gd name="connsiteY1907" fmla="*/ 1234430 h 1430663"/>
              <a:gd name="connsiteX1908" fmla="*/ 808403 w 2105494"/>
              <a:gd name="connsiteY1908" fmla="*/ 1234430 h 1430663"/>
              <a:gd name="connsiteX1909" fmla="*/ 808403 w 2105494"/>
              <a:gd name="connsiteY1909" fmla="*/ 1232148 h 1430663"/>
              <a:gd name="connsiteX1910" fmla="*/ 808403 w 2105494"/>
              <a:gd name="connsiteY1910" fmla="*/ 1229866 h 1430663"/>
              <a:gd name="connsiteX1911" fmla="*/ 808403 w 2105494"/>
              <a:gd name="connsiteY1911" fmla="*/ 1227594 h 1430663"/>
              <a:gd name="connsiteX1912" fmla="*/ 808403 w 2105494"/>
              <a:gd name="connsiteY1912" fmla="*/ 1225312 h 1430663"/>
              <a:gd name="connsiteX1913" fmla="*/ 810686 w 2105494"/>
              <a:gd name="connsiteY1913" fmla="*/ 1225312 h 1430663"/>
              <a:gd name="connsiteX1914" fmla="*/ 810686 w 2105494"/>
              <a:gd name="connsiteY1914" fmla="*/ 1223030 h 1430663"/>
              <a:gd name="connsiteX1915" fmla="*/ 808403 w 2105494"/>
              <a:gd name="connsiteY1915" fmla="*/ 1223030 h 1430663"/>
              <a:gd name="connsiteX1916" fmla="*/ 806119 w 2105494"/>
              <a:gd name="connsiteY1916" fmla="*/ 1225312 h 1430663"/>
              <a:gd name="connsiteX1917" fmla="*/ 803835 w 2105494"/>
              <a:gd name="connsiteY1917" fmla="*/ 1225312 h 1430663"/>
              <a:gd name="connsiteX1918" fmla="*/ 799268 w 2105494"/>
              <a:gd name="connsiteY1918" fmla="*/ 1225312 h 1430663"/>
              <a:gd name="connsiteX1919" fmla="*/ 801552 w 2105494"/>
              <a:gd name="connsiteY1919" fmla="*/ 1229866 h 1430663"/>
              <a:gd name="connsiteX1920" fmla="*/ 801552 w 2105494"/>
              <a:gd name="connsiteY1920" fmla="*/ 1232148 h 1430663"/>
              <a:gd name="connsiteX1921" fmla="*/ 801552 w 2105494"/>
              <a:gd name="connsiteY1921" fmla="*/ 1234430 h 1430663"/>
              <a:gd name="connsiteX1922" fmla="*/ 796984 w 2105494"/>
              <a:gd name="connsiteY1922" fmla="*/ 1236712 h 1430663"/>
              <a:gd name="connsiteX1923" fmla="*/ 794701 w 2105494"/>
              <a:gd name="connsiteY1923" fmla="*/ 1236712 h 1430663"/>
              <a:gd name="connsiteX1924" fmla="*/ 792417 w 2105494"/>
              <a:gd name="connsiteY1924" fmla="*/ 1236712 h 1430663"/>
              <a:gd name="connsiteX1925" fmla="*/ 790134 w 2105494"/>
              <a:gd name="connsiteY1925" fmla="*/ 1236712 h 1430663"/>
              <a:gd name="connsiteX1926" fmla="*/ 787850 w 2105494"/>
              <a:gd name="connsiteY1926" fmla="*/ 1238993 h 1430663"/>
              <a:gd name="connsiteX1927" fmla="*/ 785567 w 2105494"/>
              <a:gd name="connsiteY1927" fmla="*/ 1238993 h 1430663"/>
              <a:gd name="connsiteX1928" fmla="*/ 780999 w 2105494"/>
              <a:gd name="connsiteY1928" fmla="*/ 1238993 h 1430663"/>
              <a:gd name="connsiteX1929" fmla="*/ 776432 w 2105494"/>
              <a:gd name="connsiteY1929" fmla="*/ 1241275 h 1430663"/>
              <a:gd name="connsiteX1930" fmla="*/ 776432 w 2105494"/>
              <a:gd name="connsiteY1930" fmla="*/ 1243557 h 1430663"/>
              <a:gd name="connsiteX1931" fmla="*/ 776432 w 2105494"/>
              <a:gd name="connsiteY1931" fmla="*/ 1245839 h 1430663"/>
              <a:gd name="connsiteX1932" fmla="*/ 774149 w 2105494"/>
              <a:gd name="connsiteY1932" fmla="*/ 1245839 h 1430663"/>
              <a:gd name="connsiteX1933" fmla="*/ 774149 w 2105494"/>
              <a:gd name="connsiteY1933" fmla="*/ 1248121 h 1430663"/>
              <a:gd name="connsiteX1934" fmla="*/ 771865 w 2105494"/>
              <a:gd name="connsiteY1934" fmla="*/ 1248121 h 1430663"/>
              <a:gd name="connsiteX1935" fmla="*/ 771865 w 2105494"/>
              <a:gd name="connsiteY1935" fmla="*/ 1250403 h 1430663"/>
              <a:gd name="connsiteX1936" fmla="*/ 771865 w 2105494"/>
              <a:gd name="connsiteY1936" fmla="*/ 1252685 h 1430663"/>
              <a:gd name="connsiteX1937" fmla="*/ 774149 w 2105494"/>
              <a:gd name="connsiteY1937" fmla="*/ 1252685 h 1430663"/>
              <a:gd name="connsiteX1938" fmla="*/ 774149 w 2105494"/>
              <a:gd name="connsiteY1938" fmla="*/ 1254967 h 1430663"/>
              <a:gd name="connsiteX1939" fmla="*/ 771865 w 2105494"/>
              <a:gd name="connsiteY1939" fmla="*/ 1254967 h 1430663"/>
              <a:gd name="connsiteX1940" fmla="*/ 769582 w 2105494"/>
              <a:gd name="connsiteY1940" fmla="*/ 1254967 h 1430663"/>
              <a:gd name="connsiteX1941" fmla="*/ 769582 w 2105494"/>
              <a:gd name="connsiteY1941" fmla="*/ 1257249 h 1430663"/>
              <a:gd name="connsiteX1942" fmla="*/ 769582 w 2105494"/>
              <a:gd name="connsiteY1942" fmla="*/ 1259531 h 1430663"/>
              <a:gd name="connsiteX1943" fmla="*/ 771865 w 2105494"/>
              <a:gd name="connsiteY1943" fmla="*/ 1259531 h 1430663"/>
              <a:gd name="connsiteX1944" fmla="*/ 771865 w 2105494"/>
              <a:gd name="connsiteY1944" fmla="*/ 1261812 h 1430663"/>
              <a:gd name="connsiteX1945" fmla="*/ 771865 w 2105494"/>
              <a:gd name="connsiteY1945" fmla="*/ 1264094 h 1430663"/>
              <a:gd name="connsiteX1946" fmla="*/ 774149 w 2105494"/>
              <a:gd name="connsiteY1946" fmla="*/ 1264094 h 1430663"/>
              <a:gd name="connsiteX1947" fmla="*/ 774149 w 2105494"/>
              <a:gd name="connsiteY1947" fmla="*/ 1266376 h 1430663"/>
              <a:gd name="connsiteX1948" fmla="*/ 776432 w 2105494"/>
              <a:gd name="connsiteY1948" fmla="*/ 1266376 h 1430663"/>
              <a:gd name="connsiteX1949" fmla="*/ 776432 w 2105494"/>
              <a:gd name="connsiteY1949" fmla="*/ 1268658 h 1430663"/>
              <a:gd name="connsiteX1950" fmla="*/ 778716 w 2105494"/>
              <a:gd name="connsiteY1950" fmla="*/ 1268658 h 1430663"/>
              <a:gd name="connsiteX1951" fmla="*/ 778716 w 2105494"/>
              <a:gd name="connsiteY1951" fmla="*/ 1270940 h 1430663"/>
              <a:gd name="connsiteX1952" fmla="*/ 778716 w 2105494"/>
              <a:gd name="connsiteY1952" fmla="*/ 1273222 h 1430663"/>
              <a:gd name="connsiteX1953" fmla="*/ 778716 w 2105494"/>
              <a:gd name="connsiteY1953" fmla="*/ 1277786 h 1430663"/>
              <a:gd name="connsiteX1954" fmla="*/ 774149 w 2105494"/>
              <a:gd name="connsiteY1954" fmla="*/ 1280068 h 1430663"/>
              <a:gd name="connsiteX1955" fmla="*/ 771865 w 2105494"/>
              <a:gd name="connsiteY1955" fmla="*/ 1280068 h 1430663"/>
              <a:gd name="connsiteX1956" fmla="*/ 769582 w 2105494"/>
              <a:gd name="connsiteY1956" fmla="*/ 1289195 h 1430663"/>
              <a:gd name="connsiteX1957" fmla="*/ 771865 w 2105494"/>
              <a:gd name="connsiteY1957" fmla="*/ 1291477 h 1430663"/>
              <a:gd name="connsiteX1958" fmla="*/ 771865 w 2105494"/>
              <a:gd name="connsiteY1958" fmla="*/ 1293759 h 1430663"/>
              <a:gd name="connsiteX1959" fmla="*/ 771865 w 2105494"/>
              <a:gd name="connsiteY1959" fmla="*/ 1298323 h 1430663"/>
              <a:gd name="connsiteX1960" fmla="*/ 769582 w 2105494"/>
              <a:gd name="connsiteY1960" fmla="*/ 1298323 h 1430663"/>
              <a:gd name="connsiteX1961" fmla="*/ 767298 w 2105494"/>
              <a:gd name="connsiteY1961" fmla="*/ 1298323 h 1430663"/>
              <a:gd name="connsiteX1962" fmla="*/ 765014 w 2105494"/>
              <a:gd name="connsiteY1962" fmla="*/ 1300605 h 1430663"/>
              <a:gd name="connsiteX1963" fmla="*/ 767298 w 2105494"/>
              <a:gd name="connsiteY1963" fmla="*/ 1302887 h 1430663"/>
              <a:gd name="connsiteX1964" fmla="*/ 769582 w 2105494"/>
              <a:gd name="connsiteY1964" fmla="*/ 1305168 h 1430663"/>
              <a:gd name="connsiteX1965" fmla="*/ 780999 w 2105494"/>
              <a:gd name="connsiteY1965" fmla="*/ 1316578 h 1430663"/>
              <a:gd name="connsiteX1966" fmla="*/ 778716 w 2105494"/>
              <a:gd name="connsiteY1966" fmla="*/ 1316578 h 1430663"/>
              <a:gd name="connsiteX1967" fmla="*/ 778716 w 2105494"/>
              <a:gd name="connsiteY1967" fmla="*/ 1318860 h 1430663"/>
              <a:gd name="connsiteX1968" fmla="*/ 776432 w 2105494"/>
              <a:gd name="connsiteY1968" fmla="*/ 1318860 h 1430663"/>
              <a:gd name="connsiteX1969" fmla="*/ 776432 w 2105494"/>
              <a:gd name="connsiteY1969" fmla="*/ 1321142 h 1430663"/>
              <a:gd name="connsiteX1970" fmla="*/ 778716 w 2105494"/>
              <a:gd name="connsiteY1970" fmla="*/ 1321142 h 1430663"/>
              <a:gd name="connsiteX1971" fmla="*/ 778716 w 2105494"/>
              <a:gd name="connsiteY1971" fmla="*/ 1323424 h 1430663"/>
              <a:gd name="connsiteX1972" fmla="*/ 780999 w 2105494"/>
              <a:gd name="connsiteY1972" fmla="*/ 1323424 h 1430663"/>
              <a:gd name="connsiteX1973" fmla="*/ 778716 w 2105494"/>
              <a:gd name="connsiteY1973" fmla="*/ 1323424 h 1430663"/>
              <a:gd name="connsiteX1974" fmla="*/ 778716 w 2105494"/>
              <a:gd name="connsiteY1974" fmla="*/ 1325706 h 1430663"/>
              <a:gd name="connsiteX1975" fmla="*/ 776432 w 2105494"/>
              <a:gd name="connsiteY1975" fmla="*/ 1325706 h 1430663"/>
              <a:gd name="connsiteX1976" fmla="*/ 776432 w 2105494"/>
              <a:gd name="connsiteY1976" fmla="*/ 1323424 h 1430663"/>
              <a:gd name="connsiteX1977" fmla="*/ 776432 w 2105494"/>
              <a:gd name="connsiteY1977" fmla="*/ 1325706 h 1430663"/>
              <a:gd name="connsiteX1978" fmla="*/ 774149 w 2105494"/>
              <a:gd name="connsiteY1978" fmla="*/ 1325706 h 1430663"/>
              <a:gd name="connsiteX1979" fmla="*/ 774149 w 2105494"/>
              <a:gd name="connsiteY1979" fmla="*/ 1323424 h 1430663"/>
              <a:gd name="connsiteX1980" fmla="*/ 774149 w 2105494"/>
              <a:gd name="connsiteY1980" fmla="*/ 1325706 h 1430663"/>
              <a:gd name="connsiteX1981" fmla="*/ 771865 w 2105494"/>
              <a:gd name="connsiteY1981" fmla="*/ 1325706 h 1430663"/>
              <a:gd name="connsiteX1982" fmla="*/ 769582 w 2105494"/>
              <a:gd name="connsiteY1982" fmla="*/ 1325706 h 1430663"/>
              <a:gd name="connsiteX1983" fmla="*/ 767298 w 2105494"/>
              <a:gd name="connsiteY1983" fmla="*/ 1325706 h 1430663"/>
              <a:gd name="connsiteX1984" fmla="*/ 765014 w 2105494"/>
              <a:gd name="connsiteY1984" fmla="*/ 1325706 h 1430663"/>
              <a:gd name="connsiteX1985" fmla="*/ 765014 w 2105494"/>
              <a:gd name="connsiteY1985" fmla="*/ 1327987 h 1430663"/>
              <a:gd name="connsiteX1986" fmla="*/ 765014 w 2105494"/>
              <a:gd name="connsiteY1986" fmla="*/ 1330269 h 1430663"/>
              <a:gd name="connsiteX1987" fmla="*/ 765014 w 2105494"/>
              <a:gd name="connsiteY1987" fmla="*/ 1332551 h 1430663"/>
              <a:gd name="connsiteX1988" fmla="*/ 762731 w 2105494"/>
              <a:gd name="connsiteY1988" fmla="*/ 1332551 h 1430663"/>
              <a:gd name="connsiteX1989" fmla="*/ 765014 w 2105494"/>
              <a:gd name="connsiteY1989" fmla="*/ 1332551 h 1430663"/>
              <a:gd name="connsiteX1990" fmla="*/ 765014 w 2105494"/>
              <a:gd name="connsiteY1990" fmla="*/ 1334833 h 1430663"/>
              <a:gd name="connsiteX1991" fmla="*/ 762731 w 2105494"/>
              <a:gd name="connsiteY1991" fmla="*/ 1334833 h 1430663"/>
              <a:gd name="connsiteX1992" fmla="*/ 762731 w 2105494"/>
              <a:gd name="connsiteY1992" fmla="*/ 1337115 h 1430663"/>
              <a:gd name="connsiteX1993" fmla="*/ 762731 w 2105494"/>
              <a:gd name="connsiteY1993" fmla="*/ 1339397 h 1430663"/>
              <a:gd name="connsiteX1994" fmla="*/ 760447 w 2105494"/>
              <a:gd name="connsiteY1994" fmla="*/ 1339397 h 1430663"/>
              <a:gd name="connsiteX1995" fmla="*/ 760447 w 2105494"/>
              <a:gd name="connsiteY1995" fmla="*/ 1341679 h 1430663"/>
              <a:gd name="connsiteX1996" fmla="*/ 760447 w 2105494"/>
              <a:gd name="connsiteY1996" fmla="*/ 1339397 h 1430663"/>
              <a:gd name="connsiteX1997" fmla="*/ 760447 w 2105494"/>
              <a:gd name="connsiteY1997" fmla="*/ 1341679 h 1430663"/>
              <a:gd name="connsiteX1998" fmla="*/ 758163 w 2105494"/>
              <a:gd name="connsiteY1998" fmla="*/ 1341679 h 1430663"/>
              <a:gd name="connsiteX1999" fmla="*/ 755880 w 2105494"/>
              <a:gd name="connsiteY1999" fmla="*/ 1341679 h 1430663"/>
              <a:gd name="connsiteX2000" fmla="*/ 755880 w 2105494"/>
              <a:gd name="connsiteY2000" fmla="*/ 1343961 h 1430663"/>
              <a:gd name="connsiteX2001" fmla="*/ 755880 w 2105494"/>
              <a:gd name="connsiteY2001" fmla="*/ 1346243 h 1430663"/>
              <a:gd name="connsiteX2002" fmla="*/ 753596 w 2105494"/>
              <a:gd name="connsiteY2002" fmla="*/ 1346243 h 1430663"/>
              <a:gd name="connsiteX2003" fmla="*/ 753596 w 2105494"/>
              <a:gd name="connsiteY2003" fmla="*/ 1348524 h 1430663"/>
              <a:gd name="connsiteX2004" fmla="*/ 753596 w 2105494"/>
              <a:gd name="connsiteY2004" fmla="*/ 1346243 h 1430663"/>
              <a:gd name="connsiteX2005" fmla="*/ 753596 w 2105494"/>
              <a:gd name="connsiteY2005" fmla="*/ 1348524 h 1430663"/>
              <a:gd name="connsiteX2006" fmla="*/ 751313 w 2105494"/>
              <a:gd name="connsiteY2006" fmla="*/ 1348524 h 1430663"/>
              <a:gd name="connsiteX2007" fmla="*/ 751313 w 2105494"/>
              <a:gd name="connsiteY2007" fmla="*/ 1346243 h 1430663"/>
              <a:gd name="connsiteX2008" fmla="*/ 749029 w 2105494"/>
              <a:gd name="connsiteY2008" fmla="*/ 1346243 h 1430663"/>
              <a:gd name="connsiteX2009" fmla="*/ 749029 w 2105494"/>
              <a:gd name="connsiteY2009" fmla="*/ 1343961 h 1430663"/>
              <a:gd name="connsiteX2010" fmla="*/ 746745 w 2105494"/>
              <a:gd name="connsiteY2010" fmla="*/ 1343961 h 1430663"/>
              <a:gd name="connsiteX2011" fmla="*/ 746745 w 2105494"/>
              <a:gd name="connsiteY2011" fmla="*/ 1346243 h 1430663"/>
              <a:gd name="connsiteX2012" fmla="*/ 746745 w 2105494"/>
              <a:gd name="connsiteY2012" fmla="*/ 1348524 h 1430663"/>
              <a:gd name="connsiteX2013" fmla="*/ 749029 w 2105494"/>
              <a:gd name="connsiteY2013" fmla="*/ 1348524 h 1430663"/>
              <a:gd name="connsiteX2014" fmla="*/ 749029 w 2105494"/>
              <a:gd name="connsiteY2014" fmla="*/ 1350806 h 1430663"/>
              <a:gd name="connsiteX2015" fmla="*/ 751313 w 2105494"/>
              <a:gd name="connsiteY2015" fmla="*/ 1350806 h 1430663"/>
              <a:gd name="connsiteX2016" fmla="*/ 751313 w 2105494"/>
              <a:gd name="connsiteY2016" fmla="*/ 1353088 h 1430663"/>
              <a:gd name="connsiteX2017" fmla="*/ 751313 w 2105494"/>
              <a:gd name="connsiteY2017" fmla="*/ 1355370 h 1430663"/>
              <a:gd name="connsiteX2018" fmla="*/ 753596 w 2105494"/>
              <a:gd name="connsiteY2018" fmla="*/ 1355370 h 1430663"/>
              <a:gd name="connsiteX2019" fmla="*/ 753596 w 2105494"/>
              <a:gd name="connsiteY2019" fmla="*/ 1357652 h 1430663"/>
              <a:gd name="connsiteX2020" fmla="*/ 755880 w 2105494"/>
              <a:gd name="connsiteY2020" fmla="*/ 1357652 h 1430663"/>
              <a:gd name="connsiteX2021" fmla="*/ 753596 w 2105494"/>
              <a:gd name="connsiteY2021" fmla="*/ 1357652 h 1430663"/>
              <a:gd name="connsiteX2022" fmla="*/ 755880 w 2105494"/>
              <a:gd name="connsiteY2022" fmla="*/ 1357652 h 1430663"/>
              <a:gd name="connsiteX2023" fmla="*/ 755880 w 2105494"/>
              <a:gd name="connsiteY2023" fmla="*/ 1359934 h 1430663"/>
              <a:gd name="connsiteX2024" fmla="*/ 755880 w 2105494"/>
              <a:gd name="connsiteY2024" fmla="*/ 1362216 h 1430663"/>
              <a:gd name="connsiteX2025" fmla="*/ 755880 w 2105494"/>
              <a:gd name="connsiteY2025" fmla="*/ 1364498 h 1430663"/>
              <a:gd name="connsiteX2026" fmla="*/ 753596 w 2105494"/>
              <a:gd name="connsiteY2026" fmla="*/ 1364498 h 1430663"/>
              <a:gd name="connsiteX2027" fmla="*/ 753596 w 2105494"/>
              <a:gd name="connsiteY2027" fmla="*/ 1366780 h 1430663"/>
              <a:gd name="connsiteX2028" fmla="*/ 753596 w 2105494"/>
              <a:gd name="connsiteY2028" fmla="*/ 1369062 h 1430663"/>
              <a:gd name="connsiteX2029" fmla="*/ 753596 w 2105494"/>
              <a:gd name="connsiteY2029" fmla="*/ 1371343 h 1430663"/>
              <a:gd name="connsiteX2030" fmla="*/ 755880 w 2105494"/>
              <a:gd name="connsiteY2030" fmla="*/ 1371343 h 1430663"/>
              <a:gd name="connsiteX2031" fmla="*/ 755880 w 2105494"/>
              <a:gd name="connsiteY2031" fmla="*/ 1373625 h 1430663"/>
              <a:gd name="connsiteX2032" fmla="*/ 753596 w 2105494"/>
              <a:gd name="connsiteY2032" fmla="*/ 1373625 h 1430663"/>
              <a:gd name="connsiteX2033" fmla="*/ 753596 w 2105494"/>
              <a:gd name="connsiteY2033" fmla="*/ 1375907 h 1430663"/>
              <a:gd name="connsiteX2034" fmla="*/ 753596 w 2105494"/>
              <a:gd name="connsiteY2034" fmla="*/ 1378189 h 1430663"/>
              <a:gd name="connsiteX2035" fmla="*/ 753596 w 2105494"/>
              <a:gd name="connsiteY2035" fmla="*/ 1380471 h 1430663"/>
              <a:gd name="connsiteX2036" fmla="*/ 753596 w 2105494"/>
              <a:gd name="connsiteY2036" fmla="*/ 1382753 h 1430663"/>
              <a:gd name="connsiteX2037" fmla="*/ 755880 w 2105494"/>
              <a:gd name="connsiteY2037" fmla="*/ 1382753 h 1430663"/>
              <a:gd name="connsiteX2038" fmla="*/ 755880 w 2105494"/>
              <a:gd name="connsiteY2038" fmla="*/ 1385025 h 1430663"/>
              <a:gd name="connsiteX2039" fmla="*/ 755880 w 2105494"/>
              <a:gd name="connsiteY2039" fmla="*/ 1387307 h 1430663"/>
              <a:gd name="connsiteX2040" fmla="*/ 753596 w 2105494"/>
              <a:gd name="connsiteY2040" fmla="*/ 1387307 h 1430663"/>
              <a:gd name="connsiteX2041" fmla="*/ 753596 w 2105494"/>
              <a:gd name="connsiteY2041" fmla="*/ 1389589 h 1430663"/>
              <a:gd name="connsiteX2042" fmla="*/ 751313 w 2105494"/>
              <a:gd name="connsiteY2042" fmla="*/ 1389589 h 1430663"/>
              <a:gd name="connsiteX2043" fmla="*/ 751313 w 2105494"/>
              <a:gd name="connsiteY2043" fmla="*/ 1391871 h 1430663"/>
              <a:gd name="connsiteX2044" fmla="*/ 749029 w 2105494"/>
              <a:gd name="connsiteY2044" fmla="*/ 1391871 h 1430663"/>
              <a:gd name="connsiteX2045" fmla="*/ 749029 w 2105494"/>
              <a:gd name="connsiteY2045" fmla="*/ 1394153 h 1430663"/>
              <a:gd name="connsiteX2046" fmla="*/ 751313 w 2105494"/>
              <a:gd name="connsiteY2046" fmla="*/ 1394153 h 1430663"/>
              <a:gd name="connsiteX2047" fmla="*/ 751313 w 2105494"/>
              <a:gd name="connsiteY2047" fmla="*/ 1396435 h 1430663"/>
              <a:gd name="connsiteX2048" fmla="*/ 749029 w 2105494"/>
              <a:gd name="connsiteY2048" fmla="*/ 1396435 h 1430663"/>
              <a:gd name="connsiteX2049" fmla="*/ 749029 w 2105494"/>
              <a:gd name="connsiteY2049" fmla="*/ 1398717 h 1430663"/>
              <a:gd name="connsiteX2050" fmla="*/ 746745 w 2105494"/>
              <a:gd name="connsiteY2050" fmla="*/ 1398717 h 1430663"/>
              <a:gd name="connsiteX2051" fmla="*/ 744462 w 2105494"/>
              <a:gd name="connsiteY2051" fmla="*/ 1398717 h 1430663"/>
              <a:gd name="connsiteX2052" fmla="*/ 742178 w 2105494"/>
              <a:gd name="connsiteY2052" fmla="*/ 1398717 h 1430663"/>
              <a:gd name="connsiteX2053" fmla="*/ 742178 w 2105494"/>
              <a:gd name="connsiteY2053" fmla="*/ 1400999 h 1430663"/>
              <a:gd name="connsiteX2054" fmla="*/ 742178 w 2105494"/>
              <a:gd name="connsiteY2054" fmla="*/ 1398717 h 1430663"/>
              <a:gd name="connsiteX2055" fmla="*/ 739895 w 2105494"/>
              <a:gd name="connsiteY2055" fmla="*/ 1398717 h 1430663"/>
              <a:gd name="connsiteX2056" fmla="*/ 739895 w 2105494"/>
              <a:gd name="connsiteY2056" fmla="*/ 1400999 h 1430663"/>
              <a:gd name="connsiteX2057" fmla="*/ 737611 w 2105494"/>
              <a:gd name="connsiteY2057" fmla="*/ 1400999 h 1430663"/>
              <a:gd name="connsiteX2058" fmla="*/ 735328 w 2105494"/>
              <a:gd name="connsiteY2058" fmla="*/ 1400999 h 1430663"/>
              <a:gd name="connsiteX2059" fmla="*/ 733044 w 2105494"/>
              <a:gd name="connsiteY2059" fmla="*/ 1400999 h 1430663"/>
              <a:gd name="connsiteX2060" fmla="*/ 733044 w 2105494"/>
              <a:gd name="connsiteY2060" fmla="*/ 1403280 h 1430663"/>
              <a:gd name="connsiteX2061" fmla="*/ 730760 w 2105494"/>
              <a:gd name="connsiteY2061" fmla="*/ 1403280 h 1430663"/>
              <a:gd name="connsiteX2062" fmla="*/ 730760 w 2105494"/>
              <a:gd name="connsiteY2062" fmla="*/ 1405562 h 1430663"/>
              <a:gd name="connsiteX2063" fmla="*/ 730760 w 2105494"/>
              <a:gd name="connsiteY2063" fmla="*/ 1407844 h 1430663"/>
              <a:gd name="connsiteX2064" fmla="*/ 733044 w 2105494"/>
              <a:gd name="connsiteY2064" fmla="*/ 1407844 h 1430663"/>
              <a:gd name="connsiteX2065" fmla="*/ 733044 w 2105494"/>
              <a:gd name="connsiteY2065" fmla="*/ 1410126 h 1430663"/>
              <a:gd name="connsiteX2066" fmla="*/ 733044 w 2105494"/>
              <a:gd name="connsiteY2066" fmla="*/ 1412408 h 1430663"/>
              <a:gd name="connsiteX2067" fmla="*/ 733044 w 2105494"/>
              <a:gd name="connsiteY2067" fmla="*/ 1414690 h 1430663"/>
              <a:gd name="connsiteX2068" fmla="*/ 733044 w 2105494"/>
              <a:gd name="connsiteY2068" fmla="*/ 1416972 h 1430663"/>
              <a:gd name="connsiteX2069" fmla="*/ 730760 w 2105494"/>
              <a:gd name="connsiteY2069" fmla="*/ 1416972 h 1430663"/>
              <a:gd name="connsiteX2070" fmla="*/ 730760 w 2105494"/>
              <a:gd name="connsiteY2070" fmla="*/ 1419254 h 1430663"/>
              <a:gd name="connsiteX2071" fmla="*/ 728477 w 2105494"/>
              <a:gd name="connsiteY2071" fmla="*/ 1419254 h 1430663"/>
              <a:gd name="connsiteX2072" fmla="*/ 728477 w 2105494"/>
              <a:gd name="connsiteY2072" fmla="*/ 1421535 h 1430663"/>
              <a:gd name="connsiteX2073" fmla="*/ 726193 w 2105494"/>
              <a:gd name="connsiteY2073" fmla="*/ 1421535 h 1430663"/>
              <a:gd name="connsiteX2074" fmla="*/ 726193 w 2105494"/>
              <a:gd name="connsiteY2074" fmla="*/ 1423818 h 1430663"/>
              <a:gd name="connsiteX2075" fmla="*/ 723909 w 2105494"/>
              <a:gd name="connsiteY2075" fmla="*/ 1423818 h 1430663"/>
              <a:gd name="connsiteX2076" fmla="*/ 723909 w 2105494"/>
              <a:gd name="connsiteY2076" fmla="*/ 1426099 h 1430663"/>
              <a:gd name="connsiteX2077" fmla="*/ 719342 w 2105494"/>
              <a:gd name="connsiteY2077" fmla="*/ 1421535 h 1430663"/>
              <a:gd name="connsiteX2078" fmla="*/ 717059 w 2105494"/>
              <a:gd name="connsiteY2078" fmla="*/ 1421535 h 1430663"/>
              <a:gd name="connsiteX2079" fmla="*/ 714775 w 2105494"/>
              <a:gd name="connsiteY2079" fmla="*/ 1419254 h 1430663"/>
              <a:gd name="connsiteX2080" fmla="*/ 712492 w 2105494"/>
              <a:gd name="connsiteY2080" fmla="*/ 1416972 h 1430663"/>
              <a:gd name="connsiteX2081" fmla="*/ 710208 w 2105494"/>
              <a:gd name="connsiteY2081" fmla="*/ 1414690 h 1430663"/>
              <a:gd name="connsiteX2082" fmla="*/ 710208 w 2105494"/>
              <a:gd name="connsiteY2082" fmla="*/ 1412408 h 1430663"/>
              <a:gd name="connsiteX2083" fmla="*/ 707924 w 2105494"/>
              <a:gd name="connsiteY2083" fmla="*/ 1412408 h 1430663"/>
              <a:gd name="connsiteX2084" fmla="*/ 705641 w 2105494"/>
              <a:gd name="connsiteY2084" fmla="*/ 1410126 h 1430663"/>
              <a:gd name="connsiteX2085" fmla="*/ 703357 w 2105494"/>
              <a:gd name="connsiteY2085" fmla="*/ 1407844 h 1430663"/>
              <a:gd name="connsiteX2086" fmla="*/ 698790 w 2105494"/>
              <a:gd name="connsiteY2086" fmla="*/ 1405562 h 1430663"/>
              <a:gd name="connsiteX2087" fmla="*/ 696506 w 2105494"/>
              <a:gd name="connsiteY2087" fmla="*/ 1403280 h 1430663"/>
              <a:gd name="connsiteX2088" fmla="*/ 689655 w 2105494"/>
              <a:gd name="connsiteY2088" fmla="*/ 1400999 h 1430663"/>
              <a:gd name="connsiteX2089" fmla="*/ 691939 w 2105494"/>
              <a:gd name="connsiteY2089" fmla="*/ 1398717 h 1430663"/>
              <a:gd name="connsiteX2090" fmla="*/ 694223 w 2105494"/>
              <a:gd name="connsiteY2090" fmla="*/ 1394153 h 1430663"/>
              <a:gd name="connsiteX2091" fmla="*/ 696506 w 2105494"/>
              <a:gd name="connsiteY2091" fmla="*/ 1387307 h 1430663"/>
              <a:gd name="connsiteX2092" fmla="*/ 698790 w 2105494"/>
              <a:gd name="connsiteY2092" fmla="*/ 1387307 h 1430663"/>
              <a:gd name="connsiteX2093" fmla="*/ 696506 w 2105494"/>
              <a:gd name="connsiteY2093" fmla="*/ 1380471 h 1430663"/>
              <a:gd name="connsiteX2094" fmla="*/ 691939 w 2105494"/>
              <a:gd name="connsiteY2094" fmla="*/ 1373625 h 1430663"/>
              <a:gd name="connsiteX2095" fmla="*/ 689655 w 2105494"/>
              <a:gd name="connsiteY2095" fmla="*/ 1371343 h 1430663"/>
              <a:gd name="connsiteX2096" fmla="*/ 680521 w 2105494"/>
              <a:gd name="connsiteY2096" fmla="*/ 1359934 h 1430663"/>
              <a:gd name="connsiteX2097" fmla="*/ 678238 w 2105494"/>
              <a:gd name="connsiteY2097" fmla="*/ 1359934 h 1430663"/>
              <a:gd name="connsiteX2098" fmla="*/ 675954 w 2105494"/>
              <a:gd name="connsiteY2098" fmla="*/ 1357652 h 1430663"/>
              <a:gd name="connsiteX2099" fmla="*/ 669103 w 2105494"/>
              <a:gd name="connsiteY2099" fmla="*/ 1364498 h 1430663"/>
              <a:gd name="connsiteX2100" fmla="*/ 657685 w 2105494"/>
              <a:gd name="connsiteY2100" fmla="*/ 1353088 h 1430663"/>
              <a:gd name="connsiteX2101" fmla="*/ 659969 w 2105494"/>
              <a:gd name="connsiteY2101" fmla="*/ 1348524 h 1430663"/>
              <a:gd name="connsiteX2102" fmla="*/ 662253 w 2105494"/>
              <a:gd name="connsiteY2102" fmla="*/ 1346243 h 1430663"/>
              <a:gd name="connsiteX2103" fmla="*/ 669103 w 2105494"/>
              <a:gd name="connsiteY2103" fmla="*/ 1334833 h 1430663"/>
              <a:gd name="connsiteX2104" fmla="*/ 669103 w 2105494"/>
              <a:gd name="connsiteY2104" fmla="*/ 1332551 h 1430663"/>
              <a:gd name="connsiteX2105" fmla="*/ 675954 w 2105494"/>
              <a:gd name="connsiteY2105" fmla="*/ 1323424 h 1430663"/>
              <a:gd name="connsiteX2106" fmla="*/ 680521 w 2105494"/>
              <a:gd name="connsiteY2106" fmla="*/ 1323424 h 1430663"/>
              <a:gd name="connsiteX2107" fmla="*/ 685088 w 2105494"/>
              <a:gd name="connsiteY2107" fmla="*/ 1312014 h 1430663"/>
              <a:gd name="connsiteX2108" fmla="*/ 687372 w 2105494"/>
              <a:gd name="connsiteY2108" fmla="*/ 1309732 h 1430663"/>
              <a:gd name="connsiteX2109" fmla="*/ 689655 w 2105494"/>
              <a:gd name="connsiteY2109" fmla="*/ 1298323 h 1430663"/>
              <a:gd name="connsiteX2110" fmla="*/ 685088 w 2105494"/>
              <a:gd name="connsiteY2110" fmla="*/ 1296041 h 1430663"/>
              <a:gd name="connsiteX2111" fmla="*/ 673670 w 2105494"/>
              <a:gd name="connsiteY2111" fmla="*/ 1289195 h 1430663"/>
              <a:gd name="connsiteX2112" fmla="*/ 675954 w 2105494"/>
              <a:gd name="connsiteY2112" fmla="*/ 1286913 h 1430663"/>
              <a:gd name="connsiteX2113" fmla="*/ 687372 w 2105494"/>
              <a:gd name="connsiteY2113" fmla="*/ 1266376 h 1430663"/>
              <a:gd name="connsiteX2114" fmla="*/ 680521 w 2105494"/>
              <a:gd name="connsiteY2114" fmla="*/ 1261812 h 1430663"/>
              <a:gd name="connsiteX2115" fmla="*/ 675954 w 2105494"/>
              <a:gd name="connsiteY2115" fmla="*/ 1259531 h 1430663"/>
              <a:gd name="connsiteX2116" fmla="*/ 671387 w 2105494"/>
              <a:gd name="connsiteY2116" fmla="*/ 1257249 h 1430663"/>
              <a:gd name="connsiteX2117" fmla="*/ 669103 w 2105494"/>
              <a:gd name="connsiteY2117" fmla="*/ 1257249 h 1430663"/>
              <a:gd name="connsiteX2118" fmla="*/ 666820 w 2105494"/>
              <a:gd name="connsiteY2118" fmla="*/ 1259531 h 1430663"/>
              <a:gd name="connsiteX2119" fmla="*/ 664536 w 2105494"/>
              <a:gd name="connsiteY2119" fmla="*/ 1259531 h 1430663"/>
              <a:gd name="connsiteX2120" fmla="*/ 662253 w 2105494"/>
              <a:gd name="connsiteY2120" fmla="*/ 1259531 h 1430663"/>
              <a:gd name="connsiteX2121" fmla="*/ 659969 w 2105494"/>
              <a:gd name="connsiteY2121" fmla="*/ 1259531 h 1430663"/>
              <a:gd name="connsiteX2122" fmla="*/ 657685 w 2105494"/>
              <a:gd name="connsiteY2122" fmla="*/ 1259531 h 1430663"/>
              <a:gd name="connsiteX2123" fmla="*/ 657685 w 2105494"/>
              <a:gd name="connsiteY2123" fmla="*/ 1261812 h 1430663"/>
              <a:gd name="connsiteX2124" fmla="*/ 655402 w 2105494"/>
              <a:gd name="connsiteY2124" fmla="*/ 1261812 h 1430663"/>
              <a:gd name="connsiteX2125" fmla="*/ 646267 w 2105494"/>
              <a:gd name="connsiteY2125" fmla="*/ 1264094 h 1430663"/>
              <a:gd name="connsiteX2126" fmla="*/ 639416 w 2105494"/>
              <a:gd name="connsiteY2126" fmla="*/ 1266376 h 1430663"/>
              <a:gd name="connsiteX2127" fmla="*/ 637133 w 2105494"/>
              <a:gd name="connsiteY2127" fmla="*/ 1266376 h 1430663"/>
              <a:gd name="connsiteX2128" fmla="*/ 632566 w 2105494"/>
              <a:gd name="connsiteY2128" fmla="*/ 1266376 h 1430663"/>
              <a:gd name="connsiteX2129" fmla="*/ 621148 w 2105494"/>
              <a:gd name="connsiteY2129" fmla="*/ 1270940 h 1430663"/>
              <a:gd name="connsiteX2130" fmla="*/ 618855 w 2105494"/>
              <a:gd name="connsiteY2130" fmla="*/ 1270940 h 1430663"/>
              <a:gd name="connsiteX2131" fmla="*/ 602869 w 2105494"/>
              <a:gd name="connsiteY2131" fmla="*/ 1275504 h 1430663"/>
              <a:gd name="connsiteX2132" fmla="*/ 593735 w 2105494"/>
              <a:gd name="connsiteY2132" fmla="*/ 1277786 h 1430663"/>
              <a:gd name="connsiteX2133" fmla="*/ 591451 w 2105494"/>
              <a:gd name="connsiteY2133" fmla="*/ 1277786 h 1430663"/>
              <a:gd name="connsiteX2134" fmla="*/ 589168 w 2105494"/>
              <a:gd name="connsiteY2134" fmla="*/ 1277786 h 1430663"/>
              <a:gd name="connsiteX2135" fmla="*/ 586884 w 2105494"/>
              <a:gd name="connsiteY2135" fmla="*/ 1277786 h 1430663"/>
              <a:gd name="connsiteX2136" fmla="*/ 582317 w 2105494"/>
              <a:gd name="connsiteY2136" fmla="*/ 1280068 h 1430663"/>
              <a:gd name="connsiteX2137" fmla="*/ 575466 w 2105494"/>
              <a:gd name="connsiteY2137" fmla="*/ 1282349 h 1430663"/>
              <a:gd name="connsiteX2138" fmla="*/ 566332 w 2105494"/>
              <a:gd name="connsiteY2138" fmla="*/ 1282349 h 1430663"/>
              <a:gd name="connsiteX2139" fmla="*/ 564048 w 2105494"/>
              <a:gd name="connsiteY2139" fmla="*/ 1284631 h 1430663"/>
              <a:gd name="connsiteX2140" fmla="*/ 564048 w 2105494"/>
              <a:gd name="connsiteY2140" fmla="*/ 1280068 h 1430663"/>
              <a:gd name="connsiteX2141" fmla="*/ 561765 w 2105494"/>
              <a:gd name="connsiteY2141" fmla="*/ 1275504 h 1430663"/>
              <a:gd name="connsiteX2142" fmla="*/ 559481 w 2105494"/>
              <a:gd name="connsiteY2142" fmla="*/ 1270940 h 1430663"/>
              <a:gd name="connsiteX2143" fmla="*/ 557197 w 2105494"/>
              <a:gd name="connsiteY2143" fmla="*/ 1270940 h 1430663"/>
              <a:gd name="connsiteX2144" fmla="*/ 557197 w 2105494"/>
              <a:gd name="connsiteY2144" fmla="*/ 1268658 h 1430663"/>
              <a:gd name="connsiteX2145" fmla="*/ 559481 w 2105494"/>
              <a:gd name="connsiteY2145" fmla="*/ 1266376 h 1430663"/>
              <a:gd name="connsiteX2146" fmla="*/ 559481 w 2105494"/>
              <a:gd name="connsiteY2146" fmla="*/ 1264094 h 1430663"/>
              <a:gd name="connsiteX2147" fmla="*/ 559481 w 2105494"/>
              <a:gd name="connsiteY2147" fmla="*/ 1261812 h 1430663"/>
              <a:gd name="connsiteX2148" fmla="*/ 559481 w 2105494"/>
              <a:gd name="connsiteY2148" fmla="*/ 1259531 h 1430663"/>
              <a:gd name="connsiteX2149" fmla="*/ 559481 w 2105494"/>
              <a:gd name="connsiteY2149" fmla="*/ 1257249 h 1430663"/>
              <a:gd name="connsiteX2150" fmla="*/ 561765 w 2105494"/>
              <a:gd name="connsiteY2150" fmla="*/ 1254967 h 1430663"/>
              <a:gd name="connsiteX2151" fmla="*/ 561765 w 2105494"/>
              <a:gd name="connsiteY2151" fmla="*/ 1252685 h 1430663"/>
              <a:gd name="connsiteX2152" fmla="*/ 561765 w 2105494"/>
              <a:gd name="connsiteY2152" fmla="*/ 1248121 h 1430663"/>
              <a:gd name="connsiteX2153" fmla="*/ 561765 w 2105494"/>
              <a:gd name="connsiteY2153" fmla="*/ 1245839 h 1430663"/>
              <a:gd name="connsiteX2154" fmla="*/ 564048 w 2105494"/>
              <a:gd name="connsiteY2154" fmla="*/ 1245839 h 1430663"/>
              <a:gd name="connsiteX2155" fmla="*/ 564048 w 2105494"/>
              <a:gd name="connsiteY2155" fmla="*/ 1243557 h 1430663"/>
              <a:gd name="connsiteX2156" fmla="*/ 566332 w 2105494"/>
              <a:gd name="connsiteY2156" fmla="*/ 1238993 h 1430663"/>
              <a:gd name="connsiteX2157" fmla="*/ 566332 w 2105494"/>
              <a:gd name="connsiteY2157" fmla="*/ 1236712 h 1430663"/>
              <a:gd name="connsiteX2158" fmla="*/ 566332 w 2105494"/>
              <a:gd name="connsiteY2158" fmla="*/ 1234430 h 1430663"/>
              <a:gd name="connsiteX2159" fmla="*/ 541212 w 2105494"/>
              <a:gd name="connsiteY2159" fmla="*/ 1227594 h 1430663"/>
              <a:gd name="connsiteX2160" fmla="*/ 541212 w 2105494"/>
              <a:gd name="connsiteY2160" fmla="*/ 1225312 h 1430663"/>
              <a:gd name="connsiteX2161" fmla="*/ 541212 w 2105494"/>
              <a:gd name="connsiteY2161" fmla="*/ 1223030 h 1430663"/>
              <a:gd name="connsiteX2162" fmla="*/ 541212 w 2105494"/>
              <a:gd name="connsiteY2162" fmla="*/ 1209338 h 1430663"/>
              <a:gd name="connsiteX2163" fmla="*/ 541212 w 2105494"/>
              <a:gd name="connsiteY2163" fmla="*/ 1200211 h 1430663"/>
              <a:gd name="connsiteX2164" fmla="*/ 541212 w 2105494"/>
              <a:gd name="connsiteY2164" fmla="*/ 1197929 h 1430663"/>
              <a:gd name="connsiteX2165" fmla="*/ 541212 w 2105494"/>
              <a:gd name="connsiteY2165" fmla="*/ 1195647 h 1430663"/>
              <a:gd name="connsiteX2166" fmla="*/ 541212 w 2105494"/>
              <a:gd name="connsiteY2166" fmla="*/ 1193365 h 1430663"/>
              <a:gd name="connsiteX2167" fmla="*/ 541212 w 2105494"/>
              <a:gd name="connsiteY2167" fmla="*/ 1191083 h 1430663"/>
              <a:gd name="connsiteX2168" fmla="*/ 543496 w 2105494"/>
              <a:gd name="connsiteY2168" fmla="*/ 1188801 h 1430663"/>
              <a:gd name="connsiteX2169" fmla="*/ 541212 w 2105494"/>
              <a:gd name="connsiteY2169" fmla="*/ 1184237 h 1430663"/>
              <a:gd name="connsiteX2170" fmla="*/ 541212 w 2105494"/>
              <a:gd name="connsiteY2170" fmla="*/ 1170546 h 1430663"/>
              <a:gd name="connsiteX2171" fmla="*/ 541212 w 2105494"/>
              <a:gd name="connsiteY2171" fmla="*/ 1163700 h 1430663"/>
              <a:gd name="connsiteX2172" fmla="*/ 543496 w 2105494"/>
              <a:gd name="connsiteY2172" fmla="*/ 1156855 h 1430663"/>
              <a:gd name="connsiteX2173" fmla="*/ 545779 w 2105494"/>
              <a:gd name="connsiteY2173" fmla="*/ 1147727 h 1430663"/>
              <a:gd name="connsiteX2174" fmla="*/ 545779 w 2105494"/>
              <a:gd name="connsiteY2174" fmla="*/ 1145445 h 1430663"/>
              <a:gd name="connsiteX2175" fmla="*/ 545779 w 2105494"/>
              <a:gd name="connsiteY2175" fmla="*/ 1143163 h 1430663"/>
              <a:gd name="connsiteX2176" fmla="*/ 548063 w 2105494"/>
              <a:gd name="connsiteY2176" fmla="*/ 1140881 h 1430663"/>
              <a:gd name="connsiteX2177" fmla="*/ 550347 w 2105494"/>
              <a:gd name="connsiteY2177" fmla="*/ 1129472 h 1430663"/>
              <a:gd name="connsiteX2178" fmla="*/ 552630 w 2105494"/>
              <a:gd name="connsiteY2178" fmla="*/ 1124908 h 1430663"/>
              <a:gd name="connsiteX2179" fmla="*/ 548063 w 2105494"/>
              <a:gd name="connsiteY2179" fmla="*/ 1127190 h 1430663"/>
              <a:gd name="connsiteX2180" fmla="*/ 543496 w 2105494"/>
              <a:gd name="connsiteY2180" fmla="*/ 1124908 h 1430663"/>
              <a:gd name="connsiteX2181" fmla="*/ 536645 w 2105494"/>
              <a:gd name="connsiteY2181" fmla="*/ 1120344 h 1430663"/>
              <a:gd name="connsiteX2182" fmla="*/ 534362 w 2105494"/>
              <a:gd name="connsiteY2182" fmla="*/ 1118063 h 1430663"/>
              <a:gd name="connsiteX2183" fmla="*/ 525227 w 2105494"/>
              <a:gd name="connsiteY2183" fmla="*/ 1113499 h 1430663"/>
              <a:gd name="connsiteX2184" fmla="*/ 518376 w 2105494"/>
              <a:gd name="connsiteY2184" fmla="*/ 1108935 h 1430663"/>
              <a:gd name="connsiteX2185" fmla="*/ 516093 w 2105494"/>
              <a:gd name="connsiteY2185" fmla="*/ 1106653 h 1430663"/>
              <a:gd name="connsiteX2186" fmla="*/ 513809 w 2105494"/>
              <a:gd name="connsiteY2186" fmla="*/ 1104371 h 1430663"/>
              <a:gd name="connsiteX2187" fmla="*/ 509242 w 2105494"/>
              <a:gd name="connsiteY2187" fmla="*/ 1102089 h 1430663"/>
              <a:gd name="connsiteX2188" fmla="*/ 506958 w 2105494"/>
              <a:gd name="connsiteY2188" fmla="*/ 1099807 h 1430663"/>
              <a:gd name="connsiteX2189" fmla="*/ 504675 w 2105494"/>
              <a:gd name="connsiteY2189" fmla="*/ 1097525 h 1430663"/>
              <a:gd name="connsiteX2190" fmla="*/ 502391 w 2105494"/>
              <a:gd name="connsiteY2190" fmla="*/ 1097525 h 1430663"/>
              <a:gd name="connsiteX2191" fmla="*/ 497824 w 2105494"/>
              <a:gd name="connsiteY2191" fmla="*/ 1095243 h 1430663"/>
              <a:gd name="connsiteX2192" fmla="*/ 495540 w 2105494"/>
              <a:gd name="connsiteY2192" fmla="*/ 1092962 h 1430663"/>
              <a:gd name="connsiteX2193" fmla="*/ 493257 w 2105494"/>
              <a:gd name="connsiteY2193" fmla="*/ 1092962 h 1430663"/>
              <a:gd name="connsiteX2194" fmla="*/ 490973 w 2105494"/>
              <a:gd name="connsiteY2194" fmla="*/ 1090680 h 1430663"/>
              <a:gd name="connsiteX2195" fmla="*/ 486406 w 2105494"/>
              <a:gd name="connsiteY2195" fmla="*/ 1088398 h 1430663"/>
              <a:gd name="connsiteX2196" fmla="*/ 481839 w 2105494"/>
              <a:gd name="connsiteY2196" fmla="*/ 1086116 h 1430663"/>
              <a:gd name="connsiteX2197" fmla="*/ 481839 w 2105494"/>
              <a:gd name="connsiteY2197" fmla="*/ 1081552 h 1430663"/>
              <a:gd name="connsiteX2198" fmla="*/ 481839 w 2105494"/>
              <a:gd name="connsiteY2198" fmla="*/ 1079270 h 1430663"/>
              <a:gd name="connsiteX2199" fmla="*/ 486406 w 2105494"/>
              <a:gd name="connsiteY2199" fmla="*/ 1074716 h 1430663"/>
              <a:gd name="connsiteX2200" fmla="*/ 488689 w 2105494"/>
              <a:gd name="connsiteY2200" fmla="*/ 1070143 h 1430663"/>
              <a:gd name="connsiteX2201" fmla="*/ 488689 w 2105494"/>
              <a:gd name="connsiteY2201" fmla="*/ 1067870 h 1430663"/>
              <a:gd name="connsiteX2202" fmla="*/ 490973 w 2105494"/>
              <a:gd name="connsiteY2202" fmla="*/ 1063306 h 1430663"/>
              <a:gd name="connsiteX2203" fmla="*/ 493257 w 2105494"/>
              <a:gd name="connsiteY2203" fmla="*/ 1056461 h 1430663"/>
              <a:gd name="connsiteX2204" fmla="*/ 495540 w 2105494"/>
              <a:gd name="connsiteY2204" fmla="*/ 1054179 h 1430663"/>
              <a:gd name="connsiteX2205" fmla="*/ 495540 w 2105494"/>
              <a:gd name="connsiteY2205" fmla="*/ 1051897 h 1430663"/>
              <a:gd name="connsiteX2206" fmla="*/ 500108 w 2105494"/>
              <a:gd name="connsiteY2206" fmla="*/ 1042769 h 1430663"/>
              <a:gd name="connsiteX2207" fmla="*/ 500108 w 2105494"/>
              <a:gd name="connsiteY2207" fmla="*/ 1040488 h 1430663"/>
              <a:gd name="connsiteX2208" fmla="*/ 502391 w 2105494"/>
              <a:gd name="connsiteY2208" fmla="*/ 1038206 h 1430663"/>
              <a:gd name="connsiteX2209" fmla="*/ 504675 w 2105494"/>
              <a:gd name="connsiteY2209" fmla="*/ 1029078 h 1430663"/>
              <a:gd name="connsiteX2210" fmla="*/ 506958 w 2105494"/>
              <a:gd name="connsiteY2210" fmla="*/ 1024514 h 1430663"/>
              <a:gd name="connsiteX2211" fmla="*/ 509242 w 2105494"/>
              <a:gd name="connsiteY2211" fmla="*/ 1019950 h 1430663"/>
              <a:gd name="connsiteX2212" fmla="*/ 509242 w 2105494"/>
              <a:gd name="connsiteY2212" fmla="*/ 1015387 h 1430663"/>
              <a:gd name="connsiteX2213" fmla="*/ 509242 w 2105494"/>
              <a:gd name="connsiteY2213" fmla="*/ 1013105 h 1430663"/>
              <a:gd name="connsiteX2214" fmla="*/ 511526 w 2105494"/>
              <a:gd name="connsiteY2214" fmla="*/ 1013105 h 1430663"/>
              <a:gd name="connsiteX2215" fmla="*/ 513809 w 2105494"/>
              <a:gd name="connsiteY2215" fmla="*/ 1010823 h 1430663"/>
              <a:gd name="connsiteX2216" fmla="*/ 518376 w 2105494"/>
              <a:gd name="connsiteY2216" fmla="*/ 1010823 h 1430663"/>
              <a:gd name="connsiteX2217" fmla="*/ 520660 w 2105494"/>
              <a:gd name="connsiteY2217" fmla="*/ 1008541 h 1430663"/>
              <a:gd name="connsiteX2218" fmla="*/ 527511 w 2105494"/>
              <a:gd name="connsiteY2218" fmla="*/ 1006259 h 1430663"/>
              <a:gd name="connsiteX2219" fmla="*/ 532078 w 2105494"/>
              <a:gd name="connsiteY2219" fmla="*/ 1003977 h 1430663"/>
              <a:gd name="connsiteX2220" fmla="*/ 532078 w 2105494"/>
              <a:gd name="connsiteY2220" fmla="*/ 1001695 h 1430663"/>
              <a:gd name="connsiteX2221" fmla="*/ 529794 w 2105494"/>
              <a:gd name="connsiteY2221" fmla="*/ 999413 h 1430663"/>
              <a:gd name="connsiteX2222" fmla="*/ 529794 w 2105494"/>
              <a:gd name="connsiteY2222" fmla="*/ 997131 h 1430663"/>
              <a:gd name="connsiteX2223" fmla="*/ 529794 w 2105494"/>
              <a:gd name="connsiteY2223" fmla="*/ 994850 h 1430663"/>
              <a:gd name="connsiteX2224" fmla="*/ 529794 w 2105494"/>
              <a:gd name="connsiteY2224" fmla="*/ 992568 h 1430663"/>
              <a:gd name="connsiteX2225" fmla="*/ 527511 w 2105494"/>
              <a:gd name="connsiteY2225" fmla="*/ 990286 h 1430663"/>
              <a:gd name="connsiteX2226" fmla="*/ 527511 w 2105494"/>
              <a:gd name="connsiteY2226" fmla="*/ 988004 h 1430663"/>
              <a:gd name="connsiteX2227" fmla="*/ 527511 w 2105494"/>
              <a:gd name="connsiteY2227" fmla="*/ 985722 h 1430663"/>
              <a:gd name="connsiteX2228" fmla="*/ 527511 w 2105494"/>
              <a:gd name="connsiteY2228" fmla="*/ 983440 h 1430663"/>
              <a:gd name="connsiteX2229" fmla="*/ 527511 w 2105494"/>
              <a:gd name="connsiteY2229" fmla="*/ 981158 h 1430663"/>
              <a:gd name="connsiteX2230" fmla="*/ 525227 w 2105494"/>
              <a:gd name="connsiteY2230" fmla="*/ 976594 h 1430663"/>
              <a:gd name="connsiteX2231" fmla="*/ 525227 w 2105494"/>
              <a:gd name="connsiteY2231" fmla="*/ 974313 h 1430663"/>
              <a:gd name="connsiteX2232" fmla="*/ 522943 w 2105494"/>
              <a:gd name="connsiteY2232" fmla="*/ 974313 h 1430663"/>
              <a:gd name="connsiteX2233" fmla="*/ 522943 w 2105494"/>
              <a:gd name="connsiteY2233" fmla="*/ 972031 h 1430663"/>
              <a:gd name="connsiteX2234" fmla="*/ 522943 w 2105494"/>
              <a:gd name="connsiteY2234" fmla="*/ 969749 h 1430663"/>
              <a:gd name="connsiteX2235" fmla="*/ 520660 w 2105494"/>
              <a:gd name="connsiteY2235" fmla="*/ 969749 h 1430663"/>
              <a:gd name="connsiteX2236" fmla="*/ 520660 w 2105494"/>
              <a:gd name="connsiteY2236" fmla="*/ 967467 h 1430663"/>
              <a:gd name="connsiteX2237" fmla="*/ 520660 w 2105494"/>
              <a:gd name="connsiteY2237" fmla="*/ 965185 h 1430663"/>
              <a:gd name="connsiteX2238" fmla="*/ 518376 w 2105494"/>
              <a:gd name="connsiteY2238" fmla="*/ 962903 h 1430663"/>
              <a:gd name="connsiteX2239" fmla="*/ 518376 w 2105494"/>
              <a:gd name="connsiteY2239" fmla="*/ 960621 h 1430663"/>
              <a:gd name="connsiteX2240" fmla="*/ 516093 w 2105494"/>
              <a:gd name="connsiteY2240" fmla="*/ 958339 h 1430663"/>
              <a:gd name="connsiteX2241" fmla="*/ 513809 w 2105494"/>
              <a:gd name="connsiteY2241" fmla="*/ 953775 h 1430663"/>
              <a:gd name="connsiteX2242" fmla="*/ 513809 w 2105494"/>
              <a:gd name="connsiteY2242" fmla="*/ 951494 h 1430663"/>
              <a:gd name="connsiteX2243" fmla="*/ 511526 w 2105494"/>
              <a:gd name="connsiteY2243" fmla="*/ 949212 h 1430663"/>
              <a:gd name="connsiteX2244" fmla="*/ 511526 w 2105494"/>
              <a:gd name="connsiteY2244" fmla="*/ 946930 h 1430663"/>
              <a:gd name="connsiteX2245" fmla="*/ 509242 w 2105494"/>
              <a:gd name="connsiteY2245" fmla="*/ 944648 h 1430663"/>
              <a:gd name="connsiteX2246" fmla="*/ 506958 w 2105494"/>
              <a:gd name="connsiteY2246" fmla="*/ 942366 h 1430663"/>
              <a:gd name="connsiteX2247" fmla="*/ 506958 w 2105494"/>
              <a:gd name="connsiteY2247" fmla="*/ 940084 h 1430663"/>
              <a:gd name="connsiteX2248" fmla="*/ 504675 w 2105494"/>
              <a:gd name="connsiteY2248" fmla="*/ 937802 h 1430663"/>
              <a:gd name="connsiteX2249" fmla="*/ 502391 w 2105494"/>
              <a:gd name="connsiteY2249" fmla="*/ 940084 h 1430663"/>
              <a:gd name="connsiteX2250" fmla="*/ 500108 w 2105494"/>
              <a:gd name="connsiteY2250" fmla="*/ 937802 h 1430663"/>
              <a:gd name="connsiteX2251" fmla="*/ 497824 w 2105494"/>
              <a:gd name="connsiteY2251" fmla="*/ 935520 h 1430663"/>
              <a:gd name="connsiteX2252" fmla="*/ 495540 w 2105494"/>
              <a:gd name="connsiteY2252" fmla="*/ 933238 h 1430663"/>
              <a:gd name="connsiteX2253" fmla="*/ 493257 w 2105494"/>
              <a:gd name="connsiteY2253" fmla="*/ 930957 h 1430663"/>
              <a:gd name="connsiteX2254" fmla="*/ 490973 w 2105494"/>
              <a:gd name="connsiteY2254" fmla="*/ 930957 h 1430663"/>
              <a:gd name="connsiteX2255" fmla="*/ 490973 w 2105494"/>
              <a:gd name="connsiteY2255" fmla="*/ 928675 h 1430663"/>
              <a:gd name="connsiteX2256" fmla="*/ 488689 w 2105494"/>
              <a:gd name="connsiteY2256" fmla="*/ 926393 h 1430663"/>
              <a:gd name="connsiteX2257" fmla="*/ 486406 w 2105494"/>
              <a:gd name="connsiteY2257" fmla="*/ 926393 h 1430663"/>
              <a:gd name="connsiteX2258" fmla="*/ 484122 w 2105494"/>
              <a:gd name="connsiteY2258" fmla="*/ 924111 h 1430663"/>
              <a:gd name="connsiteX2259" fmla="*/ 481839 w 2105494"/>
              <a:gd name="connsiteY2259" fmla="*/ 924111 h 1430663"/>
              <a:gd name="connsiteX2260" fmla="*/ 479555 w 2105494"/>
              <a:gd name="connsiteY2260" fmla="*/ 924111 h 1430663"/>
              <a:gd name="connsiteX2261" fmla="*/ 477272 w 2105494"/>
              <a:gd name="connsiteY2261" fmla="*/ 924111 h 1430663"/>
              <a:gd name="connsiteX2262" fmla="*/ 474988 w 2105494"/>
              <a:gd name="connsiteY2262" fmla="*/ 924111 h 1430663"/>
              <a:gd name="connsiteX2263" fmla="*/ 472704 w 2105494"/>
              <a:gd name="connsiteY2263" fmla="*/ 924111 h 1430663"/>
              <a:gd name="connsiteX2264" fmla="*/ 470421 w 2105494"/>
              <a:gd name="connsiteY2264" fmla="*/ 924111 h 1430663"/>
              <a:gd name="connsiteX2265" fmla="*/ 468137 w 2105494"/>
              <a:gd name="connsiteY2265" fmla="*/ 924111 h 1430663"/>
              <a:gd name="connsiteX2266" fmla="*/ 465854 w 2105494"/>
              <a:gd name="connsiteY2266" fmla="*/ 926393 h 1430663"/>
              <a:gd name="connsiteX2267" fmla="*/ 465854 w 2105494"/>
              <a:gd name="connsiteY2267" fmla="*/ 928675 h 1430663"/>
              <a:gd name="connsiteX2268" fmla="*/ 465854 w 2105494"/>
              <a:gd name="connsiteY2268" fmla="*/ 930957 h 1430663"/>
              <a:gd name="connsiteX2269" fmla="*/ 463570 w 2105494"/>
              <a:gd name="connsiteY2269" fmla="*/ 930957 h 1430663"/>
              <a:gd name="connsiteX2270" fmla="*/ 463570 w 2105494"/>
              <a:gd name="connsiteY2270" fmla="*/ 933238 h 1430663"/>
              <a:gd name="connsiteX2271" fmla="*/ 463570 w 2105494"/>
              <a:gd name="connsiteY2271" fmla="*/ 935520 h 1430663"/>
              <a:gd name="connsiteX2272" fmla="*/ 461287 w 2105494"/>
              <a:gd name="connsiteY2272" fmla="*/ 937802 h 1430663"/>
              <a:gd name="connsiteX2273" fmla="*/ 459003 w 2105494"/>
              <a:gd name="connsiteY2273" fmla="*/ 935520 h 1430663"/>
              <a:gd name="connsiteX2274" fmla="*/ 456719 w 2105494"/>
              <a:gd name="connsiteY2274" fmla="*/ 935520 h 1430663"/>
              <a:gd name="connsiteX2275" fmla="*/ 456719 w 2105494"/>
              <a:gd name="connsiteY2275" fmla="*/ 933238 h 1430663"/>
              <a:gd name="connsiteX2276" fmla="*/ 454436 w 2105494"/>
              <a:gd name="connsiteY2276" fmla="*/ 933238 h 1430663"/>
              <a:gd name="connsiteX2277" fmla="*/ 452152 w 2105494"/>
              <a:gd name="connsiteY2277" fmla="*/ 933238 h 1430663"/>
              <a:gd name="connsiteX2278" fmla="*/ 452152 w 2105494"/>
              <a:gd name="connsiteY2278" fmla="*/ 930957 h 1430663"/>
              <a:gd name="connsiteX2279" fmla="*/ 449868 w 2105494"/>
              <a:gd name="connsiteY2279" fmla="*/ 930957 h 1430663"/>
              <a:gd name="connsiteX2280" fmla="*/ 447585 w 2105494"/>
              <a:gd name="connsiteY2280" fmla="*/ 930957 h 1430663"/>
              <a:gd name="connsiteX2281" fmla="*/ 447585 w 2105494"/>
              <a:gd name="connsiteY2281" fmla="*/ 928675 h 1430663"/>
              <a:gd name="connsiteX2282" fmla="*/ 445301 w 2105494"/>
              <a:gd name="connsiteY2282" fmla="*/ 928675 h 1430663"/>
              <a:gd name="connsiteX2283" fmla="*/ 443018 w 2105494"/>
              <a:gd name="connsiteY2283" fmla="*/ 926393 h 1430663"/>
              <a:gd name="connsiteX2284" fmla="*/ 440734 w 2105494"/>
              <a:gd name="connsiteY2284" fmla="*/ 926393 h 1430663"/>
              <a:gd name="connsiteX2285" fmla="*/ 438450 w 2105494"/>
              <a:gd name="connsiteY2285" fmla="*/ 924111 h 1430663"/>
              <a:gd name="connsiteX2286" fmla="*/ 436167 w 2105494"/>
              <a:gd name="connsiteY2286" fmla="*/ 924111 h 1430663"/>
              <a:gd name="connsiteX2287" fmla="*/ 436167 w 2105494"/>
              <a:gd name="connsiteY2287" fmla="*/ 921829 h 1430663"/>
              <a:gd name="connsiteX2288" fmla="*/ 433883 w 2105494"/>
              <a:gd name="connsiteY2288" fmla="*/ 921829 h 1430663"/>
              <a:gd name="connsiteX2289" fmla="*/ 431600 w 2105494"/>
              <a:gd name="connsiteY2289" fmla="*/ 921829 h 1430663"/>
              <a:gd name="connsiteX2290" fmla="*/ 431600 w 2105494"/>
              <a:gd name="connsiteY2290" fmla="*/ 919556 h 1430663"/>
              <a:gd name="connsiteX2291" fmla="*/ 429316 w 2105494"/>
              <a:gd name="connsiteY2291" fmla="*/ 919556 h 1430663"/>
              <a:gd name="connsiteX2292" fmla="*/ 427033 w 2105494"/>
              <a:gd name="connsiteY2292" fmla="*/ 917265 h 1430663"/>
              <a:gd name="connsiteX2293" fmla="*/ 424749 w 2105494"/>
              <a:gd name="connsiteY2293" fmla="*/ 917265 h 1430663"/>
              <a:gd name="connsiteX2294" fmla="*/ 422465 w 2105494"/>
              <a:gd name="connsiteY2294" fmla="*/ 917265 h 1430663"/>
              <a:gd name="connsiteX2295" fmla="*/ 422465 w 2105494"/>
              <a:gd name="connsiteY2295" fmla="*/ 914983 h 1430663"/>
              <a:gd name="connsiteX2296" fmla="*/ 420182 w 2105494"/>
              <a:gd name="connsiteY2296" fmla="*/ 914983 h 1430663"/>
              <a:gd name="connsiteX2297" fmla="*/ 417898 w 2105494"/>
              <a:gd name="connsiteY2297" fmla="*/ 914983 h 1430663"/>
              <a:gd name="connsiteX2298" fmla="*/ 413331 w 2105494"/>
              <a:gd name="connsiteY2298" fmla="*/ 912711 h 1430663"/>
              <a:gd name="connsiteX2299" fmla="*/ 411047 w 2105494"/>
              <a:gd name="connsiteY2299" fmla="*/ 912711 h 1430663"/>
              <a:gd name="connsiteX2300" fmla="*/ 408764 w 2105494"/>
              <a:gd name="connsiteY2300" fmla="*/ 912711 h 1430663"/>
              <a:gd name="connsiteX2301" fmla="*/ 406480 w 2105494"/>
              <a:gd name="connsiteY2301" fmla="*/ 912711 h 1430663"/>
              <a:gd name="connsiteX2302" fmla="*/ 406480 w 2105494"/>
              <a:gd name="connsiteY2302" fmla="*/ 910429 h 1430663"/>
              <a:gd name="connsiteX2303" fmla="*/ 404197 w 2105494"/>
              <a:gd name="connsiteY2303" fmla="*/ 910429 h 1430663"/>
              <a:gd name="connsiteX2304" fmla="*/ 401913 w 2105494"/>
              <a:gd name="connsiteY2304" fmla="*/ 910429 h 1430663"/>
              <a:gd name="connsiteX2305" fmla="*/ 399629 w 2105494"/>
              <a:gd name="connsiteY2305" fmla="*/ 910429 h 1430663"/>
              <a:gd name="connsiteX2306" fmla="*/ 399629 w 2105494"/>
              <a:gd name="connsiteY2306" fmla="*/ 908147 h 1430663"/>
              <a:gd name="connsiteX2307" fmla="*/ 397346 w 2105494"/>
              <a:gd name="connsiteY2307" fmla="*/ 908147 h 1430663"/>
              <a:gd name="connsiteX2308" fmla="*/ 395062 w 2105494"/>
              <a:gd name="connsiteY2308" fmla="*/ 908147 h 1430663"/>
              <a:gd name="connsiteX2309" fmla="*/ 392779 w 2105494"/>
              <a:gd name="connsiteY2309" fmla="*/ 908147 h 1430663"/>
              <a:gd name="connsiteX2310" fmla="*/ 390495 w 2105494"/>
              <a:gd name="connsiteY2310" fmla="*/ 905865 h 1430663"/>
              <a:gd name="connsiteX2311" fmla="*/ 388211 w 2105494"/>
              <a:gd name="connsiteY2311" fmla="*/ 905865 h 1430663"/>
              <a:gd name="connsiteX2312" fmla="*/ 385928 w 2105494"/>
              <a:gd name="connsiteY2312" fmla="*/ 905865 h 1430663"/>
              <a:gd name="connsiteX2313" fmla="*/ 383644 w 2105494"/>
              <a:gd name="connsiteY2313" fmla="*/ 903583 h 1430663"/>
              <a:gd name="connsiteX2314" fmla="*/ 381360 w 2105494"/>
              <a:gd name="connsiteY2314" fmla="*/ 903583 h 1430663"/>
              <a:gd name="connsiteX2315" fmla="*/ 379077 w 2105494"/>
              <a:gd name="connsiteY2315" fmla="*/ 901301 h 1430663"/>
              <a:gd name="connsiteX2316" fmla="*/ 376793 w 2105494"/>
              <a:gd name="connsiteY2316" fmla="*/ 899019 h 1430663"/>
              <a:gd name="connsiteX2317" fmla="*/ 374510 w 2105494"/>
              <a:gd name="connsiteY2317" fmla="*/ 899019 h 1430663"/>
              <a:gd name="connsiteX2318" fmla="*/ 372226 w 2105494"/>
              <a:gd name="connsiteY2318" fmla="*/ 899019 h 1430663"/>
              <a:gd name="connsiteX2319" fmla="*/ 369943 w 2105494"/>
              <a:gd name="connsiteY2319" fmla="*/ 896738 h 1430663"/>
              <a:gd name="connsiteX2320" fmla="*/ 367659 w 2105494"/>
              <a:gd name="connsiteY2320" fmla="*/ 896738 h 1430663"/>
              <a:gd name="connsiteX2321" fmla="*/ 365375 w 2105494"/>
              <a:gd name="connsiteY2321" fmla="*/ 896738 h 1430663"/>
              <a:gd name="connsiteX2322" fmla="*/ 363092 w 2105494"/>
              <a:gd name="connsiteY2322" fmla="*/ 894456 h 1430663"/>
              <a:gd name="connsiteX2323" fmla="*/ 360808 w 2105494"/>
              <a:gd name="connsiteY2323" fmla="*/ 894456 h 1430663"/>
              <a:gd name="connsiteX2324" fmla="*/ 358525 w 2105494"/>
              <a:gd name="connsiteY2324" fmla="*/ 894456 h 1430663"/>
              <a:gd name="connsiteX2325" fmla="*/ 356241 w 2105494"/>
              <a:gd name="connsiteY2325" fmla="*/ 892174 h 1430663"/>
              <a:gd name="connsiteX2326" fmla="*/ 353958 w 2105494"/>
              <a:gd name="connsiteY2326" fmla="*/ 892174 h 1430663"/>
              <a:gd name="connsiteX2327" fmla="*/ 351674 w 2105494"/>
              <a:gd name="connsiteY2327" fmla="*/ 892174 h 1430663"/>
              <a:gd name="connsiteX2328" fmla="*/ 351674 w 2105494"/>
              <a:gd name="connsiteY2328" fmla="*/ 889892 h 1430663"/>
              <a:gd name="connsiteX2329" fmla="*/ 349390 w 2105494"/>
              <a:gd name="connsiteY2329" fmla="*/ 889892 h 1430663"/>
              <a:gd name="connsiteX2330" fmla="*/ 347107 w 2105494"/>
              <a:gd name="connsiteY2330" fmla="*/ 889892 h 1430663"/>
              <a:gd name="connsiteX2331" fmla="*/ 344823 w 2105494"/>
              <a:gd name="connsiteY2331" fmla="*/ 887610 h 1430663"/>
              <a:gd name="connsiteX2332" fmla="*/ 342539 w 2105494"/>
              <a:gd name="connsiteY2332" fmla="*/ 887610 h 1430663"/>
              <a:gd name="connsiteX2333" fmla="*/ 340256 w 2105494"/>
              <a:gd name="connsiteY2333" fmla="*/ 887610 h 1430663"/>
              <a:gd name="connsiteX2334" fmla="*/ 340256 w 2105494"/>
              <a:gd name="connsiteY2334" fmla="*/ 885328 h 1430663"/>
              <a:gd name="connsiteX2335" fmla="*/ 337972 w 2105494"/>
              <a:gd name="connsiteY2335" fmla="*/ 885328 h 1430663"/>
              <a:gd name="connsiteX2336" fmla="*/ 335689 w 2105494"/>
              <a:gd name="connsiteY2336" fmla="*/ 885328 h 1430663"/>
              <a:gd name="connsiteX2337" fmla="*/ 333405 w 2105494"/>
              <a:gd name="connsiteY2337" fmla="*/ 883046 h 1430663"/>
              <a:gd name="connsiteX2338" fmla="*/ 331121 w 2105494"/>
              <a:gd name="connsiteY2338" fmla="*/ 883046 h 1430663"/>
              <a:gd name="connsiteX2339" fmla="*/ 331121 w 2105494"/>
              <a:gd name="connsiteY2339" fmla="*/ 880764 h 1430663"/>
              <a:gd name="connsiteX2340" fmla="*/ 328838 w 2105494"/>
              <a:gd name="connsiteY2340" fmla="*/ 880764 h 1430663"/>
              <a:gd name="connsiteX2341" fmla="*/ 326554 w 2105494"/>
              <a:gd name="connsiteY2341" fmla="*/ 880764 h 1430663"/>
              <a:gd name="connsiteX2342" fmla="*/ 326554 w 2105494"/>
              <a:gd name="connsiteY2342" fmla="*/ 878482 h 1430663"/>
              <a:gd name="connsiteX2343" fmla="*/ 324271 w 2105494"/>
              <a:gd name="connsiteY2343" fmla="*/ 878482 h 1430663"/>
              <a:gd name="connsiteX2344" fmla="*/ 328838 w 2105494"/>
              <a:gd name="connsiteY2344" fmla="*/ 873919 h 1430663"/>
              <a:gd name="connsiteX2345" fmla="*/ 347107 w 2105494"/>
              <a:gd name="connsiteY2345" fmla="*/ 844254 h 1430663"/>
              <a:gd name="connsiteX2346" fmla="*/ 356241 w 2105494"/>
              <a:gd name="connsiteY2346" fmla="*/ 832844 h 1430663"/>
              <a:gd name="connsiteX2347" fmla="*/ 358525 w 2105494"/>
              <a:gd name="connsiteY2347" fmla="*/ 828281 h 1430663"/>
              <a:gd name="connsiteX2348" fmla="*/ 351674 w 2105494"/>
              <a:gd name="connsiteY2348" fmla="*/ 821435 h 1430663"/>
              <a:gd name="connsiteX2349" fmla="*/ 347107 w 2105494"/>
              <a:gd name="connsiteY2349" fmla="*/ 819153 h 1430663"/>
              <a:gd name="connsiteX2350" fmla="*/ 344823 w 2105494"/>
              <a:gd name="connsiteY2350" fmla="*/ 816871 h 1430663"/>
              <a:gd name="connsiteX2351" fmla="*/ 337972 w 2105494"/>
              <a:gd name="connsiteY2351" fmla="*/ 812307 h 1430663"/>
              <a:gd name="connsiteX2352" fmla="*/ 331121 w 2105494"/>
              <a:gd name="connsiteY2352" fmla="*/ 807744 h 1430663"/>
              <a:gd name="connsiteX2353" fmla="*/ 326554 w 2105494"/>
              <a:gd name="connsiteY2353" fmla="*/ 805462 h 1430663"/>
              <a:gd name="connsiteX2354" fmla="*/ 326554 w 2105494"/>
              <a:gd name="connsiteY2354" fmla="*/ 803180 h 1430663"/>
              <a:gd name="connsiteX2355" fmla="*/ 324271 w 2105494"/>
              <a:gd name="connsiteY2355" fmla="*/ 800898 h 1430663"/>
              <a:gd name="connsiteX2356" fmla="*/ 315136 w 2105494"/>
              <a:gd name="connsiteY2356" fmla="*/ 796334 h 1430663"/>
              <a:gd name="connsiteX2357" fmla="*/ 315136 w 2105494"/>
              <a:gd name="connsiteY2357" fmla="*/ 794052 h 1430663"/>
              <a:gd name="connsiteX2358" fmla="*/ 299151 w 2105494"/>
              <a:gd name="connsiteY2358" fmla="*/ 789488 h 1430663"/>
              <a:gd name="connsiteX2359" fmla="*/ 274031 w 2105494"/>
              <a:gd name="connsiteY2359" fmla="*/ 784925 h 1430663"/>
              <a:gd name="connsiteX2360" fmla="*/ 239778 w 2105494"/>
              <a:gd name="connsiteY2360" fmla="*/ 778079 h 1430663"/>
              <a:gd name="connsiteX2361" fmla="*/ 242061 w 2105494"/>
              <a:gd name="connsiteY2361" fmla="*/ 757551 h 1430663"/>
              <a:gd name="connsiteX2362" fmla="*/ 244345 w 2105494"/>
              <a:gd name="connsiteY2362" fmla="*/ 716477 h 1430663"/>
              <a:gd name="connsiteX2363" fmla="*/ 226076 w 2105494"/>
              <a:gd name="connsiteY2363" fmla="*/ 695940 h 1430663"/>
              <a:gd name="connsiteX2364" fmla="*/ 221509 w 2105494"/>
              <a:gd name="connsiteY2364" fmla="*/ 689095 h 1430663"/>
              <a:gd name="connsiteX2365" fmla="*/ 237494 w 2105494"/>
              <a:gd name="connsiteY2365" fmla="*/ 661712 h 1430663"/>
              <a:gd name="connsiteX2366" fmla="*/ 253479 w 2105494"/>
              <a:gd name="connsiteY2366" fmla="*/ 634329 h 1430663"/>
              <a:gd name="connsiteX2367" fmla="*/ 230643 w 2105494"/>
              <a:gd name="connsiteY2367" fmla="*/ 625201 h 1430663"/>
              <a:gd name="connsiteX2368" fmla="*/ 216942 w 2105494"/>
              <a:gd name="connsiteY2368" fmla="*/ 625201 h 1430663"/>
              <a:gd name="connsiteX2369" fmla="*/ 223792 w 2105494"/>
              <a:gd name="connsiteY2369" fmla="*/ 600110 h 1430663"/>
              <a:gd name="connsiteX2370" fmla="*/ 248912 w 2105494"/>
              <a:gd name="connsiteY2370" fmla="*/ 604674 h 1430663"/>
              <a:gd name="connsiteX2371" fmla="*/ 251196 w 2105494"/>
              <a:gd name="connsiteY2371" fmla="*/ 606946 h 1430663"/>
              <a:gd name="connsiteX2372" fmla="*/ 269464 w 2105494"/>
              <a:gd name="connsiteY2372" fmla="*/ 613792 h 1430663"/>
              <a:gd name="connsiteX2373" fmla="*/ 276315 w 2105494"/>
              <a:gd name="connsiteY2373" fmla="*/ 586419 h 1430663"/>
              <a:gd name="connsiteX2374" fmla="*/ 280882 w 2105494"/>
              <a:gd name="connsiteY2374" fmla="*/ 579573 h 1430663"/>
              <a:gd name="connsiteX2375" fmla="*/ 260330 w 2105494"/>
              <a:gd name="connsiteY2375" fmla="*/ 575009 h 1430663"/>
              <a:gd name="connsiteX2376" fmla="*/ 255763 w 2105494"/>
              <a:gd name="connsiteY2376" fmla="*/ 575009 h 1430663"/>
              <a:gd name="connsiteX2377" fmla="*/ 253479 w 2105494"/>
              <a:gd name="connsiteY2377" fmla="*/ 575009 h 1430663"/>
              <a:gd name="connsiteX2378" fmla="*/ 237494 w 2105494"/>
              <a:gd name="connsiteY2378" fmla="*/ 572727 h 1430663"/>
              <a:gd name="connsiteX2379" fmla="*/ 230643 w 2105494"/>
              <a:gd name="connsiteY2379" fmla="*/ 572727 h 1430663"/>
              <a:gd name="connsiteX2380" fmla="*/ 228360 w 2105494"/>
              <a:gd name="connsiteY2380" fmla="*/ 572727 h 1430663"/>
              <a:gd name="connsiteX2381" fmla="*/ 226076 w 2105494"/>
              <a:gd name="connsiteY2381" fmla="*/ 572727 h 1430663"/>
              <a:gd name="connsiteX2382" fmla="*/ 200956 w 2105494"/>
              <a:gd name="connsiteY2382" fmla="*/ 572727 h 1430663"/>
              <a:gd name="connsiteX2383" fmla="*/ 196389 w 2105494"/>
              <a:gd name="connsiteY2383" fmla="*/ 572727 h 1430663"/>
              <a:gd name="connsiteX2384" fmla="*/ 168986 w 2105494"/>
              <a:gd name="connsiteY2384" fmla="*/ 572727 h 1430663"/>
              <a:gd name="connsiteX2385" fmla="*/ 168986 w 2105494"/>
              <a:gd name="connsiteY2385" fmla="*/ 575009 h 1430663"/>
              <a:gd name="connsiteX2386" fmla="*/ 168986 w 2105494"/>
              <a:gd name="connsiteY2386" fmla="*/ 579573 h 1430663"/>
              <a:gd name="connsiteX2387" fmla="*/ 168986 w 2105494"/>
              <a:gd name="connsiteY2387" fmla="*/ 597828 h 1430663"/>
              <a:gd name="connsiteX2388" fmla="*/ 166703 w 2105494"/>
              <a:gd name="connsiteY2388" fmla="*/ 604674 h 1430663"/>
              <a:gd name="connsiteX2389" fmla="*/ 162135 w 2105494"/>
              <a:gd name="connsiteY2389" fmla="*/ 620638 h 1430663"/>
              <a:gd name="connsiteX2390" fmla="*/ 134732 w 2105494"/>
              <a:gd name="connsiteY2390" fmla="*/ 618356 h 1430663"/>
              <a:gd name="connsiteX2391" fmla="*/ 132449 w 2105494"/>
              <a:gd name="connsiteY2391" fmla="*/ 618356 h 1430663"/>
              <a:gd name="connsiteX2392" fmla="*/ 130165 w 2105494"/>
              <a:gd name="connsiteY2392" fmla="*/ 643457 h 1430663"/>
              <a:gd name="connsiteX2393" fmla="*/ 102762 w 2105494"/>
              <a:gd name="connsiteY2393" fmla="*/ 641175 h 1430663"/>
              <a:gd name="connsiteX2394" fmla="*/ 102762 w 2105494"/>
              <a:gd name="connsiteY2394" fmla="*/ 643457 h 1430663"/>
              <a:gd name="connsiteX2395" fmla="*/ 100478 w 2105494"/>
              <a:gd name="connsiteY2395" fmla="*/ 668557 h 1430663"/>
              <a:gd name="connsiteX2396" fmla="*/ 95911 w 2105494"/>
              <a:gd name="connsiteY2396" fmla="*/ 689095 h 1430663"/>
              <a:gd name="connsiteX2397" fmla="*/ 95911 w 2105494"/>
              <a:gd name="connsiteY2397" fmla="*/ 691376 h 1430663"/>
              <a:gd name="connsiteX2398" fmla="*/ 93627 w 2105494"/>
              <a:gd name="connsiteY2398" fmla="*/ 695940 h 1430663"/>
              <a:gd name="connsiteX2399" fmla="*/ 93627 w 2105494"/>
              <a:gd name="connsiteY2399" fmla="*/ 698222 h 1430663"/>
              <a:gd name="connsiteX2400" fmla="*/ 91344 w 2105494"/>
              <a:gd name="connsiteY2400" fmla="*/ 702786 h 1430663"/>
              <a:gd name="connsiteX2401" fmla="*/ 89060 w 2105494"/>
              <a:gd name="connsiteY2401" fmla="*/ 714195 h 1430663"/>
              <a:gd name="connsiteX2402" fmla="*/ 86777 w 2105494"/>
              <a:gd name="connsiteY2402" fmla="*/ 730169 h 1430663"/>
              <a:gd name="connsiteX2403" fmla="*/ 84493 w 2105494"/>
              <a:gd name="connsiteY2403" fmla="*/ 737014 h 1430663"/>
              <a:gd name="connsiteX2404" fmla="*/ 82209 w 2105494"/>
              <a:gd name="connsiteY2404" fmla="*/ 741578 h 1430663"/>
              <a:gd name="connsiteX2405" fmla="*/ 82209 w 2105494"/>
              <a:gd name="connsiteY2405" fmla="*/ 743860 h 1430663"/>
              <a:gd name="connsiteX2406" fmla="*/ 73075 w 2105494"/>
              <a:gd name="connsiteY2406" fmla="*/ 759833 h 1430663"/>
              <a:gd name="connsiteX2407" fmla="*/ 68508 w 2105494"/>
              <a:gd name="connsiteY2407" fmla="*/ 768951 h 1430663"/>
              <a:gd name="connsiteX2408" fmla="*/ 47955 w 2105494"/>
              <a:gd name="connsiteY2408" fmla="*/ 757551 h 1430663"/>
              <a:gd name="connsiteX2409" fmla="*/ 45672 w 2105494"/>
              <a:gd name="connsiteY2409" fmla="*/ 757551 h 1430663"/>
              <a:gd name="connsiteX2410" fmla="*/ 34254 w 2105494"/>
              <a:gd name="connsiteY2410" fmla="*/ 752988 h 1430663"/>
              <a:gd name="connsiteX2411" fmla="*/ 31970 w 2105494"/>
              <a:gd name="connsiteY2411" fmla="*/ 734732 h 1430663"/>
              <a:gd name="connsiteX2412" fmla="*/ 31970 w 2105494"/>
              <a:gd name="connsiteY2412" fmla="*/ 730169 h 1430663"/>
              <a:gd name="connsiteX2413" fmla="*/ 31970 w 2105494"/>
              <a:gd name="connsiteY2413" fmla="*/ 718759 h 1430663"/>
              <a:gd name="connsiteX2414" fmla="*/ 29687 w 2105494"/>
              <a:gd name="connsiteY2414" fmla="*/ 707350 h 1430663"/>
              <a:gd name="connsiteX2415" fmla="*/ 29687 w 2105494"/>
              <a:gd name="connsiteY2415" fmla="*/ 705068 h 1430663"/>
              <a:gd name="connsiteX2416" fmla="*/ 29687 w 2105494"/>
              <a:gd name="connsiteY2416" fmla="*/ 689095 h 1430663"/>
              <a:gd name="connsiteX2417" fmla="*/ 29687 w 2105494"/>
              <a:gd name="connsiteY2417" fmla="*/ 677685 h 1430663"/>
              <a:gd name="connsiteX2418" fmla="*/ 29687 w 2105494"/>
              <a:gd name="connsiteY2418" fmla="*/ 670839 h 1430663"/>
              <a:gd name="connsiteX2419" fmla="*/ 27403 w 2105494"/>
              <a:gd name="connsiteY2419" fmla="*/ 657148 h 1430663"/>
              <a:gd name="connsiteX2420" fmla="*/ 27403 w 2105494"/>
              <a:gd name="connsiteY2420" fmla="*/ 652584 h 1430663"/>
              <a:gd name="connsiteX2421" fmla="*/ 27403 w 2105494"/>
              <a:gd name="connsiteY2421" fmla="*/ 643457 h 1430663"/>
              <a:gd name="connsiteX2422" fmla="*/ 27403 w 2105494"/>
              <a:gd name="connsiteY2422" fmla="*/ 641175 h 1430663"/>
              <a:gd name="connsiteX2423" fmla="*/ 27403 w 2105494"/>
              <a:gd name="connsiteY2423" fmla="*/ 634329 h 1430663"/>
              <a:gd name="connsiteX2424" fmla="*/ 2284 w 2105494"/>
              <a:gd name="connsiteY2424" fmla="*/ 634329 h 1430663"/>
              <a:gd name="connsiteX2425" fmla="*/ 0 w 2105494"/>
              <a:gd name="connsiteY2425" fmla="*/ 634329 h 1430663"/>
              <a:gd name="connsiteX2426" fmla="*/ 0 w 2105494"/>
              <a:gd name="connsiteY2426" fmla="*/ 632047 h 1430663"/>
              <a:gd name="connsiteX2427" fmla="*/ 0 w 2105494"/>
              <a:gd name="connsiteY2427" fmla="*/ 629765 h 1430663"/>
              <a:gd name="connsiteX2428" fmla="*/ 2284 w 2105494"/>
              <a:gd name="connsiteY2428" fmla="*/ 627483 h 1430663"/>
              <a:gd name="connsiteX2429" fmla="*/ 2284 w 2105494"/>
              <a:gd name="connsiteY2429" fmla="*/ 622920 h 1430663"/>
              <a:gd name="connsiteX2430" fmla="*/ 4567 w 2105494"/>
              <a:gd name="connsiteY2430" fmla="*/ 622920 h 1430663"/>
              <a:gd name="connsiteX2431" fmla="*/ 11418 w 2105494"/>
              <a:gd name="connsiteY2431" fmla="*/ 620638 h 1430663"/>
              <a:gd name="connsiteX2432" fmla="*/ 13702 w 2105494"/>
              <a:gd name="connsiteY2432" fmla="*/ 618356 h 1430663"/>
              <a:gd name="connsiteX2433" fmla="*/ 13702 w 2105494"/>
              <a:gd name="connsiteY2433" fmla="*/ 616074 h 1430663"/>
              <a:gd name="connsiteX2434" fmla="*/ 13702 w 2105494"/>
              <a:gd name="connsiteY2434" fmla="*/ 609228 h 1430663"/>
              <a:gd name="connsiteX2435" fmla="*/ 15985 w 2105494"/>
              <a:gd name="connsiteY2435" fmla="*/ 604674 h 1430663"/>
              <a:gd name="connsiteX2436" fmla="*/ 13702 w 2105494"/>
              <a:gd name="connsiteY2436" fmla="*/ 604674 h 1430663"/>
              <a:gd name="connsiteX2437" fmla="*/ 13702 w 2105494"/>
              <a:gd name="connsiteY2437" fmla="*/ 602392 h 1430663"/>
              <a:gd name="connsiteX2438" fmla="*/ 13702 w 2105494"/>
              <a:gd name="connsiteY2438" fmla="*/ 600110 h 1430663"/>
              <a:gd name="connsiteX2439" fmla="*/ 13702 w 2105494"/>
              <a:gd name="connsiteY2439" fmla="*/ 597828 h 1430663"/>
              <a:gd name="connsiteX2440" fmla="*/ 13702 w 2105494"/>
              <a:gd name="connsiteY2440" fmla="*/ 595546 h 1430663"/>
              <a:gd name="connsiteX2441" fmla="*/ 13702 w 2105494"/>
              <a:gd name="connsiteY2441" fmla="*/ 593264 h 1430663"/>
              <a:gd name="connsiteX2442" fmla="*/ 15985 w 2105494"/>
              <a:gd name="connsiteY2442" fmla="*/ 593264 h 1430663"/>
              <a:gd name="connsiteX2443" fmla="*/ 18269 w 2105494"/>
              <a:gd name="connsiteY2443" fmla="*/ 593264 h 1430663"/>
              <a:gd name="connsiteX2444" fmla="*/ 22836 w 2105494"/>
              <a:gd name="connsiteY2444" fmla="*/ 595546 h 1430663"/>
              <a:gd name="connsiteX2445" fmla="*/ 31970 w 2105494"/>
              <a:gd name="connsiteY2445" fmla="*/ 593264 h 1430663"/>
              <a:gd name="connsiteX2446" fmla="*/ 34254 w 2105494"/>
              <a:gd name="connsiteY2446" fmla="*/ 590983 h 1430663"/>
              <a:gd name="connsiteX2447" fmla="*/ 34254 w 2105494"/>
              <a:gd name="connsiteY2447" fmla="*/ 588701 h 1430663"/>
              <a:gd name="connsiteX2448" fmla="*/ 34254 w 2105494"/>
              <a:gd name="connsiteY2448" fmla="*/ 584137 h 1430663"/>
              <a:gd name="connsiteX2449" fmla="*/ 36538 w 2105494"/>
              <a:gd name="connsiteY2449" fmla="*/ 581855 h 1430663"/>
              <a:gd name="connsiteX2450" fmla="*/ 36538 w 2105494"/>
              <a:gd name="connsiteY2450" fmla="*/ 577291 h 1430663"/>
              <a:gd name="connsiteX2451" fmla="*/ 36538 w 2105494"/>
              <a:gd name="connsiteY2451" fmla="*/ 572727 h 1430663"/>
              <a:gd name="connsiteX2452" fmla="*/ 36538 w 2105494"/>
              <a:gd name="connsiteY2452" fmla="*/ 570445 h 1430663"/>
              <a:gd name="connsiteX2453" fmla="*/ 34254 w 2105494"/>
              <a:gd name="connsiteY2453" fmla="*/ 570445 h 1430663"/>
              <a:gd name="connsiteX2454" fmla="*/ 34254 w 2105494"/>
              <a:gd name="connsiteY2454" fmla="*/ 563600 h 1430663"/>
              <a:gd name="connsiteX2455" fmla="*/ 34254 w 2105494"/>
              <a:gd name="connsiteY2455" fmla="*/ 561318 h 1430663"/>
              <a:gd name="connsiteX2456" fmla="*/ 41105 w 2105494"/>
              <a:gd name="connsiteY2456" fmla="*/ 554472 h 1430663"/>
              <a:gd name="connsiteX2457" fmla="*/ 41105 w 2105494"/>
              <a:gd name="connsiteY2457" fmla="*/ 552190 h 1430663"/>
              <a:gd name="connsiteX2458" fmla="*/ 41105 w 2105494"/>
              <a:gd name="connsiteY2458" fmla="*/ 549908 h 1430663"/>
              <a:gd name="connsiteX2459" fmla="*/ 41105 w 2105494"/>
              <a:gd name="connsiteY2459" fmla="*/ 547627 h 1430663"/>
              <a:gd name="connsiteX2460" fmla="*/ 36538 w 2105494"/>
              <a:gd name="connsiteY2460" fmla="*/ 547627 h 1430663"/>
              <a:gd name="connsiteX2461" fmla="*/ 31970 w 2105494"/>
              <a:gd name="connsiteY2461" fmla="*/ 545345 h 1430663"/>
              <a:gd name="connsiteX2462" fmla="*/ 31970 w 2105494"/>
              <a:gd name="connsiteY2462" fmla="*/ 543063 h 1430663"/>
              <a:gd name="connsiteX2463" fmla="*/ 29687 w 2105494"/>
              <a:gd name="connsiteY2463" fmla="*/ 543063 h 1430663"/>
              <a:gd name="connsiteX2464" fmla="*/ 29687 w 2105494"/>
              <a:gd name="connsiteY2464" fmla="*/ 538499 h 1430663"/>
              <a:gd name="connsiteX2465" fmla="*/ 31970 w 2105494"/>
              <a:gd name="connsiteY2465" fmla="*/ 538499 h 1430663"/>
              <a:gd name="connsiteX2466" fmla="*/ 31970 w 2105494"/>
              <a:gd name="connsiteY2466" fmla="*/ 536217 h 1430663"/>
              <a:gd name="connsiteX2467" fmla="*/ 34254 w 2105494"/>
              <a:gd name="connsiteY2467" fmla="*/ 536217 h 1430663"/>
              <a:gd name="connsiteX2468" fmla="*/ 36538 w 2105494"/>
              <a:gd name="connsiteY2468" fmla="*/ 536217 h 1430663"/>
              <a:gd name="connsiteX2469" fmla="*/ 38821 w 2105494"/>
              <a:gd name="connsiteY2469" fmla="*/ 533935 h 1430663"/>
              <a:gd name="connsiteX2470" fmla="*/ 38821 w 2105494"/>
              <a:gd name="connsiteY2470" fmla="*/ 529371 h 1430663"/>
              <a:gd name="connsiteX2471" fmla="*/ 38821 w 2105494"/>
              <a:gd name="connsiteY2471" fmla="*/ 524808 h 1430663"/>
              <a:gd name="connsiteX2472" fmla="*/ 41105 w 2105494"/>
              <a:gd name="connsiteY2472" fmla="*/ 522526 h 1430663"/>
              <a:gd name="connsiteX2473" fmla="*/ 43388 w 2105494"/>
              <a:gd name="connsiteY2473" fmla="*/ 522526 h 1430663"/>
              <a:gd name="connsiteX2474" fmla="*/ 43388 w 2105494"/>
              <a:gd name="connsiteY2474" fmla="*/ 520244 h 1430663"/>
              <a:gd name="connsiteX2475" fmla="*/ 45672 w 2105494"/>
              <a:gd name="connsiteY2475" fmla="*/ 520244 h 1430663"/>
              <a:gd name="connsiteX2476" fmla="*/ 50239 w 2105494"/>
              <a:gd name="connsiteY2476" fmla="*/ 517962 h 1430663"/>
              <a:gd name="connsiteX2477" fmla="*/ 52523 w 2105494"/>
              <a:gd name="connsiteY2477" fmla="*/ 515680 h 1430663"/>
              <a:gd name="connsiteX2478" fmla="*/ 54806 w 2105494"/>
              <a:gd name="connsiteY2478" fmla="*/ 511116 h 1430663"/>
              <a:gd name="connsiteX2479" fmla="*/ 54806 w 2105494"/>
              <a:gd name="connsiteY2479" fmla="*/ 508834 h 1430663"/>
              <a:gd name="connsiteX2480" fmla="*/ 52523 w 2105494"/>
              <a:gd name="connsiteY2480" fmla="*/ 508834 h 1430663"/>
              <a:gd name="connsiteX2481" fmla="*/ 52523 w 2105494"/>
              <a:gd name="connsiteY2481" fmla="*/ 506552 h 1430663"/>
              <a:gd name="connsiteX2482" fmla="*/ 50239 w 2105494"/>
              <a:gd name="connsiteY2482" fmla="*/ 506552 h 1430663"/>
              <a:gd name="connsiteX2483" fmla="*/ 47955 w 2105494"/>
              <a:gd name="connsiteY2483" fmla="*/ 506552 h 1430663"/>
              <a:gd name="connsiteX2484" fmla="*/ 45672 w 2105494"/>
              <a:gd name="connsiteY2484" fmla="*/ 506552 h 1430663"/>
              <a:gd name="connsiteX2485" fmla="*/ 38821 w 2105494"/>
              <a:gd name="connsiteY2485" fmla="*/ 501989 h 1430663"/>
              <a:gd name="connsiteX2486" fmla="*/ 38821 w 2105494"/>
              <a:gd name="connsiteY2486" fmla="*/ 499707 h 1430663"/>
              <a:gd name="connsiteX2487" fmla="*/ 38821 w 2105494"/>
              <a:gd name="connsiteY2487" fmla="*/ 497425 h 1430663"/>
              <a:gd name="connsiteX2488" fmla="*/ 41105 w 2105494"/>
              <a:gd name="connsiteY2488" fmla="*/ 497425 h 1430663"/>
              <a:gd name="connsiteX2489" fmla="*/ 43388 w 2105494"/>
              <a:gd name="connsiteY2489" fmla="*/ 495143 h 1430663"/>
              <a:gd name="connsiteX2490" fmla="*/ 45672 w 2105494"/>
              <a:gd name="connsiteY2490" fmla="*/ 495143 h 1430663"/>
              <a:gd name="connsiteX2491" fmla="*/ 47955 w 2105494"/>
              <a:gd name="connsiteY2491" fmla="*/ 488297 h 1430663"/>
              <a:gd name="connsiteX2492" fmla="*/ 47955 w 2105494"/>
              <a:gd name="connsiteY2492" fmla="*/ 479170 h 1430663"/>
              <a:gd name="connsiteX2493" fmla="*/ 47955 w 2105494"/>
              <a:gd name="connsiteY2493" fmla="*/ 476888 h 1430663"/>
              <a:gd name="connsiteX2494" fmla="*/ 47955 w 2105494"/>
              <a:gd name="connsiteY2494" fmla="*/ 474606 h 1430663"/>
              <a:gd name="connsiteX2495" fmla="*/ 50239 w 2105494"/>
              <a:gd name="connsiteY2495" fmla="*/ 474606 h 1430663"/>
              <a:gd name="connsiteX2496" fmla="*/ 52523 w 2105494"/>
              <a:gd name="connsiteY2496" fmla="*/ 472324 h 1430663"/>
              <a:gd name="connsiteX2497" fmla="*/ 54806 w 2105494"/>
              <a:gd name="connsiteY2497" fmla="*/ 472324 h 1430663"/>
              <a:gd name="connsiteX2498" fmla="*/ 57090 w 2105494"/>
              <a:gd name="connsiteY2498" fmla="*/ 470042 h 1430663"/>
              <a:gd name="connsiteX2499" fmla="*/ 59374 w 2105494"/>
              <a:gd name="connsiteY2499" fmla="*/ 470042 h 1430663"/>
              <a:gd name="connsiteX2500" fmla="*/ 59374 w 2105494"/>
              <a:gd name="connsiteY2500" fmla="*/ 467760 h 1430663"/>
              <a:gd name="connsiteX2501" fmla="*/ 61657 w 2105494"/>
              <a:gd name="connsiteY2501" fmla="*/ 467760 h 1430663"/>
              <a:gd name="connsiteX2502" fmla="*/ 63941 w 2105494"/>
              <a:gd name="connsiteY2502" fmla="*/ 465478 h 1430663"/>
              <a:gd name="connsiteX2503" fmla="*/ 63941 w 2105494"/>
              <a:gd name="connsiteY2503" fmla="*/ 463196 h 1430663"/>
              <a:gd name="connsiteX2504" fmla="*/ 66224 w 2105494"/>
              <a:gd name="connsiteY2504" fmla="*/ 460915 h 1430663"/>
              <a:gd name="connsiteX2505" fmla="*/ 66224 w 2105494"/>
              <a:gd name="connsiteY2505" fmla="*/ 458633 h 1430663"/>
              <a:gd name="connsiteX2506" fmla="*/ 68508 w 2105494"/>
              <a:gd name="connsiteY2506" fmla="*/ 451787 h 1430663"/>
              <a:gd name="connsiteX2507" fmla="*/ 68508 w 2105494"/>
              <a:gd name="connsiteY2507" fmla="*/ 444951 h 1430663"/>
              <a:gd name="connsiteX2508" fmla="*/ 68508 w 2105494"/>
              <a:gd name="connsiteY2508" fmla="*/ 442669 h 1430663"/>
              <a:gd name="connsiteX2509" fmla="*/ 66224 w 2105494"/>
              <a:gd name="connsiteY2509" fmla="*/ 442669 h 1430663"/>
              <a:gd name="connsiteX2510" fmla="*/ 63941 w 2105494"/>
              <a:gd name="connsiteY2510" fmla="*/ 442669 h 1430663"/>
              <a:gd name="connsiteX2511" fmla="*/ 61657 w 2105494"/>
              <a:gd name="connsiteY2511" fmla="*/ 440387 h 1430663"/>
              <a:gd name="connsiteX2512" fmla="*/ 59374 w 2105494"/>
              <a:gd name="connsiteY2512" fmla="*/ 435823 h 1430663"/>
              <a:gd name="connsiteX2513" fmla="*/ 61657 w 2105494"/>
              <a:gd name="connsiteY2513" fmla="*/ 433541 h 1430663"/>
              <a:gd name="connsiteX2514" fmla="*/ 61657 w 2105494"/>
              <a:gd name="connsiteY2514" fmla="*/ 431259 h 1430663"/>
              <a:gd name="connsiteX2515" fmla="*/ 66224 w 2105494"/>
              <a:gd name="connsiteY2515" fmla="*/ 428977 h 1430663"/>
              <a:gd name="connsiteX2516" fmla="*/ 68508 w 2105494"/>
              <a:gd name="connsiteY2516" fmla="*/ 426696 h 1430663"/>
              <a:gd name="connsiteX2517" fmla="*/ 73075 w 2105494"/>
              <a:gd name="connsiteY2517" fmla="*/ 426696 h 1430663"/>
              <a:gd name="connsiteX2518" fmla="*/ 75359 w 2105494"/>
              <a:gd name="connsiteY2518" fmla="*/ 424414 h 1430663"/>
              <a:gd name="connsiteX2519" fmla="*/ 77642 w 2105494"/>
              <a:gd name="connsiteY2519" fmla="*/ 424414 h 1430663"/>
              <a:gd name="connsiteX2520" fmla="*/ 77642 w 2105494"/>
              <a:gd name="connsiteY2520" fmla="*/ 422132 h 1430663"/>
              <a:gd name="connsiteX2521" fmla="*/ 75359 w 2105494"/>
              <a:gd name="connsiteY2521" fmla="*/ 422132 h 1430663"/>
              <a:gd name="connsiteX2522" fmla="*/ 75359 w 2105494"/>
              <a:gd name="connsiteY2522" fmla="*/ 419850 h 1430663"/>
              <a:gd name="connsiteX2523" fmla="*/ 63941 w 2105494"/>
              <a:gd name="connsiteY2523" fmla="*/ 410722 h 1430663"/>
              <a:gd name="connsiteX2524" fmla="*/ 66224 w 2105494"/>
              <a:gd name="connsiteY2524" fmla="*/ 408440 h 1430663"/>
              <a:gd name="connsiteX2525" fmla="*/ 68508 w 2105494"/>
              <a:gd name="connsiteY2525" fmla="*/ 406158 h 1430663"/>
              <a:gd name="connsiteX2526" fmla="*/ 70792 w 2105494"/>
              <a:gd name="connsiteY2526" fmla="*/ 399313 h 1430663"/>
              <a:gd name="connsiteX2527" fmla="*/ 70792 w 2105494"/>
              <a:gd name="connsiteY2527" fmla="*/ 394749 h 1430663"/>
              <a:gd name="connsiteX2528" fmla="*/ 73075 w 2105494"/>
              <a:gd name="connsiteY2528" fmla="*/ 392467 h 1430663"/>
              <a:gd name="connsiteX2529" fmla="*/ 75359 w 2105494"/>
              <a:gd name="connsiteY2529" fmla="*/ 390185 h 1430663"/>
              <a:gd name="connsiteX2530" fmla="*/ 77642 w 2105494"/>
              <a:gd name="connsiteY2530" fmla="*/ 387903 h 1430663"/>
              <a:gd name="connsiteX2531" fmla="*/ 77642 w 2105494"/>
              <a:gd name="connsiteY2531" fmla="*/ 383339 h 1430663"/>
              <a:gd name="connsiteX2532" fmla="*/ 79926 w 2105494"/>
              <a:gd name="connsiteY2532" fmla="*/ 378776 h 1430663"/>
              <a:gd name="connsiteX2533" fmla="*/ 77642 w 2105494"/>
              <a:gd name="connsiteY2533" fmla="*/ 376494 h 1430663"/>
              <a:gd name="connsiteX2534" fmla="*/ 75359 w 2105494"/>
              <a:gd name="connsiteY2534" fmla="*/ 374212 h 1430663"/>
              <a:gd name="connsiteX2535" fmla="*/ 73075 w 2105494"/>
              <a:gd name="connsiteY2535" fmla="*/ 371930 h 1430663"/>
              <a:gd name="connsiteX2536" fmla="*/ 75359 w 2105494"/>
              <a:gd name="connsiteY2536" fmla="*/ 369648 h 1430663"/>
              <a:gd name="connsiteX2537" fmla="*/ 77642 w 2105494"/>
              <a:gd name="connsiteY2537" fmla="*/ 369648 h 1430663"/>
              <a:gd name="connsiteX2538" fmla="*/ 79926 w 2105494"/>
              <a:gd name="connsiteY2538" fmla="*/ 367366 h 1430663"/>
              <a:gd name="connsiteX2539" fmla="*/ 82209 w 2105494"/>
              <a:gd name="connsiteY2539" fmla="*/ 367366 h 1430663"/>
              <a:gd name="connsiteX2540" fmla="*/ 86777 w 2105494"/>
              <a:gd name="connsiteY2540" fmla="*/ 369648 h 1430663"/>
              <a:gd name="connsiteX2541" fmla="*/ 89060 w 2105494"/>
              <a:gd name="connsiteY2541" fmla="*/ 371930 h 1430663"/>
              <a:gd name="connsiteX2542" fmla="*/ 91344 w 2105494"/>
              <a:gd name="connsiteY2542" fmla="*/ 369648 h 1430663"/>
              <a:gd name="connsiteX2543" fmla="*/ 93627 w 2105494"/>
              <a:gd name="connsiteY2543" fmla="*/ 369648 h 1430663"/>
              <a:gd name="connsiteX2544" fmla="*/ 93627 w 2105494"/>
              <a:gd name="connsiteY2544" fmla="*/ 367366 h 1430663"/>
              <a:gd name="connsiteX2545" fmla="*/ 91344 w 2105494"/>
              <a:gd name="connsiteY2545" fmla="*/ 367366 h 1430663"/>
              <a:gd name="connsiteX2546" fmla="*/ 89060 w 2105494"/>
              <a:gd name="connsiteY2546" fmla="*/ 362802 h 1430663"/>
              <a:gd name="connsiteX2547" fmla="*/ 91344 w 2105494"/>
              <a:gd name="connsiteY2547" fmla="*/ 358239 h 1430663"/>
              <a:gd name="connsiteX2548" fmla="*/ 91344 w 2105494"/>
              <a:gd name="connsiteY2548" fmla="*/ 355957 h 1430663"/>
              <a:gd name="connsiteX2549" fmla="*/ 93627 w 2105494"/>
              <a:gd name="connsiteY2549" fmla="*/ 351393 h 1430663"/>
              <a:gd name="connsiteX2550" fmla="*/ 95911 w 2105494"/>
              <a:gd name="connsiteY2550" fmla="*/ 344547 h 1430663"/>
              <a:gd name="connsiteX2551" fmla="*/ 95911 w 2105494"/>
              <a:gd name="connsiteY2551" fmla="*/ 342265 h 1430663"/>
              <a:gd name="connsiteX2552" fmla="*/ 98195 w 2105494"/>
              <a:gd name="connsiteY2552" fmla="*/ 339983 h 1430663"/>
              <a:gd name="connsiteX2553" fmla="*/ 100478 w 2105494"/>
              <a:gd name="connsiteY2553" fmla="*/ 337702 h 1430663"/>
              <a:gd name="connsiteX2554" fmla="*/ 102762 w 2105494"/>
              <a:gd name="connsiteY2554" fmla="*/ 337702 h 1430663"/>
              <a:gd name="connsiteX2555" fmla="*/ 109613 w 2105494"/>
              <a:gd name="connsiteY2555" fmla="*/ 333138 h 1430663"/>
              <a:gd name="connsiteX2556" fmla="*/ 109613 w 2105494"/>
              <a:gd name="connsiteY2556" fmla="*/ 330856 h 1430663"/>
              <a:gd name="connsiteX2557" fmla="*/ 116463 w 2105494"/>
              <a:gd name="connsiteY2557" fmla="*/ 326292 h 1430663"/>
              <a:gd name="connsiteX2558" fmla="*/ 118747 w 2105494"/>
              <a:gd name="connsiteY2558" fmla="*/ 326292 h 1430663"/>
              <a:gd name="connsiteX2559" fmla="*/ 118747 w 2105494"/>
              <a:gd name="connsiteY2559" fmla="*/ 324010 h 1430663"/>
              <a:gd name="connsiteX2560" fmla="*/ 118747 w 2105494"/>
              <a:gd name="connsiteY2560" fmla="*/ 321728 h 1430663"/>
              <a:gd name="connsiteX2561" fmla="*/ 118747 w 2105494"/>
              <a:gd name="connsiteY2561" fmla="*/ 319446 h 1430663"/>
              <a:gd name="connsiteX2562" fmla="*/ 118747 w 2105494"/>
              <a:gd name="connsiteY2562" fmla="*/ 314883 h 1430663"/>
              <a:gd name="connsiteX2563" fmla="*/ 118747 w 2105494"/>
              <a:gd name="connsiteY2563" fmla="*/ 310319 h 1430663"/>
              <a:gd name="connsiteX2564" fmla="*/ 118747 w 2105494"/>
              <a:gd name="connsiteY2564" fmla="*/ 308037 h 1430663"/>
              <a:gd name="connsiteX2565" fmla="*/ 121031 w 2105494"/>
              <a:gd name="connsiteY2565" fmla="*/ 308037 h 1430663"/>
              <a:gd name="connsiteX2566" fmla="*/ 123314 w 2105494"/>
              <a:gd name="connsiteY2566" fmla="*/ 305755 h 1430663"/>
              <a:gd name="connsiteX2567" fmla="*/ 130165 w 2105494"/>
              <a:gd name="connsiteY2567" fmla="*/ 305755 h 1430663"/>
              <a:gd name="connsiteX2568" fmla="*/ 132449 w 2105494"/>
              <a:gd name="connsiteY2568" fmla="*/ 301191 h 1430663"/>
              <a:gd name="connsiteX2569" fmla="*/ 130165 w 2105494"/>
              <a:gd name="connsiteY2569" fmla="*/ 296637 h 1430663"/>
              <a:gd name="connsiteX2570" fmla="*/ 130165 w 2105494"/>
              <a:gd name="connsiteY2570" fmla="*/ 294345 h 1430663"/>
              <a:gd name="connsiteX2571" fmla="*/ 130165 w 2105494"/>
              <a:gd name="connsiteY2571" fmla="*/ 292073 h 1430663"/>
              <a:gd name="connsiteX2572" fmla="*/ 132449 w 2105494"/>
              <a:gd name="connsiteY2572" fmla="*/ 289791 h 1430663"/>
              <a:gd name="connsiteX2573" fmla="*/ 134732 w 2105494"/>
              <a:gd name="connsiteY2573" fmla="*/ 292073 h 1430663"/>
              <a:gd name="connsiteX2574" fmla="*/ 137016 w 2105494"/>
              <a:gd name="connsiteY2574" fmla="*/ 294345 h 1430663"/>
              <a:gd name="connsiteX2575" fmla="*/ 139299 w 2105494"/>
              <a:gd name="connsiteY2575" fmla="*/ 296637 h 1430663"/>
              <a:gd name="connsiteX2576" fmla="*/ 143867 w 2105494"/>
              <a:gd name="connsiteY2576" fmla="*/ 292073 h 1430663"/>
              <a:gd name="connsiteX2577" fmla="*/ 146150 w 2105494"/>
              <a:gd name="connsiteY2577" fmla="*/ 289791 h 1430663"/>
              <a:gd name="connsiteX2578" fmla="*/ 146150 w 2105494"/>
              <a:gd name="connsiteY2578" fmla="*/ 287509 h 1430663"/>
              <a:gd name="connsiteX2579" fmla="*/ 148434 w 2105494"/>
              <a:gd name="connsiteY2579" fmla="*/ 287509 h 1430663"/>
              <a:gd name="connsiteX2580" fmla="*/ 150717 w 2105494"/>
              <a:gd name="connsiteY2580" fmla="*/ 287509 h 1430663"/>
              <a:gd name="connsiteX2581" fmla="*/ 150717 w 2105494"/>
              <a:gd name="connsiteY2581" fmla="*/ 289791 h 1430663"/>
              <a:gd name="connsiteX2582" fmla="*/ 150717 w 2105494"/>
              <a:gd name="connsiteY2582" fmla="*/ 292073 h 1430663"/>
              <a:gd name="connsiteX2583" fmla="*/ 150717 w 2105494"/>
              <a:gd name="connsiteY2583" fmla="*/ 294345 h 1430663"/>
              <a:gd name="connsiteX2584" fmla="*/ 148434 w 2105494"/>
              <a:gd name="connsiteY2584" fmla="*/ 296637 h 1430663"/>
              <a:gd name="connsiteX2585" fmla="*/ 148434 w 2105494"/>
              <a:gd name="connsiteY2585" fmla="*/ 298909 h 1430663"/>
              <a:gd name="connsiteX2586" fmla="*/ 148434 w 2105494"/>
              <a:gd name="connsiteY2586" fmla="*/ 301191 h 1430663"/>
              <a:gd name="connsiteX2587" fmla="*/ 150717 w 2105494"/>
              <a:gd name="connsiteY2587" fmla="*/ 303473 h 1430663"/>
              <a:gd name="connsiteX2588" fmla="*/ 153001 w 2105494"/>
              <a:gd name="connsiteY2588" fmla="*/ 303473 h 1430663"/>
              <a:gd name="connsiteX2589" fmla="*/ 155284 w 2105494"/>
              <a:gd name="connsiteY2589" fmla="*/ 303473 h 1430663"/>
              <a:gd name="connsiteX2590" fmla="*/ 157568 w 2105494"/>
              <a:gd name="connsiteY2590" fmla="*/ 303473 h 1430663"/>
              <a:gd name="connsiteX2591" fmla="*/ 159852 w 2105494"/>
              <a:gd name="connsiteY2591" fmla="*/ 301191 h 1430663"/>
              <a:gd name="connsiteX2592" fmla="*/ 159852 w 2105494"/>
              <a:gd name="connsiteY2592" fmla="*/ 298909 h 1430663"/>
              <a:gd name="connsiteX2593" fmla="*/ 159852 w 2105494"/>
              <a:gd name="connsiteY2593" fmla="*/ 296637 h 1430663"/>
              <a:gd name="connsiteX2594" fmla="*/ 162135 w 2105494"/>
              <a:gd name="connsiteY2594" fmla="*/ 294345 h 1430663"/>
              <a:gd name="connsiteX2595" fmla="*/ 168986 w 2105494"/>
              <a:gd name="connsiteY2595" fmla="*/ 292073 h 1430663"/>
              <a:gd name="connsiteX2596" fmla="*/ 173553 w 2105494"/>
              <a:gd name="connsiteY2596" fmla="*/ 294345 h 1430663"/>
              <a:gd name="connsiteX2597" fmla="*/ 175837 w 2105494"/>
              <a:gd name="connsiteY2597" fmla="*/ 296637 h 1430663"/>
              <a:gd name="connsiteX2598" fmla="*/ 178121 w 2105494"/>
              <a:gd name="connsiteY2598" fmla="*/ 296637 h 1430663"/>
              <a:gd name="connsiteX2599" fmla="*/ 182688 w 2105494"/>
              <a:gd name="connsiteY2599" fmla="*/ 292073 h 1430663"/>
              <a:gd name="connsiteX2600" fmla="*/ 187255 w 2105494"/>
              <a:gd name="connsiteY2600" fmla="*/ 292073 h 1430663"/>
              <a:gd name="connsiteX2601" fmla="*/ 189538 w 2105494"/>
              <a:gd name="connsiteY2601" fmla="*/ 289791 h 1430663"/>
              <a:gd name="connsiteX2602" fmla="*/ 194106 w 2105494"/>
              <a:gd name="connsiteY2602" fmla="*/ 282946 h 1430663"/>
              <a:gd name="connsiteX2603" fmla="*/ 196389 w 2105494"/>
              <a:gd name="connsiteY2603" fmla="*/ 282946 h 1430663"/>
              <a:gd name="connsiteX2604" fmla="*/ 196389 w 2105494"/>
              <a:gd name="connsiteY2604" fmla="*/ 280664 h 1430663"/>
              <a:gd name="connsiteX2605" fmla="*/ 200956 w 2105494"/>
              <a:gd name="connsiteY2605" fmla="*/ 280664 h 1430663"/>
              <a:gd name="connsiteX2606" fmla="*/ 205524 w 2105494"/>
              <a:gd name="connsiteY2606" fmla="*/ 278382 h 1430663"/>
              <a:gd name="connsiteX2607" fmla="*/ 207807 w 2105494"/>
              <a:gd name="connsiteY2607" fmla="*/ 278382 h 1430663"/>
              <a:gd name="connsiteX2608" fmla="*/ 210091 w 2105494"/>
              <a:gd name="connsiteY2608" fmla="*/ 280664 h 1430663"/>
              <a:gd name="connsiteX2609" fmla="*/ 212374 w 2105494"/>
              <a:gd name="connsiteY2609" fmla="*/ 280664 h 1430663"/>
              <a:gd name="connsiteX2610" fmla="*/ 214658 w 2105494"/>
              <a:gd name="connsiteY2610" fmla="*/ 280664 h 1430663"/>
              <a:gd name="connsiteX2611" fmla="*/ 216942 w 2105494"/>
              <a:gd name="connsiteY2611" fmla="*/ 280664 h 1430663"/>
              <a:gd name="connsiteX2612" fmla="*/ 219225 w 2105494"/>
              <a:gd name="connsiteY2612" fmla="*/ 280664 h 1430663"/>
              <a:gd name="connsiteX2613" fmla="*/ 221509 w 2105494"/>
              <a:gd name="connsiteY2613" fmla="*/ 278382 h 1430663"/>
              <a:gd name="connsiteX2614" fmla="*/ 226076 w 2105494"/>
              <a:gd name="connsiteY2614" fmla="*/ 278382 h 1430663"/>
              <a:gd name="connsiteX2615" fmla="*/ 228360 w 2105494"/>
              <a:gd name="connsiteY2615" fmla="*/ 278382 h 1430663"/>
              <a:gd name="connsiteX2616" fmla="*/ 230643 w 2105494"/>
              <a:gd name="connsiteY2616" fmla="*/ 278382 h 1430663"/>
              <a:gd name="connsiteX2617" fmla="*/ 232927 w 2105494"/>
              <a:gd name="connsiteY2617" fmla="*/ 278382 h 1430663"/>
              <a:gd name="connsiteX2618" fmla="*/ 235210 w 2105494"/>
              <a:gd name="connsiteY2618" fmla="*/ 282946 h 1430663"/>
              <a:gd name="connsiteX2619" fmla="*/ 237494 w 2105494"/>
              <a:gd name="connsiteY2619" fmla="*/ 285227 h 1430663"/>
              <a:gd name="connsiteX2620" fmla="*/ 239778 w 2105494"/>
              <a:gd name="connsiteY2620" fmla="*/ 285227 h 1430663"/>
              <a:gd name="connsiteX2621" fmla="*/ 242061 w 2105494"/>
              <a:gd name="connsiteY2621" fmla="*/ 285227 h 1430663"/>
              <a:gd name="connsiteX2622" fmla="*/ 242061 w 2105494"/>
              <a:gd name="connsiteY2622" fmla="*/ 280664 h 1430663"/>
              <a:gd name="connsiteX2623" fmla="*/ 244345 w 2105494"/>
              <a:gd name="connsiteY2623" fmla="*/ 280664 h 1430663"/>
              <a:gd name="connsiteX2624" fmla="*/ 246628 w 2105494"/>
              <a:gd name="connsiteY2624" fmla="*/ 282946 h 1430663"/>
              <a:gd name="connsiteX2625" fmla="*/ 248912 w 2105494"/>
              <a:gd name="connsiteY2625" fmla="*/ 285227 h 1430663"/>
              <a:gd name="connsiteX2626" fmla="*/ 260330 w 2105494"/>
              <a:gd name="connsiteY2626" fmla="*/ 282946 h 1430663"/>
              <a:gd name="connsiteX2627" fmla="*/ 262614 w 2105494"/>
              <a:gd name="connsiteY2627" fmla="*/ 282946 h 1430663"/>
              <a:gd name="connsiteX2628" fmla="*/ 262614 w 2105494"/>
              <a:gd name="connsiteY2628" fmla="*/ 285227 h 1430663"/>
              <a:gd name="connsiteX2629" fmla="*/ 264897 w 2105494"/>
              <a:gd name="connsiteY2629" fmla="*/ 287509 h 1430663"/>
              <a:gd name="connsiteX2630" fmla="*/ 271748 w 2105494"/>
              <a:gd name="connsiteY2630" fmla="*/ 289791 h 1430663"/>
              <a:gd name="connsiteX2631" fmla="*/ 278599 w 2105494"/>
              <a:gd name="connsiteY2631" fmla="*/ 289791 h 1430663"/>
              <a:gd name="connsiteX2632" fmla="*/ 280882 w 2105494"/>
              <a:gd name="connsiteY2632" fmla="*/ 292073 h 1430663"/>
              <a:gd name="connsiteX2633" fmla="*/ 283166 w 2105494"/>
              <a:gd name="connsiteY2633" fmla="*/ 292073 h 1430663"/>
              <a:gd name="connsiteX2634" fmla="*/ 285450 w 2105494"/>
              <a:gd name="connsiteY2634" fmla="*/ 292073 h 1430663"/>
              <a:gd name="connsiteX2635" fmla="*/ 287733 w 2105494"/>
              <a:gd name="connsiteY2635" fmla="*/ 289791 h 1430663"/>
              <a:gd name="connsiteX2636" fmla="*/ 290017 w 2105494"/>
              <a:gd name="connsiteY2636" fmla="*/ 280664 h 1430663"/>
              <a:gd name="connsiteX2637" fmla="*/ 292300 w 2105494"/>
              <a:gd name="connsiteY2637" fmla="*/ 278382 h 1430663"/>
              <a:gd name="connsiteX2638" fmla="*/ 296868 w 2105494"/>
              <a:gd name="connsiteY2638" fmla="*/ 278382 h 1430663"/>
              <a:gd name="connsiteX2639" fmla="*/ 301435 w 2105494"/>
              <a:gd name="connsiteY2639" fmla="*/ 278382 h 1430663"/>
              <a:gd name="connsiteX2640" fmla="*/ 301435 w 2105494"/>
              <a:gd name="connsiteY2640" fmla="*/ 280664 h 1430663"/>
              <a:gd name="connsiteX2641" fmla="*/ 301435 w 2105494"/>
              <a:gd name="connsiteY2641" fmla="*/ 282946 h 1430663"/>
              <a:gd name="connsiteX2642" fmla="*/ 299151 w 2105494"/>
              <a:gd name="connsiteY2642" fmla="*/ 282946 h 1430663"/>
              <a:gd name="connsiteX2643" fmla="*/ 299151 w 2105494"/>
              <a:gd name="connsiteY2643" fmla="*/ 285227 h 1430663"/>
              <a:gd name="connsiteX2644" fmla="*/ 299151 w 2105494"/>
              <a:gd name="connsiteY2644" fmla="*/ 287509 h 1430663"/>
              <a:gd name="connsiteX2645" fmla="*/ 303718 w 2105494"/>
              <a:gd name="connsiteY2645" fmla="*/ 287509 h 1430663"/>
              <a:gd name="connsiteX2646" fmla="*/ 306002 w 2105494"/>
              <a:gd name="connsiteY2646" fmla="*/ 287509 h 1430663"/>
              <a:gd name="connsiteX2647" fmla="*/ 310569 w 2105494"/>
              <a:gd name="connsiteY2647" fmla="*/ 292073 h 1430663"/>
              <a:gd name="connsiteX2648" fmla="*/ 312853 w 2105494"/>
              <a:gd name="connsiteY2648" fmla="*/ 292073 h 1430663"/>
              <a:gd name="connsiteX2649" fmla="*/ 312853 w 2105494"/>
              <a:gd name="connsiteY2649" fmla="*/ 296637 h 1430663"/>
              <a:gd name="connsiteX2650" fmla="*/ 315136 w 2105494"/>
              <a:gd name="connsiteY2650" fmla="*/ 296637 h 1430663"/>
              <a:gd name="connsiteX2651" fmla="*/ 315136 w 2105494"/>
              <a:gd name="connsiteY2651" fmla="*/ 298909 h 1430663"/>
              <a:gd name="connsiteX2652" fmla="*/ 315136 w 2105494"/>
              <a:gd name="connsiteY2652" fmla="*/ 301191 h 1430663"/>
              <a:gd name="connsiteX2653" fmla="*/ 312853 w 2105494"/>
              <a:gd name="connsiteY2653" fmla="*/ 305755 h 1430663"/>
              <a:gd name="connsiteX2654" fmla="*/ 312853 w 2105494"/>
              <a:gd name="connsiteY2654" fmla="*/ 308037 h 1430663"/>
              <a:gd name="connsiteX2655" fmla="*/ 315136 w 2105494"/>
              <a:gd name="connsiteY2655" fmla="*/ 308037 h 1430663"/>
              <a:gd name="connsiteX2656" fmla="*/ 317420 w 2105494"/>
              <a:gd name="connsiteY2656" fmla="*/ 308037 h 1430663"/>
              <a:gd name="connsiteX2657" fmla="*/ 321987 w 2105494"/>
              <a:gd name="connsiteY2657" fmla="*/ 303473 h 1430663"/>
              <a:gd name="connsiteX2658" fmla="*/ 324271 w 2105494"/>
              <a:gd name="connsiteY2658" fmla="*/ 303473 h 1430663"/>
              <a:gd name="connsiteX2659" fmla="*/ 326554 w 2105494"/>
              <a:gd name="connsiteY2659" fmla="*/ 303473 h 1430663"/>
              <a:gd name="connsiteX2660" fmla="*/ 328838 w 2105494"/>
              <a:gd name="connsiteY2660" fmla="*/ 308037 h 1430663"/>
              <a:gd name="connsiteX2661" fmla="*/ 331121 w 2105494"/>
              <a:gd name="connsiteY2661" fmla="*/ 308037 h 1430663"/>
              <a:gd name="connsiteX2662" fmla="*/ 335689 w 2105494"/>
              <a:gd name="connsiteY2662" fmla="*/ 308037 h 1430663"/>
              <a:gd name="connsiteX2663" fmla="*/ 335689 w 2105494"/>
              <a:gd name="connsiteY2663" fmla="*/ 310319 h 1430663"/>
              <a:gd name="connsiteX2664" fmla="*/ 337972 w 2105494"/>
              <a:gd name="connsiteY2664" fmla="*/ 310319 h 1430663"/>
              <a:gd name="connsiteX2665" fmla="*/ 337972 w 2105494"/>
              <a:gd name="connsiteY2665" fmla="*/ 312601 h 1430663"/>
              <a:gd name="connsiteX2666" fmla="*/ 335689 w 2105494"/>
              <a:gd name="connsiteY2666" fmla="*/ 312601 h 1430663"/>
              <a:gd name="connsiteX2667" fmla="*/ 335689 w 2105494"/>
              <a:gd name="connsiteY2667" fmla="*/ 314883 h 1430663"/>
              <a:gd name="connsiteX2668" fmla="*/ 337972 w 2105494"/>
              <a:gd name="connsiteY2668" fmla="*/ 314883 h 1430663"/>
              <a:gd name="connsiteX2669" fmla="*/ 340256 w 2105494"/>
              <a:gd name="connsiteY2669" fmla="*/ 314883 h 1430663"/>
              <a:gd name="connsiteX2670" fmla="*/ 342539 w 2105494"/>
              <a:gd name="connsiteY2670" fmla="*/ 317165 h 1430663"/>
              <a:gd name="connsiteX2671" fmla="*/ 344823 w 2105494"/>
              <a:gd name="connsiteY2671" fmla="*/ 319446 h 1430663"/>
              <a:gd name="connsiteX2672" fmla="*/ 347107 w 2105494"/>
              <a:gd name="connsiteY2672" fmla="*/ 319446 h 1430663"/>
              <a:gd name="connsiteX2673" fmla="*/ 347107 w 2105494"/>
              <a:gd name="connsiteY2673" fmla="*/ 324010 h 1430663"/>
              <a:gd name="connsiteX2674" fmla="*/ 349390 w 2105494"/>
              <a:gd name="connsiteY2674" fmla="*/ 324010 h 1430663"/>
              <a:gd name="connsiteX2675" fmla="*/ 349390 w 2105494"/>
              <a:gd name="connsiteY2675" fmla="*/ 326292 h 1430663"/>
              <a:gd name="connsiteX2676" fmla="*/ 351674 w 2105494"/>
              <a:gd name="connsiteY2676" fmla="*/ 326292 h 1430663"/>
              <a:gd name="connsiteX2677" fmla="*/ 351674 w 2105494"/>
              <a:gd name="connsiteY2677" fmla="*/ 324010 h 1430663"/>
              <a:gd name="connsiteX2678" fmla="*/ 353958 w 2105494"/>
              <a:gd name="connsiteY2678" fmla="*/ 324010 h 1430663"/>
              <a:gd name="connsiteX2679" fmla="*/ 353958 w 2105494"/>
              <a:gd name="connsiteY2679" fmla="*/ 321728 h 1430663"/>
              <a:gd name="connsiteX2680" fmla="*/ 356241 w 2105494"/>
              <a:gd name="connsiteY2680" fmla="*/ 319446 h 1430663"/>
              <a:gd name="connsiteX2681" fmla="*/ 358525 w 2105494"/>
              <a:gd name="connsiteY2681" fmla="*/ 321728 h 1430663"/>
              <a:gd name="connsiteX2682" fmla="*/ 360808 w 2105494"/>
              <a:gd name="connsiteY2682" fmla="*/ 321728 h 1430663"/>
              <a:gd name="connsiteX2683" fmla="*/ 360808 w 2105494"/>
              <a:gd name="connsiteY2683" fmla="*/ 324010 h 1430663"/>
              <a:gd name="connsiteX2684" fmla="*/ 360808 w 2105494"/>
              <a:gd name="connsiteY2684" fmla="*/ 326292 h 1430663"/>
              <a:gd name="connsiteX2685" fmla="*/ 358525 w 2105494"/>
              <a:gd name="connsiteY2685" fmla="*/ 326292 h 1430663"/>
              <a:gd name="connsiteX2686" fmla="*/ 358525 w 2105494"/>
              <a:gd name="connsiteY2686" fmla="*/ 328574 h 1430663"/>
              <a:gd name="connsiteX2687" fmla="*/ 356241 w 2105494"/>
              <a:gd name="connsiteY2687" fmla="*/ 328574 h 1430663"/>
              <a:gd name="connsiteX2688" fmla="*/ 360808 w 2105494"/>
              <a:gd name="connsiteY2688" fmla="*/ 330856 h 1430663"/>
              <a:gd name="connsiteX2689" fmla="*/ 363092 w 2105494"/>
              <a:gd name="connsiteY2689" fmla="*/ 330856 h 1430663"/>
              <a:gd name="connsiteX2690" fmla="*/ 363092 w 2105494"/>
              <a:gd name="connsiteY2690" fmla="*/ 333138 h 1430663"/>
              <a:gd name="connsiteX2691" fmla="*/ 365375 w 2105494"/>
              <a:gd name="connsiteY2691" fmla="*/ 335420 h 1430663"/>
              <a:gd name="connsiteX2692" fmla="*/ 365375 w 2105494"/>
              <a:gd name="connsiteY2692" fmla="*/ 337702 h 1430663"/>
              <a:gd name="connsiteX2693" fmla="*/ 365375 w 2105494"/>
              <a:gd name="connsiteY2693" fmla="*/ 339983 h 1430663"/>
              <a:gd name="connsiteX2694" fmla="*/ 367659 w 2105494"/>
              <a:gd name="connsiteY2694" fmla="*/ 339983 h 1430663"/>
              <a:gd name="connsiteX2695" fmla="*/ 369943 w 2105494"/>
              <a:gd name="connsiteY2695" fmla="*/ 339983 h 1430663"/>
              <a:gd name="connsiteX2696" fmla="*/ 372226 w 2105494"/>
              <a:gd name="connsiteY2696" fmla="*/ 339983 h 1430663"/>
              <a:gd name="connsiteX2697" fmla="*/ 374510 w 2105494"/>
              <a:gd name="connsiteY2697" fmla="*/ 339983 h 1430663"/>
              <a:gd name="connsiteX2698" fmla="*/ 374510 w 2105494"/>
              <a:gd name="connsiteY2698" fmla="*/ 337702 h 1430663"/>
              <a:gd name="connsiteX2699" fmla="*/ 374510 w 2105494"/>
              <a:gd name="connsiteY2699" fmla="*/ 335420 h 1430663"/>
              <a:gd name="connsiteX2700" fmla="*/ 376793 w 2105494"/>
              <a:gd name="connsiteY2700" fmla="*/ 333138 h 1430663"/>
              <a:gd name="connsiteX2701" fmla="*/ 379077 w 2105494"/>
              <a:gd name="connsiteY2701" fmla="*/ 335420 h 1430663"/>
              <a:gd name="connsiteX2702" fmla="*/ 381360 w 2105494"/>
              <a:gd name="connsiteY2702" fmla="*/ 335420 h 1430663"/>
              <a:gd name="connsiteX2703" fmla="*/ 381360 w 2105494"/>
              <a:gd name="connsiteY2703" fmla="*/ 337702 h 1430663"/>
              <a:gd name="connsiteX2704" fmla="*/ 379077 w 2105494"/>
              <a:gd name="connsiteY2704" fmla="*/ 339983 h 1430663"/>
              <a:gd name="connsiteX2705" fmla="*/ 379077 w 2105494"/>
              <a:gd name="connsiteY2705" fmla="*/ 342265 h 1430663"/>
              <a:gd name="connsiteX2706" fmla="*/ 379077 w 2105494"/>
              <a:gd name="connsiteY2706" fmla="*/ 344547 h 1430663"/>
              <a:gd name="connsiteX2707" fmla="*/ 381360 w 2105494"/>
              <a:gd name="connsiteY2707" fmla="*/ 344547 h 1430663"/>
              <a:gd name="connsiteX2708" fmla="*/ 383644 w 2105494"/>
              <a:gd name="connsiteY2708" fmla="*/ 344547 h 1430663"/>
              <a:gd name="connsiteX2709" fmla="*/ 388211 w 2105494"/>
              <a:gd name="connsiteY2709" fmla="*/ 344547 h 1430663"/>
              <a:gd name="connsiteX2710" fmla="*/ 390495 w 2105494"/>
              <a:gd name="connsiteY2710" fmla="*/ 346829 h 1430663"/>
              <a:gd name="connsiteX2711" fmla="*/ 390495 w 2105494"/>
              <a:gd name="connsiteY2711" fmla="*/ 349111 h 1430663"/>
              <a:gd name="connsiteX2712" fmla="*/ 392779 w 2105494"/>
              <a:gd name="connsiteY2712" fmla="*/ 349111 h 1430663"/>
              <a:gd name="connsiteX2713" fmla="*/ 397346 w 2105494"/>
              <a:gd name="connsiteY2713" fmla="*/ 346829 h 1430663"/>
              <a:gd name="connsiteX2714" fmla="*/ 399629 w 2105494"/>
              <a:gd name="connsiteY2714" fmla="*/ 344547 h 1430663"/>
              <a:gd name="connsiteX2715" fmla="*/ 401913 w 2105494"/>
              <a:gd name="connsiteY2715" fmla="*/ 349111 h 1430663"/>
              <a:gd name="connsiteX2716" fmla="*/ 404197 w 2105494"/>
              <a:gd name="connsiteY2716" fmla="*/ 351393 h 1430663"/>
              <a:gd name="connsiteX2717" fmla="*/ 411047 w 2105494"/>
              <a:gd name="connsiteY2717" fmla="*/ 355957 h 1430663"/>
              <a:gd name="connsiteX2718" fmla="*/ 411047 w 2105494"/>
              <a:gd name="connsiteY2718" fmla="*/ 358239 h 1430663"/>
              <a:gd name="connsiteX2719" fmla="*/ 411047 w 2105494"/>
              <a:gd name="connsiteY2719" fmla="*/ 360521 h 1430663"/>
              <a:gd name="connsiteX2720" fmla="*/ 411047 w 2105494"/>
              <a:gd name="connsiteY2720" fmla="*/ 362802 h 1430663"/>
              <a:gd name="connsiteX2721" fmla="*/ 413331 w 2105494"/>
              <a:gd name="connsiteY2721" fmla="*/ 365084 h 1430663"/>
              <a:gd name="connsiteX2722" fmla="*/ 413331 w 2105494"/>
              <a:gd name="connsiteY2722" fmla="*/ 367366 h 1430663"/>
              <a:gd name="connsiteX2723" fmla="*/ 415614 w 2105494"/>
              <a:gd name="connsiteY2723" fmla="*/ 369648 h 1430663"/>
              <a:gd name="connsiteX2724" fmla="*/ 420182 w 2105494"/>
              <a:gd name="connsiteY2724" fmla="*/ 369648 h 1430663"/>
              <a:gd name="connsiteX2725" fmla="*/ 422465 w 2105494"/>
              <a:gd name="connsiteY2725" fmla="*/ 371930 h 1430663"/>
              <a:gd name="connsiteX2726" fmla="*/ 424749 w 2105494"/>
              <a:gd name="connsiteY2726" fmla="*/ 371930 h 1430663"/>
              <a:gd name="connsiteX2727" fmla="*/ 427033 w 2105494"/>
              <a:gd name="connsiteY2727" fmla="*/ 371930 h 1430663"/>
              <a:gd name="connsiteX2728" fmla="*/ 429316 w 2105494"/>
              <a:gd name="connsiteY2728" fmla="*/ 371930 h 1430663"/>
              <a:gd name="connsiteX2729" fmla="*/ 431600 w 2105494"/>
              <a:gd name="connsiteY2729" fmla="*/ 371930 h 1430663"/>
              <a:gd name="connsiteX2730" fmla="*/ 436167 w 2105494"/>
              <a:gd name="connsiteY2730" fmla="*/ 374212 h 1430663"/>
              <a:gd name="connsiteX2731" fmla="*/ 436167 w 2105494"/>
              <a:gd name="connsiteY2731" fmla="*/ 376494 h 1430663"/>
              <a:gd name="connsiteX2732" fmla="*/ 433883 w 2105494"/>
              <a:gd name="connsiteY2732" fmla="*/ 378776 h 1430663"/>
              <a:gd name="connsiteX2733" fmla="*/ 431600 w 2105494"/>
              <a:gd name="connsiteY2733" fmla="*/ 378776 h 1430663"/>
              <a:gd name="connsiteX2734" fmla="*/ 431600 w 2105494"/>
              <a:gd name="connsiteY2734" fmla="*/ 381058 h 1430663"/>
              <a:gd name="connsiteX2735" fmla="*/ 431600 w 2105494"/>
              <a:gd name="connsiteY2735" fmla="*/ 383339 h 1430663"/>
              <a:gd name="connsiteX2736" fmla="*/ 433883 w 2105494"/>
              <a:gd name="connsiteY2736" fmla="*/ 385621 h 1430663"/>
              <a:gd name="connsiteX2737" fmla="*/ 433883 w 2105494"/>
              <a:gd name="connsiteY2737" fmla="*/ 387903 h 1430663"/>
              <a:gd name="connsiteX2738" fmla="*/ 436167 w 2105494"/>
              <a:gd name="connsiteY2738" fmla="*/ 387903 h 1430663"/>
              <a:gd name="connsiteX2739" fmla="*/ 438450 w 2105494"/>
              <a:gd name="connsiteY2739" fmla="*/ 385621 h 1430663"/>
              <a:gd name="connsiteX2740" fmla="*/ 440734 w 2105494"/>
              <a:gd name="connsiteY2740" fmla="*/ 385621 h 1430663"/>
              <a:gd name="connsiteX2741" fmla="*/ 443018 w 2105494"/>
              <a:gd name="connsiteY2741" fmla="*/ 387903 h 1430663"/>
              <a:gd name="connsiteX2742" fmla="*/ 445301 w 2105494"/>
              <a:gd name="connsiteY2742" fmla="*/ 390185 h 1430663"/>
              <a:gd name="connsiteX2743" fmla="*/ 445301 w 2105494"/>
              <a:gd name="connsiteY2743" fmla="*/ 392467 h 1430663"/>
              <a:gd name="connsiteX2744" fmla="*/ 443018 w 2105494"/>
              <a:gd name="connsiteY2744" fmla="*/ 394749 h 1430663"/>
              <a:gd name="connsiteX2745" fmla="*/ 445301 w 2105494"/>
              <a:gd name="connsiteY2745" fmla="*/ 394749 h 1430663"/>
              <a:gd name="connsiteX2746" fmla="*/ 445301 w 2105494"/>
              <a:gd name="connsiteY2746" fmla="*/ 397031 h 1430663"/>
              <a:gd name="connsiteX2747" fmla="*/ 452152 w 2105494"/>
              <a:gd name="connsiteY2747" fmla="*/ 397031 h 1430663"/>
              <a:gd name="connsiteX2748" fmla="*/ 456719 w 2105494"/>
              <a:gd name="connsiteY2748" fmla="*/ 397031 h 1430663"/>
              <a:gd name="connsiteX2749" fmla="*/ 459003 w 2105494"/>
              <a:gd name="connsiteY2749" fmla="*/ 399313 h 1430663"/>
              <a:gd name="connsiteX2750" fmla="*/ 459003 w 2105494"/>
              <a:gd name="connsiteY2750" fmla="*/ 401595 h 1430663"/>
              <a:gd name="connsiteX2751" fmla="*/ 461287 w 2105494"/>
              <a:gd name="connsiteY2751" fmla="*/ 403877 h 1430663"/>
              <a:gd name="connsiteX2752" fmla="*/ 461287 w 2105494"/>
              <a:gd name="connsiteY2752" fmla="*/ 406158 h 1430663"/>
              <a:gd name="connsiteX2753" fmla="*/ 463570 w 2105494"/>
              <a:gd name="connsiteY2753" fmla="*/ 406158 h 1430663"/>
              <a:gd name="connsiteX2754" fmla="*/ 465854 w 2105494"/>
              <a:gd name="connsiteY2754" fmla="*/ 408440 h 1430663"/>
              <a:gd name="connsiteX2755" fmla="*/ 468137 w 2105494"/>
              <a:gd name="connsiteY2755" fmla="*/ 410722 h 1430663"/>
              <a:gd name="connsiteX2756" fmla="*/ 468137 w 2105494"/>
              <a:gd name="connsiteY2756" fmla="*/ 413004 h 1430663"/>
              <a:gd name="connsiteX2757" fmla="*/ 468137 w 2105494"/>
              <a:gd name="connsiteY2757" fmla="*/ 415286 h 1430663"/>
              <a:gd name="connsiteX2758" fmla="*/ 470421 w 2105494"/>
              <a:gd name="connsiteY2758" fmla="*/ 417568 h 1430663"/>
              <a:gd name="connsiteX2759" fmla="*/ 472704 w 2105494"/>
              <a:gd name="connsiteY2759" fmla="*/ 419850 h 1430663"/>
              <a:gd name="connsiteX2760" fmla="*/ 474988 w 2105494"/>
              <a:gd name="connsiteY2760" fmla="*/ 419850 h 1430663"/>
              <a:gd name="connsiteX2761" fmla="*/ 477272 w 2105494"/>
              <a:gd name="connsiteY2761" fmla="*/ 419850 h 1430663"/>
              <a:gd name="connsiteX2762" fmla="*/ 479555 w 2105494"/>
              <a:gd name="connsiteY2762" fmla="*/ 422132 h 1430663"/>
              <a:gd name="connsiteX2763" fmla="*/ 484122 w 2105494"/>
              <a:gd name="connsiteY2763" fmla="*/ 422132 h 1430663"/>
              <a:gd name="connsiteX2764" fmla="*/ 484122 w 2105494"/>
              <a:gd name="connsiteY2764" fmla="*/ 419850 h 1430663"/>
              <a:gd name="connsiteX2765" fmla="*/ 486406 w 2105494"/>
              <a:gd name="connsiteY2765" fmla="*/ 419850 h 1430663"/>
              <a:gd name="connsiteX2766" fmla="*/ 486406 w 2105494"/>
              <a:gd name="connsiteY2766" fmla="*/ 415286 h 1430663"/>
              <a:gd name="connsiteX2767" fmla="*/ 488689 w 2105494"/>
              <a:gd name="connsiteY2767" fmla="*/ 415286 h 1430663"/>
              <a:gd name="connsiteX2768" fmla="*/ 490973 w 2105494"/>
              <a:gd name="connsiteY2768" fmla="*/ 415286 h 1430663"/>
              <a:gd name="connsiteX2769" fmla="*/ 490973 w 2105494"/>
              <a:gd name="connsiteY2769" fmla="*/ 413004 h 1430663"/>
              <a:gd name="connsiteX2770" fmla="*/ 493257 w 2105494"/>
              <a:gd name="connsiteY2770" fmla="*/ 413004 h 1430663"/>
              <a:gd name="connsiteX2771" fmla="*/ 495540 w 2105494"/>
              <a:gd name="connsiteY2771" fmla="*/ 415286 h 1430663"/>
              <a:gd name="connsiteX2772" fmla="*/ 497824 w 2105494"/>
              <a:gd name="connsiteY2772" fmla="*/ 415286 h 1430663"/>
              <a:gd name="connsiteX2773" fmla="*/ 500108 w 2105494"/>
              <a:gd name="connsiteY2773" fmla="*/ 415286 h 1430663"/>
              <a:gd name="connsiteX2774" fmla="*/ 506958 w 2105494"/>
              <a:gd name="connsiteY2774" fmla="*/ 415286 h 1430663"/>
              <a:gd name="connsiteX2775" fmla="*/ 509242 w 2105494"/>
              <a:gd name="connsiteY2775" fmla="*/ 417568 h 1430663"/>
              <a:gd name="connsiteX2776" fmla="*/ 506958 w 2105494"/>
              <a:gd name="connsiteY2776" fmla="*/ 422132 h 1430663"/>
              <a:gd name="connsiteX2777" fmla="*/ 506958 w 2105494"/>
              <a:gd name="connsiteY2777" fmla="*/ 424414 h 1430663"/>
              <a:gd name="connsiteX2778" fmla="*/ 506958 w 2105494"/>
              <a:gd name="connsiteY2778" fmla="*/ 426696 h 1430663"/>
              <a:gd name="connsiteX2779" fmla="*/ 509242 w 2105494"/>
              <a:gd name="connsiteY2779" fmla="*/ 426696 h 1430663"/>
              <a:gd name="connsiteX2780" fmla="*/ 511526 w 2105494"/>
              <a:gd name="connsiteY2780" fmla="*/ 426696 h 1430663"/>
              <a:gd name="connsiteX2781" fmla="*/ 513809 w 2105494"/>
              <a:gd name="connsiteY2781" fmla="*/ 426696 h 1430663"/>
              <a:gd name="connsiteX2782" fmla="*/ 513809 w 2105494"/>
              <a:gd name="connsiteY2782" fmla="*/ 424414 h 1430663"/>
              <a:gd name="connsiteX2783" fmla="*/ 516093 w 2105494"/>
              <a:gd name="connsiteY2783" fmla="*/ 422132 h 1430663"/>
              <a:gd name="connsiteX2784" fmla="*/ 522943 w 2105494"/>
              <a:gd name="connsiteY2784" fmla="*/ 426696 h 1430663"/>
              <a:gd name="connsiteX2785" fmla="*/ 525227 w 2105494"/>
              <a:gd name="connsiteY2785" fmla="*/ 426696 h 1430663"/>
              <a:gd name="connsiteX2786" fmla="*/ 527511 w 2105494"/>
              <a:gd name="connsiteY2786" fmla="*/ 428977 h 1430663"/>
              <a:gd name="connsiteX2787" fmla="*/ 527511 w 2105494"/>
              <a:gd name="connsiteY2787" fmla="*/ 426696 h 1430663"/>
              <a:gd name="connsiteX2788" fmla="*/ 529794 w 2105494"/>
              <a:gd name="connsiteY2788" fmla="*/ 422132 h 1430663"/>
              <a:gd name="connsiteX2789" fmla="*/ 527511 w 2105494"/>
              <a:gd name="connsiteY2789" fmla="*/ 419850 h 1430663"/>
              <a:gd name="connsiteX2790" fmla="*/ 527511 w 2105494"/>
              <a:gd name="connsiteY2790" fmla="*/ 417568 h 1430663"/>
              <a:gd name="connsiteX2791" fmla="*/ 529794 w 2105494"/>
              <a:gd name="connsiteY2791" fmla="*/ 417568 h 1430663"/>
              <a:gd name="connsiteX2792" fmla="*/ 532078 w 2105494"/>
              <a:gd name="connsiteY2792" fmla="*/ 419850 h 1430663"/>
              <a:gd name="connsiteX2793" fmla="*/ 534362 w 2105494"/>
              <a:gd name="connsiteY2793" fmla="*/ 422132 h 1430663"/>
              <a:gd name="connsiteX2794" fmla="*/ 534362 w 2105494"/>
              <a:gd name="connsiteY2794" fmla="*/ 424414 h 1430663"/>
              <a:gd name="connsiteX2795" fmla="*/ 536645 w 2105494"/>
              <a:gd name="connsiteY2795" fmla="*/ 422132 h 1430663"/>
              <a:gd name="connsiteX2796" fmla="*/ 538929 w 2105494"/>
              <a:gd name="connsiteY2796" fmla="*/ 419850 h 1430663"/>
              <a:gd name="connsiteX2797" fmla="*/ 550347 w 2105494"/>
              <a:gd name="connsiteY2797" fmla="*/ 417568 h 1430663"/>
              <a:gd name="connsiteX2798" fmla="*/ 552630 w 2105494"/>
              <a:gd name="connsiteY2798" fmla="*/ 417568 h 1430663"/>
              <a:gd name="connsiteX2799" fmla="*/ 554914 w 2105494"/>
              <a:gd name="connsiteY2799" fmla="*/ 417568 h 1430663"/>
              <a:gd name="connsiteX2800" fmla="*/ 557197 w 2105494"/>
              <a:gd name="connsiteY2800" fmla="*/ 417568 h 1430663"/>
              <a:gd name="connsiteX2801" fmla="*/ 557197 w 2105494"/>
              <a:gd name="connsiteY2801" fmla="*/ 415286 h 1430663"/>
              <a:gd name="connsiteX2802" fmla="*/ 554914 w 2105494"/>
              <a:gd name="connsiteY2802" fmla="*/ 415286 h 1430663"/>
              <a:gd name="connsiteX2803" fmla="*/ 554914 w 2105494"/>
              <a:gd name="connsiteY2803" fmla="*/ 413004 h 1430663"/>
              <a:gd name="connsiteX2804" fmla="*/ 557197 w 2105494"/>
              <a:gd name="connsiteY2804" fmla="*/ 410722 h 1430663"/>
              <a:gd name="connsiteX2805" fmla="*/ 561765 w 2105494"/>
              <a:gd name="connsiteY2805" fmla="*/ 410722 h 1430663"/>
              <a:gd name="connsiteX2806" fmla="*/ 564048 w 2105494"/>
              <a:gd name="connsiteY2806" fmla="*/ 410722 h 1430663"/>
              <a:gd name="connsiteX2807" fmla="*/ 564048 w 2105494"/>
              <a:gd name="connsiteY2807" fmla="*/ 413004 h 1430663"/>
              <a:gd name="connsiteX2808" fmla="*/ 561765 w 2105494"/>
              <a:gd name="connsiteY2808" fmla="*/ 415286 h 1430663"/>
              <a:gd name="connsiteX2809" fmla="*/ 561765 w 2105494"/>
              <a:gd name="connsiteY2809" fmla="*/ 417568 h 1430663"/>
              <a:gd name="connsiteX2810" fmla="*/ 564048 w 2105494"/>
              <a:gd name="connsiteY2810" fmla="*/ 417568 h 1430663"/>
              <a:gd name="connsiteX2811" fmla="*/ 568616 w 2105494"/>
              <a:gd name="connsiteY2811" fmla="*/ 417568 h 1430663"/>
              <a:gd name="connsiteX2812" fmla="*/ 570899 w 2105494"/>
              <a:gd name="connsiteY2812" fmla="*/ 417568 h 1430663"/>
              <a:gd name="connsiteX2813" fmla="*/ 573183 w 2105494"/>
              <a:gd name="connsiteY2813" fmla="*/ 413004 h 1430663"/>
              <a:gd name="connsiteX2814" fmla="*/ 575466 w 2105494"/>
              <a:gd name="connsiteY2814" fmla="*/ 413004 h 1430663"/>
              <a:gd name="connsiteX2815" fmla="*/ 580033 w 2105494"/>
              <a:gd name="connsiteY2815" fmla="*/ 419850 h 1430663"/>
              <a:gd name="connsiteX2816" fmla="*/ 582317 w 2105494"/>
              <a:gd name="connsiteY2816" fmla="*/ 419850 h 1430663"/>
              <a:gd name="connsiteX2817" fmla="*/ 584601 w 2105494"/>
              <a:gd name="connsiteY2817" fmla="*/ 422132 h 1430663"/>
              <a:gd name="connsiteX2818" fmla="*/ 586884 w 2105494"/>
              <a:gd name="connsiteY2818" fmla="*/ 424414 h 1430663"/>
              <a:gd name="connsiteX2819" fmla="*/ 589168 w 2105494"/>
              <a:gd name="connsiteY2819" fmla="*/ 422132 h 1430663"/>
              <a:gd name="connsiteX2820" fmla="*/ 589168 w 2105494"/>
              <a:gd name="connsiteY2820" fmla="*/ 424414 h 1430663"/>
              <a:gd name="connsiteX2821" fmla="*/ 589168 w 2105494"/>
              <a:gd name="connsiteY2821" fmla="*/ 426696 h 1430663"/>
              <a:gd name="connsiteX2822" fmla="*/ 589168 w 2105494"/>
              <a:gd name="connsiteY2822" fmla="*/ 428977 h 1430663"/>
              <a:gd name="connsiteX2823" fmla="*/ 591451 w 2105494"/>
              <a:gd name="connsiteY2823" fmla="*/ 433541 h 1430663"/>
              <a:gd name="connsiteX2824" fmla="*/ 593735 w 2105494"/>
              <a:gd name="connsiteY2824" fmla="*/ 435823 h 1430663"/>
              <a:gd name="connsiteX2825" fmla="*/ 598302 w 2105494"/>
              <a:gd name="connsiteY2825" fmla="*/ 435823 h 1430663"/>
              <a:gd name="connsiteX2826" fmla="*/ 598302 w 2105494"/>
              <a:gd name="connsiteY2826" fmla="*/ 438105 h 1430663"/>
              <a:gd name="connsiteX2827" fmla="*/ 598302 w 2105494"/>
              <a:gd name="connsiteY2827" fmla="*/ 440387 h 1430663"/>
              <a:gd name="connsiteX2828" fmla="*/ 600595 w 2105494"/>
              <a:gd name="connsiteY2828" fmla="*/ 440387 h 1430663"/>
              <a:gd name="connsiteX2829" fmla="*/ 600595 w 2105494"/>
              <a:gd name="connsiteY2829" fmla="*/ 442669 h 1430663"/>
              <a:gd name="connsiteX2830" fmla="*/ 602869 w 2105494"/>
              <a:gd name="connsiteY2830" fmla="*/ 442669 h 1430663"/>
              <a:gd name="connsiteX2831" fmla="*/ 602869 w 2105494"/>
              <a:gd name="connsiteY2831" fmla="*/ 444951 h 1430663"/>
              <a:gd name="connsiteX2832" fmla="*/ 605153 w 2105494"/>
              <a:gd name="connsiteY2832" fmla="*/ 447233 h 1430663"/>
              <a:gd name="connsiteX2833" fmla="*/ 609720 w 2105494"/>
              <a:gd name="connsiteY2833" fmla="*/ 444951 h 1430663"/>
              <a:gd name="connsiteX2834" fmla="*/ 612004 w 2105494"/>
              <a:gd name="connsiteY2834" fmla="*/ 444951 h 1430663"/>
              <a:gd name="connsiteX2835" fmla="*/ 612004 w 2105494"/>
              <a:gd name="connsiteY2835" fmla="*/ 447233 h 1430663"/>
              <a:gd name="connsiteX2836" fmla="*/ 612004 w 2105494"/>
              <a:gd name="connsiteY2836" fmla="*/ 449514 h 1430663"/>
              <a:gd name="connsiteX2837" fmla="*/ 609720 w 2105494"/>
              <a:gd name="connsiteY2837" fmla="*/ 451787 h 1430663"/>
              <a:gd name="connsiteX2838" fmla="*/ 607446 w 2105494"/>
              <a:gd name="connsiteY2838" fmla="*/ 454069 h 1430663"/>
              <a:gd name="connsiteX2839" fmla="*/ 609720 w 2105494"/>
              <a:gd name="connsiteY2839" fmla="*/ 454069 h 1430663"/>
              <a:gd name="connsiteX2840" fmla="*/ 612004 w 2105494"/>
              <a:gd name="connsiteY2840" fmla="*/ 456351 h 1430663"/>
              <a:gd name="connsiteX2841" fmla="*/ 614297 w 2105494"/>
              <a:gd name="connsiteY2841" fmla="*/ 454069 h 1430663"/>
              <a:gd name="connsiteX2842" fmla="*/ 616571 w 2105494"/>
              <a:gd name="connsiteY2842" fmla="*/ 451787 h 1430663"/>
              <a:gd name="connsiteX2843" fmla="*/ 618855 w 2105494"/>
              <a:gd name="connsiteY2843" fmla="*/ 449514 h 1430663"/>
              <a:gd name="connsiteX2844" fmla="*/ 618855 w 2105494"/>
              <a:gd name="connsiteY2844" fmla="*/ 451787 h 1430663"/>
              <a:gd name="connsiteX2845" fmla="*/ 621148 w 2105494"/>
              <a:gd name="connsiteY2845" fmla="*/ 451787 h 1430663"/>
              <a:gd name="connsiteX2846" fmla="*/ 623431 w 2105494"/>
              <a:gd name="connsiteY2846" fmla="*/ 449514 h 1430663"/>
              <a:gd name="connsiteX2847" fmla="*/ 625705 w 2105494"/>
              <a:gd name="connsiteY2847" fmla="*/ 449514 h 1430663"/>
              <a:gd name="connsiteX2848" fmla="*/ 625705 w 2105494"/>
              <a:gd name="connsiteY2848" fmla="*/ 451787 h 1430663"/>
              <a:gd name="connsiteX2849" fmla="*/ 625705 w 2105494"/>
              <a:gd name="connsiteY2849" fmla="*/ 454069 h 1430663"/>
              <a:gd name="connsiteX2850" fmla="*/ 625705 w 2105494"/>
              <a:gd name="connsiteY2850" fmla="*/ 456351 h 1430663"/>
              <a:gd name="connsiteX2851" fmla="*/ 623431 w 2105494"/>
              <a:gd name="connsiteY2851" fmla="*/ 456351 h 1430663"/>
              <a:gd name="connsiteX2852" fmla="*/ 625705 w 2105494"/>
              <a:gd name="connsiteY2852" fmla="*/ 458633 h 1430663"/>
              <a:gd name="connsiteX2853" fmla="*/ 627999 w 2105494"/>
              <a:gd name="connsiteY2853" fmla="*/ 460915 h 1430663"/>
              <a:gd name="connsiteX2854" fmla="*/ 630282 w 2105494"/>
              <a:gd name="connsiteY2854" fmla="*/ 463196 h 1430663"/>
              <a:gd name="connsiteX2855" fmla="*/ 632566 w 2105494"/>
              <a:gd name="connsiteY2855" fmla="*/ 463196 h 1430663"/>
              <a:gd name="connsiteX2856" fmla="*/ 637133 w 2105494"/>
              <a:gd name="connsiteY2856" fmla="*/ 467760 h 1430663"/>
              <a:gd name="connsiteX2857" fmla="*/ 639416 w 2105494"/>
              <a:gd name="connsiteY2857" fmla="*/ 467760 h 1430663"/>
              <a:gd name="connsiteX2858" fmla="*/ 639416 w 2105494"/>
              <a:gd name="connsiteY2858" fmla="*/ 470042 h 1430663"/>
              <a:gd name="connsiteX2859" fmla="*/ 643984 w 2105494"/>
              <a:gd name="connsiteY2859" fmla="*/ 470042 h 1430663"/>
              <a:gd name="connsiteX2860" fmla="*/ 646267 w 2105494"/>
              <a:gd name="connsiteY2860" fmla="*/ 470042 h 1430663"/>
              <a:gd name="connsiteX2861" fmla="*/ 648551 w 2105494"/>
              <a:gd name="connsiteY2861" fmla="*/ 470042 h 1430663"/>
              <a:gd name="connsiteX2862" fmla="*/ 648551 w 2105494"/>
              <a:gd name="connsiteY2862" fmla="*/ 467760 h 1430663"/>
              <a:gd name="connsiteX2863" fmla="*/ 650834 w 2105494"/>
              <a:gd name="connsiteY2863" fmla="*/ 467760 h 1430663"/>
              <a:gd name="connsiteX2864" fmla="*/ 653118 w 2105494"/>
              <a:gd name="connsiteY2864" fmla="*/ 470042 h 1430663"/>
              <a:gd name="connsiteX2865" fmla="*/ 655402 w 2105494"/>
              <a:gd name="connsiteY2865" fmla="*/ 470042 h 1430663"/>
              <a:gd name="connsiteX2866" fmla="*/ 655402 w 2105494"/>
              <a:gd name="connsiteY2866" fmla="*/ 467760 h 1430663"/>
              <a:gd name="connsiteX2867" fmla="*/ 655402 w 2105494"/>
              <a:gd name="connsiteY2867" fmla="*/ 465478 h 1430663"/>
              <a:gd name="connsiteX2868" fmla="*/ 657685 w 2105494"/>
              <a:gd name="connsiteY2868" fmla="*/ 463196 h 1430663"/>
              <a:gd name="connsiteX2869" fmla="*/ 659969 w 2105494"/>
              <a:gd name="connsiteY2869" fmla="*/ 465478 h 1430663"/>
              <a:gd name="connsiteX2870" fmla="*/ 662253 w 2105494"/>
              <a:gd name="connsiteY2870" fmla="*/ 465478 h 1430663"/>
              <a:gd name="connsiteX2871" fmla="*/ 664536 w 2105494"/>
              <a:gd name="connsiteY2871" fmla="*/ 465478 h 1430663"/>
              <a:gd name="connsiteX2872" fmla="*/ 664536 w 2105494"/>
              <a:gd name="connsiteY2872" fmla="*/ 463196 h 1430663"/>
              <a:gd name="connsiteX2873" fmla="*/ 666820 w 2105494"/>
              <a:gd name="connsiteY2873" fmla="*/ 460915 h 1430663"/>
              <a:gd name="connsiteX2874" fmla="*/ 666820 w 2105494"/>
              <a:gd name="connsiteY2874" fmla="*/ 458633 h 1430663"/>
              <a:gd name="connsiteX2875" fmla="*/ 669103 w 2105494"/>
              <a:gd name="connsiteY2875" fmla="*/ 460915 h 1430663"/>
              <a:gd name="connsiteX2876" fmla="*/ 671387 w 2105494"/>
              <a:gd name="connsiteY2876" fmla="*/ 463196 h 1430663"/>
              <a:gd name="connsiteX2877" fmla="*/ 671387 w 2105494"/>
              <a:gd name="connsiteY2877" fmla="*/ 460915 h 1430663"/>
              <a:gd name="connsiteX2878" fmla="*/ 671387 w 2105494"/>
              <a:gd name="connsiteY2878" fmla="*/ 458633 h 1430663"/>
              <a:gd name="connsiteX2879" fmla="*/ 673670 w 2105494"/>
              <a:gd name="connsiteY2879" fmla="*/ 460915 h 1430663"/>
              <a:gd name="connsiteX2880" fmla="*/ 678238 w 2105494"/>
              <a:gd name="connsiteY2880" fmla="*/ 460915 h 1430663"/>
              <a:gd name="connsiteX2881" fmla="*/ 680521 w 2105494"/>
              <a:gd name="connsiteY2881" fmla="*/ 463196 h 1430663"/>
              <a:gd name="connsiteX2882" fmla="*/ 682805 w 2105494"/>
              <a:gd name="connsiteY2882" fmla="*/ 463196 h 1430663"/>
              <a:gd name="connsiteX2883" fmla="*/ 685088 w 2105494"/>
              <a:gd name="connsiteY2883" fmla="*/ 465478 h 1430663"/>
              <a:gd name="connsiteX2884" fmla="*/ 687372 w 2105494"/>
              <a:gd name="connsiteY2884" fmla="*/ 465478 h 1430663"/>
              <a:gd name="connsiteX2885" fmla="*/ 701074 w 2105494"/>
              <a:gd name="connsiteY2885" fmla="*/ 472324 h 1430663"/>
              <a:gd name="connsiteX2886" fmla="*/ 707924 w 2105494"/>
              <a:gd name="connsiteY2886" fmla="*/ 474606 h 1430663"/>
              <a:gd name="connsiteX2887" fmla="*/ 714775 w 2105494"/>
              <a:gd name="connsiteY2887" fmla="*/ 474606 h 1430663"/>
              <a:gd name="connsiteX2888" fmla="*/ 719342 w 2105494"/>
              <a:gd name="connsiteY2888" fmla="*/ 474606 h 1430663"/>
              <a:gd name="connsiteX2889" fmla="*/ 721626 w 2105494"/>
              <a:gd name="connsiteY2889" fmla="*/ 476888 h 1430663"/>
              <a:gd name="connsiteX2890" fmla="*/ 723909 w 2105494"/>
              <a:gd name="connsiteY2890" fmla="*/ 479170 h 1430663"/>
              <a:gd name="connsiteX2891" fmla="*/ 730760 w 2105494"/>
              <a:gd name="connsiteY2891" fmla="*/ 486015 h 1430663"/>
              <a:gd name="connsiteX2892" fmla="*/ 733044 w 2105494"/>
              <a:gd name="connsiteY2892" fmla="*/ 486015 h 1430663"/>
              <a:gd name="connsiteX2893" fmla="*/ 735328 w 2105494"/>
              <a:gd name="connsiteY2893" fmla="*/ 486015 h 1430663"/>
              <a:gd name="connsiteX2894" fmla="*/ 739895 w 2105494"/>
              <a:gd name="connsiteY2894" fmla="*/ 488297 h 1430663"/>
              <a:gd name="connsiteX2895" fmla="*/ 749029 w 2105494"/>
              <a:gd name="connsiteY2895" fmla="*/ 490579 h 1430663"/>
              <a:gd name="connsiteX2896" fmla="*/ 755880 w 2105494"/>
              <a:gd name="connsiteY2896" fmla="*/ 490579 h 1430663"/>
              <a:gd name="connsiteX2897" fmla="*/ 758163 w 2105494"/>
              <a:gd name="connsiteY2897" fmla="*/ 492861 h 1430663"/>
              <a:gd name="connsiteX2898" fmla="*/ 760447 w 2105494"/>
              <a:gd name="connsiteY2898" fmla="*/ 492861 h 1430663"/>
              <a:gd name="connsiteX2899" fmla="*/ 762731 w 2105494"/>
              <a:gd name="connsiteY2899" fmla="*/ 492861 h 1430663"/>
              <a:gd name="connsiteX2900" fmla="*/ 762731 w 2105494"/>
              <a:gd name="connsiteY2900" fmla="*/ 490579 h 1430663"/>
              <a:gd name="connsiteX2901" fmla="*/ 765014 w 2105494"/>
              <a:gd name="connsiteY2901" fmla="*/ 490579 h 1430663"/>
              <a:gd name="connsiteX2902" fmla="*/ 769582 w 2105494"/>
              <a:gd name="connsiteY2902" fmla="*/ 488297 h 1430663"/>
              <a:gd name="connsiteX2903" fmla="*/ 778716 w 2105494"/>
              <a:gd name="connsiteY2903" fmla="*/ 486015 h 1430663"/>
              <a:gd name="connsiteX2904" fmla="*/ 780999 w 2105494"/>
              <a:gd name="connsiteY2904" fmla="*/ 486015 h 1430663"/>
              <a:gd name="connsiteX2905" fmla="*/ 780999 w 2105494"/>
              <a:gd name="connsiteY2905" fmla="*/ 488297 h 1430663"/>
              <a:gd name="connsiteX2906" fmla="*/ 783283 w 2105494"/>
              <a:gd name="connsiteY2906" fmla="*/ 488297 h 1430663"/>
              <a:gd name="connsiteX2907" fmla="*/ 785567 w 2105494"/>
              <a:gd name="connsiteY2907" fmla="*/ 490579 h 1430663"/>
              <a:gd name="connsiteX2908" fmla="*/ 787850 w 2105494"/>
              <a:gd name="connsiteY2908" fmla="*/ 490579 h 1430663"/>
              <a:gd name="connsiteX2909" fmla="*/ 792417 w 2105494"/>
              <a:gd name="connsiteY2909" fmla="*/ 490579 h 1430663"/>
              <a:gd name="connsiteX2910" fmla="*/ 796984 w 2105494"/>
              <a:gd name="connsiteY2910" fmla="*/ 490579 h 1430663"/>
              <a:gd name="connsiteX2911" fmla="*/ 801552 w 2105494"/>
              <a:gd name="connsiteY2911" fmla="*/ 492861 h 1430663"/>
              <a:gd name="connsiteX2912" fmla="*/ 803835 w 2105494"/>
              <a:gd name="connsiteY2912" fmla="*/ 492861 h 1430663"/>
              <a:gd name="connsiteX2913" fmla="*/ 806119 w 2105494"/>
              <a:gd name="connsiteY2913" fmla="*/ 492861 h 1430663"/>
              <a:gd name="connsiteX2914" fmla="*/ 808403 w 2105494"/>
              <a:gd name="connsiteY2914" fmla="*/ 492861 h 1430663"/>
              <a:gd name="connsiteX2915" fmla="*/ 810686 w 2105494"/>
              <a:gd name="connsiteY2915" fmla="*/ 490579 h 1430663"/>
              <a:gd name="connsiteX2916" fmla="*/ 812970 w 2105494"/>
              <a:gd name="connsiteY2916" fmla="*/ 488297 h 1430663"/>
              <a:gd name="connsiteX2917" fmla="*/ 815253 w 2105494"/>
              <a:gd name="connsiteY2917" fmla="*/ 490579 h 1430663"/>
              <a:gd name="connsiteX2918" fmla="*/ 819821 w 2105494"/>
              <a:gd name="connsiteY2918" fmla="*/ 488297 h 1430663"/>
              <a:gd name="connsiteX2919" fmla="*/ 824388 w 2105494"/>
              <a:gd name="connsiteY2919" fmla="*/ 486015 h 1430663"/>
              <a:gd name="connsiteX2920" fmla="*/ 826671 w 2105494"/>
              <a:gd name="connsiteY2920" fmla="*/ 486015 h 1430663"/>
              <a:gd name="connsiteX2921" fmla="*/ 828955 w 2105494"/>
              <a:gd name="connsiteY2921" fmla="*/ 486015 h 1430663"/>
              <a:gd name="connsiteX2922" fmla="*/ 831238 w 2105494"/>
              <a:gd name="connsiteY2922" fmla="*/ 486015 h 1430663"/>
              <a:gd name="connsiteX2923" fmla="*/ 833522 w 2105494"/>
              <a:gd name="connsiteY2923" fmla="*/ 486015 h 1430663"/>
              <a:gd name="connsiteX2924" fmla="*/ 840373 w 2105494"/>
              <a:gd name="connsiteY2924" fmla="*/ 488297 h 1430663"/>
              <a:gd name="connsiteX2925" fmla="*/ 842657 w 2105494"/>
              <a:gd name="connsiteY2925" fmla="*/ 488297 h 1430663"/>
              <a:gd name="connsiteX2926" fmla="*/ 842657 w 2105494"/>
              <a:gd name="connsiteY2926" fmla="*/ 483733 h 1430663"/>
              <a:gd name="connsiteX2927" fmla="*/ 844940 w 2105494"/>
              <a:gd name="connsiteY2927" fmla="*/ 483733 h 1430663"/>
              <a:gd name="connsiteX2928" fmla="*/ 844940 w 2105494"/>
              <a:gd name="connsiteY2928" fmla="*/ 481451 h 1430663"/>
              <a:gd name="connsiteX2929" fmla="*/ 844940 w 2105494"/>
              <a:gd name="connsiteY2929" fmla="*/ 479170 h 1430663"/>
              <a:gd name="connsiteX2930" fmla="*/ 847224 w 2105494"/>
              <a:gd name="connsiteY2930" fmla="*/ 479170 h 1430663"/>
              <a:gd name="connsiteX2931" fmla="*/ 849507 w 2105494"/>
              <a:gd name="connsiteY2931" fmla="*/ 479170 h 1430663"/>
              <a:gd name="connsiteX2932" fmla="*/ 854074 w 2105494"/>
              <a:gd name="connsiteY2932" fmla="*/ 474606 h 1430663"/>
              <a:gd name="connsiteX2933" fmla="*/ 858642 w 2105494"/>
              <a:gd name="connsiteY2933" fmla="*/ 470042 h 1430663"/>
              <a:gd name="connsiteX2934" fmla="*/ 860925 w 2105494"/>
              <a:gd name="connsiteY2934" fmla="*/ 467760 h 1430663"/>
              <a:gd name="connsiteX2935" fmla="*/ 863209 w 2105494"/>
              <a:gd name="connsiteY2935" fmla="*/ 467760 h 1430663"/>
              <a:gd name="connsiteX2936" fmla="*/ 865492 w 2105494"/>
              <a:gd name="connsiteY2936" fmla="*/ 470042 h 1430663"/>
              <a:gd name="connsiteX2937" fmla="*/ 867776 w 2105494"/>
              <a:gd name="connsiteY2937" fmla="*/ 467760 h 1430663"/>
              <a:gd name="connsiteX2938" fmla="*/ 870060 w 2105494"/>
              <a:gd name="connsiteY2938" fmla="*/ 465478 h 1430663"/>
              <a:gd name="connsiteX2939" fmla="*/ 874627 w 2105494"/>
              <a:gd name="connsiteY2939" fmla="*/ 463196 h 1430663"/>
              <a:gd name="connsiteX2940" fmla="*/ 874627 w 2105494"/>
              <a:gd name="connsiteY2940" fmla="*/ 460915 h 1430663"/>
              <a:gd name="connsiteX2941" fmla="*/ 876911 w 2105494"/>
              <a:gd name="connsiteY2941" fmla="*/ 460915 h 1430663"/>
              <a:gd name="connsiteX2942" fmla="*/ 879194 w 2105494"/>
              <a:gd name="connsiteY2942" fmla="*/ 458633 h 1430663"/>
              <a:gd name="connsiteX2943" fmla="*/ 881478 w 2105494"/>
              <a:gd name="connsiteY2943" fmla="*/ 458633 h 1430663"/>
              <a:gd name="connsiteX2944" fmla="*/ 879194 w 2105494"/>
              <a:gd name="connsiteY2944" fmla="*/ 456351 h 1430663"/>
              <a:gd name="connsiteX2945" fmla="*/ 879194 w 2105494"/>
              <a:gd name="connsiteY2945" fmla="*/ 454069 h 1430663"/>
              <a:gd name="connsiteX2946" fmla="*/ 881478 w 2105494"/>
              <a:gd name="connsiteY2946" fmla="*/ 454069 h 1430663"/>
              <a:gd name="connsiteX2947" fmla="*/ 881478 w 2105494"/>
              <a:gd name="connsiteY2947" fmla="*/ 451787 h 1430663"/>
              <a:gd name="connsiteX2948" fmla="*/ 883761 w 2105494"/>
              <a:gd name="connsiteY2948" fmla="*/ 451787 h 1430663"/>
              <a:gd name="connsiteX2949" fmla="*/ 888328 w 2105494"/>
              <a:gd name="connsiteY2949" fmla="*/ 451787 h 1430663"/>
              <a:gd name="connsiteX2950" fmla="*/ 890612 w 2105494"/>
              <a:gd name="connsiteY2950" fmla="*/ 449514 h 1430663"/>
              <a:gd name="connsiteX2951" fmla="*/ 892896 w 2105494"/>
              <a:gd name="connsiteY2951" fmla="*/ 449514 h 1430663"/>
              <a:gd name="connsiteX2952" fmla="*/ 895179 w 2105494"/>
              <a:gd name="connsiteY2952" fmla="*/ 449514 h 1430663"/>
              <a:gd name="connsiteX2953" fmla="*/ 897463 w 2105494"/>
              <a:gd name="connsiteY2953" fmla="*/ 449514 h 1430663"/>
              <a:gd name="connsiteX2954" fmla="*/ 902030 w 2105494"/>
              <a:gd name="connsiteY2954" fmla="*/ 451787 h 1430663"/>
              <a:gd name="connsiteX2955" fmla="*/ 904314 w 2105494"/>
              <a:gd name="connsiteY2955" fmla="*/ 454069 h 1430663"/>
              <a:gd name="connsiteX2956" fmla="*/ 906597 w 2105494"/>
              <a:gd name="connsiteY2956" fmla="*/ 451787 h 1430663"/>
              <a:gd name="connsiteX2957" fmla="*/ 908881 w 2105494"/>
              <a:gd name="connsiteY2957" fmla="*/ 451787 h 1430663"/>
              <a:gd name="connsiteX2958" fmla="*/ 908881 w 2105494"/>
              <a:gd name="connsiteY2958" fmla="*/ 454069 h 1430663"/>
              <a:gd name="connsiteX2959" fmla="*/ 915732 w 2105494"/>
              <a:gd name="connsiteY2959" fmla="*/ 456351 h 1430663"/>
              <a:gd name="connsiteX2960" fmla="*/ 918015 w 2105494"/>
              <a:gd name="connsiteY2960" fmla="*/ 458633 h 1430663"/>
              <a:gd name="connsiteX2961" fmla="*/ 922582 w 2105494"/>
              <a:gd name="connsiteY2961" fmla="*/ 460915 h 1430663"/>
              <a:gd name="connsiteX2962" fmla="*/ 924866 w 2105494"/>
              <a:gd name="connsiteY2962" fmla="*/ 463196 h 1430663"/>
              <a:gd name="connsiteX2963" fmla="*/ 927150 w 2105494"/>
              <a:gd name="connsiteY2963" fmla="*/ 463196 h 1430663"/>
              <a:gd name="connsiteX2964" fmla="*/ 931717 w 2105494"/>
              <a:gd name="connsiteY2964" fmla="*/ 463196 h 1430663"/>
              <a:gd name="connsiteX2965" fmla="*/ 936284 w 2105494"/>
              <a:gd name="connsiteY2965" fmla="*/ 463196 h 1430663"/>
              <a:gd name="connsiteX2966" fmla="*/ 940851 w 2105494"/>
              <a:gd name="connsiteY2966" fmla="*/ 465478 h 1430663"/>
              <a:gd name="connsiteX2967" fmla="*/ 943135 w 2105494"/>
              <a:gd name="connsiteY2967" fmla="*/ 465478 h 1430663"/>
              <a:gd name="connsiteX2968" fmla="*/ 945418 w 2105494"/>
              <a:gd name="connsiteY2968" fmla="*/ 465478 h 1430663"/>
              <a:gd name="connsiteX2969" fmla="*/ 949986 w 2105494"/>
              <a:gd name="connsiteY2969" fmla="*/ 465478 h 1430663"/>
              <a:gd name="connsiteX2970" fmla="*/ 952269 w 2105494"/>
              <a:gd name="connsiteY2970" fmla="*/ 465478 h 1430663"/>
              <a:gd name="connsiteX2971" fmla="*/ 954553 w 2105494"/>
              <a:gd name="connsiteY2971" fmla="*/ 465478 h 1430663"/>
              <a:gd name="connsiteX2972" fmla="*/ 956836 w 2105494"/>
              <a:gd name="connsiteY2972" fmla="*/ 465478 h 1430663"/>
              <a:gd name="connsiteX2973" fmla="*/ 961403 w 2105494"/>
              <a:gd name="connsiteY2973" fmla="*/ 465478 h 1430663"/>
              <a:gd name="connsiteX2974" fmla="*/ 965971 w 2105494"/>
              <a:gd name="connsiteY2974" fmla="*/ 465478 h 1430663"/>
              <a:gd name="connsiteX2975" fmla="*/ 979672 w 2105494"/>
              <a:gd name="connsiteY2975" fmla="*/ 465478 h 1430663"/>
              <a:gd name="connsiteX2976" fmla="*/ 984240 w 2105494"/>
              <a:gd name="connsiteY2976" fmla="*/ 465478 h 1430663"/>
              <a:gd name="connsiteX2977" fmla="*/ 991090 w 2105494"/>
              <a:gd name="connsiteY2977" fmla="*/ 463196 h 1430663"/>
              <a:gd name="connsiteX2978" fmla="*/ 993374 w 2105494"/>
              <a:gd name="connsiteY2978" fmla="*/ 465478 h 1430663"/>
              <a:gd name="connsiteX2979" fmla="*/ 997941 w 2105494"/>
              <a:gd name="connsiteY2979" fmla="*/ 467760 h 1430663"/>
              <a:gd name="connsiteX2980" fmla="*/ 1000225 w 2105494"/>
              <a:gd name="connsiteY2980" fmla="*/ 467760 h 1430663"/>
              <a:gd name="connsiteX2981" fmla="*/ 1002508 w 2105494"/>
              <a:gd name="connsiteY2981" fmla="*/ 467760 h 1430663"/>
              <a:gd name="connsiteX2982" fmla="*/ 1004792 w 2105494"/>
              <a:gd name="connsiteY2982" fmla="*/ 465478 h 1430663"/>
              <a:gd name="connsiteX2983" fmla="*/ 1007076 w 2105494"/>
              <a:gd name="connsiteY2983" fmla="*/ 465478 h 1430663"/>
              <a:gd name="connsiteX2984" fmla="*/ 1009359 w 2105494"/>
              <a:gd name="connsiteY2984" fmla="*/ 463196 h 1430663"/>
              <a:gd name="connsiteX2985" fmla="*/ 1013926 w 2105494"/>
              <a:gd name="connsiteY2985" fmla="*/ 460915 h 1430663"/>
              <a:gd name="connsiteX2986" fmla="*/ 1016210 w 2105494"/>
              <a:gd name="connsiteY2986" fmla="*/ 460915 h 1430663"/>
              <a:gd name="connsiteX2987" fmla="*/ 1016210 w 2105494"/>
              <a:gd name="connsiteY2987" fmla="*/ 458633 h 1430663"/>
              <a:gd name="connsiteX2988" fmla="*/ 1020777 w 2105494"/>
              <a:gd name="connsiteY2988" fmla="*/ 456351 h 1430663"/>
              <a:gd name="connsiteX2989" fmla="*/ 1023061 w 2105494"/>
              <a:gd name="connsiteY2989" fmla="*/ 454069 h 1430663"/>
              <a:gd name="connsiteX2990" fmla="*/ 1027628 w 2105494"/>
              <a:gd name="connsiteY2990" fmla="*/ 454069 h 1430663"/>
              <a:gd name="connsiteX2991" fmla="*/ 1029911 w 2105494"/>
              <a:gd name="connsiteY2991" fmla="*/ 454069 h 1430663"/>
              <a:gd name="connsiteX2992" fmla="*/ 1032195 w 2105494"/>
              <a:gd name="connsiteY2992" fmla="*/ 454069 h 1430663"/>
              <a:gd name="connsiteX2993" fmla="*/ 1034479 w 2105494"/>
              <a:gd name="connsiteY2993" fmla="*/ 454069 h 1430663"/>
              <a:gd name="connsiteX2994" fmla="*/ 1039046 w 2105494"/>
              <a:gd name="connsiteY2994" fmla="*/ 449514 h 1430663"/>
              <a:gd name="connsiteX2995" fmla="*/ 1043613 w 2105494"/>
              <a:gd name="connsiteY2995" fmla="*/ 444951 h 1430663"/>
              <a:gd name="connsiteX2996" fmla="*/ 1045897 w 2105494"/>
              <a:gd name="connsiteY2996" fmla="*/ 444951 h 1430663"/>
              <a:gd name="connsiteX2997" fmla="*/ 1050464 w 2105494"/>
              <a:gd name="connsiteY2997" fmla="*/ 438105 h 1430663"/>
              <a:gd name="connsiteX2998" fmla="*/ 1052747 w 2105494"/>
              <a:gd name="connsiteY2998" fmla="*/ 435823 h 1430663"/>
              <a:gd name="connsiteX2999" fmla="*/ 1057315 w 2105494"/>
              <a:gd name="connsiteY2999" fmla="*/ 433541 h 1430663"/>
              <a:gd name="connsiteX3000" fmla="*/ 1059598 w 2105494"/>
              <a:gd name="connsiteY3000" fmla="*/ 433541 h 1430663"/>
              <a:gd name="connsiteX3001" fmla="*/ 1071016 w 2105494"/>
              <a:gd name="connsiteY3001" fmla="*/ 424414 h 1430663"/>
              <a:gd name="connsiteX3002" fmla="*/ 1087001 w 2105494"/>
              <a:gd name="connsiteY3002" fmla="*/ 415286 h 1430663"/>
              <a:gd name="connsiteX3003" fmla="*/ 1091569 w 2105494"/>
              <a:gd name="connsiteY3003" fmla="*/ 413004 h 1430663"/>
              <a:gd name="connsiteX3004" fmla="*/ 1091569 w 2105494"/>
              <a:gd name="connsiteY3004" fmla="*/ 410722 h 1430663"/>
              <a:gd name="connsiteX3005" fmla="*/ 1093852 w 2105494"/>
              <a:gd name="connsiteY3005" fmla="*/ 410722 h 1430663"/>
              <a:gd name="connsiteX3006" fmla="*/ 1096136 w 2105494"/>
              <a:gd name="connsiteY3006" fmla="*/ 406158 h 1430663"/>
              <a:gd name="connsiteX3007" fmla="*/ 1100703 w 2105494"/>
              <a:gd name="connsiteY3007" fmla="*/ 394749 h 1430663"/>
              <a:gd name="connsiteX3008" fmla="*/ 1112121 w 2105494"/>
              <a:gd name="connsiteY3008" fmla="*/ 371930 h 1430663"/>
              <a:gd name="connsiteX3009" fmla="*/ 1114405 w 2105494"/>
              <a:gd name="connsiteY3009" fmla="*/ 365084 h 1430663"/>
              <a:gd name="connsiteX3010" fmla="*/ 1118972 w 2105494"/>
              <a:gd name="connsiteY3010" fmla="*/ 358239 h 1430663"/>
              <a:gd name="connsiteX3011" fmla="*/ 1118972 w 2105494"/>
              <a:gd name="connsiteY3011" fmla="*/ 351393 h 1430663"/>
              <a:gd name="connsiteX3012" fmla="*/ 1116688 w 2105494"/>
              <a:gd name="connsiteY3012" fmla="*/ 342265 h 1430663"/>
              <a:gd name="connsiteX3013" fmla="*/ 1118972 w 2105494"/>
              <a:gd name="connsiteY3013" fmla="*/ 339983 h 1430663"/>
              <a:gd name="connsiteX3014" fmla="*/ 1118972 w 2105494"/>
              <a:gd name="connsiteY3014" fmla="*/ 337702 h 1430663"/>
              <a:gd name="connsiteX3015" fmla="*/ 1125822 w 2105494"/>
              <a:gd name="connsiteY3015" fmla="*/ 326292 h 1430663"/>
              <a:gd name="connsiteX3016" fmla="*/ 1125822 w 2105494"/>
              <a:gd name="connsiteY3016" fmla="*/ 324010 h 1430663"/>
              <a:gd name="connsiteX3017" fmla="*/ 1128106 w 2105494"/>
              <a:gd name="connsiteY3017" fmla="*/ 321728 h 1430663"/>
              <a:gd name="connsiteX3018" fmla="*/ 1128106 w 2105494"/>
              <a:gd name="connsiteY3018" fmla="*/ 314883 h 1430663"/>
              <a:gd name="connsiteX3019" fmla="*/ 1128106 w 2105494"/>
              <a:gd name="connsiteY3019" fmla="*/ 312601 h 1430663"/>
              <a:gd name="connsiteX3020" fmla="*/ 1130390 w 2105494"/>
              <a:gd name="connsiteY3020" fmla="*/ 308037 h 1430663"/>
              <a:gd name="connsiteX3021" fmla="*/ 1130390 w 2105494"/>
              <a:gd name="connsiteY3021" fmla="*/ 305755 h 1430663"/>
              <a:gd name="connsiteX3022" fmla="*/ 1134957 w 2105494"/>
              <a:gd name="connsiteY3022" fmla="*/ 298909 h 1430663"/>
              <a:gd name="connsiteX3023" fmla="*/ 1134957 w 2105494"/>
              <a:gd name="connsiteY3023" fmla="*/ 287509 h 1430663"/>
              <a:gd name="connsiteX3024" fmla="*/ 1139524 w 2105494"/>
              <a:gd name="connsiteY3024" fmla="*/ 264690 h 1430663"/>
              <a:gd name="connsiteX3025" fmla="*/ 1146375 w 2105494"/>
              <a:gd name="connsiteY3025" fmla="*/ 255563 h 1430663"/>
              <a:gd name="connsiteX3026" fmla="*/ 1148659 w 2105494"/>
              <a:gd name="connsiteY3026" fmla="*/ 255563 h 1430663"/>
              <a:gd name="connsiteX3027" fmla="*/ 1148659 w 2105494"/>
              <a:gd name="connsiteY3027" fmla="*/ 253281 h 1430663"/>
              <a:gd name="connsiteX3028" fmla="*/ 1150942 w 2105494"/>
              <a:gd name="connsiteY3028" fmla="*/ 250999 h 1430663"/>
              <a:gd name="connsiteX3029" fmla="*/ 1155509 w 2105494"/>
              <a:gd name="connsiteY3029" fmla="*/ 241871 h 1430663"/>
              <a:gd name="connsiteX3030" fmla="*/ 1155509 w 2105494"/>
              <a:gd name="connsiteY3030" fmla="*/ 239590 h 1430663"/>
              <a:gd name="connsiteX3031" fmla="*/ 1157793 w 2105494"/>
              <a:gd name="connsiteY3031" fmla="*/ 232744 h 1430663"/>
              <a:gd name="connsiteX3032" fmla="*/ 1162360 w 2105494"/>
              <a:gd name="connsiteY3032" fmla="*/ 219053 h 1430663"/>
              <a:gd name="connsiteX3033" fmla="*/ 1164644 w 2105494"/>
              <a:gd name="connsiteY3033" fmla="*/ 212207 h 1430663"/>
              <a:gd name="connsiteX3034" fmla="*/ 1171494 w 2105494"/>
              <a:gd name="connsiteY3034" fmla="*/ 198515 h 1430663"/>
              <a:gd name="connsiteX3035" fmla="*/ 1173778 w 2105494"/>
              <a:gd name="connsiteY3035" fmla="*/ 187106 h 1430663"/>
              <a:gd name="connsiteX3036" fmla="*/ 1173778 w 2105494"/>
              <a:gd name="connsiteY3036" fmla="*/ 184824 h 1430663"/>
              <a:gd name="connsiteX3037" fmla="*/ 1176062 w 2105494"/>
              <a:gd name="connsiteY3037" fmla="*/ 182542 h 1430663"/>
              <a:gd name="connsiteX3038" fmla="*/ 1176062 w 2105494"/>
              <a:gd name="connsiteY3038" fmla="*/ 177978 h 1430663"/>
              <a:gd name="connsiteX3039" fmla="*/ 1178345 w 2105494"/>
              <a:gd name="connsiteY3039" fmla="*/ 171133 h 1430663"/>
              <a:gd name="connsiteX3040" fmla="*/ 1185196 w 2105494"/>
              <a:gd name="connsiteY3040" fmla="*/ 152878 h 1430663"/>
              <a:gd name="connsiteX3041" fmla="*/ 1187480 w 2105494"/>
              <a:gd name="connsiteY3041" fmla="*/ 150596 h 1430663"/>
              <a:gd name="connsiteX3042" fmla="*/ 1194330 w 2105494"/>
              <a:gd name="connsiteY3042" fmla="*/ 130068 h 1430663"/>
              <a:gd name="connsiteX3043" fmla="*/ 1194330 w 2105494"/>
              <a:gd name="connsiteY3043" fmla="*/ 125504 h 1430663"/>
              <a:gd name="connsiteX3044" fmla="*/ 1194330 w 2105494"/>
              <a:gd name="connsiteY3044" fmla="*/ 123222 h 1430663"/>
              <a:gd name="connsiteX3045" fmla="*/ 1196614 w 2105494"/>
              <a:gd name="connsiteY3045" fmla="*/ 120940 h 1430663"/>
              <a:gd name="connsiteX3046" fmla="*/ 1201181 w 2105494"/>
              <a:gd name="connsiteY3046" fmla="*/ 116377 h 1430663"/>
              <a:gd name="connsiteX3047" fmla="*/ 1203465 w 2105494"/>
              <a:gd name="connsiteY3047" fmla="*/ 116377 h 1430663"/>
              <a:gd name="connsiteX3048" fmla="*/ 1203465 w 2105494"/>
              <a:gd name="connsiteY3048" fmla="*/ 114095 h 1430663"/>
              <a:gd name="connsiteX3049" fmla="*/ 1205748 w 2105494"/>
              <a:gd name="connsiteY3049" fmla="*/ 102685 h 1430663"/>
              <a:gd name="connsiteX3050" fmla="*/ 1205748 w 2105494"/>
              <a:gd name="connsiteY3050" fmla="*/ 98122 h 1430663"/>
              <a:gd name="connsiteX3051" fmla="*/ 1205748 w 2105494"/>
              <a:gd name="connsiteY3051" fmla="*/ 88994 h 1430663"/>
              <a:gd name="connsiteX3052" fmla="*/ 1203465 w 2105494"/>
              <a:gd name="connsiteY3052" fmla="*/ 84430 h 1430663"/>
              <a:gd name="connsiteX3053" fmla="*/ 1201181 w 2105494"/>
              <a:gd name="connsiteY3053" fmla="*/ 82148 h 1430663"/>
              <a:gd name="connsiteX3054" fmla="*/ 1198898 w 2105494"/>
              <a:gd name="connsiteY3054" fmla="*/ 77584 h 1430663"/>
              <a:gd name="connsiteX3055" fmla="*/ 1198898 w 2105494"/>
              <a:gd name="connsiteY3055" fmla="*/ 75303 h 1430663"/>
              <a:gd name="connsiteX3056" fmla="*/ 1196614 w 2105494"/>
              <a:gd name="connsiteY3056" fmla="*/ 75303 h 1430663"/>
              <a:gd name="connsiteX3057" fmla="*/ 1196614 w 2105494"/>
              <a:gd name="connsiteY3057" fmla="*/ 73021 h 1430663"/>
              <a:gd name="connsiteX3058" fmla="*/ 1196614 w 2105494"/>
              <a:gd name="connsiteY3058" fmla="*/ 70739 h 1430663"/>
              <a:gd name="connsiteX3059" fmla="*/ 1194330 w 2105494"/>
              <a:gd name="connsiteY3059" fmla="*/ 61611 h 1430663"/>
              <a:gd name="connsiteX3060" fmla="*/ 1194330 w 2105494"/>
              <a:gd name="connsiteY3060" fmla="*/ 59329 h 1430663"/>
              <a:gd name="connsiteX3061" fmla="*/ 1194330 w 2105494"/>
              <a:gd name="connsiteY3061" fmla="*/ 57047 h 1430663"/>
              <a:gd name="connsiteX3062" fmla="*/ 1194330 w 2105494"/>
              <a:gd name="connsiteY3062" fmla="*/ 52484 h 1430663"/>
              <a:gd name="connsiteX3063" fmla="*/ 1196614 w 2105494"/>
              <a:gd name="connsiteY3063" fmla="*/ 50202 h 1430663"/>
              <a:gd name="connsiteX3064" fmla="*/ 1196614 w 2105494"/>
              <a:gd name="connsiteY3064" fmla="*/ 47920 h 1430663"/>
              <a:gd name="connsiteX3065" fmla="*/ 1203465 w 2105494"/>
              <a:gd name="connsiteY3065" fmla="*/ 47920 h 1430663"/>
              <a:gd name="connsiteX3066" fmla="*/ 1208032 w 2105494"/>
              <a:gd name="connsiteY3066" fmla="*/ 47920 h 1430663"/>
              <a:gd name="connsiteX3067" fmla="*/ 1210315 w 2105494"/>
              <a:gd name="connsiteY3067" fmla="*/ 47920 h 1430663"/>
              <a:gd name="connsiteX3068" fmla="*/ 1212599 w 2105494"/>
              <a:gd name="connsiteY3068" fmla="*/ 43356 h 1430663"/>
              <a:gd name="connsiteX3069" fmla="*/ 1214883 w 2105494"/>
              <a:gd name="connsiteY3069" fmla="*/ 41074 h 1430663"/>
              <a:gd name="connsiteX3070" fmla="*/ 1219450 w 2105494"/>
              <a:gd name="connsiteY3070" fmla="*/ 36510 h 1430663"/>
              <a:gd name="connsiteX3071" fmla="*/ 1219450 w 2105494"/>
              <a:gd name="connsiteY3071" fmla="*/ 34228 h 1430663"/>
              <a:gd name="connsiteX3072" fmla="*/ 1221734 w 2105494"/>
              <a:gd name="connsiteY3072" fmla="*/ 34228 h 1430663"/>
              <a:gd name="connsiteX3073" fmla="*/ 1226301 w 2105494"/>
              <a:gd name="connsiteY3073" fmla="*/ 34228 h 1430663"/>
              <a:gd name="connsiteX3074" fmla="*/ 1242286 w 2105494"/>
              <a:gd name="connsiteY3074" fmla="*/ 34228 h 1430663"/>
              <a:gd name="connsiteX3075" fmla="*/ 1251420 w 2105494"/>
              <a:gd name="connsiteY3075" fmla="*/ 34228 h 1430663"/>
              <a:gd name="connsiteX3076" fmla="*/ 1255988 w 2105494"/>
              <a:gd name="connsiteY3076" fmla="*/ 34228 h 1430663"/>
              <a:gd name="connsiteX3077" fmla="*/ 1260555 w 2105494"/>
              <a:gd name="connsiteY3077" fmla="*/ 31947 h 1430663"/>
              <a:gd name="connsiteX3078" fmla="*/ 1265122 w 2105494"/>
              <a:gd name="connsiteY3078" fmla="*/ 31947 h 1430663"/>
              <a:gd name="connsiteX3079" fmla="*/ 1267405 w 2105494"/>
              <a:gd name="connsiteY3079" fmla="*/ 29665 h 1430663"/>
              <a:gd name="connsiteX3080" fmla="*/ 1281107 w 2105494"/>
              <a:gd name="connsiteY3080" fmla="*/ 27383 h 1430663"/>
              <a:gd name="connsiteX3081" fmla="*/ 1287958 w 2105494"/>
              <a:gd name="connsiteY3081" fmla="*/ 25101 h 1430663"/>
              <a:gd name="connsiteX3082" fmla="*/ 1292525 w 2105494"/>
              <a:gd name="connsiteY3082" fmla="*/ 22819 h 1430663"/>
              <a:gd name="connsiteX3083" fmla="*/ 1294809 w 2105494"/>
              <a:gd name="connsiteY3083" fmla="*/ 22819 h 1430663"/>
              <a:gd name="connsiteX3084" fmla="*/ 1313077 w 2105494"/>
              <a:gd name="connsiteY3084" fmla="*/ 18255 h 1430663"/>
              <a:gd name="connsiteX3085" fmla="*/ 1333630 w 2105494"/>
              <a:gd name="connsiteY3085" fmla="*/ 13691 h 1430663"/>
              <a:gd name="connsiteX3086" fmla="*/ 1335913 w 2105494"/>
              <a:gd name="connsiteY3086" fmla="*/ 13691 h 1430663"/>
              <a:gd name="connsiteX3087" fmla="*/ 1340481 w 2105494"/>
              <a:gd name="connsiteY3087" fmla="*/ 11409 h 1430663"/>
              <a:gd name="connsiteX3088" fmla="*/ 1342764 w 2105494"/>
              <a:gd name="connsiteY3088" fmla="*/ 11409 h 1430663"/>
              <a:gd name="connsiteX3089" fmla="*/ 1374734 w 2105494"/>
              <a:gd name="connsiteY3089" fmla="*/ 4564 h 1430663"/>
              <a:gd name="connsiteX3090" fmla="*/ 1377018 w 2105494"/>
              <a:gd name="connsiteY3090" fmla="*/ 4564 h 1430663"/>
              <a:gd name="connsiteX3091" fmla="*/ 1383869 w 2105494"/>
              <a:gd name="connsiteY3091" fmla="*/ 2282 h 1430663"/>
              <a:gd name="connsiteX3092" fmla="*/ 1393003 w 2105494"/>
              <a:gd name="connsiteY3092" fmla="*/ 0 h 1430663"/>
              <a:gd name="connsiteX3093" fmla="*/ 1395287 w 2105494"/>
              <a:gd name="connsiteY3093" fmla="*/ 0 h 1430663"/>
              <a:gd name="connsiteX3094" fmla="*/ 1397571 w 2105494"/>
              <a:gd name="connsiteY3094" fmla="*/ 0 h 1430663"/>
              <a:gd name="connsiteX3095" fmla="*/ 1399854 w 2105494"/>
              <a:gd name="connsiteY3095" fmla="*/ 0 h 1430663"/>
              <a:gd name="connsiteX3096" fmla="*/ 1402138 w 2105494"/>
              <a:gd name="connsiteY3096" fmla="*/ 0 h 1430663"/>
              <a:gd name="connsiteX3097" fmla="*/ 1399854 w 2105494"/>
              <a:gd name="connsiteY3097" fmla="*/ 2282 h 1430663"/>
              <a:gd name="connsiteX3098" fmla="*/ 1397571 w 2105494"/>
              <a:gd name="connsiteY3098" fmla="*/ 4564 h 14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</a:cxnLst>
            <a:rect l="l" t="t" r="r" b="b"/>
            <a:pathLst>
              <a:path w="2105494" h="1430663">
                <a:moveTo>
                  <a:pt x="1397571" y="4564"/>
                </a:moveTo>
                <a:lnTo>
                  <a:pt x="1399854" y="4564"/>
                </a:lnTo>
                <a:lnTo>
                  <a:pt x="1399854" y="6846"/>
                </a:lnTo>
                <a:lnTo>
                  <a:pt x="1402138" y="6846"/>
                </a:lnTo>
                <a:lnTo>
                  <a:pt x="1404421" y="6846"/>
                </a:lnTo>
                <a:lnTo>
                  <a:pt x="1406705" y="6846"/>
                </a:lnTo>
                <a:lnTo>
                  <a:pt x="1406705" y="9128"/>
                </a:lnTo>
                <a:lnTo>
                  <a:pt x="1406705" y="11409"/>
                </a:lnTo>
                <a:lnTo>
                  <a:pt x="1404421" y="11409"/>
                </a:lnTo>
                <a:lnTo>
                  <a:pt x="1404421" y="13691"/>
                </a:lnTo>
                <a:lnTo>
                  <a:pt x="1404421" y="15973"/>
                </a:lnTo>
                <a:lnTo>
                  <a:pt x="1404421" y="18255"/>
                </a:lnTo>
                <a:lnTo>
                  <a:pt x="1404421" y="20537"/>
                </a:lnTo>
                <a:lnTo>
                  <a:pt x="1404421" y="22819"/>
                </a:lnTo>
                <a:lnTo>
                  <a:pt x="1406705" y="22819"/>
                </a:lnTo>
                <a:lnTo>
                  <a:pt x="1406705" y="25101"/>
                </a:lnTo>
                <a:lnTo>
                  <a:pt x="1404421" y="25101"/>
                </a:lnTo>
                <a:lnTo>
                  <a:pt x="1404421" y="27383"/>
                </a:lnTo>
                <a:lnTo>
                  <a:pt x="1404421" y="29665"/>
                </a:lnTo>
                <a:lnTo>
                  <a:pt x="1404421" y="31947"/>
                </a:lnTo>
                <a:lnTo>
                  <a:pt x="1402138" y="31947"/>
                </a:lnTo>
                <a:lnTo>
                  <a:pt x="1404421" y="31947"/>
                </a:lnTo>
                <a:lnTo>
                  <a:pt x="1404421" y="34228"/>
                </a:lnTo>
                <a:lnTo>
                  <a:pt x="1404421" y="36510"/>
                </a:lnTo>
                <a:lnTo>
                  <a:pt x="1402138" y="36510"/>
                </a:lnTo>
                <a:lnTo>
                  <a:pt x="1402138" y="38792"/>
                </a:lnTo>
                <a:lnTo>
                  <a:pt x="1404421" y="38792"/>
                </a:lnTo>
                <a:lnTo>
                  <a:pt x="1404421" y="41074"/>
                </a:lnTo>
                <a:lnTo>
                  <a:pt x="1404421" y="43356"/>
                </a:lnTo>
                <a:lnTo>
                  <a:pt x="1406705" y="43356"/>
                </a:lnTo>
                <a:lnTo>
                  <a:pt x="1406705" y="45638"/>
                </a:lnTo>
                <a:lnTo>
                  <a:pt x="1406705" y="47920"/>
                </a:lnTo>
                <a:lnTo>
                  <a:pt x="1406705" y="50202"/>
                </a:lnTo>
                <a:lnTo>
                  <a:pt x="1406705" y="52484"/>
                </a:lnTo>
                <a:lnTo>
                  <a:pt x="1406705" y="54766"/>
                </a:lnTo>
                <a:lnTo>
                  <a:pt x="1406705" y="57047"/>
                </a:lnTo>
                <a:lnTo>
                  <a:pt x="1408988" y="57047"/>
                </a:lnTo>
                <a:lnTo>
                  <a:pt x="1408988" y="59329"/>
                </a:lnTo>
                <a:lnTo>
                  <a:pt x="1411272" y="59329"/>
                </a:lnTo>
                <a:lnTo>
                  <a:pt x="1411272" y="61611"/>
                </a:lnTo>
                <a:lnTo>
                  <a:pt x="1413556" y="61611"/>
                </a:lnTo>
                <a:lnTo>
                  <a:pt x="1413556" y="63893"/>
                </a:lnTo>
                <a:lnTo>
                  <a:pt x="1413556" y="61611"/>
                </a:lnTo>
                <a:lnTo>
                  <a:pt x="1415839" y="61611"/>
                </a:lnTo>
                <a:lnTo>
                  <a:pt x="1418123" y="61611"/>
                </a:lnTo>
                <a:lnTo>
                  <a:pt x="1418123" y="63893"/>
                </a:lnTo>
                <a:lnTo>
                  <a:pt x="1418123" y="66175"/>
                </a:lnTo>
                <a:lnTo>
                  <a:pt x="1418123" y="68457"/>
                </a:lnTo>
                <a:lnTo>
                  <a:pt x="1418123" y="70739"/>
                </a:lnTo>
                <a:lnTo>
                  <a:pt x="1427257" y="70739"/>
                </a:lnTo>
                <a:lnTo>
                  <a:pt x="1431824" y="70739"/>
                </a:lnTo>
                <a:lnTo>
                  <a:pt x="1436392" y="70739"/>
                </a:lnTo>
                <a:lnTo>
                  <a:pt x="1443242" y="70739"/>
                </a:lnTo>
                <a:lnTo>
                  <a:pt x="1456944" y="73021"/>
                </a:lnTo>
                <a:lnTo>
                  <a:pt x="1459227" y="73021"/>
                </a:lnTo>
                <a:lnTo>
                  <a:pt x="1470646" y="73021"/>
                </a:lnTo>
                <a:lnTo>
                  <a:pt x="1479780" y="70739"/>
                </a:lnTo>
                <a:lnTo>
                  <a:pt x="1493481" y="82148"/>
                </a:lnTo>
                <a:lnTo>
                  <a:pt x="1507183" y="93558"/>
                </a:lnTo>
                <a:lnTo>
                  <a:pt x="1509467" y="88994"/>
                </a:lnTo>
                <a:lnTo>
                  <a:pt x="1514034" y="91276"/>
                </a:lnTo>
                <a:lnTo>
                  <a:pt x="1518601" y="93558"/>
                </a:lnTo>
                <a:lnTo>
                  <a:pt x="1523168" y="98122"/>
                </a:lnTo>
                <a:lnTo>
                  <a:pt x="1527735" y="100403"/>
                </a:lnTo>
                <a:lnTo>
                  <a:pt x="1530019" y="95840"/>
                </a:lnTo>
                <a:lnTo>
                  <a:pt x="1532302" y="91276"/>
                </a:lnTo>
                <a:lnTo>
                  <a:pt x="1534586" y="86712"/>
                </a:lnTo>
                <a:lnTo>
                  <a:pt x="1539153" y="82148"/>
                </a:lnTo>
                <a:lnTo>
                  <a:pt x="1539153" y="79866"/>
                </a:lnTo>
                <a:lnTo>
                  <a:pt x="1543721" y="79866"/>
                </a:lnTo>
                <a:lnTo>
                  <a:pt x="1552855" y="75303"/>
                </a:lnTo>
                <a:lnTo>
                  <a:pt x="1555139" y="75303"/>
                </a:lnTo>
                <a:lnTo>
                  <a:pt x="1557422" y="73021"/>
                </a:lnTo>
                <a:lnTo>
                  <a:pt x="1559706" y="73021"/>
                </a:lnTo>
                <a:lnTo>
                  <a:pt x="1564273" y="70739"/>
                </a:lnTo>
                <a:lnTo>
                  <a:pt x="1568840" y="70739"/>
                </a:lnTo>
                <a:lnTo>
                  <a:pt x="1584825" y="63893"/>
                </a:lnTo>
                <a:lnTo>
                  <a:pt x="1589392" y="61611"/>
                </a:lnTo>
                <a:lnTo>
                  <a:pt x="1591676" y="61611"/>
                </a:lnTo>
                <a:lnTo>
                  <a:pt x="1596243" y="59329"/>
                </a:lnTo>
                <a:lnTo>
                  <a:pt x="1598527" y="57047"/>
                </a:lnTo>
                <a:lnTo>
                  <a:pt x="1598527" y="54766"/>
                </a:lnTo>
                <a:lnTo>
                  <a:pt x="1603094" y="54766"/>
                </a:lnTo>
                <a:lnTo>
                  <a:pt x="1605378" y="54766"/>
                </a:lnTo>
                <a:lnTo>
                  <a:pt x="1607661" y="54766"/>
                </a:lnTo>
                <a:lnTo>
                  <a:pt x="1612229" y="54766"/>
                </a:lnTo>
                <a:lnTo>
                  <a:pt x="1614512" y="54766"/>
                </a:lnTo>
                <a:lnTo>
                  <a:pt x="1612229" y="52484"/>
                </a:lnTo>
                <a:lnTo>
                  <a:pt x="1612229" y="45638"/>
                </a:lnTo>
                <a:lnTo>
                  <a:pt x="1612229" y="41074"/>
                </a:lnTo>
                <a:lnTo>
                  <a:pt x="1612229" y="34228"/>
                </a:lnTo>
                <a:lnTo>
                  <a:pt x="1612229" y="31947"/>
                </a:lnTo>
                <a:lnTo>
                  <a:pt x="1614512" y="31947"/>
                </a:lnTo>
                <a:lnTo>
                  <a:pt x="1619079" y="31947"/>
                </a:lnTo>
                <a:lnTo>
                  <a:pt x="1621363" y="31947"/>
                </a:lnTo>
                <a:lnTo>
                  <a:pt x="1630497" y="31947"/>
                </a:lnTo>
                <a:lnTo>
                  <a:pt x="1632781" y="47920"/>
                </a:lnTo>
                <a:lnTo>
                  <a:pt x="1632781" y="54766"/>
                </a:lnTo>
                <a:lnTo>
                  <a:pt x="1632781" y="63893"/>
                </a:lnTo>
                <a:lnTo>
                  <a:pt x="1632781" y="70739"/>
                </a:lnTo>
                <a:lnTo>
                  <a:pt x="1635064" y="75303"/>
                </a:lnTo>
                <a:lnTo>
                  <a:pt x="1635064" y="84430"/>
                </a:lnTo>
                <a:lnTo>
                  <a:pt x="1635064" y="86712"/>
                </a:lnTo>
                <a:lnTo>
                  <a:pt x="1635064" y="88994"/>
                </a:lnTo>
                <a:lnTo>
                  <a:pt x="1635064" y="95840"/>
                </a:lnTo>
                <a:lnTo>
                  <a:pt x="1637348" y="100403"/>
                </a:lnTo>
                <a:lnTo>
                  <a:pt x="1644199" y="102685"/>
                </a:lnTo>
                <a:lnTo>
                  <a:pt x="1648766" y="104967"/>
                </a:lnTo>
                <a:lnTo>
                  <a:pt x="1653333" y="104967"/>
                </a:lnTo>
                <a:lnTo>
                  <a:pt x="1655617" y="107249"/>
                </a:lnTo>
                <a:lnTo>
                  <a:pt x="1657900" y="107249"/>
                </a:lnTo>
                <a:lnTo>
                  <a:pt x="1660184" y="109531"/>
                </a:lnTo>
                <a:lnTo>
                  <a:pt x="1669319" y="118659"/>
                </a:lnTo>
                <a:lnTo>
                  <a:pt x="1673886" y="125504"/>
                </a:lnTo>
                <a:lnTo>
                  <a:pt x="1676169" y="127786"/>
                </a:lnTo>
                <a:lnTo>
                  <a:pt x="1678453" y="139196"/>
                </a:lnTo>
                <a:lnTo>
                  <a:pt x="1680736" y="134632"/>
                </a:lnTo>
                <a:lnTo>
                  <a:pt x="1687587" y="127786"/>
                </a:lnTo>
                <a:lnTo>
                  <a:pt x="1689871" y="125504"/>
                </a:lnTo>
                <a:lnTo>
                  <a:pt x="1694438" y="127786"/>
                </a:lnTo>
                <a:lnTo>
                  <a:pt x="1705856" y="132350"/>
                </a:lnTo>
                <a:lnTo>
                  <a:pt x="1701289" y="139196"/>
                </a:lnTo>
                <a:lnTo>
                  <a:pt x="1699005" y="146032"/>
                </a:lnTo>
                <a:lnTo>
                  <a:pt x="1699005" y="155159"/>
                </a:lnTo>
                <a:lnTo>
                  <a:pt x="1696721" y="162005"/>
                </a:lnTo>
                <a:lnTo>
                  <a:pt x="1708140" y="162005"/>
                </a:lnTo>
                <a:lnTo>
                  <a:pt x="1705856" y="171133"/>
                </a:lnTo>
                <a:lnTo>
                  <a:pt x="1703572" y="175696"/>
                </a:lnTo>
                <a:lnTo>
                  <a:pt x="1714990" y="168851"/>
                </a:lnTo>
                <a:lnTo>
                  <a:pt x="1721841" y="162005"/>
                </a:lnTo>
                <a:lnTo>
                  <a:pt x="1730985" y="164287"/>
                </a:lnTo>
                <a:lnTo>
                  <a:pt x="1737836" y="164287"/>
                </a:lnTo>
                <a:lnTo>
                  <a:pt x="1740119" y="171133"/>
                </a:lnTo>
                <a:lnTo>
                  <a:pt x="1744687" y="177978"/>
                </a:lnTo>
                <a:lnTo>
                  <a:pt x="1746970" y="184824"/>
                </a:lnTo>
                <a:lnTo>
                  <a:pt x="1749244" y="182542"/>
                </a:lnTo>
                <a:lnTo>
                  <a:pt x="1762946" y="180260"/>
                </a:lnTo>
                <a:lnTo>
                  <a:pt x="1765239" y="180260"/>
                </a:lnTo>
                <a:lnTo>
                  <a:pt x="1767522" y="180260"/>
                </a:lnTo>
                <a:lnTo>
                  <a:pt x="1778941" y="175696"/>
                </a:lnTo>
                <a:lnTo>
                  <a:pt x="1781224" y="180260"/>
                </a:lnTo>
                <a:lnTo>
                  <a:pt x="1781224" y="182542"/>
                </a:lnTo>
                <a:lnTo>
                  <a:pt x="1783508" y="180260"/>
                </a:lnTo>
                <a:lnTo>
                  <a:pt x="1801777" y="175696"/>
                </a:lnTo>
                <a:lnTo>
                  <a:pt x="1801777" y="177978"/>
                </a:lnTo>
                <a:lnTo>
                  <a:pt x="1801777" y="180260"/>
                </a:lnTo>
                <a:lnTo>
                  <a:pt x="1804060" y="180260"/>
                </a:lnTo>
                <a:lnTo>
                  <a:pt x="1806344" y="177978"/>
                </a:lnTo>
                <a:lnTo>
                  <a:pt x="1815478" y="180260"/>
                </a:lnTo>
                <a:lnTo>
                  <a:pt x="1817762" y="180260"/>
                </a:lnTo>
                <a:lnTo>
                  <a:pt x="1820045" y="182542"/>
                </a:lnTo>
                <a:lnTo>
                  <a:pt x="1820045" y="184824"/>
                </a:lnTo>
                <a:lnTo>
                  <a:pt x="1820045" y="187106"/>
                </a:lnTo>
                <a:lnTo>
                  <a:pt x="1822329" y="187106"/>
                </a:lnTo>
                <a:lnTo>
                  <a:pt x="1824612" y="187106"/>
                </a:lnTo>
                <a:lnTo>
                  <a:pt x="1824612" y="189388"/>
                </a:lnTo>
                <a:lnTo>
                  <a:pt x="1824612" y="187106"/>
                </a:lnTo>
                <a:lnTo>
                  <a:pt x="1829180" y="184824"/>
                </a:lnTo>
                <a:lnTo>
                  <a:pt x="1831463" y="182542"/>
                </a:lnTo>
                <a:lnTo>
                  <a:pt x="1831463" y="180260"/>
                </a:lnTo>
                <a:lnTo>
                  <a:pt x="1829180" y="180260"/>
                </a:lnTo>
                <a:lnTo>
                  <a:pt x="1831463" y="175696"/>
                </a:lnTo>
                <a:lnTo>
                  <a:pt x="1833747" y="173415"/>
                </a:lnTo>
                <a:lnTo>
                  <a:pt x="1833747" y="171133"/>
                </a:lnTo>
                <a:lnTo>
                  <a:pt x="1836031" y="171133"/>
                </a:lnTo>
                <a:lnTo>
                  <a:pt x="1833747" y="171133"/>
                </a:lnTo>
                <a:lnTo>
                  <a:pt x="1840598" y="162005"/>
                </a:lnTo>
                <a:lnTo>
                  <a:pt x="1842881" y="159723"/>
                </a:lnTo>
                <a:lnTo>
                  <a:pt x="1842881" y="157441"/>
                </a:lnTo>
                <a:lnTo>
                  <a:pt x="1842881" y="155159"/>
                </a:lnTo>
                <a:lnTo>
                  <a:pt x="1842881" y="150596"/>
                </a:lnTo>
                <a:lnTo>
                  <a:pt x="1842881" y="146032"/>
                </a:lnTo>
                <a:lnTo>
                  <a:pt x="1845165" y="143750"/>
                </a:lnTo>
                <a:lnTo>
                  <a:pt x="1845165" y="141478"/>
                </a:lnTo>
                <a:lnTo>
                  <a:pt x="1847448" y="141478"/>
                </a:lnTo>
                <a:lnTo>
                  <a:pt x="1849732" y="139196"/>
                </a:lnTo>
                <a:lnTo>
                  <a:pt x="1856583" y="136914"/>
                </a:lnTo>
                <a:lnTo>
                  <a:pt x="1861150" y="139196"/>
                </a:lnTo>
                <a:lnTo>
                  <a:pt x="1868001" y="141478"/>
                </a:lnTo>
                <a:lnTo>
                  <a:pt x="1877135" y="141478"/>
                </a:lnTo>
                <a:lnTo>
                  <a:pt x="1877135" y="146032"/>
                </a:lnTo>
                <a:lnTo>
                  <a:pt x="1881702" y="146032"/>
                </a:lnTo>
                <a:lnTo>
                  <a:pt x="1883986" y="143750"/>
                </a:lnTo>
                <a:lnTo>
                  <a:pt x="1897687" y="141478"/>
                </a:lnTo>
                <a:lnTo>
                  <a:pt x="1902255" y="136914"/>
                </a:lnTo>
                <a:lnTo>
                  <a:pt x="1904538" y="134632"/>
                </a:lnTo>
                <a:lnTo>
                  <a:pt x="1909106" y="134632"/>
                </a:lnTo>
                <a:lnTo>
                  <a:pt x="1911389" y="134632"/>
                </a:lnTo>
                <a:lnTo>
                  <a:pt x="1915956" y="134632"/>
                </a:lnTo>
                <a:lnTo>
                  <a:pt x="1918240" y="134632"/>
                </a:lnTo>
                <a:lnTo>
                  <a:pt x="1920524" y="136914"/>
                </a:lnTo>
                <a:lnTo>
                  <a:pt x="1927374" y="139196"/>
                </a:lnTo>
                <a:lnTo>
                  <a:pt x="1931941" y="136914"/>
                </a:lnTo>
                <a:lnTo>
                  <a:pt x="1934225" y="139196"/>
                </a:lnTo>
                <a:lnTo>
                  <a:pt x="1936509" y="139196"/>
                </a:lnTo>
                <a:lnTo>
                  <a:pt x="1938792" y="139196"/>
                </a:lnTo>
                <a:lnTo>
                  <a:pt x="1941076" y="139196"/>
                </a:lnTo>
                <a:lnTo>
                  <a:pt x="1941076" y="141478"/>
                </a:lnTo>
                <a:lnTo>
                  <a:pt x="1943360" y="141478"/>
                </a:lnTo>
                <a:lnTo>
                  <a:pt x="1945643" y="141478"/>
                </a:lnTo>
                <a:lnTo>
                  <a:pt x="1947927" y="141478"/>
                </a:lnTo>
                <a:lnTo>
                  <a:pt x="1947927" y="143750"/>
                </a:lnTo>
                <a:lnTo>
                  <a:pt x="1950210" y="143750"/>
                </a:lnTo>
                <a:lnTo>
                  <a:pt x="1952494" y="143750"/>
                </a:lnTo>
                <a:lnTo>
                  <a:pt x="1957061" y="143750"/>
                </a:lnTo>
                <a:lnTo>
                  <a:pt x="1961628" y="146032"/>
                </a:lnTo>
                <a:lnTo>
                  <a:pt x="1963912" y="146032"/>
                </a:lnTo>
                <a:lnTo>
                  <a:pt x="1975330" y="148314"/>
                </a:lnTo>
                <a:lnTo>
                  <a:pt x="1977614" y="141478"/>
                </a:lnTo>
                <a:lnTo>
                  <a:pt x="1977614" y="136914"/>
                </a:lnTo>
                <a:lnTo>
                  <a:pt x="1986748" y="134632"/>
                </a:lnTo>
                <a:lnTo>
                  <a:pt x="1989031" y="132350"/>
                </a:lnTo>
                <a:lnTo>
                  <a:pt x="1991315" y="134632"/>
                </a:lnTo>
                <a:lnTo>
                  <a:pt x="1991315" y="136914"/>
                </a:lnTo>
                <a:lnTo>
                  <a:pt x="1993599" y="136914"/>
                </a:lnTo>
                <a:lnTo>
                  <a:pt x="1993599" y="139196"/>
                </a:lnTo>
                <a:lnTo>
                  <a:pt x="1995882" y="139196"/>
                </a:lnTo>
                <a:lnTo>
                  <a:pt x="1998166" y="139196"/>
                </a:lnTo>
                <a:lnTo>
                  <a:pt x="2000449" y="139196"/>
                </a:lnTo>
                <a:lnTo>
                  <a:pt x="2002733" y="139196"/>
                </a:lnTo>
                <a:lnTo>
                  <a:pt x="2009584" y="143750"/>
                </a:lnTo>
                <a:lnTo>
                  <a:pt x="2009584" y="141478"/>
                </a:lnTo>
                <a:lnTo>
                  <a:pt x="2025569" y="141478"/>
                </a:lnTo>
                <a:lnTo>
                  <a:pt x="2027853" y="141478"/>
                </a:lnTo>
                <a:lnTo>
                  <a:pt x="2032420" y="141478"/>
                </a:lnTo>
                <a:lnTo>
                  <a:pt x="2034703" y="141478"/>
                </a:lnTo>
                <a:lnTo>
                  <a:pt x="2039270" y="141478"/>
                </a:lnTo>
                <a:lnTo>
                  <a:pt x="2041554" y="150596"/>
                </a:lnTo>
                <a:lnTo>
                  <a:pt x="2055256" y="157441"/>
                </a:lnTo>
                <a:lnTo>
                  <a:pt x="2059823" y="159723"/>
                </a:lnTo>
                <a:lnTo>
                  <a:pt x="2066674" y="162005"/>
                </a:lnTo>
                <a:lnTo>
                  <a:pt x="2068957" y="162005"/>
                </a:lnTo>
                <a:lnTo>
                  <a:pt x="2071241" y="164287"/>
                </a:lnTo>
                <a:lnTo>
                  <a:pt x="2078092" y="166569"/>
                </a:lnTo>
                <a:lnTo>
                  <a:pt x="2080375" y="166569"/>
                </a:lnTo>
                <a:lnTo>
                  <a:pt x="2082659" y="166569"/>
                </a:lnTo>
                <a:lnTo>
                  <a:pt x="2084943" y="168851"/>
                </a:lnTo>
                <a:lnTo>
                  <a:pt x="2087226" y="168851"/>
                </a:lnTo>
                <a:lnTo>
                  <a:pt x="2091793" y="171133"/>
                </a:lnTo>
                <a:lnTo>
                  <a:pt x="2091793" y="173415"/>
                </a:lnTo>
                <a:lnTo>
                  <a:pt x="2089510" y="173415"/>
                </a:lnTo>
                <a:lnTo>
                  <a:pt x="2089510" y="175696"/>
                </a:lnTo>
                <a:lnTo>
                  <a:pt x="2087226" y="175696"/>
                </a:lnTo>
                <a:lnTo>
                  <a:pt x="2087226" y="177978"/>
                </a:lnTo>
                <a:lnTo>
                  <a:pt x="2087226" y="180260"/>
                </a:lnTo>
                <a:lnTo>
                  <a:pt x="2084943" y="180260"/>
                </a:lnTo>
                <a:lnTo>
                  <a:pt x="2084943" y="182542"/>
                </a:lnTo>
                <a:lnTo>
                  <a:pt x="2082659" y="184824"/>
                </a:lnTo>
                <a:lnTo>
                  <a:pt x="2075808" y="196233"/>
                </a:lnTo>
                <a:lnTo>
                  <a:pt x="2075808" y="200797"/>
                </a:lnTo>
                <a:lnTo>
                  <a:pt x="2075808" y="203079"/>
                </a:lnTo>
                <a:lnTo>
                  <a:pt x="2073524" y="203079"/>
                </a:lnTo>
                <a:lnTo>
                  <a:pt x="2068957" y="203079"/>
                </a:lnTo>
                <a:lnTo>
                  <a:pt x="2059823" y="198515"/>
                </a:lnTo>
                <a:lnTo>
                  <a:pt x="2059823" y="196233"/>
                </a:lnTo>
                <a:lnTo>
                  <a:pt x="2052972" y="184824"/>
                </a:lnTo>
                <a:lnTo>
                  <a:pt x="2050689" y="187106"/>
                </a:lnTo>
                <a:lnTo>
                  <a:pt x="2048405" y="187106"/>
                </a:lnTo>
                <a:lnTo>
                  <a:pt x="2046121" y="187106"/>
                </a:lnTo>
                <a:lnTo>
                  <a:pt x="2043838" y="189388"/>
                </a:lnTo>
                <a:lnTo>
                  <a:pt x="2039270" y="189388"/>
                </a:lnTo>
                <a:lnTo>
                  <a:pt x="2032420" y="189388"/>
                </a:lnTo>
                <a:lnTo>
                  <a:pt x="2025569" y="189388"/>
                </a:lnTo>
                <a:lnTo>
                  <a:pt x="2025569" y="191670"/>
                </a:lnTo>
                <a:lnTo>
                  <a:pt x="2030136" y="209925"/>
                </a:lnTo>
                <a:lnTo>
                  <a:pt x="2036987" y="209925"/>
                </a:lnTo>
                <a:lnTo>
                  <a:pt x="2041554" y="209925"/>
                </a:lnTo>
                <a:lnTo>
                  <a:pt x="2043838" y="221334"/>
                </a:lnTo>
                <a:lnTo>
                  <a:pt x="2043838" y="223616"/>
                </a:lnTo>
                <a:lnTo>
                  <a:pt x="2043838" y="225898"/>
                </a:lnTo>
                <a:lnTo>
                  <a:pt x="2043838" y="228180"/>
                </a:lnTo>
                <a:lnTo>
                  <a:pt x="2043838" y="230462"/>
                </a:lnTo>
                <a:lnTo>
                  <a:pt x="2043838" y="232744"/>
                </a:lnTo>
                <a:lnTo>
                  <a:pt x="2046121" y="235026"/>
                </a:lnTo>
                <a:lnTo>
                  <a:pt x="2048405" y="235026"/>
                </a:lnTo>
                <a:lnTo>
                  <a:pt x="2050689" y="235026"/>
                </a:lnTo>
                <a:lnTo>
                  <a:pt x="2055256" y="235026"/>
                </a:lnTo>
                <a:lnTo>
                  <a:pt x="2057539" y="235026"/>
                </a:lnTo>
                <a:lnTo>
                  <a:pt x="2062106" y="235026"/>
                </a:lnTo>
                <a:lnTo>
                  <a:pt x="2064390" y="232744"/>
                </a:lnTo>
                <a:lnTo>
                  <a:pt x="2066674" y="232744"/>
                </a:lnTo>
                <a:lnTo>
                  <a:pt x="2071241" y="232744"/>
                </a:lnTo>
                <a:lnTo>
                  <a:pt x="2073524" y="230462"/>
                </a:lnTo>
                <a:lnTo>
                  <a:pt x="2075808" y="232744"/>
                </a:lnTo>
                <a:lnTo>
                  <a:pt x="2078092" y="232744"/>
                </a:lnTo>
                <a:lnTo>
                  <a:pt x="2080375" y="235026"/>
                </a:lnTo>
                <a:lnTo>
                  <a:pt x="2082659" y="235026"/>
                </a:lnTo>
                <a:lnTo>
                  <a:pt x="2087226" y="237308"/>
                </a:lnTo>
                <a:lnTo>
                  <a:pt x="2087226" y="239590"/>
                </a:lnTo>
                <a:lnTo>
                  <a:pt x="2087226" y="241871"/>
                </a:lnTo>
                <a:lnTo>
                  <a:pt x="2089510" y="241871"/>
                </a:lnTo>
                <a:lnTo>
                  <a:pt x="2089510" y="244153"/>
                </a:lnTo>
                <a:lnTo>
                  <a:pt x="2089510" y="246435"/>
                </a:lnTo>
                <a:lnTo>
                  <a:pt x="2091793" y="246435"/>
                </a:lnTo>
                <a:lnTo>
                  <a:pt x="2091793" y="248717"/>
                </a:lnTo>
                <a:lnTo>
                  <a:pt x="2094077" y="250999"/>
                </a:lnTo>
                <a:lnTo>
                  <a:pt x="2094077" y="253281"/>
                </a:lnTo>
                <a:lnTo>
                  <a:pt x="2096360" y="253281"/>
                </a:lnTo>
                <a:lnTo>
                  <a:pt x="2096360" y="255563"/>
                </a:lnTo>
                <a:lnTo>
                  <a:pt x="2098644" y="257845"/>
                </a:lnTo>
                <a:lnTo>
                  <a:pt x="2098644" y="260127"/>
                </a:lnTo>
                <a:lnTo>
                  <a:pt x="2100928" y="262409"/>
                </a:lnTo>
                <a:lnTo>
                  <a:pt x="2100928" y="264690"/>
                </a:lnTo>
                <a:lnTo>
                  <a:pt x="2103211" y="266972"/>
                </a:lnTo>
                <a:lnTo>
                  <a:pt x="2105495" y="269254"/>
                </a:lnTo>
                <a:lnTo>
                  <a:pt x="2105495" y="271536"/>
                </a:lnTo>
                <a:lnTo>
                  <a:pt x="2105495" y="278382"/>
                </a:lnTo>
                <a:lnTo>
                  <a:pt x="2105495" y="280664"/>
                </a:lnTo>
                <a:lnTo>
                  <a:pt x="2105495" y="282946"/>
                </a:lnTo>
                <a:lnTo>
                  <a:pt x="2105495" y="285227"/>
                </a:lnTo>
                <a:lnTo>
                  <a:pt x="2105495" y="287509"/>
                </a:lnTo>
                <a:lnTo>
                  <a:pt x="2105495" y="289791"/>
                </a:lnTo>
                <a:lnTo>
                  <a:pt x="2103211" y="289791"/>
                </a:lnTo>
                <a:lnTo>
                  <a:pt x="2100928" y="289791"/>
                </a:lnTo>
                <a:lnTo>
                  <a:pt x="2098644" y="287509"/>
                </a:lnTo>
                <a:lnTo>
                  <a:pt x="2098644" y="289791"/>
                </a:lnTo>
                <a:lnTo>
                  <a:pt x="2094077" y="292073"/>
                </a:lnTo>
                <a:lnTo>
                  <a:pt x="2089510" y="292073"/>
                </a:lnTo>
                <a:lnTo>
                  <a:pt x="2087226" y="292073"/>
                </a:lnTo>
                <a:lnTo>
                  <a:pt x="2080375" y="294345"/>
                </a:lnTo>
                <a:lnTo>
                  <a:pt x="2078092" y="294345"/>
                </a:lnTo>
                <a:lnTo>
                  <a:pt x="2075808" y="289791"/>
                </a:lnTo>
                <a:lnTo>
                  <a:pt x="2073524" y="287509"/>
                </a:lnTo>
                <a:lnTo>
                  <a:pt x="2068957" y="282946"/>
                </a:lnTo>
                <a:lnTo>
                  <a:pt x="2059823" y="285227"/>
                </a:lnTo>
                <a:lnTo>
                  <a:pt x="2059823" y="287509"/>
                </a:lnTo>
                <a:lnTo>
                  <a:pt x="2059823" y="289791"/>
                </a:lnTo>
                <a:lnTo>
                  <a:pt x="2059823" y="298909"/>
                </a:lnTo>
                <a:lnTo>
                  <a:pt x="2057539" y="301191"/>
                </a:lnTo>
                <a:lnTo>
                  <a:pt x="2055256" y="301191"/>
                </a:lnTo>
                <a:lnTo>
                  <a:pt x="2048405" y="301191"/>
                </a:lnTo>
                <a:lnTo>
                  <a:pt x="2046121" y="301191"/>
                </a:lnTo>
                <a:lnTo>
                  <a:pt x="2046121" y="303473"/>
                </a:lnTo>
                <a:lnTo>
                  <a:pt x="2041554" y="303473"/>
                </a:lnTo>
                <a:lnTo>
                  <a:pt x="2034703" y="305755"/>
                </a:lnTo>
                <a:lnTo>
                  <a:pt x="2034703" y="298909"/>
                </a:lnTo>
                <a:lnTo>
                  <a:pt x="2025569" y="308037"/>
                </a:lnTo>
                <a:lnTo>
                  <a:pt x="2023285" y="308037"/>
                </a:lnTo>
                <a:lnTo>
                  <a:pt x="2021002" y="310319"/>
                </a:lnTo>
                <a:lnTo>
                  <a:pt x="2018718" y="310319"/>
                </a:lnTo>
                <a:lnTo>
                  <a:pt x="2016435" y="312601"/>
                </a:lnTo>
                <a:lnTo>
                  <a:pt x="2014151" y="312601"/>
                </a:lnTo>
                <a:lnTo>
                  <a:pt x="2011867" y="312601"/>
                </a:lnTo>
                <a:lnTo>
                  <a:pt x="2009584" y="314883"/>
                </a:lnTo>
                <a:lnTo>
                  <a:pt x="2009584" y="312601"/>
                </a:lnTo>
                <a:lnTo>
                  <a:pt x="2007300" y="312601"/>
                </a:lnTo>
                <a:lnTo>
                  <a:pt x="2005016" y="308037"/>
                </a:lnTo>
                <a:lnTo>
                  <a:pt x="2002733" y="303473"/>
                </a:lnTo>
                <a:lnTo>
                  <a:pt x="2000449" y="301191"/>
                </a:lnTo>
                <a:lnTo>
                  <a:pt x="1998166" y="301191"/>
                </a:lnTo>
                <a:lnTo>
                  <a:pt x="1998166" y="298909"/>
                </a:lnTo>
                <a:lnTo>
                  <a:pt x="1995882" y="298909"/>
                </a:lnTo>
                <a:lnTo>
                  <a:pt x="1993599" y="296637"/>
                </a:lnTo>
                <a:lnTo>
                  <a:pt x="1989031" y="296637"/>
                </a:lnTo>
                <a:lnTo>
                  <a:pt x="1986748" y="296637"/>
                </a:lnTo>
                <a:lnTo>
                  <a:pt x="1982181" y="298909"/>
                </a:lnTo>
                <a:lnTo>
                  <a:pt x="1982181" y="301191"/>
                </a:lnTo>
                <a:lnTo>
                  <a:pt x="1979897" y="303473"/>
                </a:lnTo>
                <a:lnTo>
                  <a:pt x="1977614" y="305755"/>
                </a:lnTo>
                <a:lnTo>
                  <a:pt x="1977614" y="308037"/>
                </a:lnTo>
                <a:lnTo>
                  <a:pt x="1975330" y="310319"/>
                </a:lnTo>
                <a:lnTo>
                  <a:pt x="1975330" y="312601"/>
                </a:lnTo>
                <a:lnTo>
                  <a:pt x="1975330" y="314883"/>
                </a:lnTo>
                <a:lnTo>
                  <a:pt x="1973046" y="314883"/>
                </a:lnTo>
                <a:lnTo>
                  <a:pt x="1975330" y="317165"/>
                </a:lnTo>
                <a:lnTo>
                  <a:pt x="1975330" y="319446"/>
                </a:lnTo>
                <a:lnTo>
                  <a:pt x="1975330" y="321728"/>
                </a:lnTo>
                <a:lnTo>
                  <a:pt x="1977614" y="321728"/>
                </a:lnTo>
                <a:lnTo>
                  <a:pt x="1977614" y="324010"/>
                </a:lnTo>
                <a:lnTo>
                  <a:pt x="1979897" y="324010"/>
                </a:lnTo>
                <a:lnTo>
                  <a:pt x="1979897" y="326292"/>
                </a:lnTo>
                <a:lnTo>
                  <a:pt x="1982181" y="328574"/>
                </a:lnTo>
                <a:lnTo>
                  <a:pt x="1984464" y="328574"/>
                </a:lnTo>
                <a:lnTo>
                  <a:pt x="1984464" y="326292"/>
                </a:lnTo>
                <a:lnTo>
                  <a:pt x="1986748" y="326292"/>
                </a:lnTo>
                <a:lnTo>
                  <a:pt x="1989031" y="324010"/>
                </a:lnTo>
                <a:lnTo>
                  <a:pt x="1991315" y="324010"/>
                </a:lnTo>
                <a:lnTo>
                  <a:pt x="1993599" y="326292"/>
                </a:lnTo>
                <a:lnTo>
                  <a:pt x="1995882" y="328574"/>
                </a:lnTo>
                <a:lnTo>
                  <a:pt x="1995882" y="330856"/>
                </a:lnTo>
                <a:lnTo>
                  <a:pt x="1998166" y="330856"/>
                </a:lnTo>
                <a:lnTo>
                  <a:pt x="1998166" y="333138"/>
                </a:lnTo>
                <a:lnTo>
                  <a:pt x="2002733" y="335420"/>
                </a:lnTo>
                <a:lnTo>
                  <a:pt x="2002733" y="337702"/>
                </a:lnTo>
                <a:lnTo>
                  <a:pt x="2005016" y="337702"/>
                </a:lnTo>
                <a:lnTo>
                  <a:pt x="2007300" y="342265"/>
                </a:lnTo>
                <a:lnTo>
                  <a:pt x="2000449" y="344547"/>
                </a:lnTo>
                <a:lnTo>
                  <a:pt x="1998166" y="346829"/>
                </a:lnTo>
                <a:lnTo>
                  <a:pt x="1995882" y="346829"/>
                </a:lnTo>
                <a:lnTo>
                  <a:pt x="1995882" y="349111"/>
                </a:lnTo>
                <a:lnTo>
                  <a:pt x="1993599" y="351393"/>
                </a:lnTo>
                <a:lnTo>
                  <a:pt x="1993599" y="353675"/>
                </a:lnTo>
                <a:lnTo>
                  <a:pt x="1991315" y="360521"/>
                </a:lnTo>
                <a:lnTo>
                  <a:pt x="1991315" y="362802"/>
                </a:lnTo>
                <a:lnTo>
                  <a:pt x="1993599" y="362802"/>
                </a:lnTo>
                <a:lnTo>
                  <a:pt x="1995882" y="362802"/>
                </a:lnTo>
                <a:lnTo>
                  <a:pt x="1998166" y="365084"/>
                </a:lnTo>
                <a:lnTo>
                  <a:pt x="2000449" y="365084"/>
                </a:lnTo>
                <a:lnTo>
                  <a:pt x="2002733" y="367366"/>
                </a:lnTo>
                <a:lnTo>
                  <a:pt x="2005016" y="367366"/>
                </a:lnTo>
                <a:lnTo>
                  <a:pt x="2007300" y="367366"/>
                </a:lnTo>
                <a:lnTo>
                  <a:pt x="2009584" y="367366"/>
                </a:lnTo>
                <a:lnTo>
                  <a:pt x="2009584" y="369648"/>
                </a:lnTo>
                <a:lnTo>
                  <a:pt x="2011867" y="369648"/>
                </a:lnTo>
                <a:lnTo>
                  <a:pt x="2011867" y="374212"/>
                </a:lnTo>
                <a:lnTo>
                  <a:pt x="2011867" y="376494"/>
                </a:lnTo>
                <a:lnTo>
                  <a:pt x="2011867" y="378776"/>
                </a:lnTo>
                <a:lnTo>
                  <a:pt x="2009584" y="378776"/>
                </a:lnTo>
                <a:lnTo>
                  <a:pt x="2007300" y="378776"/>
                </a:lnTo>
                <a:lnTo>
                  <a:pt x="2005016" y="378776"/>
                </a:lnTo>
                <a:lnTo>
                  <a:pt x="2002733" y="376494"/>
                </a:lnTo>
                <a:lnTo>
                  <a:pt x="2000449" y="376494"/>
                </a:lnTo>
                <a:lnTo>
                  <a:pt x="1998166" y="376494"/>
                </a:lnTo>
                <a:lnTo>
                  <a:pt x="1995882" y="376494"/>
                </a:lnTo>
                <a:lnTo>
                  <a:pt x="1995882" y="374212"/>
                </a:lnTo>
                <a:lnTo>
                  <a:pt x="1991315" y="374212"/>
                </a:lnTo>
                <a:lnTo>
                  <a:pt x="1986748" y="371930"/>
                </a:lnTo>
                <a:lnTo>
                  <a:pt x="1984464" y="374212"/>
                </a:lnTo>
                <a:lnTo>
                  <a:pt x="1984464" y="376494"/>
                </a:lnTo>
                <a:lnTo>
                  <a:pt x="1984464" y="378776"/>
                </a:lnTo>
                <a:lnTo>
                  <a:pt x="1982181" y="378776"/>
                </a:lnTo>
                <a:lnTo>
                  <a:pt x="1982181" y="383339"/>
                </a:lnTo>
                <a:lnTo>
                  <a:pt x="1979897" y="385621"/>
                </a:lnTo>
                <a:lnTo>
                  <a:pt x="1979897" y="387903"/>
                </a:lnTo>
                <a:lnTo>
                  <a:pt x="1979897" y="390185"/>
                </a:lnTo>
                <a:lnTo>
                  <a:pt x="1977614" y="390185"/>
                </a:lnTo>
                <a:lnTo>
                  <a:pt x="1977614" y="392467"/>
                </a:lnTo>
                <a:lnTo>
                  <a:pt x="1979897" y="392467"/>
                </a:lnTo>
                <a:lnTo>
                  <a:pt x="1982181" y="394749"/>
                </a:lnTo>
                <a:lnTo>
                  <a:pt x="1984464" y="397031"/>
                </a:lnTo>
                <a:lnTo>
                  <a:pt x="1984464" y="399313"/>
                </a:lnTo>
                <a:lnTo>
                  <a:pt x="1984464" y="401595"/>
                </a:lnTo>
                <a:lnTo>
                  <a:pt x="1984464" y="403877"/>
                </a:lnTo>
                <a:lnTo>
                  <a:pt x="1984464" y="406158"/>
                </a:lnTo>
                <a:lnTo>
                  <a:pt x="1986748" y="408440"/>
                </a:lnTo>
                <a:lnTo>
                  <a:pt x="1984464" y="408440"/>
                </a:lnTo>
                <a:lnTo>
                  <a:pt x="1982181" y="408440"/>
                </a:lnTo>
                <a:lnTo>
                  <a:pt x="1979897" y="408440"/>
                </a:lnTo>
                <a:lnTo>
                  <a:pt x="1979897" y="410722"/>
                </a:lnTo>
                <a:lnTo>
                  <a:pt x="1979897" y="413004"/>
                </a:lnTo>
                <a:lnTo>
                  <a:pt x="1977614" y="413004"/>
                </a:lnTo>
                <a:lnTo>
                  <a:pt x="1977614" y="415286"/>
                </a:lnTo>
                <a:lnTo>
                  <a:pt x="1975330" y="415286"/>
                </a:lnTo>
                <a:lnTo>
                  <a:pt x="1975330" y="417568"/>
                </a:lnTo>
                <a:lnTo>
                  <a:pt x="1975330" y="419850"/>
                </a:lnTo>
                <a:lnTo>
                  <a:pt x="1975330" y="422132"/>
                </a:lnTo>
                <a:lnTo>
                  <a:pt x="1975330" y="424414"/>
                </a:lnTo>
                <a:lnTo>
                  <a:pt x="1975330" y="426696"/>
                </a:lnTo>
                <a:lnTo>
                  <a:pt x="1977614" y="431259"/>
                </a:lnTo>
                <a:lnTo>
                  <a:pt x="1977614" y="433541"/>
                </a:lnTo>
                <a:lnTo>
                  <a:pt x="1975330" y="433541"/>
                </a:lnTo>
                <a:lnTo>
                  <a:pt x="1973046" y="433541"/>
                </a:lnTo>
                <a:lnTo>
                  <a:pt x="1975330" y="435823"/>
                </a:lnTo>
                <a:lnTo>
                  <a:pt x="1975330" y="440387"/>
                </a:lnTo>
                <a:lnTo>
                  <a:pt x="1979897" y="447233"/>
                </a:lnTo>
                <a:lnTo>
                  <a:pt x="1982181" y="449514"/>
                </a:lnTo>
                <a:lnTo>
                  <a:pt x="1982181" y="451787"/>
                </a:lnTo>
                <a:lnTo>
                  <a:pt x="1982181" y="454069"/>
                </a:lnTo>
                <a:lnTo>
                  <a:pt x="1984464" y="454069"/>
                </a:lnTo>
                <a:lnTo>
                  <a:pt x="1984464" y="456351"/>
                </a:lnTo>
                <a:lnTo>
                  <a:pt x="1984464" y="458633"/>
                </a:lnTo>
                <a:lnTo>
                  <a:pt x="1982181" y="458633"/>
                </a:lnTo>
                <a:lnTo>
                  <a:pt x="1979897" y="458633"/>
                </a:lnTo>
                <a:lnTo>
                  <a:pt x="1977614" y="458633"/>
                </a:lnTo>
                <a:lnTo>
                  <a:pt x="1975330" y="458633"/>
                </a:lnTo>
                <a:lnTo>
                  <a:pt x="1975330" y="460915"/>
                </a:lnTo>
                <a:lnTo>
                  <a:pt x="1973046" y="460915"/>
                </a:lnTo>
                <a:lnTo>
                  <a:pt x="1973046" y="463196"/>
                </a:lnTo>
                <a:lnTo>
                  <a:pt x="1975330" y="465478"/>
                </a:lnTo>
                <a:lnTo>
                  <a:pt x="1975330" y="467760"/>
                </a:lnTo>
                <a:lnTo>
                  <a:pt x="1975330" y="470042"/>
                </a:lnTo>
                <a:lnTo>
                  <a:pt x="1975330" y="472324"/>
                </a:lnTo>
                <a:lnTo>
                  <a:pt x="1977614" y="472324"/>
                </a:lnTo>
                <a:lnTo>
                  <a:pt x="1979897" y="472324"/>
                </a:lnTo>
                <a:lnTo>
                  <a:pt x="1977614" y="474606"/>
                </a:lnTo>
                <a:lnTo>
                  <a:pt x="1979897" y="476888"/>
                </a:lnTo>
                <a:lnTo>
                  <a:pt x="1977614" y="476888"/>
                </a:lnTo>
                <a:lnTo>
                  <a:pt x="1977614" y="483733"/>
                </a:lnTo>
                <a:lnTo>
                  <a:pt x="1975330" y="483733"/>
                </a:lnTo>
                <a:lnTo>
                  <a:pt x="1973046" y="483733"/>
                </a:lnTo>
                <a:lnTo>
                  <a:pt x="1970763" y="486015"/>
                </a:lnTo>
                <a:lnTo>
                  <a:pt x="1963912" y="486015"/>
                </a:lnTo>
                <a:lnTo>
                  <a:pt x="1966195" y="488297"/>
                </a:lnTo>
                <a:lnTo>
                  <a:pt x="1968479" y="490579"/>
                </a:lnTo>
                <a:lnTo>
                  <a:pt x="1970763" y="492861"/>
                </a:lnTo>
                <a:lnTo>
                  <a:pt x="1954777" y="492861"/>
                </a:lnTo>
                <a:lnTo>
                  <a:pt x="1954777" y="495143"/>
                </a:lnTo>
                <a:lnTo>
                  <a:pt x="1954777" y="497425"/>
                </a:lnTo>
                <a:lnTo>
                  <a:pt x="1954777" y="499707"/>
                </a:lnTo>
                <a:lnTo>
                  <a:pt x="1954777" y="501989"/>
                </a:lnTo>
                <a:lnTo>
                  <a:pt x="1952494" y="501989"/>
                </a:lnTo>
                <a:lnTo>
                  <a:pt x="1950210" y="501989"/>
                </a:lnTo>
                <a:lnTo>
                  <a:pt x="1947927" y="501989"/>
                </a:lnTo>
                <a:lnTo>
                  <a:pt x="1947927" y="499707"/>
                </a:lnTo>
                <a:lnTo>
                  <a:pt x="1950210" y="499707"/>
                </a:lnTo>
                <a:lnTo>
                  <a:pt x="1950210" y="497425"/>
                </a:lnTo>
                <a:lnTo>
                  <a:pt x="1947927" y="495143"/>
                </a:lnTo>
                <a:lnTo>
                  <a:pt x="1950210" y="492861"/>
                </a:lnTo>
                <a:lnTo>
                  <a:pt x="1950210" y="490579"/>
                </a:lnTo>
                <a:lnTo>
                  <a:pt x="1952494" y="488297"/>
                </a:lnTo>
                <a:lnTo>
                  <a:pt x="1952494" y="486015"/>
                </a:lnTo>
                <a:lnTo>
                  <a:pt x="1950210" y="486015"/>
                </a:lnTo>
                <a:lnTo>
                  <a:pt x="1945643" y="486015"/>
                </a:lnTo>
                <a:lnTo>
                  <a:pt x="1943360" y="486015"/>
                </a:lnTo>
                <a:lnTo>
                  <a:pt x="1943360" y="483733"/>
                </a:lnTo>
                <a:lnTo>
                  <a:pt x="1938792" y="483733"/>
                </a:lnTo>
                <a:lnTo>
                  <a:pt x="1938792" y="486015"/>
                </a:lnTo>
                <a:lnTo>
                  <a:pt x="1938792" y="488297"/>
                </a:lnTo>
                <a:lnTo>
                  <a:pt x="1936509" y="492861"/>
                </a:lnTo>
                <a:lnTo>
                  <a:pt x="1936509" y="495143"/>
                </a:lnTo>
                <a:lnTo>
                  <a:pt x="1934225" y="497425"/>
                </a:lnTo>
                <a:lnTo>
                  <a:pt x="1929658" y="501989"/>
                </a:lnTo>
                <a:lnTo>
                  <a:pt x="1920524" y="504271"/>
                </a:lnTo>
                <a:lnTo>
                  <a:pt x="1913673" y="506552"/>
                </a:lnTo>
                <a:lnTo>
                  <a:pt x="1911389" y="508834"/>
                </a:lnTo>
                <a:lnTo>
                  <a:pt x="1902255" y="513398"/>
                </a:lnTo>
                <a:lnTo>
                  <a:pt x="1897687" y="515680"/>
                </a:lnTo>
                <a:lnTo>
                  <a:pt x="1897687" y="511116"/>
                </a:lnTo>
                <a:lnTo>
                  <a:pt x="1897687" y="501989"/>
                </a:lnTo>
                <a:lnTo>
                  <a:pt x="1897687" y="497425"/>
                </a:lnTo>
                <a:lnTo>
                  <a:pt x="1895404" y="497425"/>
                </a:lnTo>
                <a:lnTo>
                  <a:pt x="1893120" y="499707"/>
                </a:lnTo>
                <a:lnTo>
                  <a:pt x="1890837" y="499707"/>
                </a:lnTo>
                <a:lnTo>
                  <a:pt x="1888553" y="501989"/>
                </a:lnTo>
                <a:lnTo>
                  <a:pt x="1886270" y="501989"/>
                </a:lnTo>
                <a:lnTo>
                  <a:pt x="1883986" y="501989"/>
                </a:lnTo>
                <a:lnTo>
                  <a:pt x="1883986" y="504271"/>
                </a:lnTo>
                <a:lnTo>
                  <a:pt x="1881702" y="504271"/>
                </a:lnTo>
                <a:lnTo>
                  <a:pt x="1879419" y="504271"/>
                </a:lnTo>
                <a:lnTo>
                  <a:pt x="1877135" y="506552"/>
                </a:lnTo>
                <a:lnTo>
                  <a:pt x="1874852" y="506552"/>
                </a:lnTo>
                <a:lnTo>
                  <a:pt x="1872568" y="504271"/>
                </a:lnTo>
                <a:lnTo>
                  <a:pt x="1872568" y="501989"/>
                </a:lnTo>
                <a:lnTo>
                  <a:pt x="1870285" y="499707"/>
                </a:lnTo>
                <a:lnTo>
                  <a:pt x="1868001" y="495143"/>
                </a:lnTo>
                <a:lnTo>
                  <a:pt x="1868001" y="492861"/>
                </a:lnTo>
                <a:lnTo>
                  <a:pt x="1865717" y="492861"/>
                </a:lnTo>
                <a:lnTo>
                  <a:pt x="1865717" y="495143"/>
                </a:lnTo>
                <a:lnTo>
                  <a:pt x="1863434" y="495143"/>
                </a:lnTo>
                <a:lnTo>
                  <a:pt x="1861150" y="495143"/>
                </a:lnTo>
                <a:lnTo>
                  <a:pt x="1863434" y="495143"/>
                </a:lnTo>
                <a:lnTo>
                  <a:pt x="1863434" y="492861"/>
                </a:lnTo>
                <a:lnTo>
                  <a:pt x="1861150" y="492861"/>
                </a:lnTo>
                <a:lnTo>
                  <a:pt x="1861150" y="490579"/>
                </a:lnTo>
                <a:lnTo>
                  <a:pt x="1861150" y="488297"/>
                </a:lnTo>
                <a:lnTo>
                  <a:pt x="1861150" y="483733"/>
                </a:lnTo>
                <a:lnTo>
                  <a:pt x="1858866" y="481451"/>
                </a:lnTo>
                <a:lnTo>
                  <a:pt x="1861150" y="481451"/>
                </a:lnTo>
                <a:lnTo>
                  <a:pt x="1858866" y="474606"/>
                </a:lnTo>
                <a:lnTo>
                  <a:pt x="1856583" y="474606"/>
                </a:lnTo>
                <a:lnTo>
                  <a:pt x="1854299" y="476888"/>
                </a:lnTo>
                <a:lnTo>
                  <a:pt x="1852016" y="476888"/>
                </a:lnTo>
                <a:lnTo>
                  <a:pt x="1849732" y="476888"/>
                </a:lnTo>
                <a:lnTo>
                  <a:pt x="1847448" y="479170"/>
                </a:lnTo>
                <a:lnTo>
                  <a:pt x="1845165" y="479170"/>
                </a:lnTo>
                <a:lnTo>
                  <a:pt x="1842881" y="481451"/>
                </a:lnTo>
                <a:lnTo>
                  <a:pt x="1842881" y="483733"/>
                </a:lnTo>
                <a:lnTo>
                  <a:pt x="1842881" y="486015"/>
                </a:lnTo>
                <a:lnTo>
                  <a:pt x="1840598" y="486015"/>
                </a:lnTo>
                <a:lnTo>
                  <a:pt x="1838314" y="488297"/>
                </a:lnTo>
                <a:lnTo>
                  <a:pt x="1836031" y="488297"/>
                </a:lnTo>
                <a:lnTo>
                  <a:pt x="1836031" y="490579"/>
                </a:lnTo>
                <a:lnTo>
                  <a:pt x="1833747" y="490579"/>
                </a:lnTo>
                <a:lnTo>
                  <a:pt x="1831463" y="492861"/>
                </a:lnTo>
                <a:lnTo>
                  <a:pt x="1829180" y="492861"/>
                </a:lnTo>
                <a:lnTo>
                  <a:pt x="1826896" y="495143"/>
                </a:lnTo>
                <a:lnTo>
                  <a:pt x="1824612" y="495143"/>
                </a:lnTo>
                <a:lnTo>
                  <a:pt x="1824612" y="497425"/>
                </a:lnTo>
                <a:lnTo>
                  <a:pt x="1822329" y="497425"/>
                </a:lnTo>
                <a:lnTo>
                  <a:pt x="1820045" y="497425"/>
                </a:lnTo>
                <a:lnTo>
                  <a:pt x="1817762" y="497425"/>
                </a:lnTo>
                <a:lnTo>
                  <a:pt x="1810911" y="501989"/>
                </a:lnTo>
                <a:lnTo>
                  <a:pt x="1808627" y="501989"/>
                </a:lnTo>
                <a:lnTo>
                  <a:pt x="1806344" y="501989"/>
                </a:lnTo>
                <a:lnTo>
                  <a:pt x="1806344" y="499707"/>
                </a:lnTo>
                <a:lnTo>
                  <a:pt x="1804060" y="501989"/>
                </a:lnTo>
                <a:lnTo>
                  <a:pt x="1801777" y="501989"/>
                </a:lnTo>
                <a:lnTo>
                  <a:pt x="1797209" y="501989"/>
                </a:lnTo>
                <a:lnTo>
                  <a:pt x="1794926" y="504271"/>
                </a:lnTo>
                <a:lnTo>
                  <a:pt x="1792642" y="504271"/>
                </a:lnTo>
                <a:lnTo>
                  <a:pt x="1794926" y="508834"/>
                </a:lnTo>
                <a:lnTo>
                  <a:pt x="1794926" y="511116"/>
                </a:lnTo>
                <a:lnTo>
                  <a:pt x="1792642" y="513398"/>
                </a:lnTo>
                <a:lnTo>
                  <a:pt x="1790358" y="513398"/>
                </a:lnTo>
                <a:lnTo>
                  <a:pt x="1790358" y="515680"/>
                </a:lnTo>
                <a:lnTo>
                  <a:pt x="1790358" y="517962"/>
                </a:lnTo>
                <a:lnTo>
                  <a:pt x="1792642" y="520244"/>
                </a:lnTo>
                <a:lnTo>
                  <a:pt x="1792642" y="522526"/>
                </a:lnTo>
                <a:lnTo>
                  <a:pt x="1792642" y="524808"/>
                </a:lnTo>
                <a:lnTo>
                  <a:pt x="1790358" y="524808"/>
                </a:lnTo>
                <a:lnTo>
                  <a:pt x="1788075" y="524808"/>
                </a:lnTo>
                <a:lnTo>
                  <a:pt x="1790358" y="527089"/>
                </a:lnTo>
                <a:lnTo>
                  <a:pt x="1790358" y="536217"/>
                </a:lnTo>
                <a:lnTo>
                  <a:pt x="1790358" y="538499"/>
                </a:lnTo>
                <a:lnTo>
                  <a:pt x="1790358" y="540781"/>
                </a:lnTo>
                <a:lnTo>
                  <a:pt x="1790358" y="543063"/>
                </a:lnTo>
                <a:lnTo>
                  <a:pt x="1790358" y="545345"/>
                </a:lnTo>
                <a:lnTo>
                  <a:pt x="1790358" y="547627"/>
                </a:lnTo>
                <a:lnTo>
                  <a:pt x="1790358" y="549908"/>
                </a:lnTo>
                <a:lnTo>
                  <a:pt x="1788075" y="556754"/>
                </a:lnTo>
                <a:lnTo>
                  <a:pt x="1788075" y="559036"/>
                </a:lnTo>
                <a:lnTo>
                  <a:pt x="1788075" y="561318"/>
                </a:lnTo>
                <a:lnTo>
                  <a:pt x="1788075" y="565882"/>
                </a:lnTo>
                <a:lnTo>
                  <a:pt x="1785791" y="563600"/>
                </a:lnTo>
                <a:lnTo>
                  <a:pt x="1783508" y="563600"/>
                </a:lnTo>
                <a:lnTo>
                  <a:pt x="1783508" y="568164"/>
                </a:lnTo>
                <a:lnTo>
                  <a:pt x="1781224" y="568164"/>
                </a:lnTo>
                <a:lnTo>
                  <a:pt x="1781224" y="570445"/>
                </a:lnTo>
                <a:lnTo>
                  <a:pt x="1781224" y="572727"/>
                </a:lnTo>
                <a:lnTo>
                  <a:pt x="1781224" y="575009"/>
                </a:lnTo>
                <a:lnTo>
                  <a:pt x="1781224" y="577291"/>
                </a:lnTo>
                <a:lnTo>
                  <a:pt x="1781224" y="579573"/>
                </a:lnTo>
                <a:lnTo>
                  <a:pt x="1781224" y="581855"/>
                </a:lnTo>
                <a:lnTo>
                  <a:pt x="1781224" y="584137"/>
                </a:lnTo>
                <a:lnTo>
                  <a:pt x="1778941" y="584137"/>
                </a:lnTo>
                <a:lnTo>
                  <a:pt x="1778941" y="586419"/>
                </a:lnTo>
                <a:lnTo>
                  <a:pt x="1778941" y="588701"/>
                </a:lnTo>
                <a:lnTo>
                  <a:pt x="1778941" y="590983"/>
                </a:lnTo>
                <a:lnTo>
                  <a:pt x="1778941" y="593264"/>
                </a:lnTo>
                <a:lnTo>
                  <a:pt x="1778941" y="595546"/>
                </a:lnTo>
                <a:lnTo>
                  <a:pt x="1776657" y="595546"/>
                </a:lnTo>
                <a:lnTo>
                  <a:pt x="1776657" y="600110"/>
                </a:lnTo>
                <a:lnTo>
                  <a:pt x="1776657" y="602392"/>
                </a:lnTo>
                <a:lnTo>
                  <a:pt x="1776657" y="604674"/>
                </a:lnTo>
                <a:lnTo>
                  <a:pt x="1776657" y="606946"/>
                </a:lnTo>
                <a:lnTo>
                  <a:pt x="1769806" y="606946"/>
                </a:lnTo>
                <a:lnTo>
                  <a:pt x="1767522" y="606946"/>
                </a:lnTo>
                <a:lnTo>
                  <a:pt x="1765239" y="606946"/>
                </a:lnTo>
                <a:lnTo>
                  <a:pt x="1760672" y="604674"/>
                </a:lnTo>
                <a:lnTo>
                  <a:pt x="1753821" y="604674"/>
                </a:lnTo>
                <a:lnTo>
                  <a:pt x="1753821" y="606946"/>
                </a:lnTo>
                <a:lnTo>
                  <a:pt x="1753821" y="609228"/>
                </a:lnTo>
                <a:lnTo>
                  <a:pt x="1753821" y="611510"/>
                </a:lnTo>
                <a:lnTo>
                  <a:pt x="1753821" y="613792"/>
                </a:lnTo>
                <a:lnTo>
                  <a:pt x="1753821" y="616074"/>
                </a:lnTo>
                <a:lnTo>
                  <a:pt x="1753821" y="618356"/>
                </a:lnTo>
                <a:lnTo>
                  <a:pt x="1753821" y="620638"/>
                </a:lnTo>
                <a:lnTo>
                  <a:pt x="1751537" y="620638"/>
                </a:lnTo>
                <a:lnTo>
                  <a:pt x="1749244" y="620638"/>
                </a:lnTo>
                <a:lnTo>
                  <a:pt x="1746970" y="620638"/>
                </a:lnTo>
                <a:lnTo>
                  <a:pt x="1744687" y="620638"/>
                </a:lnTo>
                <a:lnTo>
                  <a:pt x="1742403" y="620638"/>
                </a:lnTo>
                <a:lnTo>
                  <a:pt x="1742403" y="618356"/>
                </a:lnTo>
                <a:lnTo>
                  <a:pt x="1740119" y="618356"/>
                </a:lnTo>
                <a:lnTo>
                  <a:pt x="1737836" y="618356"/>
                </a:lnTo>
                <a:lnTo>
                  <a:pt x="1735552" y="618356"/>
                </a:lnTo>
                <a:lnTo>
                  <a:pt x="1733268" y="618356"/>
                </a:lnTo>
                <a:lnTo>
                  <a:pt x="1728701" y="618356"/>
                </a:lnTo>
                <a:lnTo>
                  <a:pt x="1730985" y="632047"/>
                </a:lnTo>
                <a:lnTo>
                  <a:pt x="1733268" y="641175"/>
                </a:lnTo>
                <a:lnTo>
                  <a:pt x="1735552" y="650302"/>
                </a:lnTo>
                <a:lnTo>
                  <a:pt x="1735552" y="654866"/>
                </a:lnTo>
                <a:lnTo>
                  <a:pt x="1737836" y="657148"/>
                </a:lnTo>
                <a:lnTo>
                  <a:pt x="1737836" y="661712"/>
                </a:lnTo>
                <a:lnTo>
                  <a:pt x="1740119" y="661712"/>
                </a:lnTo>
                <a:lnTo>
                  <a:pt x="1740119" y="663994"/>
                </a:lnTo>
                <a:lnTo>
                  <a:pt x="1740119" y="666276"/>
                </a:lnTo>
                <a:lnTo>
                  <a:pt x="1742403" y="668557"/>
                </a:lnTo>
                <a:lnTo>
                  <a:pt x="1742403" y="670839"/>
                </a:lnTo>
                <a:lnTo>
                  <a:pt x="1742403" y="673121"/>
                </a:lnTo>
                <a:lnTo>
                  <a:pt x="1742403" y="675403"/>
                </a:lnTo>
                <a:lnTo>
                  <a:pt x="1740119" y="675403"/>
                </a:lnTo>
                <a:lnTo>
                  <a:pt x="1737836" y="677685"/>
                </a:lnTo>
                <a:lnTo>
                  <a:pt x="1735552" y="679967"/>
                </a:lnTo>
                <a:lnTo>
                  <a:pt x="1733268" y="682249"/>
                </a:lnTo>
                <a:lnTo>
                  <a:pt x="1730985" y="682249"/>
                </a:lnTo>
                <a:lnTo>
                  <a:pt x="1728701" y="684531"/>
                </a:lnTo>
                <a:lnTo>
                  <a:pt x="1726408" y="684531"/>
                </a:lnTo>
                <a:lnTo>
                  <a:pt x="1726408" y="686813"/>
                </a:lnTo>
                <a:lnTo>
                  <a:pt x="1724134" y="686813"/>
                </a:lnTo>
                <a:lnTo>
                  <a:pt x="1721841" y="686813"/>
                </a:lnTo>
                <a:lnTo>
                  <a:pt x="1719558" y="689095"/>
                </a:lnTo>
                <a:lnTo>
                  <a:pt x="1717283" y="691376"/>
                </a:lnTo>
                <a:lnTo>
                  <a:pt x="1714990" y="691376"/>
                </a:lnTo>
                <a:lnTo>
                  <a:pt x="1708140" y="695940"/>
                </a:lnTo>
                <a:lnTo>
                  <a:pt x="1705856" y="698222"/>
                </a:lnTo>
                <a:lnTo>
                  <a:pt x="1703572" y="700504"/>
                </a:lnTo>
                <a:lnTo>
                  <a:pt x="1701289" y="702786"/>
                </a:lnTo>
                <a:lnTo>
                  <a:pt x="1699005" y="705068"/>
                </a:lnTo>
                <a:lnTo>
                  <a:pt x="1696721" y="707350"/>
                </a:lnTo>
                <a:lnTo>
                  <a:pt x="1689871" y="711914"/>
                </a:lnTo>
                <a:lnTo>
                  <a:pt x="1696721" y="727887"/>
                </a:lnTo>
                <a:lnTo>
                  <a:pt x="1701289" y="732451"/>
                </a:lnTo>
                <a:lnTo>
                  <a:pt x="1703572" y="739296"/>
                </a:lnTo>
                <a:lnTo>
                  <a:pt x="1703572" y="743860"/>
                </a:lnTo>
                <a:lnTo>
                  <a:pt x="1703572" y="746142"/>
                </a:lnTo>
                <a:lnTo>
                  <a:pt x="1705856" y="759833"/>
                </a:lnTo>
                <a:lnTo>
                  <a:pt x="1705856" y="764397"/>
                </a:lnTo>
                <a:lnTo>
                  <a:pt x="1699005" y="768951"/>
                </a:lnTo>
                <a:lnTo>
                  <a:pt x="1696721" y="768951"/>
                </a:lnTo>
                <a:lnTo>
                  <a:pt x="1694438" y="768951"/>
                </a:lnTo>
                <a:lnTo>
                  <a:pt x="1694438" y="771233"/>
                </a:lnTo>
                <a:lnTo>
                  <a:pt x="1692154" y="771233"/>
                </a:lnTo>
                <a:lnTo>
                  <a:pt x="1687587" y="771233"/>
                </a:lnTo>
                <a:lnTo>
                  <a:pt x="1689871" y="773515"/>
                </a:lnTo>
                <a:lnTo>
                  <a:pt x="1687587" y="771233"/>
                </a:lnTo>
                <a:lnTo>
                  <a:pt x="1678453" y="773515"/>
                </a:lnTo>
                <a:lnTo>
                  <a:pt x="1680736" y="775797"/>
                </a:lnTo>
                <a:lnTo>
                  <a:pt x="1680736" y="778079"/>
                </a:lnTo>
                <a:lnTo>
                  <a:pt x="1680736" y="780361"/>
                </a:lnTo>
                <a:lnTo>
                  <a:pt x="1683020" y="782643"/>
                </a:lnTo>
                <a:lnTo>
                  <a:pt x="1683020" y="784925"/>
                </a:lnTo>
                <a:lnTo>
                  <a:pt x="1683020" y="782643"/>
                </a:lnTo>
                <a:lnTo>
                  <a:pt x="1685304" y="782643"/>
                </a:lnTo>
                <a:lnTo>
                  <a:pt x="1687587" y="784925"/>
                </a:lnTo>
                <a:lnTo>
                  <a:pt x="1687587" y="787207"/>
                </a:lnTo>
                <a:lnTo>
                  <a:pt x="1687587" y="789488"/>
                </a:lnTo>
                <a:lnTo>
                  <a:pt x="1687587" y="791770"/>
                </a:lnTo>
                <a:lnTo>
                  <a:pt x="1687587" y="794052"/>
                </a:lnTo>
                <a:lnTo>
                  <a:pt x="1692154" y="794052"/>
                </a:lnTo>
                <a:lnTo>
                  <a:pt x="1694438" y="794052"/>
                </a:lnTo>
                <a:lnTo>
                  <a:pt x="1705856" y="791770"/>
                </a:lnTo>
                <a:lnTo>
                  <a:pt x="1705856" y="794052"/>
                </a:lnTo>
                <a:lnTo>
                  <a:pt x="1705856" y="796334"/>
                </a:lnTo>
                <a:lnTo>
                  <a:pt x="1708140" y="800898"/>
                </a:lnTo>
                <a:lnTo>
                  <a:pt x="1705856" y="803180"/>
                </a:lnTo>
                <a:lnTo>
                  <a:pt x="1708140" y="803180"/>
                </a:lnTo>
                <a:lnTo>
                  <a:pt x="1708140" y="805462"/>
                </a:lnTo>
                <a:lnTo>
                  <a:pt x="1708140" y="812307"/>
                </a:lnTo>
                <a:lnTo>
                  <a:pt x="1708140" y="814589"/>
                </a:lnTo>
                <a:lnTo>
                  <a:pt x="1708140" y="816871"/>
                </a:lnTo>
                <a:lnTo>
                  <a:pt x="1710423" y="819153"/>
                </a:lnTo>
                <a:lnTo>
                  <a:pt x="1712716" y="819153"/>
                </a:lnTo>
                <a:lnTo>
                  <a:pt x="1712716" y="816871"/>
                </a:lnTo>
                <a:lnTo>
                  <a:pt x="1714990" y="816871"/>
                </a:lnTo>
                <a:lnTo>
                  <a:pt x="1717283" y="816871"/>
                </a:lnTo>
                <a:lnTo>
                  <a:pt x="1719558" y="816871"/>
                </a:lnTo>
                <a:lnTo>
                  <a:pt x="1721841" y="816871"/>
                </a:lnTo>
                <a:lnTo>
                  <a:pt x="1724134" y="816871"/>
                </a:lnTo>
                <a:lnTo>
                  <a:pt x="1724134" y="814589"/>
                </a:lnTo>
                <a:lnTo>
                  <a:pt x="1721841" y="814589"/>
                </a:lnTo>
                <a:lnTo>
                  <a:pt x="1724134" y="814589"/>
                </a:lnTo>
                <a:lnTo>
                  <a:pt x="1726408" y="814589"/>
                </a:lnTo>
                <a:lnTo>
                  <a:pt x="1726408" y="812307"/>
                </a:lnTo>
                <a:lnTo>
                  <a:pt x="1728701" y="812307"/>
                </a:lnTo>
                <a:lnTo>
                  <a:pt x="1730985" y="812307"/>
                </a:lnTo>
                <a:lnTo>
                  <a:pt x="1733268" y="812307"/>
                </a:lnTo>
                <a:lnTo>
                  <a:pt x="1735552" y="812307"/>
                </a:lnTo>
                <a:lnTo>
                  <a:pt x="1740119" y="810025"/>
                </a:lnTo>
                <a:lnTo>
                  <a:pt x="1746970" y="810025"/>
                </a:lnTo>
                <a:lnTo>
                  <a:pt x="1744687" y="803180"/>
                </a:lnTo>
                <a:lnTo>
                  <a:pt x="1742403" y="800898"/>
                </a:lnTo>
                <a:lnTo>
                  <a:pt x="1744687" y="798616"/>
                </a:lnTo>
                <a:lnTo>
                  <a:pt x="1744687" y="796334"/>
                </a:lnTo>
                <a:lnTo>
                  <a:pt x="1746970" y="794052"/>
                </a:lnTo>
                <a:lnTo>
                  <a:pt x="1744687" y="794052"/>
                </a:lnTo>
                <a:lnTo>
                  <a:pt x="1744687" y="791770"/>
                </a:lnTo>
                <a:lnTo>
                  <a:pt x="1749244" y="791770"/>
                </a:lnTo>
                <a:lnTo>
                  <a:pt x="1751537" y="794052"/>
                </a:lnTo>
                <a:lnTo>
                  <a:pt x="1756105" y="794052"/>
                </a:lnTo>
                <a:lnTo>
                  <a:pt x="1756105" y="796334"/>
                </a:lnTo>
                <a:lnTo>
                  <a:pt x="1758388" y="796334"/>
                </a:lnTo>
                <a:lnTo>
                  <a:pt x="1758388" y="798616"/>
                </a:lnTo>
                <a:lnTo>
                  <a:pt x="1760672" y="803180"/>
                </a:lnTo>
                <a:lnTo>
                  <a:pt x="1762946" y="805462"/>
                </a:lnTo>
                <a:lnTo>
                  <a:pt x="1760672" y="807744"/>
                </a:lnTo>
                <a:lnTo>
                  <a:pt x="1762946" y="810025"/>
                </a:lnTo>
                <a:lnTo>
                  <a:pt x="1767522" y="814589"/>
                </a:lnTo>
                <a:lnTo>
                  <a:pt x="1769806" y="816871"/>
                </a:lnTo>
                <a:lnTo>
                  <a:pt x="1772090" y="819153"/>
                </a:lnTo>
                <a:lnTo>
                  <a:pt x="1776657" y="823717"/>
                </a:lnTo>
                <a:lnTo>
                  <a:pt x="1778941" y="823717"/>
                </a:lnTo>
                <a:lnTo>
                  <a:pt x="1781224" y="819153"/>
                </a:lnTo>
                <a:lnTo>
                  <a:pt x="1781224" y="816871"/>
                </a:lnTo>
                <a:lnTo>
                  <a:pt x="1783508" y="816871"/>
                </a:lnTo>
                <a:lnTo>
                  <a:pt x="1785791" y="816871"/>
                </a:lnTo>
                <a:lnTo>
                  <a:pt x="1788075" y="816871"/>
                </a:lnTo>
                <a:lnTo>
                  <a:pt x="1790358" y="816871"/>
                </a:lnTo>
                <a:lnTo>
                  <a:pt x="1792642" y="816871"/>
                </a:lnTo>
                <a:lnTo>
                  <a:pt x="1794926" y="819153"/>
                </a:lnTo>
                <a:lnTo>
                  <a:pt x="1797209" y="819153"/>
                </a:lnTo>
                <a:lnTo>
                  <a:pt x="1799493" y="821435"/>
                </a:lnTo>
                <a:lnTo>
                  <a:pt x="1801777" y="821435"/>
                </a:lnTo>
                <a:lnTo>
                  <a:pt x="1804060" y="821435"/>
                </a:lnTo>
                <a:lnTo>
                  <a:pt x="1808627" y="823717"/>
                </a:lnTo>
                <a:lnTo>
                  <a:pt x="1810911" y="823717"/>
                </a:lnTo>
                <a:lnTo>
                  <a:pt x="1813195" y="823717"/>
                </a:lnTo>
                <a:lnTo>
                  <a:pt x="1815478" y="823717"/>
                </a:lnTo>
                <a:lnTo>
                  <a:pt x="1817762" y="823717"/>
                </a:lnTo>
                <a:lnTo>
                  <a:pt x="1820045" y="823717"/>
                </a:lnTo>
                <a:lnTo>
                  <a:pt x="1822329" y="823717"/>
                </a:lnTo>
                <a:lnTo>
                  <a:pt x="1824612" y="823717"/>
                </a:lnTo>
                <a:lnTo>
                  <a:pt x="1826896" y="823717"/>
                </a:lnTo>
                <a:lnTo>
                  <a:pt x="1829180" y="823717"/>
                </a:lnTo>
                <a:lnTo>
                  <a:pt x="1831463" y="823717"/>
                </a:lnTo>
                <a:lnTo>
                  <a:pt x="1831463" y="825999"/>
                </a:lnTo>
                <a:lnTo>
                  <a:pt x="1831463" y="828281"/>
                </a:lnTo>
                <a:lnTo>
                  <a:pt x="1831463" y="830563"/>
                </a:lnTo>
                <a:lnTo>
                  <a:pt x="1831463" y="832844"/>
                </a:lnTo>
                <a:lnTo>
                  <a:pt x="1831463" y="835126"/>
                </a:lnTo>
                <a:lnTo>
                  <a:pt x="1831463" y="839690"/>
                </a:lnTo>
                <a:lnTo>
                  <a:pt x="1831463" y="844254"/>
                </a:lnTo>
                <a:lnTo>
                  <a:pt x="1831463" y="848818"/>
                </a:lnTo>
                <a:lnTo>
                  <a:pt x="1831463" y="851100"/>
                </a:lnTo>
                <a:lnTo>
                  <a:pt x="1833747" y="851100"/>
                </a:lnTo>
                <a:lnTo>
                  <a:pt x="1838314" y="846536"/>
                </a:lnTo>
                <a:lnTo>
                  <a:pt x="1842881" y="841972"/>
                </a:lnTo>
                <a:lnTo>
                  <a:pt x="1842881" y="844254"/>
                </a:lnTo>
                <a:lnTo>
                  <a:pt x="1842881" y="846536"/>
                </a:lnTo>
                <a:lnTo>
                  <a:pt x="1842881" y="851100"/>
                </a:lnTo>
                <a:lnTo>
                  <a:pt x="1842881" y="855663"/>
                </a:lnTo>
                <a:lnTo>
                  <a:pt x="1838314" y="855663"/>
                </a:lnTo>
                <a:lnTo>
                  <a:pt x="1836031" y="857945"/>
                </a:lnTo>
                <a:lnTo>
                  <a:pt x="1838314" y="860227"/>
                </a:lnTo>
                <a:lnTo>
                  <a:pt x="1838314" y="862509"/>
                </a:lnTo>
                <a:lnTo>
                  <a:pt x="1836031" y="862509"/>
                </a:lnTo>
                <a:lnTo>
                  <a:pt x="1833747" y="862509"/>
                </a:lnTo>
                <a:lnTo>
                  <a:pt x="1833747" y="864791"/>
                </a:lnTo>
                <a:lnTo>
                  <a:pt x="1831463" y="864791"/>
                </a:lnTo>
                <a:lnTo>
                  <a:pt x="1831463" y="867073"/>
                </a:lnTo>
                <a:lnTo>
                  <a:pt x="1831463" y="869355"/>
                </a:lnTo>
                <a:lnTo>
                  <a:pt x="1833747" y="869355"/>
                </a:lnTo>
                <a:lnTo>
                  <a:pt x="1833747" y="871637"/>
                </a:lnTo>
                <a:lnTo>
                  <a:pt x="1836031" y="871637"/>
                </a:lnTo>
                <a:lnTo>
                  <a:pt x="1836031" y="873919"/>
                </a:lnTo>
                <a:lnTo>
                  <a:pt x="1836031" y="876200"/>
                </a:lnTo>
                <a:lnTo>
                  <a:pt x="1833747" y="876200"/>
                </a:lnTo>
                <a:lnTo>
                  <a:pt x="1833747" y="878482"/>
                </a:lnTo>
                <a:lnTo>
                  <a:pt x="1831463" y="878482"/>
                </a:lnTo>
                <a:lnTo>
                  <a:pt x="1829180" y="878482"/>
                </a:lnTo>
                <a:lnTo>
                  <a:pt x="1829180" y="876200"/>
                </a:lnTo>
                <a:lnTo>
                  <a:pt x="1826896" y="876200"/>
                </a:lnTo>
                <a:lnTo>
                  <a:pt x="1824612" y="876200"/>
                </a:lnTo>
                <a:lnTo>
                  <a:pt x="1822329" y="876200"/>
                </a:lnTo>
                <a:lnTo>
                  <a:pt x="1822329" y="878482"/>
                </a:lnTo>
                <a:lnTo>
                  <a:pt x="1820045" y="878482"/>
                </a:lnTo>
                <a:lnTo>
                  <a:pt x="1820045" y="880764"/>
                </a:lnTo>
                <a:lnTo>
                  <a:pt x="1817762" y="880764"/>
                </a:lnTo>
                <a:lnTo>
                  <a:pt x="1815478" y="880764"/>
                </a:lnTo>
                <a:lnTo>
                  <a:pt x="1815478" y="878482"/>
                </a:lnTo>
                <a:lnTo>
                  <a:pt x="1813195" y="878482"/>
                </a:lnTo>
                <a:lnTo>
                  <a:pt x="1810911" y="878482"/>
                </a:lnTo>
                <a:lnTo>
                  <a:pt x="1810911" y="880764"/>
                </a:lnTo>
                <a:lnTo>
                  <a:pt x="1808627" y="880764"/>
                </a:lnTo>
                <a:lnTo>
                  <a:pt x="1808627" y="883046"/>
                </a:lnTo>
                <a:lnTo>
                  <a:pt x="1806344" y="883046"/>
                </a:lnTo>
                <a:lnTo>
                  <a:pt x="1806344" y="885328"/>
                </a:lnTo>
                <a:lnTo>
                  <a:pt x="1808627" y="885328"/>
                </a:lnTo>
                <a:lnTo>
                  <a:pt x="1808627" y="887610"/>
                </a:lnTo>
                <a:lnTo>
                  <a:pt x="1810911" y="887610"/>
                </a:lnTo>
                <a:lnTo>
                  <a:pt x="1810911" y="889892"/>
                </a:lnTo>
                <a:lnTo>
                  <a:pt x="1810911" y="892174"/>
                </a:lnTo>
                <a:lnTo>
                  <a:pt x="1810911" y="894456"/>
                </a:lnTo>
                <a:lnTo>
                  <a:pt x="1808627" y="894456"/>
                </a:lnTo>
                <a:lnTo>
                  <a:pt x="1808627" y="896738"/>
                </a:lnTo>
                <a:lnTo>
                  <a:pt x="1808627" y="899019"/>
                </a:lnTo>
                <a:lnTo>
                  <a:pt x="1808627" y="901301"/>
                </a:lnTo>
                <a:lnTo>
                  <a:pt x="1808627" y="903583"/>
                </a:lnTo>
                <a:lnTo>
                  <a:pt x="1806344" y="903583"/>
                </a:lnTo>
                <a:lnTo>
                  <a:pt x="1804060" y="903583"/>
                </a:lnTo>
                <a:lnTo>
                  <a:pt x="1804060" y="905865"/>
                </a:lnTo>
                <a:lnTo>
                  <a:pt x="1801777" y="905865"/>
                </a:lnTo>
                <a:lnTo>
                  <a:pt x="1799493" y="905865"/>
                </a:lnTo>
                <a:lnTo>
                  <a:pt x="1799493" y="908147"/>
                </a:lnTo>
                <a:lnTo>
                  <a:pt x="1799493" y="910429"/>
                </a:lnTo>
                <a:lnTo>
                  <a:pt x="1797209" y="910429"/>
                </a:lnTo>
                <a:lnTo>
                  <a:pt x="1797209" y="912711"/>
                </a:lnTo>
                <a:lnTo>
                  <a:pt x="1797209" y="914983"/>
                </a:lnTo>
                <a:lnTo>
                  <a:pt x="1797209" y="917265"/>
                </a:lnTo>
                <a:lnTo>
                  <a:pt x="1797209" y="919556"/>
                </a:lnTo>
                <a:lnTo>
                  <a:pt x="1794926" y="919556"/>
                </a:lnTo>
                <a:lnTo>
                  <a:pt x="1794926" y="921829"/>
                </a:lnTo>
                <a:lnTo>
                  <a:pt x="1790358" y="921829"/>
                </a:lnTo>
                <a:lnTo>
                  <a:pt x="1790358" y="924111"/>
                </a:lnTo>
                <a:lnTo>
                  <a:pt x="1788075" y="924111"/>
                </a:lnTo>
                <a:lnTo>
                  <a:pt x="1785791" y="924111"/>
                </a:lnTo>
                <a:lnTo>
                  <a:pt x="1785791" y="926393"/>
                </a:lnTo>
                <a:lnTo>
                  <a:pt x="1783508" y="926393"/>
                </a:lnTo>
                <a:lnTo>
                  <a:pt x="1783508" y="928675"/>
                </a:lnTo>
                <a:lnTo>
                  <a:pt x="1783508" y="926393"/>
                </a:lnTo>
                <a:lnTo>
                  <a:pt x="1781224" y="928675"/>
                </a:lnTo>
                <a:lnTo>
                  <a:pt x="1778941" y="930957"/>
                </a:lnTo>
                <a:lnTo>
                  <a:pt x="1778941" y="933238"/>
                </a:lnTo>
                <a:lnTo>
                  <a:pt x="1776657" y="933238"/>
                </a:lnTo>
                <a:lnTo>
                  <a:pt x="1776657" y="935520"/>
                </a:lnTo>
                <a:lnTo>
                  <a:pt x="1774373" y="937802"/>
                </a:lnTo>
                <a:lnTo>
                  <a:pt x="1769806" y="937802"/>
                </a:lnTo>
                <a:lnTo>
                  <a:pt x="1767522" y="937802"/>
                </a:lnTo>
                <a:lnTo>
                  <a:pt x="1767522" y="935520"/>
                </a:lnTo>
                <a:lnTo>
                  <a:pt x="1767522" y="933238"/>
                </a:lnTo>
                <a:lnTo>
                  <a:pt x="1765239" y="933238"/>
                </a:lnTo>
                <a:lnTo>
                  <a:pt x="1765239" y="930957"/>
                </a:lnTo>
                <a:lnTo>
                  <a:pt x="1765239" y="928675"/>
                </a:lnTo>
                <a:lnTo>
                  <a:pt x="1762946" y="928675"/>
                </a:lnTo>
                <a:lnTo>
                  <a:pt x="1762946" y="926393"/>
                </a:lnTo>
                <a:lnTo>
                  <a:pt x="1760672" y="926393"/>
                </a:lnTo>
                <a:lnTo>
                  <a:pt x="1760672" y="928675"/>
                </a:lnTo>
                <a:lnTo>
                  <a:pt x="1758388" y="928675"/>
                </a:lnTo>
                <a:lnTo>
                  <a:pt x="1756105" y="928675"/>
                </a:lnTo>
                <a:lnTo>
                  <a:pt x="1756105" y="926393"/>
                </a:lnTo>
                <a:lnTo>
                  <a:pt x="1756105" y="924111"/>
                </a:lnTo>
                <a:lnTo>
                  <a:pt x="1753821" y="921829"/>
                </a:lnTo>
                <a:lnTo>
                  <a:pt x="1753821" y="919556"/>
                </a:lnTo>
                <a:lnTo>
                  <a:pt x="1751537" y="919556"/>
                </a:lnTo>
                <a:lnTo>
                  <a:pt x="1749244" y="919556"/>
                </a:lnTo>
                <a:lnTo>
                  <a:pt x="1749244" y="917265"/>
                </a:lnTo>
                <a:lnTo>
                  <a:pt x="1746970" y="917265"/>
                </a:lnTo>
                <a:lnTo>
                  <a:pt x="1746970" y="914983"/>
                </a:lnTo>
                <a:lnTo>
                  <a:pt x="1744687" y="914983"/>
                </a:lnTo>
                <a:lnTo>
                  <a:pt x="1746970" y="914983"/>
                </a:lnTo>
                <a:lnTo>
                  <a:pt x="1746970" y="912711"/>
                </a:lnTo>
                <a:lnTo>
                  <a:pt x="1746970" y="910429"/>
                </a:lnTo>
                <a:lnTo>
                  <a:pt x="1744687" y="910429"/>
                </a:lnTo>
                <a:lnTo>
                  <a:pt x="1744687" y="908147"/>
                </a:lnTo>
                <a:lnTo>
                  <a:pt x="1742403" y="908147"/>
                </a:lnTo>
                <a:lnTo>
                  <a:pt x="1740119" y="908147"/>
                </a:lnTo>
                <a:lnTo>
                  <a:pt x="1737836" y="908147"/>
                </a:lnTo>
                <a:lnTo>
                  <a:pt x="1735552" y="908147"/>
                </a:lnTo>
                <a:lnTo>
                  <a:pt x="1733268" y="908147"/>
                </a:lnTo>
                <a:lnTo>
                  <a:pt x="1730985" y="908147"/>
                </a:lnTo>
                <a:lnTo>
                  <a:pt x="1730985" y="910429"/>
                </a:lnTo>
                <a:lnTo>
                  <a:pt x="1730985" y="912711"/>
                </a:lnTo>
                <a:lnTo>
                  <a:pt x="1728701" y="912711"/>
                </a:lnTo>
                <a:lnTo>
                  <a:pt x="1728701" y="914983"/>
                </a:lnTo>
                <a:lnTo>
                  <a:pt x="1728701" y="917265"/>
                </a:lnTo>
                <a:lnTo>
                  <a:pt x="1728701" y="919556"/>
                </a:lnTo>
                <a:lnTo>
                  <a:pt x="1726408" y="919556"/>
                </a:lnTo>
                <a:lnTo>
                  <a:pt x="1724134" y="919556"/>
                </a:lnTo>
                <a:lnTo>
                  <a:pt x="1724134" y="921829"/>
                </a:lnTo>
                <a:lnTo>
                  <a:pt x="1721841" y="921829"/>
                </a:lnTo>
                <a:lnTo>
                  <a:pt x="1721841" y="924111"/>
                </a:lnTo>
                <a:lnTo>
                  <a:pt x="1719558" y="924111"/>
                </a:lnTo>
                <a:lnTo>
                  <a:pt x="1719558" y="926393"/>
                </a:lnTo>
                <a:lnTo>
                  <a:pt x="1719558" y="928675"/>
                </a:lnTo>
                <a:lnTo>
                  <a:pt x="1717283" y="928675"/>
                </a:lnTo>
                <a:lnTo>
                  <a:pt x="1717283" y="930957"/>
                </a:lnTo>
                <a:lnTo>
                  <a:pt x="1714990" y="930957"/>
                </a:lnTo>
                <a:lnTo>
                  <a:pt x="1714990" y="933238"/>
                </a:lnTo>
                <a:lnTo>
                  <a:pt x="1712716" y="933238"/>
                </a:lnTo>
                <a:lnTo>
                  <a:pt x="1710423" y="933238"/>
                </a:lnTo>
                <a:lnTo>
                  <a:pt x="1710423" y="935520"/>
                </a:lnTo>
                <a:lnTo>
                  <a:pt x="1708140" y="935520"/>
                </a:lnTo>
                <a:lnTo>
                  <a:pt x="1708140" y="937802"/>
                </a:lnTo>
                <a:lnTo>
                  <a:pt x="1705856" y="937802"/>
                </a:lnTo>
                <a:lnTo>
                  <a:pt x="1705856" y="940084"/>
                </a:lnTo>
                <a:lnTo>
                  <a:pt x="1705856" y="942366"/>
                </a:lnTo>
                <a:lnTo>
                  <a:pt x="1703572" y="944648"/>
                </a:lnTo>
                <a:lnTo>
                  <a:pt x="1701289" y="944648"/>
                </a:lnTo>
                <a:lnTo>
                  <a:pt x="1701289" y="946930"/>
                </a:lnTo>
                <a:lnTo>
                  <a:pt x="1699005" y="946930"/>
                </a:lnTo>
                <a:lnTo>
                  <a:pt x="1699005" y="949212"/>
                </a:lnTo>
                <a:lnTo>
                  <a:pt x="1699005" y="951494"/>
                </a:lnTo>
                <a:lnTo>
                  <a:pt x="1699005" y="953775"/>
                </a:lnTo>
                <a:lnTo>
                  <a:pt x="1699005" y="956057"/>
                </a:lnTo>
                <a:lnTo>
                  <a:pt x="1699005" y="958339"/>
                </a:lnTo>
                <a:lnTo>
                  <a:pt x="1696721" y="958339"/>
                </a:lnTo>
                <a:lnTo>
                  <a:pt x="1696721" y="960621"/>
                </a:lnTo>
                <a:lnTo>
                  <a:pt x="1694438" y="960621"/>
                </a:lnTo>
                <a:lnTo>
                  <a:pt x="1694438" y="958339"/>
                </a:lnTo>
                <a:lnTo>
                  <a:pt x="1692154" y="958339"/>
                </a:lnTo>
                <a:lnTo>
                  <a:pt x="1689871" y="958339"/>
                </a:lnTo>
                <a:lnTo>
                  <a:pt x="1687587" y="958339"/>
                </a:lnTo>
                <a:lnTo>
                  <a:pt x="1687587" y="956057"/>
                </a:lnTo>
                <a:lnTo>
                  <a:pt x="1685304" y="956057"/>
                </a:lnTo>
                <a:lnTo>
                  <a:pt x="1685304" y="953775"/>
                </a:lnTo>
                <a:lnTo>
                  <a:pt x="1685304" y="951494"/>
                </a:lnTo>
                <a:lnTo>
                  <a:pt x="1687587" y="951494"/>
                </a:lnTo>
                <a:lnTo>
                  <a:pt x="1687587" y="949212"/>
                </a:lnTo>
                <a:lnTo>
                  <a:pt x="1687587" y="946930"/>
                </a:lnTo>
                <a:lnTo>
                  <a:pt x="1687587" y="944648"/>
                </a:lnTo>
                <a:lnTo>
                  <a:pt x="1687587" y="942366"/>
                </a:lnTo>
                <a:lnTo>
                  <a:pt x="1687587" y="940084"/>
                </a:lnTo>
                <a:lnTo>
                  <a:pt x="1687587" y="937802"/>
                </a:lnTo>
                <a:lnTo>
                  <a:pt x="1685304" y="937802"/>
                </a:lnTo>
                <a:lnTo>
                  <a:pt x="1683020" y="935520"/>
                </a:lnTo>
                <a:lnTo>
                  <a:pt x="1683020" y="937802"/>
                </a:lnTo>
                <a:lnTo>
                  <a:pt x="1680736" y="937802"/>
                </a:lnTo>
                <a:lnTo>
                  <a:pt x="1678453" y="940084"/>
                </a:lnTo>
                <a:lnTo>
                  <a:pt x="1678453" y="942366"/>
                </a:lnTo>
                <a:lnTo>
                  <a:pt x="1676169" y="942366"/>
                </a:lnTo>
                <a:lnTo>
                  <a:pt x="1673886" y="944648"/>
                </a:lnTo>
                <a:lnTo>
                  <a:pt x="1671602" y="944648"/>
                </a:lnTo>
                <a:lnTo>
                  <a:pt x="1671602" y="942366"/>
                </a:lnTo>
                <a:lnTo>
                  <a:pt x="1669319" y="942366"/>
                </a:lnTo>
                <a:lnTo>
                  <a:pt x="1667035" y="940084"/>
                </a:lnTo>
                <a:lnTo>
                  <a:pt x="1664751" y="940084"/>
                </a:lnTo>
                <a:lnTo>
                  <a:pt x="1664751" y="937802"/>
                </a:lnTo>
                <a:lnTo>
                  <a:pt x="1662468" y="937802"/>
                </a:lnTo>
                <a:lnTo>
                  <a:pt x="1660184" y="937802"/>
                </a:lnTo>
                <a:lnTo>
                  <a:pt x="1657900" y="937802"/>
                </a:lnTo>
                <a:lnTo>
                  <a:pt x="1657900" y="940084"/>
                </a:lnTo>
                <a:lnTo>
                  <a:pt x="1655617" y="940084"/>
                </a:lnTo>
                <a:lnTo>
                  <a:pt x="1653333" y="942366"/>
                </a:lnTo>
                <a:lnTo>
                  <a:pt x="1651050" y="942366"/>
                </a:lnTo>
                <a:lnTo>
                  <a:pt x="1648766" y="942366"/>
                </a:lnTo>
                <a:lnTo>
                  <a:pt x="1646482" y="942366"/>
                </a:lnTo>
                <a:lnTo>
                  <a:pt x="1644199" y="942366"/>
                </a:lnTo>
                <a:lnTo>
                  <a:pt x="1641915" y="942366"/>
                </a:lnTo>
                <a:lnTo>
                  <a:pt x="1639632" y="942366"/>
                </a:lnTo>
                <a:lnTo>
                  <a:pt x="1637348" y="942366"/>
                </a:lnTo>
                <a:lnTo>
                  <a:pt x="1635064" y="942366"/>
                </a:lnTo>
                <a:lnTo>
                  <a:pt x="1632781" y="942366"/>
                </a:lnTo>
                <a:lnTo>
                  <a:pt x="1630497" y="942366"/>
                </a:lnTo>
                <a:lnTo>
                  <a:pt x="1630497" y="940084"/>
                </a:lnTo>
                <a:lnTo>
                  <a:pt x="1628214" y="940084"/>
                </a:lnTo>
                <a:lnTo>
                  <a:pt x="1625930" y="940084"/>
                </a:lnTo>
                <a:lnTo>
                  <a:pt x="1623646" y="940084"/>
                </a:lnTo>
                <a:lnTo>
                  <a:pt x="1623646" y="937802"/>
                </a:lnTo>
                <a:lnTo>
                  <a:pt x="1621363" y="937802"/>
                </a:lnTo>
                <a:lnTo>
                  <a:pt x="1621363" y="935520"/>
                </a:lnTo>
                <a:lnTo>
                  <a:pt x="1619079" y="935520"/>
                </a:lnTo>
                <a:lnTo>
                  <a:pt x="1616796" y="935520"/>
                </a:lnTo>
                <a:lnTo>
                  <a:pt x="1616796" y="933238"/>
                </a:lnTo>
                <a:lnTo>
                  <a:pt x="1614512" y="933238"/>
                </a:lnTo>
                <a:lnTo>
                  <a:pt x="1612229" y="933238"/>
                </a:lnTo>
                <a:lnTo>
                  <a:pt x="1612229" y="930957"/>
                </a:lnTo>
                <a:lnTo>
                  <a:pt x="1609945" y="930957"/>
                </a:lnTo>
                <a:lnTo>
                  <a:pt x="1607661" y="930957"/>
                </a:lnTo>
                <a:lnTo>
                  <a:pt x="1607661" y="928675"/>
                </a:lnTo>
                <a:lnTo>
                  <a:pt x="1605378" y="928675"/>
                </a:lnTo>
                <a:lnTo>
                  <a:pt x="1605378" y="926393"/>
                </a:lnTo>
                <a:lnTo>
                  <a:pt x="1603094" y="926393"/>
                </a:lnTo>
                <a:lnTo>
                  <a:pt x="1603094" y="924111"/>
                </a:lnTo>
                <a:lnTo>
                  <a:pt x="1600810" y="924111"/>
                </a:lnTo>
                <a:lnTo>
                  <a:pt x="1600810" y="921829"/>
                </a:lnTo>
                <a:lnTo>
                  <a:pt x="1603094" y="921829"/>
                </a:lnTo>
                <a:lnTo>
                  <a:pt x="1603094" y="919556"/>
                </a:lnTo>
                <a:lnTo>
                  <a:pt x="1603094" y="917265"/>
                </a:lnTo>
                <a:lnTo>
                  <a:pt x="1600810" y="917265"/>
                </a:lnTo>
                <a:lnTo>
                  <a:pt x="1600810" y="914983"/>
                </a:lnTo>
                <a:lnTo>
                  <a:pt x="1598527" y="914983"/>
                </a:lnTo>
                <a:lnTo>
                  <a:pt x="1598527" y="917265"/>
                </a:lnTo>
                <a:lnTo>
                  <a:pt x="1596243" y="917265"/>
                </a:lnTo>
                <a:lnTo>
                  <a:pt x="1596243" y="919556"/>
                </a:lnTo>
                <a:lnTo>
                  <a:pt x="1593960" y="919556"/>
                </a:lnTo>
                <a:lnTo>
                  <a:pt x="1593960" y="921829"/>
                </a:lnTo>
                <a:lnTo>
                  <a:pt x="1593960" y="924111"/>
                </a:lnTo>
                <a:lnTo>
                  <a:pt x="1591676" y="926393"/>
                </a:lnTo>
                <a:lnTo>
                  <a:pt x="1591676" y="928675"/>
                </a:lnTo>
                <a:lnTo>
                  <a:pt x="1591676" y="930957"/>
                </a:lnTo>
                <a:lnTo>
                  <a:pt x="1591676" y="933238"/>
                </a:lnTo>
                <a:lnTo>
                  <a:pt x="1591676" y="935520"/>
                </a:lnTo>
                <a:lnTo>
                  <a:pt x="1591676" y="937802"/>
                </a:lnTo>
                <a:lnTo>
                  <a:pt x="1593960" y="937802"/>
                </a:lnTo>
                <a:lnTo>
                  <a:pt x="1593960" y="940084"/>
                </a:lnTo>
                <a:lnTo>
                  <a:pt x="1593960" y="942366"/>
                </a:lnTo>
                <a:lnTo>
                  <a:pt x="1591676" y="942366"/>
                </a:lnTo>
                <a:lnTo>
                  <a:pt x="1591676" y="944648"/>
                </a:lnTo>
                <a:lnTo>
                  <a:pt x="1591676" y="946930"/>
                </a:lnTo>
                <a:lnTo>
                  <a:pt x="1593960" y="946930"/>
                </a:lnTo>
                <a:lnTo>
                  <a:pt x="1593960" y="949212"/>
                </a:lnTo>
                <a:lnTo>
                  <a:pt x="1593960" y="951494"/>
                </a:lnTo>
                <a:lnTo>
                  <a:pt x="1593960" y="953775"/>
                </a:lnTo>
                <a:lnTo>
                  <a:pt x="1591676" y="953775"/>
                </a:lnTo>
                <a:lnTo>
                  <a:pt x="1591676" y="956057"/>
                </a:lnTo>
                <a:lnTo>
                  <a:pt x="1591676" y="958339"/>
                </a:lnTo>
                <a:lnTo>
                  <a:pt x="1591676" y="956057"/>
                </a:lnTo>
                <a:lnTo>
                  <a:pt x="1589392" y="956057"/>
                </a:lnTo>
                <a:lnTo>
                  <a:pt x="1589392" y="953775"/>
                </a:lnTo>
                <a:lnTo>
                  <a:pt x="1587109" y="953775"/>
                </a:lnTo>
                <a:lnTo>
                  <a:pt x="1587109" y="951494"/>
                </a:lnTo>
                <a:lnTo>
                  <a:pt x="1587109" y="949212"/>
                </a:lnTo>
                <a:lnTo>
                  <a:pt x="1587109" y="946930"/>
                </a:lnTo>
                <a:lnTo>
                  <a:pt x="1587109" y="944648"/>
                </a:lnTo>
                <a:lnTo>
                  <a:pt x="1584825" y="944648"/>
                </a:lnTo>
                <a:lnTo>
                  <a:pt x="1584825" y="942366"/>
                </a:lnTo>
                <a:lnTo>
                  <a:pt x="1582542" y="942366"/>
                </a:lnTo>
                <a:lnTo>
                  <a:pt x="1580258" y="942366"/>
                </a:lnTo>
                <a:lnTo>
                  <a:pt x="1577975" y="942366"/>
                </a:lnTo>
                <a:lnTo>
                  <a:pt x="1575691" y="942366"/>
                </a:lnTo>
                <a:lnTo>
                  <a:pt x="1575691" y="940084"/>
                </a:lnTo>
                <a:lnTo>
                  <a:pt x="1575691" y="937802"/>
                </a:lnTo>
                <a:lnTo>
                  <a:pt x="1573407" y="937802"/>
                </a:lnTo>
                <a:lnTo>
                  <a:pt x="1573407" y="935520"/>
                </a:lnTo>
                <a:lnTo>
                  <a:pt x="1571124" y="935520"/>
                </a:lnTo>
                <a:lnTo>
                  <a:pt x="1568840" y="935520"/>
                </a:lnTo>
                <a:lnTo>
                  <a:pt x="1568840" y="937802"/>
                </a:lnTo>
                <a:lnTo>
                  <a:pt x="1566556" y="937802"/>
                </a:lnTo>
                <a:lnTo>
                  <a:pt x="1566556" y="940084"/>
                </a:lnTo>
                <a:lnTo>
                  <a:pt x="1566556" y="942366"/>
                </a:lnTo>
                <a:lnTo>
                  <a:pt x="1564273" y="942366"/>
                </a:lnTo>
                <a:lnTo>
                  <a:pt x="1564273" y="944648"/>
                </a:lnTo>
                <a:lnTo>
                  <a:pt x="1561989" y="944648"/>
                </a:lnTo>
                <a:lnTo>
                  <a:pt x="1559706" y="946930"/>
                </a:lnTo>
                <a:lnTo>
                  <a:pt x="1557422" y="946930"/>
                </a:lnTo>
                <a:lnTo>
                  <a:pt x="1555139" y="946930"/>
                </a:lnTo>
                <a:lnTo>
                  <a:pt x="1555139" y="949212"/>
                </a:lnTo>
                <a:lnTo>
                  <a:pt x="1552855" y="949212"/>
                </a:lnTo>
                <a:lnTo>
                  <a:pt x="1550571" y="949212"/>
                </a:lnTo>
                <a:lnTo>
                  <a:pt x="1550571" y="946930"/>
                </a:lnTo>
                <a:lnTo>
                  <a:pt x="1550571" y="944648"/>
                </a:lnTo>
                <a:lnTo>
                  <a:pt x="1550571" y="942366"/>
                </a:lnTo>
                <a:lnTo>
                  <a:pt x="1550571" y="940084"/>
                </a:lnTo>
                <a:lnTo>
                  <a:pt x="1548288" y="940084"/>
                </a:lnTo>
                <a:lnTo>
                  <a:pt x="1548288" y="942366"/>
                </a:lnTo>
                <a:lnTo>
                  <a:pt x="1546004" y="942366"/>
                </a:lnTo>
                <a:lnTo>
                  <a:pt x="1543721" y="944648"/>
                </a:lnTo>
                <a:lnTo>
                  <a:pt x="1541437" y="944648"/>
                </a:lnTo>
                <a:lnTo>
                  <a:pt x="1541437" y="946930"/>
                </a:lnTo>
                <a:lnTo>
                  <a:pt x="1539153" y="946930"/>
                </a:lnTo>
                <a:lnTo>
                  <a:pt x="1536870" y="946930"/>
                </a:lnTo>
                <a:lnTo>
                  <a:pt x="1534586" y="946930"/>
                </a:lnTo>
                <a:lnTo>
                  <a:pt x="1534586" y="949212"/>
                </a:lnTo>
                <a:lnTo>
                  <a:pt x="1532302" y="949212"/>
                </a:lnTo>
                <a:lnTo>
                  <a:pt x="1532302" y="951494"/>
                </a:lnTo>
                <a:lnTo>
                  <a:pt x="1530019" y="951494"/>
                </a:lnTo>
                <a:lnTo>
                  <a:pt x="1530019" y="953775"/>
                </a:lnTo>
                <a:lnTo>
                  <a:pt x="1527735" y="953775"/>
                </a:lnTo>
                <a:lnTo>
                  <a:pt x="1525452" y="953775"/>
                </a:lnTo>
                <a:lnTo>
                  <a:pt x="1523168" y="953775"/>
                </a:lnTo>
                <a:lnTo>
                  <a:pt x="1523168" y="956057"/>
                </a:lnTo>
                <a:lnTo>
                  <a:pt x="1520885" y="956057"/>
                </a:lnTo>
                <a:lnTo>
                  <a:pt x="1518601" y="956057"/>
                </a:lnTo>
                <a:lnTo>
                  <a:pt x="1516317" y="956057"/>
                </a:lnTo>
                <a:lnTo>
                  <a:pt x="1516317" y="958339"/>
                </a:lnTo>
                <a:lnTo>
                  <a:pt x="1514034" y="958339"/>
                </a:lnTo>
                <a:lnTo>
                  <a:pt x="1514034" y="960621"/>
                </a:lnTo>
                <a:lnTo>
                  <a:pt x="1514034" y="962903"/>
                </a:lnTo>
                <a:lnTo>
                  <a:pt x="1511750" y="962903"/>
                </a:lnTo>
                <a:lnTo>
                  <a:pt x="1511750" y="965185"/>
                </a:lnTo>
                <a:lnTo>
                  <a:pt x="1511750" y="967467"/>
                </a:lnTo>
                <a:lnTo>
                  <a:pt x="1511750" y="969749"/>
                </a:lnTo>
                <a:lnTo>
                  <a:pt x="1511750" y="972031"/>
                </a:lnTo>
                <a:lnTo>
                  <a:pt x="1509467" y="972031"/>
                </a:lnTo>
                <a:lnTo>
                  <a:pt x="1509467" y="974313"/>
                </a:lnTo>
                <a:lnTo>
                  <a:pt x="1507183" y="974313"/>
                </a:lnTo>
                <a:lnTo>
                  <a:pt x="1507183" y="976594"/>
                </a:lnTo>
                <a:lnTo>
                  <a:pt x="1504900" y="976594"/>
                </a:lnTo>
                <a:lnTo>
                  <a:pt x="1504900" y="974313"/>
                </a:lnTo>
                <a:lnTo>
                  <a:pt x="1502616" y="974313"/>
                </a:lnTo>
                <a:lnTo>
                  <a:pt x="1502616" y="972031"/>
                </a:lnTo>
                <a:lnTo>
                  <a:pt x="1502616" y="969749"/>
                </a:lnTo>
                <a:lnTo>
                  <a:pt x="1502616" y="967467"/>
                </a:lnTo>
                <a:lnTo>
                  <a:pt x="1500332" y="967467"/>
                </a:lnTo>
                <a:lnTo>
                  <a:pt x="1500332" y="965185"/>
                </a:lnTo>
                <a:lnTo>
                  <a:pt x="1498049" y="965185"/>
                </a:lnTo>
                <a:lnTo>
                  <a:pt x="1495765" y="965185"/>
                </a:lnTo>
                <a:lnTo>
                  <a:pt x="1493481" y="965185"/>
                </a:lnTo>
                <a:lnTo>
                  <a:pt x="1493481" y="967467"/>
                </a:lnTo>
                <a:lnTo>
                  <a:pt x="1491198" y="967467"/>
                </a:lnTo>
                <a:lnTo>
                  <a:pt x="1488914" y="967467"/>
                </a:lnTo>
                <a:lnTo>
                  <a:pt x="1488914" y="969749"/>
                </a:lnTo>
                <a:lnTo>
                  <a:pt x="1486631" y="969749"/>
                </a:lnTo>
                <a:lnTo>
                  <a:pt x="1484347" y="969749"/>
                </a:lnTo>
                <a:lnTo>
                  <a:pt x="1482063" y="969749"/>
                </a:lnTo>
                <a:lnTo>
                  <a:pt x="1479780" y="969749"/>
                </a:lnTo>
                <a:lnTo>
                  <a:pt x="1479780" y="972031"/>
                </a:lnTo>
                <a:lnTo>
                  <a:pt x="1479780" y="974313"/>
                </a:lnTo>
                <a:lnTo>
                  <a:pt x="1479780" y="976594"/>
                </a:lnTo>
                <a:lnTo>
                  <a:pt x="1479780" y="978876"/>
                </a:lnTo>
                <a:lnTo>
                  <a:pt x="1477496" y="978876"/>
                </a:lnTo>
                <a:lnTo>
                  <a:pt x="1477496" y="981158"/>
                </a:lnTo>
                <a:lnTo>
                  <a:pt x="1475213" y="981158"/>
                </a:lnTo>
                <a:lnTo>
                  <a:pt x="1472929" y="981158"/>
                </a:lnTo>
                <a:lnTo>
                  <a:pt x="1472929" y="983440"/>
                </a:lnTo>
                <a:lnTo>
                  <a:pt x="1470646" y="983440"/>
                </a:lnTo>
                <a:lnTo>
                  <a:pt x="1470646" y="985722"/>
                </a:lnTo>
                <a:lnTo>
                  <a:pt x="1468362" y="985722"/>
                </a:lnTo>
                <a:lnTo>
                  <a:pt x="1468362" y="988004"/>
                </a:lnTo>
                <a:lnTo>
                  <a:pt x="1468362" y="990286"/>
                </a:lnTo>
                <a:lnTo>
                  <a:pt x="1466078" y="990286"/>
                </a:lnTo>
                <a:lnTo>
                  <a:pt x="1466078" y="992568"/>
                </a:lnTo>
                <a:lnTo>
                  <a:pt x="1468362" y="992568"/>
                </a:lnTo>
                <a:lnTo>
                  <a:pt x="1468362" y="994850"/>
                </a:lnTo>
                <a:lnTo>
                  <a:pt x="1470646" y="994850"/>
                </a:lnTo>
                <a:lnTo>
                  <a:pt x="1470646" y="997131"/>
                </a:lnTo>
                <a:lnTo>
                  <a:pt x="1470646" y="999413"/>
                </a:lnTo>
                <a:lnTo>
                  <a:pt x="1470646" y="1001695"/>
                </a:lnTo>
                <a:lnTo>
                  <a:pt x="1470646" y="1003977"/>
                </a:lnTo>
                <a:lnTo>
                  <a:pt x="1470646" y="1006259"/>
                </a:lnTo>
                <a:lnTo>
                  <a:pt x="1468362" y="1006259"/>
                </a:lnTo>
                <a:lnTo>
                  <a:pt x="1468362" y="1008541"/>
                </a:lnTo>
                <a:lnTo>
                  <a:pt x="1468362" y="1010823"/>
                </a:lnTo>
                <a:lnTo>
                  <a:pt x="1468362" y="1013105"/>
                </a:lnTo>
                <a:lnTo>
                  <a:pt x="1466078" y="1013105"/>
                </a:lnTo>
                <a:lnTo>
                  <a:pt x="1466078" y="1010823"/>
                </a:lnTo>
                <a:lnTo>
                  <a:pt x="1463795" y="1010823"/>
                </a:lnTo>
                <a:lnTo>
                  <a:pt x="1461511" y="1010823"/>
                </a:lnTo>
                <a:lnTo>
                  <a:pt x="1459227" y="1010823"/>
                </a:lnTo>
                <a:lnTo>
                  <a:pt x="1459227" y="1008541"/>
                </a:lnTo>
                <a:lnTo>
                  <a:pt x="1456944" y="1008541"/>
                </a:lnTo>
                <a:lnTo>
                  <a:pt x="1454660" y="1008541"/>
                </a:lnTo>
                <a:lnTo>
                  <a:pt x="1454660" y="1006259"/>
                </a:lnTo>
                <a:lnTo>
                  <a:pt x="1452377" y="1006259"/>
                </a:lnTo>
                <a:lnTo>
                  <a:pt x="1450093" y="1006259"/>
                </a:lnTo>
                <a:lnTo>
                  <a:pt x="1447810" y="1006259"/>
                </a:lnTo>
                <a:lnTo>
                  <a:pt x="1445526" y="1006259"/>
                </a:lnTo>
                <a:lnTo>
                  <a:pt x="1445526" y="1008541"/>
                </a:lnTo>
                <a:lnTo>
                  <a:pt x="1445526" y="1010823"/>
                </a:lnTo>
                <a:lnTo>
                  <a:pt x="1445526" y="1013105"/>
                </a:lnTo>
                <a:lnTo>
                  <a:pt x="1443242" y="1013105"/>
                </a:lnTo>
                <a:lnTo>
                  <a:pt x="1443242" y="1015387"/>
                </a:lnTo>
                <a:lnTo>
                  <a:pt x="1443242" y="1017669"/>
                </a:lnTo>
                <a:lnTo>
                  <a:pt x="1440959" y="1017669"/>
                </a:lnTo>
                <a:lnTo>
                  <a:pt x="1440959" y="1019950"/>
                </a:lnTo>
                <a:lnTo>
                  <a:pt x="1438675" y="1019950"/>
                </a:lnTo>
                <a:lnTo>
                  <a:pt x="1438675" y="1022232"/>
                </a:lnTo>
                <a:lnTo>
                  <a:pt x="1436392" y="1022232"/>
                </a:lnTo>
                <a:lnTo>
                  <a:pt x="1434108" y="1022232"/>
                </a:lnTo>
                <a:lnTo>
                  <a:pt x="1431824" y="1022232"/>
                </a:lnTo>
                <a:lnTo>
                  <a:pt x="1429541" y="1022232"/>
                </a:lnTo>
                <a:lnTo>
                  <a:pt x="1429541" y="1024514"/>
                </a:lnTo>
                <a:lnTo>
                  <a:pt x="1429541" y="1026796"/>
                </a:lnTo>
                <a:lnTo>
                  <a:pt x="1429541" y="1029078"/>
                </a:lnTo>
                <a:lnTo>
                  <a:pt x="1427257" y="1029078"/>
                </a:lnTo>
                <a:lnTo>
                  <a:pt x="1427257" y="1031360"/>
                </a:lnTo>
                <a:lnTo>
                  <a:pt x="1424973" y="1031360"/>
                </a:lnTo>
                <a:lnTo>
                  <a:pt x="1424973" y="1033642"/>
                </a:lnTo>
                <a:lnTo>
                  <a:pt x="1422690" y="1033642"/>
                </a:lnTo>
                <a:lnTo>
                  <a:pt x="1420406" y="1033642"/>
                </a:lnTo>
                <a:lnTo>
                  <a:pt x="1420406" y="1031360"/>
                </a:lnTo>
                <a:lnTo>
                  <a:pt x="1418123" y="1031360"/>
                </a:lnTo>
                <a:lnTo>
                  <a:pt x="1415839" y="1031360"/>
                </a:lnTo>
                <a:lnTo>
                  <a:pt x="1415839" y="1029078"/>
                </a:lnTo>
                <a:lnTo>
                  <a:pt x="1413556" y="1029078"/>
                </a:lnTo>
                <a:lnTo>
                  <a:pt x="1411272" y="1029078"/>
                </a:lnTo>
                <a:lnTo>
                  <a:pt x="1411272" y="1031360"/>
                </a:lnTo>
                <a:lnTo>
                  <a:pt x="1408988" y="1031360"/>
                </a:lnTo>
                <a:lnTo>
                  <a:pt x="1408988" y="1033642"/>
                </a:lnTo>
                <a:lnTo>
                  <a:pt x="1408988" y="1035924"/>
                </a:lnTo>
                <a:lnTo>
                  <a:pt x="1408988" y="1038206"/>
                </a:lnTo>
                <a:lnTo>
                  <a:pt x="1406705" y="1038206"/>
                </a:lnTo>
                <a:lnTo>
                  <a:pt x="1406705" y="1040488"/>
                </a:lnTo>
                <a:lnTo>
                  <a:pt x="1408988" y="1040488"/>
                </a:lnTo>
                <a:lnTo>
                  <a:pt x="1408988" y="1042769"/>
                </a:lnTo>
                <a:lnTo>
                  <a:pt x="1411272" y="1042769"/>
                </a:lnTo>
                <a:lnTo>
                  <a:pt x="1411272" y="1045051"/>
                </a:lnTo>
                <a:lnTo>
                  <a:pt x="1413556" y="1047333"/>
                </a:lnTo>
                <a:lnTo>
                  <a:pt x="1413556" y="1049615"/>
                </a:lnTo>
                <a:lnTo>
                  <a:pt x="1413556" y="1051897"/>
                </a:lnTo>
                <a:lnTo>
                  <a:pt x="1413556" y="1054179"/>
                </a:lnTo>
                <a:lnTo>
                  <a:pt x="1415839" y="1054179"/>
                </a:lnTo>
                <a:lnTo>
                  <a:pt x="1415839" y="1056461"/>
                </a:lnTo>
                <a:lnTo>
                  <a:pt x="1415839" y="1058743"/>
                </a:lnTo>
                <a:lnTo>
                  <a:pt x="1418123" y="1058743"/>
                </a:lnTo>
                <a:lnTo>
                  <a:pt x="1420406" y="1058743"/>
                </a:lnTo>
                <a:lnTo>
                  <a:pt x="1420406" y="1061025"/>
                </a:lnTo>
                <a:lnTo>
                  <a:pt x="1422690" y="1061025"/>
                </a:lnTo>
                <a:lnTo>
                  <a:pt x="1422690" y="1063306"/>
                </a:lnTo>
                <a:lnTo>
                  <a:pt x="1424973" y="1063306"/>
                </a:lnTo>
                <a:lnTo>
                  <a:pt x="1424973" y="1065588"/>
                </a:lnTo>
                <a:lnTo>
                  <a:pt x="1427257" y="1065588"/>
                </a:lnTo>
                <a:lnTo>
                  <a:pt x="1427257" y="1067870"/>
                </a:lnTo>
                <a:lnTo>
                  <a:pt x="1429541" y="1067870"/>
                </a:lnTo>
                <a:lnTo>
                  <a:pt x="1429541" y="1070143"/>
                </a:lnTo>
                <a:lnTo>
                  <a:pt x="1431824" y="1070143"/>
                </a:lnTo>
                <a:lnTo>
                  <a:pt x="1434108" y="1070143"/>
                </a:lnTo>
                <a:lnTo>
                  <a:pt x="1434108" y="1072434"/>
                </a:lnTo>
                <a:lnTo>
                  <a:pt x="1434108" y="1074716"/>
                </a:lnTo>
                <a:lnTo>
                  <a:pt x="1436392" y="1074716"/>
                </a:lnTo>
                <a:lnTo>
                  <a:pt x="1436392" y="1076988"/>
                </a:lnTo>
                <a:lnTo>
                  <a:pt x="1436392" y="1079270"/>
                </a:lnTo>
                <a:lnTo>
                  <a:pt x="1436392" y="1081552"/>
                </a:lnTo>
                <a:lnTo>
                  <a:pt x="1434108" y="1081552"/>
                </a:lnTo>
                <a:lnTo>
                  <a:pt x="1434108" y="1083834"/>
                </a:lnTo>
                <a:lnTo>
                  <a:pt x="1434108" y="1086116"/>
                </a:lnTo>
                <a:lnTo>
                  <a:pt x="1434108" y="1088398"/>
                </a:lnTo>
                <a:lnTo>
                  <a:pt x="1434108" y="1090680"/>
                </a:lnTo>
                <a:lnTo>
                  <a:pt x="1434108" y="1092962"/>
                </a:lnTo>
                <a:lnTo>
                  <a:pt x="1434108" y="1095243"/>
                </a:lnTo>
                <a:lnTo>
                  <a:pt x="1434108" y="1097525"/>
                </a:lnTo>
                <a:lnTo>
                  <a:pt x="1434108" y="1099807"/>
                </a:lnTo>
                <a:lnTo>
                  <a:pt x="1431824" y="1099807"/>
                </a:lnTo>
                <a:lnTo>
                  <a:pt x="1431824" y="1102089"/>
                </a:lnTo>
                <a:lnTo>
                  <a:pt x="1429541" y="1102089"/>
                </a:lnTo>
                <a:lnTo>
                  <a:pt x="1429541" y="1099807"/>
                </a:lnTo>
                <a:lnTo>
                  <a:pt x="1431824" y="1097525"/>
                </a:lnTo>
                <a:lnTo>
                  <a:pt x="1431824" y="1095243"/>
                </a:lnTo>
                <a:lnTo>
                  <a:pt x="1429541" y="1095243"/>
                </a:lnTo>
                <a:lnTo>
                  <a:pt x="1427257" y="1095243"/>
                </a:lnTo>
                <a:lnTo>
                  <a:pt x="1427257" y="1097525"/>
                </a:lnTo>
                <a:lnTo>
                  <a:pt x="1424973" y="1097525"/>
                </a:lnTo>
                <a:lnTo>
                  <a:pt x="1424973" y="1099807"/>
                </a:lnTo>
                <a:lnTo>
                  <a:pt x="1422690" y="1099807"/>
                </a:lnTo>
                <a:lnTo>
                  <a:pt x="1422690" y="1102089"/>
                </a:lnTo>
                <a:lnTo>
                  <a:pt x="1422690" y="1104371"/>
                </a:lnTo>
                <a:lnTo>
                  <a:pt x="1420406" y="1104371"/>
                </a:lnTo>
                <a:lnTo>
                  <a:pt x="1420406" y="1106653"/>
                </a:lnTo>
                <a:lnTo>
                  <a:pt x="1420406" y="1108935"/>
                </a:lnTo>
                <a:lnTo>
                  <a:pt x="1418123" y="1108935"/>
                </a:lnTo>
                <a:lnTo>
                  <a:pt x="1418123" y="1111217"/>
                </a:lnTo>
                <a:lnTo>
                  <a:pt x="1418123" y="1113499"/>
                </a:lnTo>
                <a:lnTo>
                  <a:pt x="1420406" y="1113499"/>
                </a:lnTo>
                <a:lnTo>
                  <a:pt x="1420406" y="1115781"/>
                </a:lnTo>
                <a:lnTo>
                  <a:pt x="1422690" y="1118063"/>
                </a:lnTo>
                <a:lnTo>
                  <a:pt x="1424973" y="1118063"/>
                </a:lnTo>
                <a:lnTo>
                  <a:pt x="1424973" y="1120344"/>
                </a:lnTo>
                <a:lnTo>
                  <a:pt x="1427257" y="1120344"/>
                </a:lnTo>
                <a:lnTo>
                  <a:pt x="1429541" y="1120344"/>
                </a:lnTo>
                <a:lnTo>
                  <a:pt x="1429541" y="1122626"/>
                </a:lnTo>
                <a:lnTo>
                  <a:pt x="1431824" y="1122626"/>
                </a:lnTo>
                <a:lnTo>
                  <a:pt x="1431824" y="1124908"/>
                </a:lnTo>
                <a:lnTo>
                  <a:pt x="1434108" y="1124908"/>
                </a:lnTo>
                <a:lnTo>
                  <a:pt x="1436392" y="1124908"/>
                </a:lnTo>
                <a:lnTo>
                  <a:pt x="1438675" y="1124908"/>
                </a:lnTo>
                <a:lnTo>
                  <a:pt x="1440959" y="1124908"/>
                </a:lnTo>
                <a:lnTo>
                  <a:pt x="1440959" y="1127190"/>
                </a:lnTo>
                <a:lnTo>
                  <a:pt x="1443242" y="1127190"/>
                </a:lnTo>
                <a:lnTo>
                  <a:pt x="1443242" y="1129472"/>
                </a:lnTo>
                <a:lnTo>
                  <a:pt x="1440959" y="1129472"/>
                </a:lnTo>
                <a:lnTo>
                  <a:pt x="1440959" y="1131754"/>
                </a:lnTo>
                <a:lnTo>
                  <a:pt x="1438675" y="1131754"/>
                </a:lnTo>
                <a:lnTo>
                  <a:pt x="1436392" y="1131754"/>
                </a:lnTo>
                <a:lnTo>
                  <a:pt x="1436392" y="1129472"/>
                </a:lnTo>
                <a:lnTo>
                  <a:pt x="1434108" y="1129472"/>
                </a:lnTo>
                <a:lnTo>
                  <a:pt x="1431824" y="1129472"/>
                </a:lnTo>
                <a:lnTo>
                  <a:pt x="1429541" y="1129472"/>
                </a:lnTo>
                <a:lnTo>
                  <a:pt x="1427257" y="1129472"/>
                </a:lnTo>
                <a:lnTo>
                  <a:pt x="1424973" y="1129472"/>
                </a:lnTo>
                <a:lnTo>
                  <a:pt x="1424973" y="1127190"/>
                </a:lnTo>
                <a:lnTo>
                  <a:pt x="1422690" y="1127190"/>
                </a:lnTo>
                <a:lnTo>
                  <a:pt x="1420406" y="1127190"/>
                </a:lnTo>
                <a:lnTo>
                  <a:pt x="1418123" y="1127190"/>
                </a:lnTo>
                <a:lnTo>
                  <a:pt x="1415839" y="1129472"/>
                </a:lnTo>
                <a:lnTo>
                  <a:pt x="1415839" y="1131754"/>
                </a:lnTo>
                <a:lnTo>
                  <a:pt x="1413556" y="1131754"/>
                </a:lnTo>
                <a:lnTo>
                  <a:pt x="1413556" y="1134036"/>
                </a:lnTo>
                <a:lnTo>
                  <a:pt x="1411272" y="1134036"/>
                </a:lnTo>
                <a:lnTo>
                  <a:pt x="1408988" y="1136318"/>
                </a:lnTo>
                <a:lnTo>
                  <a:pt x="1408988" y="1134036"/>
                </a:lnTo>
                <a:lnTo>
                  <a:pt x="1406705" y="1134036"/>
                </a:lnTo>
                <a:lnTo>
                  <a:pt x="1404421" y="1134036"/>
                </a:lnTo>
                <a:lnTo>
                  <a:pt x="1404421" y="1131754"/>
                </a:lnTo>
                <a:lnTo>
                  <a:pt x="1402138" y="1131754"/>
                </a:lnTo>
                <a:lnTo>
                  <a:pt x="1399854" y="1131754"/>
                </a:lnTo>
                <a:lnTo>
                  <a:pt x="1399854" y="1129472"/>
                </a:lnTo>
                <a:lnTo>
                  <a:pt x="1397571" y="1129472"/>
                </a:lnTo>
                <a:lnTo>
                  <a:pt x="1395287" y="1129472"/>
                </a:lnTo>
                <a:lnTo>
                  <a:pt x="1395287" y="1127190"/>
                </a:lnTo>
                <a:lnTo>
                  <a:pt x="1393003" y="1127190"/>
                </a:lnTo>
                <a:lnTo>
                  <a:pt x="1390720" y="1127190"/>
                </a:lnTo>
                <a:lnTo>
                  <a:pt x="1388436" y="1127190"/>
                </a:lnTo>
                <a:lnTo>
                  <a:pt x="1386152" y="1127190"/>
                </a:lnTo>
                <a:lnTo>
                  <a:pt x="1386152" y="1129472"/>
                </a:lnTo>
                <a:lnTo>
                  <a:pt x="1386152" y="1127190"/>
                </a:lnTo>
                <a:lnTo>
                  <a:pt x="1383869" y="1127190"/>
                </a:lnTo>
                <a:lnTo>
                  <a:pt x="1381585" y="1127190"/>
                </a:lnTo>
                <a:lnTo>
                  <a:pt x="1379302" y="1127190"/>
                </a:lnTo>
                <a:lnTo>
                  <a:pt x="1379302" y="1129472"/>
                </a:lnTo>
                <a:lnTo>
                  <a:pt x="1377018" y="1129472"/>
                </a:lnTo>
                <a:lnTo>
                  <a:pt x="1377018" y="1131754"/>
                </a:lnTo>
                <a:lnTo>
                  <a:pt x="1377018" y="1134036"/>
                </a:lnTo>
                <a:lnTo>
                  <a:pt x="1374734" y="1134036"/>
                </a:lnTo>
                <a:lnTo>
                  <a:pt x="1374734" y="1136318"/>
                </a:lnTo>
                <a:lnTo>
                  <a:pt x="1374734" y="1138600"/>
                </a:lnTo>
                <a:lnTo>
                  <a:pt x="1374734" y="1140881"/>
                </a:lnTo>
                <a:lnTo>
                  <a:pt x="1374734" y="1143163"/>
                </a:lnTo>
                <a:lnTo>
                  <a:pt x="1374734" y="1145445"/>
                </a:lnTo>
                <a:lnTo>
                  <a:pt x="1372451" y="1145445"/>
                </a:lnTo>
                <a:lnTo>
                  <a:pt x="1370167" y="1145445"/>
                </a:lnTo>
                <a:lnTo>
                  <a:pt x="1370167" y="1143163"/>
                </a:lnTo>
                <a:lnTo>
                  <a:pt x="1370167" y="1140881"/>
                </a:lnTo>
                <a:lnTo>
                  <a:pt x="1367884" y="1140881"/>
                </a:lnTo>
                <a:lnTo>
                  <a:pt x="1365600" y="1140881"/>
                </a:lnTo>
                <a:lnTo>
                  <a:pt x="1363317" y="1140881"/>
                </a:lnTo>
                <a:lnTo>
                  <a:pt x="1363317" y="1138600"/>
                </a:lnTo>
                <a:lnTo>
                  <a:pt x="1361033" y="1138600"/>
                </a:lnTo>
                <a:lnTo>
                  <a:pt x="1361033" y="1140881"/>
                </a:lnTo>
                <a:lnTo>
                  <a:pt x="1358749" y="1140881"/>
                </a:lnTo>
                <a:lnTo>
                  <a:pt x="1358749" y="1143163"/>
                </a:lnTo>
                <a:lnTo>
                  <a:pt x="1358749" y="1140881"/>
                </a:lnTo>
                <a:lnTo>
                  <a:pt x="1356466" y="1140881"/>
                </a:lnTo>
                <a:lnTo>
                  <a:pt x="1354182" y="1140881"/>
                </a:lnTo>
                <a:lnTo>
                  <a:pt x="1351898" y="1140881"/>
                </a:lnTo>
                <a:lnTo>
                  <a:pt x="1351898" y="1138600"/>
                </a:lnTo>
                <a:lnTo>
                  <a:pt x="1351898" y="1140881"/>
                </a:lnTo>
                <a:lnTo>
                  <a:pt x="1349615" y="1140881"/>
                </a:lnTo>
                <a:lnTo>
                  <a:pt x="1349615" y="1143163"/>
                </a:lnTo>
                <a:lnTo>
                  <a:pt x="1347331" y="1143163"/>
                </a:lnTo>
                <a:lnTo>
                  <a:pt x="1347331" y="1145445"/>
                </a:lnTo>
                <a:lnTo>
                  <a:pt x="1345048" y="1145445"/>
                </a:lnTo>
                <a:lnTo>
                  <a:pt x="1342764" y="1145445"/>
                </a:lnTo>
                <a:lnTo>
                  <a:pt x="1342764" y="1147727"/>
                </a:lnTo>
                <a:lnTo>
                  <a:pt x="1342764" y="1150009"/>
                </a:lnTo>
                <a:lnTo>
                  <a:pt x="1340481" y="1150009"/>
                </a:lnTo>
                <a:lnTo>
                  <a:pt x="1340481" y="1152291"/>
                </a:lnTo>
                <a:lnTo>
                  <a:pt x="1340481" y="1154573"/>
                </a:lnTo>
                <a:lnTo>
                  <a:pt x="1340481" y="1156855"/>
                </a:lnTo>
                <a:lnTo>
                  <a:pt x="1338197" y="1156855"/>
                </a:lnTo>
                <a:lnTo>
                  <a:pt x="1338197" y="1159137"/>
                </a:lnTo>
                <a:lnTo>
                  <a:pt x="1335913" y="1161419"/>
                </a:lnTo>
                <a:lnTo>
                  <a:pt x="1335913" y="1163700"/>
                </a:lnTo>
                <a:lnTo>
                  <a:pt x="1335913" y="1165982"/>
                </a:lnTo>
                <a:lnTo>
                  <a:pt x="1335913" y="1168264"/>
                </a:lnTo>
                <a:lnTo>
                  <a:pt x="1338197" y="1170546"/>
                </a:lnTo>
                <a:lnTo>
                  <a:pt x="1338197" y="1172828"/>
                </a:lnTo>
                <a:lnTo>
                  <a:pt x="1338197" y="1175110"/>
                </a:lnTo>
                <a:lnTo>
                  <a:pt x="1338197" y="1177392"/>
                </a:lnTo>
                <a:lnTo>
                  <a:pt x="1338197" y="1179674"/>
                </a:lnTo>
                <a:lnTo>
                  <a:pt x="1335913" y="1179674"/>
                </a:lnTo>
                <a:lnTo>
                  <a:pt x="1333630" y="1179674"/>
                </a:lnTo>
                <a:lnTo>
                  <a:pt x="1331346" y="1179674"/>
                </a:lnTo>
                <a:lnTo>
                  <a:pt x="1329063" y="1179674"/>
                </a:lnTo>
                <a:lnTo>
                  <a:pt x="1329063" y="1181956"/>
                </a:lnTo>
                <a:lnTo>
                  <a:pt x="1326779" y="1181956"/>
                </a:lnTo>
                <a:lnTo>
                  <a:pt x="1326779" y="1184237"/>
                </a:lnTo>
                <a:lnTo>
                  <a:pt x="1324495" y="1184237"/>
                </a:lnTo>
                <a:lnTo>
                  <a:pt x="1324495" y="1186519"/>
                </a:lnTo>
                <a:lnTo>
                  <a:pt x="1322212" y="1186519"/>
                </a:lnTo>
                <a:lnTo>
                  <a:pt x="1322212" y="1188801"/>
                </a:lnTo>
                <a:lnTo>
                  <a:pt x="1319928" y="1188801"/>
                </a:lnTo>
                <a:lnTo>
                  <a:pt x="1317644" y="1188801"/>
                </a:lnTo>
                <a:lnTo>
                  <a:pt x="1315361" y="1188801"/>
                </a:lnTo>
                <a:lnTo>
                  <a:pt x="1315361" y="1191083"/>
                </a:lnTo>
                <a:lnTo>
                  <a:pt x="1315361" y="1193365"/>
                </a:lnTo>
                <a:lnTo>
                  <a:pt x="1315361" y="1195647"/>
                </a:lnTo>
                <a:lnTo>
                  <a:pt x="1313077" y="1195647"/>
                </a:lnTo>
                <a:lnTo>
                  <a:pt x="1313077" y="1197929"/>
                </a:lnTo>
                <a:lnTo>
                  <a:pt x="1313077" y="1200211"/>
                </a:lnTo>
                <a:lnTo>
                  <a:pt x="1310794" y="1200211"/>
                </a:lnTo>
                <a:lnTo>
                  <a:pt x="1308510" y="1200211"/>
                </a:lnTo>
                <a:lnTo>
                  <a:pt x="1306227" y="1200211"/>
                </a:lnTo>
                <a:lnTo>
                  <a:pt x="1306227" y="1197929"/>
                </a:lnTo>
                <a:lnTo>
                  <a:pt x="1303943" y="1197929"/>
                </a:lnTo>
                <a:lnTo>
                  <a:pt x="1303943" y="1200211"/>
                </a:lnTo>
                <a:lnTo>
                  <a:pt x="1301659" y="1200211"/>
                </a:lnTo>
                <a:lnTo>
                  <a:pt x="1299376" y="1202493"/>
                </a:lnTo>
                <a:lnTo>
                  <a:pt x="1299376" y="1204775"/>
                </a:lnTo>
                <a:lnTo>
                  <a:pt x="1299376" y="1207056"/>
                </a:lnTo>
                <a:lnTo>
                  <a:pt x="1301659" y="1207056"/>
                </a:lnTo>
                <a:lnTo>
                  <a:pt x="1299376" y="1207056"/>
                </a:lnTo>
                <a:lnTo>
                  <a:pt x="1299376" y="1209338"/>
                </a:lnTo>
                <a:lnTo>
                  <a:pt x="1297092" y="1211620"/>
                </a:lnTo>
                <a:lnTo>
                  <a:pt x="1297092" y="1213902"/>
                </a:lnTo>
                <a:lnTo>
                  <a:pt x="1294809" y="1213902"/>
                </a:lnTo>
                <a:lnTo>
                  <a:pt x="1292525" y="1213902"/>
                </a:lnTo>
                <a:lnTo>
                  <a:pt x="1290242" y="1213902"/>
                </a:lnTo>
                <a:lnTo>
                  <a:pt x="1287958" y="1213902"/>
                </a:lnTo>
                <a:lnTo>
                  <a:pt x="1285674" y="1213902"/>
                </a:lnTo>
                <a:lnTo>
                  <a:pt x="1285674" y="1216184"/>
                </a:lnTo>
                <a:lnTo>
                  <a:pt x="1285674" y="1218466"/>
                </a:lnTo>
                <a:lnTo>
                  <a:pt x="1283391" y="1218466"/>
                </a:lnTo>
                <a:lnTo>
                  <a:pt x="1283391" y="1220748"/>
                </a:lnTo>
                <a:lnTo>
                  <a:pt x="1283391" y="1223030"/>
                </a:lnTo>
                <a:lnTo>
                  <a:pt x="1283391" y="1225312"/>
                </a:lnTo>
                <a:lnTo>
                  <a:pt x="1283391" y="1227594"/>
                </a:lnTo>
                <a:lnTo>
                  <a:pt x="1285674" y="1229866"/>
                </a:lnTo>
                <a:lnTo>
                  <a:pt x="1285674" y="1232148"/>
                </a:lnTo>
                <a:lnTo>
                  <a:pt x="1285674" y="1234430"/>
                </a:lnTo>
                <a:lnTo>
                  <a:pt x="1285674" y="1236712"/>
                </a:lnTo>
                <a:lnTo>
                  <a:pt x="1283391" y="1236712"/>
                </a:lnTo>
                <a:lnTo>
                  <a:pt x="1283391" y="1238993"/>
                </a:lnTo>
                <a:lnTo>
                  <a:pt x="1281107" y="1238993"/>
                </a:lnTo>
                <a:lnTo>
                  <a:pt x="1278823" y="1238993"/>
                </a:lnTo>
                <a:lnTo>
                  <a:pt x="1278823" y="1241275"/>
                </a:lnTo>
                <a:lnTo>
                  <a:pt x="1276540" y="1241275"/>
                </a:lnTo>
                <a:lnTo>
                  <a:pt x="1276540" y="1243557"/>
                </a:lnTo>
                <a:lnTo>
                  <a:pt x="1274256" y="1243557"/>
                </a:lnTo>
                <a:lnTo>
                  <a:pt x="1276540" y="1243557"/>
                </a:lnTo>
                <a:lnTo>
                  <a:pt x="1276540" y="1245839"/>
                </a:lnTo>
                <a:lnTo>
                  <a:pt x="1278823" y="1248121"/>
                </a:lnTo>
                <a:lnTo>
                  <a:pt x="1281107" y="1248121"/>
                </a:lnTo>
                <a:lnTo>
                  <a:pt x="1283391" y="1248121"/>
                </a:lnTo>
                <a:lnTo>
                  <a:pt x="1285674" y="1248121"/>
                </a:lnTo>
                <a:lnTo>
                  <a:pt x="1287958" y="1248121"/>
                </a:lnTo>
                <a:lnTo>
                  <a:pt x="1290242" y="1248121"/>
                </a:lnTo>
                <a:lnTo>
                  <a:pt x="1290242" y="1250403"/>
                </a:lnTo>
                <a:lnTo>
                  <a:pt x="1290242" y="1252685"/>
                </a:lnTo>
                <a:lnTo>
                  <a:pt x="1290242" y="1254967"/>
                </a:lnTo>
                <a:lnTo>
                  <a:pt x="1287958" y="1254967"/>
                </a:lnTo>
                <a:lnTo>
                  <a:pt x="1287958" y="1257249"/>
                </a:lnTo>
                <a:lnTo>
                  <a:pt x="1285674" y="1257249"/>
                </a:lnTo>
                <a:lnTo>
                  <a:pt x="1285674" y="1259531"/>
                </a:lnTo>
                <a:lnTo>
                  <a:pt x="1283391" y="1259531"/>
                </a:lnTo>
                <a:lnTo>
                  <a:pt x="1283391" y="1261812"/>
                </a:lnTo>
                <a:lnTo>
                  <a:pt x="1281107" y="1261812"/>
                </a:lnTo>
                <a:lnTo>
                  <a:pt x="1281107" y="1264094"/>
                </a:lnTo>
                <a:lnTo>
                  <a:pt x="1278823" y="1264094"/>
                </a:lnTo>
                <a:lnTo>
                  <a:pt x="1278823" y="1266376"/>
                </a:lnTo>
                <a:lnTo>
                  <a:pt x="1276540" y="1266376"/>
                </a:lnTo>
                <a:lnTo>
                  <a:pt x="1274256" y="1266376"/>
                </a:lnTo>
                <a:lnTo>
                  <a:pt x="1271973" y="1266376"/>
                </a:lnTo>
                <a:lnTo>
                  <a:pt x="1271973" y="1268658"/>
                </a:lnTo>
                <a:lnTo>
                  <a:pt x="1269689" y="1268658"/>
                </a:lnTo>
                <a:lnTo>
                  <a:pt x="1269689" y="1270940"/>
                </a:lnTo>
                <a:lnTo>
                  <a:pt x="1267405" y="1270940"/>
                </a:lnTo>
                <a:lnTo>
                  <a:pt x="1265122" y="1270940"/>
                </a:lnTo>
                <a:lnTo>
                  <a:pt x="1262838" y="1268658"/>
                </a:lnTo>
                <a:lnTo>
                  <a:pt x="1260555" y="1266376"/>
                </a:lnTo>
                <a:lnTo>
                  <a:pt x="1260555" y="1264094"/>
                </a:lnTo>
                <a:lnTo>
                  <a:pt x="1258271" y="1264094"/>
                </a:lnTo>
                <a:lnTo>
                  <a:pt x="1258271" y="1261812"/>
                </a:lnTo>
                <a:lnTo>
                  <a:pt x="1255988" y="1261812"/>
                </a:lnTo>
                <a:lnTo>
                  <a:pt x="1255988" y="1259531"/>
                </a:lnTo>
                <a:lnTo>
                  <a:pt x="1255988" y="1257249"/>
                </a:lnTo>
                <a:lnTo>
                  <a:pt x="1258271" y="1257249"/>
                </a:lnTo>
                <a:lnTo>
                  <a:pt x="1258271" y="1254967"/>
                </a:lnTo>
                <a:lnTo>
                  <a:pt x="1258271" y="1252685"/>
                </a:lnTo>
                <a:lnTo>
                  <a:pt x="1258271" y="1250403"/>
                </a:lnTo>
                <a:lnTo>
                  <a:pt x="1258271" y="1248121"/>
                </a:lnTo>
                <a:lnTo>
                  <a:pt x="1258271" y="1245839"/>
                </a:lnTo>
                <a:lnTo>
                  <a:pt x="1258271" y="1243557"/>
                </a:lnTo>
                <a:lnTo>
                  <a:pt x="1258271" y="1241275"/>
                </a:lnTo>
                <a:lnTo>
                  <a:pt x="1258271" y="1238993"/>
                </a:lnTo>
                <a:lnTo>
                  <a:pt x="1258271" y="1236712"/>
                </a:lnTo>
                <a:lnTo>
                  <a:pt x="1255988" y="1236712"/>
                </a:lnTo>
                <a:lnTo>
                  <a:pt x="1255988" y="1234430"/>
                </a:lnTo>
                <a:lnTo>
                  <a:pt x="1253704" y="1234430"/>
                </a:lnTo>
                <a:lnTo>
                  <a:pt x="1253704" y="1232148"/>
                </a:lnTo>
                <a:lnTo>
                  <a:pt x="1251420" y="1232148"/>
                </a:lnTo>
                <a:lnTo>
                  <a:pt x="1249137" y="1232148"/>
                </a:lnTo>
                <a:lnTo>
                  <a:pt x="1246853" y="1229866"/>
                </a:lnTo>
                <a:lnTo>
                  <a:pt x="1249137" y="1229866"/>
                </a:lnTo>
                <a:lnTo>
                  <a:pt x="1249137" y="1227594"/>
                </a:lnTo>
                <a:lnTo>
                  <a:pt x="1246853" y="1227594"/>
                </a:lnTo>
                <a:lnTo>
                  <a:pt x="1246853" y="1225312"/>
                </a:lnTo>
                <a:lnTo>
                  <a:pt x="1244569" y="1225312"/>
                </a:lnTo>
                <a:lnTo>
                  <a:pt x="1242286" y="1225312"/>
                </a:lnTo>
                <a:lnTo>
                  <a:pt x="1242286" y="1227594"/>
                </a:lnTo>
                <a:lnTo>
                  <a:pt x="1240002" y="1227594"/>
                </a:lnTo>
                <a:lnTo>
                  <a:pt x="1237719" y="1227594"/>
                </a:lnTo>
                <a:lnTo>
                  <a:pt x="1237719" y="1229866"/>
                </a:lnTo>
                <a:lnTo>
                  <a:pt x="1235435" y="1229866"/>
                </a:lnTo>
                <a:lnTo>
                  <a:pt x="1235435" y="1227594"/>
                </a:lnTo>
                <a:lnTo>
                  <a:pt x="1235435" y="1225312"/>
                </a:lnTo>
                <a:lnTo>
                  <a:pt x="1233152" y="1225312"/>
                </a:lnTo>
                <a:lnTo>
                  <a:pt x="1233152" y="1223030"/>
                </a:lnTo>
                <a:lnTo>
                  <a:pt x="1233152" y="1220748"/>
                </a:lnTo>
                <a:lnTo>
                  <a:pt x="1230868" y="1220748"/>
                </a:lnTo>
                <a:lnTo>
                  <a:pt x="1230868" y="1218466"/>
                </a:lnTo>
                <a:lnTo>
                  <a:pt x="1228584" y="1218466"/>
                </a:lnTo>
                <a:lnTo>
                  <a:pt x="1226301" y="1218466"/>
                </a:lnTo>
                <a:lnTo>
                  <a:pt x="1224017" y="1218466"/>
                </a:lnTo>
                <a:lnTo>
                  <a:pt x="1221734" y="1218466"/>
                </a:lnTo>
                <a:lnTo>
                  <a:pt x="1221734" y="1220748"/>
                </a:lnTo>
                <a:lnTo>
                  <a:pt x="1219450" y="1220748"/>
                </a:lnTo>
                <a:lnTo>
                  <a:pt x="1217166" y="1220748"/>
                </a:lnTo>
                <a:lnTo>
                  <a:pt x="1217166" y="1223030"/>
                </a:lnTo>
                <a:lnTo>
                  <a:pt x="1217166" y="1225312"/>
                </a:lnTo>
                <a:lnTo>
                  <a:pt x="1214883" y="1225312"/>
                </a:lnTo>
                <a:lnTo>
                  <a:pt x="1214883" y="1227594"/>
                </a:lnTo>
                <a:lnTo>
                  <a:pt x="1212599" y="1227594"/>
                </a:lnTo>
                <a:lnTo>
                  <a:pt x="1210315" y="1227594"/>
                </a:lnTo>
                <a:lnTo>
                  <a:pt x="1208032" y="1227594"/>
                </a:lnTo>
                <a:lnTo>
                  <a:pt x="1205748" y="1227594"/>
                </a:lnTo>
                <a:lnTo>
                  <a:pt x="1203465" y="1225312"/>
                </a:lnTo>
                <a:lnTo>
                  <a:pt x="1201181" y="1225312"/>
                </a:lnTo>
                <a:lnTo>
                  <a:pt x="1201181" y="1223030"/>
                </a:lnTo>
                <a:lnTo>
                  <a:pt x="1198898" y="1223030"/>
                </a:lnTo>
                <a:lnTo>
                  <a:pt x="1198898" y="1220748"/>
                </a:lnTo>
                <a:lnTo>
                  <a:pt x="1198898" y="1218466"/>
                </a:lnTo>
                <a:lnTo>
                  <a:pt x="1196614" y="1218466"/>
                </a:lnTo>
                <a:lnTo>
                  <a:pt x="1196614" y="1216184"/>
                </a:lnTo>
                <a:lnTo>
                  <a:pt x="1198898" y="1216184"/>
                </a:lnTo>
                <a:lnTo>
                  <a:pt x="1198898" y="1213902"/>
                </a:lnTo>
                <a:lnTo>
                  <a:pt x="1198898" y="1211620"/>
                </a:lnTo>
                <a:lnTo>
                  <a:pt x="1196614" y="1211620"/>
                </a:lnTo>
                <a:lnTo>
                  <a:pt x="1196614" y="1209338"/>
                </a:lnTo>
                <a:lnTo>
                  <a:pt x="1194330" y="1209338"/>
                </a:lnTo>
                <a:lnTo>
                  <a:pt x="1194330" y="1207056"/>
                </a:lnTo>
                <a:lnTo>
                  <a:pt x="1194330" y="1204775"/>
                </a:lnTo>
                <a:lnTo>
                  <a:pt x="1194330" y="1202493"/>
                </a:lnTo>
                <a:lnTo>
                  <a:pt x="1192047" y="1202493"/>
                </a:lnTo>
                <a:lnTo>
                  <a:pt x="1189763" y="1202493"/>
                </a:lnTo>
                <a:lnTo>
                  <a:pt x="1189763" y="1204775"/>
                </a:lnTo>
                <a:lnTo>
                  <a:pt x="1187480" y="1204775"/>
                </a:lnTo>
                <a:lnTo>
                  <a:pt x="1185196" y="1204775"/>
                </a:lnTo>
                <a:lnTo>
                  <a:pt x="1185196" y="1207056"/>
                </a:lnTo>
                <a:lnTo>
                  <a:pt x="1185196" y="1209338"/>
                </a:lnTo>
                <a:lnTo>
                  <a:pt x="1182912" y="1209338"/>
                </a:lnTo>
                <a:lnTo>
                  <a:pt x="1180629" y="1209338"/>
                </a:lnTo>
                <a:lnTo>
                  <a:pt x="1178345" y="1209338"/>
                </a:lnTo>
                <a:lnTo>
                  <a:pt x="1176062" y="1209338"/>
                </a:lnTo>
                <a:lnTo>
                  <a:pt x="1173778" y="1209338"/>
                </a:lnTo>
                <a:lnTo>
                  <a:pt x="1173778" y="1211620"/>
                </a:lnTo>
                <a:lnTo>
                  <a:pt x="1171494" y="1211620"/>
                </a:lnTo>
                <a:lnTo>
                  <a:pt x="1171494" y="1213902"/>
                </a:lnTo>
                <a:lnTo>
                  <a:pt x="1169211" y="1213902"/>
                </a:lnTo>
                <a:lnTo>
                  <a:pt x="1166927" y="1216184"/>
                </a:lnTo>
                <a:lnTo>
                  <a:pt x="1164644" y="1216184"/>
                </a:lnTo>
                <a:lnTo>
                  <a:pt x="1162360" y="1216184"/>
                </a:lnTo>
                <a:lnTo>
                  <a:pt x="1162360" y="1218466"/>
                </a:lnTo>
                <a:lnTo>
                  <a:pt x="1160076" y="1218466"/>
                </a:lnTo>
                <a:lnTo>
                  <a:pt x="1160076" y="1220748"/>
                </a:lnTo>
                <a:lnTo>
                  <a:pt x="1157793" y="1220748"/>
                </a:lnTo>
                <a:lnTo>
                  <a:pt x="1155509" y="1220748"/>
                </a:lnTo>
                <a:lnTo>
                  <a:pt x="1153226" y="1220748"/>
                </a:lnTo>
                <a:lnTo>
                  <a:pt x="1153226" y="1223030"/>
                </a:lnTo>
                <a:lnTo>
                  <a:pt x="1150942" y="1223030"/>
                </a:lnTo>
                <a:lnTo>
                  <a:pt x="1150942" y="1225312"/>
                </a:lnTo>
                <a:lnTo>
                  <a:pt x="1148659" y="1225312"/>
                </a:lnTo>
                <a:lnTo>
                  <a:pt x="1148659" y="1227594"/>
                </a:lnTo>
                <a:lnTo>
                  <a:pt x="1146375" y="1227594"/>
                </a:lnTo>
                <a:lnTo>
                  <a:pt x="1144091" y="1227594"/>
                </a:lnTo>
                <a:lnTo>
                  <a:pt x="1141808" y="1227594"/>
                </a:lnTo>
                <a:lnTo>
                  <a:pt x="1139524" y="1227594"/>
                </a:lnTo>
                <a:lnTo>
                  <a:pt x="1137240" y="1227594"/>
                </a:lnTo>
                <a:lnTo>
                  <a:pt x="1137240" y="1229866"/>
                </a:lnTo>
                <a:lnTo>
                  <a:pt x="1137240" y="1232148"/>
                </a:lnTo>
                <a:lnTo>
                  <a:pt x="1137240" y="1234430"/>
                </a:lnTo>
                <a:lnTo>
                  <a:pt x="1137240" y="1236712"/>
                </a:lnTo>
                <a:lnTo>
                  <a:pt x="1137240" y="1238993"/>
                </a:lnTo>
                <a:lnTo>
                  <a:pt x="1137240" y="1241275"/>
                </a:lnTo>
                <a:lnTo>
                  <a:pt x="1137240" y="1243557"/>
                </a:lnTo>
                <a:lnTo>
                  <a:pt x="1137240" y="1245839"/>
                </a:lnTo>
                <a:lnTo>
                  <a:pt x="1137240" y="1248121"/>
                </a:lnTo>
                <a:lnTo>
                  <a:pt x="1137240" y="1250403"/>
                </a:lnTo>
                <a:lnTo>
                  <a:pt x="1137240" y="1252685"/>
                </a:lnTo>
                <a:lnTo>
                  <a:pt x="1134957" y="1252685"/>
                </a:lnTo>
                <a:lnTo>
                  <a:pt x="1134957" y="1254967"/>
                </a:lnTo>
                <a:lnTo>
                  <a:pt x="1132673" y="1254967"/>
                </a:lnTo>
                <a:lnTo>
                  <a:pt x="1130390" y="1254967"/>
                </a:lnTo>
                <a:lnTo>
                  <a:pt x="1128106" y="1254967"/>
                </a:lnTo>
                <a:lnTo>
                  <a:pt x="1125822" y="1254967"/>
                </a:lnTo>
                <a:lnTo>
                  <a:pt x="1125822" y="1252685"/>
                </a:lnTo>
                <a:lnTo>
                  <a:pt x="1123539" y="1252685"/>
                </a:lnTo>
                <a:lnTo>
                  <a:pt x="1123539" y="1250403"/>
                </a:lnTo>
                <a:lnTo>
                  <a:pt x="1121255" y="1250403"/>
                </a:lnTo>
                <a:lnTo>
                  <a:pt x="1121255" y="1248121"/>
                </a:lnTo>
                <a:lnTo>
                  <a:pt x="1121255" y="1245839"/>
                </a:lnTo>
                <a:lnTo>
                  <a:pt x="1118972" y="1245839"/>
                </a:lnTo>
                <a:lnTo>
                  <a:pt x="1118972" y="1243557"/>
                </a:lnTo>
                <a:lnTo>
                  <a:pt x="1118972" y="1245839"/>
                </a:lnTo>
                <a:lnTo>
                  <a:pt x="1116688" y="1245839"/>
                </a:lnTo>
                <a:lnTo>
                  <a:pt x="1114405" y="1245839"/>
                </a:lnTo>
                <a:lnTo>
                  <a:pt x="1114405" y="1243557"/>
                </a:lnTo>
                <a:lnTo>
                  <a:pt x="1112121" y="1241275"/>
                </a:lnTo>
                <a:lnTo>
                  <a:pt x="1109837" y="1241275"/>
                </a:lnTo>
                <a:lnTo>
                  <a:pt x="1107554" y="1241275"/>
                </a:lnTo>
                <a:lnTo>
                  <a:pt x="1107554" y="1238993"/>
                </a:lnTo>
                <a:lnTo>
                  <a:pt x="1105270" y="1238993"/>
                </a:lnTo>
                <a:lnTo>
                  <a:pt x="1105270" y="1241275"/>
                </a:lnTo>
                <a:lnTo>
                  <a:pt x="1102986" y="1241275"/>
                </a:lnTo>
                <a:lnTo>
                  <a:pt x="1102986" y="1243557"/>
                </a:lnTo>
                <a:lnTo>
                  <a:pt x="1100703" y="1243557"/>
                </a:lnTo>
                <a:lnTo>
                  <a:pt x="1100703" y="1245839"/>
                </a:lnTo>
                <a:lnTo>
                  <a:pt x="1100703" y="1248121"/>
                </a:lnTo>
                <a:lnTo>
                  <a:pt x="1098419" y="1248121"/>
                </a:lnTo>
                <a:lnTo>
                  <a:pt x="1098419" y="1250403"/>
                </a:lnTo>
                <a:lnTo>
                  <a:pt x="1096136" y="1250403"/>
                </a:lnTo>
                <a:lnTo>
                  <a:pt x="1096136" y="1252685"/>
                </a:lnTo>
                <a:lnTo>
                  <a:pt x="1093852" y="1252685"/>
                </a:lnTo>
                <a:lnTo>
                  <a:pt x="1091569" y="1252685"/>
                </a:lnTo>
                <a:lnTo>
                  <a:pt x="1089285" y="1252685"/>
                </a:lnTo>
                <a:lnTo>
                  <a:pt x="1089285" y="1254967"/>
                </a:lnTo>
                <a:lnTo>
                  <a:pt x="1087001" y="1254967"/>
                </a:lnTo>
                <a:lnTo>
                  <a:pt x="1084718" y="1254967"/>
                </a:lnTo>
                <a:lnTo>
                  <a:pt x="1082434" y="1254967"/>
                </a:lnTo>
                <a:lnTo>
                  <a:pt x="1080151" y="1254967"/>
                </a:lnTo>
                <a:lnTo>
                  <a:pt x="1077867" y="1254967"/>
                </a:lnTo>
                <a:lnTo>
                  <a:pt x="1077867" y="1257249"/>
                </a:lnTo>
                <a:lnTo>
                  <a:pt x="1075583" y="1257249"/>
                </a:lnTo>
                <a:lnTo>
                  <a:pt x="1073300" y="1257249"/>
                </a:lnTo>
                <a:lnTo>
                  <a:pt x="1071016" y="1257249"/>
                </a:lnTo>
                <a:lnTo>
                  <a:pt x="1071016" y="1254967"/>
                </a:lnTo>
                <a:lnTo>
                  <a:pt x="1068732" y="1254967"/>
                </a:lnTo>
                <a:lnTo>
                  <a:pt x="1066449" y="1254967"/>
                </a:lnTo>
                <a:lnTo>
                  <a:pt x="1064165" y="1254967"/>
                </a:lnTo>
                <a:lnTo>
                  <a:pt x="1064165" y="1257249"/>
                </a:lnTo>
                <a:lnTo>
                  <a:pt x="1064165" y="1259531"/>
                </a:lnTo>
                <a:lnTo>
                  <a:pt x="1061882" y="1259531"/>
                </a:lnTo>
                <a:lnTo>
                  <a:pt x="1061882" y="1261812"/>
                </a:lnTo>
                <a:lnTo>
                  <a:pt x="1061882" y="1264094"/>
                </a:lnTo>
                <a:lnTo>
                  <a:pt x="1059598" y="1264094"/>
                </a:lnTo>
                <a:lnTo>
                  <a:pt x="1059598" y="1261812"/>
                </a:lnTo>
                <a:lnTo>
                  <a:pt x="1057315" y="1261812"/>
                </a:lnTo>
                <a:lnTo>
                  <a:pt x="1057315" y="1264094"/>
                </a:lnTo>
                <a:lnTo>
                  <a:pt x="1055031" y="1264094"/>
                </a:lnTo>
                <a:lnTo>
                  <a:pt x="1052747" y="1264094"/>
                </a:lnTo>
                <a:lnTo>
                  <a:pt x="1052747" y="1266376"/>
                </a:lnTo>
                <a:lnTo>
                  <a:pt x="1050464" y="1266376"/>
                </a:lnTo>
                <a:lnTo>
                  <a:pt x="1048180" y="1266376"/>
                </a:lnTo>
                <a:lnTo>
                  <a:pt x="1045897" y="1266376"/>
                </a:lnTo>
                <a:lnTo>
                  <a:pt x="1043613" y="1266376"/>
                </a:lnTo>
                <a:lnTo>
                  <a:pt x="1041330" y="1266376"/>
                </a:lnTo>
                <a:lnTo>
                  <a:pt x="1041330" y="1268658"/>
                </a:lnTo>
                <a:lnTo>
                  <a:pt x="1039046" y="1268658"/>
                </a:lnTo>
                <a:lnTo>
                  <a:pt x="1036762" y="1268658"/>
                </a:lnTo>
                <a:lnTo>
                  <a:pt x="1036762" y="1270940"/>
                </a:lnTo>
                <a:lnTo>
                  <a:pt x="1034479" y="1270940"/>
                </a:lnTo>
                <a:lnTo>
                  <a:pt x="1032195" y="1270940"/>
                </a:lnTo>
                <a:lnTo>
                  <a:pt x="1032195" y="1273222"/>
                </a:lnTo>
                <a:lnTo>
                  <a:pt x="1029911" y="1273222"/>
                </a:lnTo>
                <a:lnTo>
                  <a:pt x="1029911" y="1275504"/>
                </a:lnTo>
                <a:lnTo>
                  <a:pt x="1027628" y="1275504"/>
                </a:lnTo>
                <a:lnTo>
                  <a:pt x="1027628" y="1277786"/>
                </a:lnTo>
                <a:lnTo>
                  <a:pt x="1025344" y="1277786"/>
                </a:lnTo>
                <a:lnTo>
                  <a:pt x="1025344" y="1280068"/>
                </a:lnTo>
                <a:lnTo>
                  <a:pt x="1023061" y="1280068"/>
                </a:lnTo>
                <a:lnTo>
                  <a:pt x="1023061" y="1282349"/>
                </a:lnTo>
                <a:lnTo>
                  <a:pt x="1020777" y="1282349"/>
                </a:lnTo>
                <a:lnTo>
                  <a:pt x="1020777" y="1284631"/>
                </a:lnTo>
                <a:lnTo>
                  <a:pt x="1018493" y="1286913"/>
                </a:lnTo>
                <a:lnTo>
                  <a:pt x="1018493" y="1289195"/>
                </a:lnTo>
                <a:lnTo>
                  <a:pt x="1016210" y="1289195"/>
                </a:lnTo>
                <a:lnTo>
                  <a:pt x="1016210" y="1291477"/>
                </a:lnTo>
                <a:lnTo>
                  <a:pt x="1016210" y="1293759"/>
                </a:lnTo>
                <a:lnTo>
                  <a:pt x="1016210" y="1296041"/>
                </a:lnTo>
                <a:lnTo>
                  <a:pt x="1013926" y="1296041"/>
                </a:lnTo>
                <a:lnTo>
                  <a:pt x="1013926" y="1298323"/>
                </a:lnTo>
                <a:lnTo>
                  <a:pt x="1013926" y="1296041"/>
                </a:lnTo>
                <a:lnTo>
                  <a:pt x="1011643" y="1296041"/>
                </a:lnTo>
                <a:lnTo>
                  <a:pt x="1009359" y="1296041"/>
                </a:lnTo>
                <a:lnTo>
                  <a:pt x="1009359" y="1298323"/>
                </a:lnTo>
                <a:lnTo>
                  <a:pt x="1007076" y="1298323"/>
                </a:lnTo>
                <a:lnTo>
                  <a:pt x="1004792" y="1298323"/>
                </a:lnTo>
                <a:lnTo>
                  <a:pt x="1002508" y="1298323"/>
                </a:lnTo>
                <a:lnTo>
                  <a:pt x="1000225" y="1298323"/>
                </a:lnTo>
                <a:lnTo>
                  <a:pt x="997941" y="1298323"/>
                </a:lnTo>
                <a:lnTo>
                  <a:pt x="995657" y="1298323"/>
                </a:lnTo>
                <a:lnTo>
                  <a:pt x="993374" y="1298323"/>
                </a:lnTo>
                <a:lnTo>
                  <a:pt x="991090" y="1298323"/>
                </a:lnTo>
                <a:lnTo>
                  <a:pt x="991090" y="1300605"/>
                </a:lnTo>
                <a:lnTo>
                  <a:pt x="988807" y="1300605"/>
                </a:lnTo>
                <a:lnTo>
                  <a:pt x="988807" y="1302887"/>
                </a:lnTo>
                <a:lnTo>
                  <a:pt x="988807" y="1305168"/>
                </a:lnTo>
                <a:lnTo>
                  <a:pt x="986523" y="1305168"/>
                </a:lnTo>
                <a:lnTo>
                  <a:pt x="986523" y="1307450"/>
                </a:lnTo>
                <a:lnTo>
                  <a:pt x="986523" y="1309732"/>
                </a:lnTo>
                <a:lnTo>
                  <a:pt x="984240" y="1309732"/>
                </a:lnTo>
                <a:lnTo>
                  <a:pt x="984240" y="1312014"/>
                </a:lnTo>
                <a:lnTo>
                  <a:pt x="981956" y="1312014"/>
                </a:lnTo>
                <a:lnTo>
                  <a:pt x="979672" y="1312014"/>
                </a:lnTo>
                <a:lnTo>
                  <a:pt x="979672" y="1314296"/>
                </a:lnTo>
                <a:lnTo>
                  <a:pt x="977389" y="1314296"/>
                </a:lnTo>
                <a:lnTo>
                  <a:pt x="977389" y="1316578"/>
                </a:lnTo>
                <a:lnTo>
                  <a:pt x="977389" y="1318860"/>
                </a:lnTo>
                <a:lnTo>
                  <a:pt x="979672" y="1318860"/>
                </a:lnTo>
                <a:lnTo>
                  <a:pt x="979672" y="1321142"/>
                </a:lnTo>
                <a:lnTo>
                  <a:pt x="981956" y="1321142"/>
                </a:lnTo>
                <a:lnTo>
                  <a:pt x="984240" y="1321142"/>
                </a:lnTo>
                <a:lnTo>
                  <a:pt x="984240" y="1323424"/>
                </a:lnTo>
                <a:lnTo>
                  <a:pt x="984240" y="1325706"/>
                </a:lnTo>
                <a:lnTo>
                  <a:pt x="984240" y="1327987"/>
                </a:lnTo>
                <a:lnTo>
                  <a:pt x="981956" y="1327987"/>
                </a:lnTo>
                <a:lnTo>
                  <a:pt x="981956" y="1330269"/>
                </a:lnTo>
                <a:lnTo>
                  <a:pt x="979672" y="1330269"/>
                </a:lnTo>
                <a:lnTo>
                  <a:pt x="977389" y="1330269"/>
                </a:lnTo>
                <a:lnTo>
                  <a:pt x="977389" y="1332551"/>
                </a:lnTo>
                <a:lnTo>
                  <a:pt x="975105" y="1332551"/>
                </a:lnTo>
                <a:lnTo>
                  <a:pt x="972822" y="1332551"/>
                </a:lnTo>
                <a:lnTo>
                  <a:pt x="972822" y="1334833"/>
                </a:lnTo>
                <a:lnTo>
                  <a:pt x="970538" y="1334833"/>
                </a:lnTo>
                <a:lnTo>
                  <a:pt x="968254" y="1334833"/>
                </a:lnTo>
                <a:lnTo>
                  <a:pt x="965971" y="1334833"/>
                </a:lnTo>
                <a:lnTo>
                  <a:pt x="965971" y="1337115"/>
                </a:lnTo>
                <a:lnTo>
                  <a:pt x="963687" y="1337115"/>
                </a:lnTo>
                <a:lnTo>
                  <a:pt x="961403" y="1337115"/>
                </a:lnTo>
                <a:lnTo>
                  <a:pt x="961403" y="1339397"/>
                </a:lnTo>
                <a:lnTo>
                  <a:pt x="961403" y="1341679"/>
                </a:lnTo>
                <a:lnTo>
                  <a:pt x="959120" y="1341679"/>
                </a:lnTo>
                <a:lnTo>
                  <a:pt x="959120" y="1343961"/>
                </a:lnTo>
                <a:lnTo>
                  <a:pt x="959120" y="1346243"/>
                </a:lnTo>
                <a:lnTo>
                  <a:pt x="956836" y="1346243"/>
                </a:lnTo>
                <a:lnTo>
                  <a:pt x="956836" y="1348524"/>
                </a:lnTo>
                <a:lnTo>
                  <a:pt x="954553" y="1348524"/>
                </a:lnTo>
                <a:lnTo>
                  <a:pt x="954553" y="1350806"/>
                </a:lnTo>
                <a:lnTo>
                  <a:pt x="952269" y="1350806"/>
                </a:lnTo>
                <a:lnTo>
                  <a:pt x="949986" y="1350806"/>
                </a:lnTo>
                <a:lnTo>
                  <a:pt x="949986" y="1353088"/>
                </a:lnTo>
                <a:lnTo>
                  <a:pt x="947702" y="1353088"/>
                </a:lnTo>
                <a:lnTo>
                  <a:pt x="945418" y="1353088"/>
                </a:lnTo>
                <a:lnTo>
                  <a:pt x="943135" y="1353088"/>
                </a:lnTo>
                <a:lnTo>
                  <a:pt x="940851" y="1353088"/>
                </a:lnTo>
                <a:lnTo>
                  <a:pt x="938568" y="1353088"/>
                </a:lnTo>
                <a:lnTo>
                  <a:pt x="938568" y="1355370"/>
                </a:lnTo>
                <a:lnTo>
                  <a:pt x="938568" y="1357652"/>
                </a:lnTo>
                <a:lnTo>
                  <a:pt x="940851" y="1357652"/>
                </a:lnTo>
                <a:lnTo>
                  <a:pt x="938568" y="1357652"/>
                </a:lnTo>
                <a:lnTo>
                  <a:pt x="940851" y="1357652"/>
                </a:lnTo>
                <a:lnTo>
                  <a:pt x="940851" y="1359934"/>
                </a:lnTo>
                <a:lnTo>
                  <a:pt x="940851" y="1362216"/>
                </a:lnTo>
                <a:lnTo>
                  <a:pt x="938568" y="1362216"/>
                </a:lnTo>
                <a:lnTo>
                  <a:pt x="938568" y="1364498"/>
                </a:lnTo>
                <a:lnTo>
                  <a:pt x="936284" y="1364498"/>
                </a:lnTo>
                <a:lnTo>
                  <a:pt x="936284" y="1366780"/>
                </a:lnTo>
                <a:lnTo>
                  <a:pt x="934001" y="1366780"/>
                </a:lnTo>
                <a:lnTo>
                  <a:pt x="934001" y="1369062"/>
                </a:lnTo>
                <a:lnTo>
                  <a:pt x="934001" y="1371343"/>
                </a:lnTo>
                <a:lnTo>
                  <a:pt x="931717" y="1371343"/>
                </a:lnTo>
                <a:lnTo>
                  <a:pt x="929433" y="1371343"/>
                </a:lnTo>
                <a:lnTo>
                  <a:pt x="929433" y="1373625"/>
                </a:lnTo>
                <a:lnTo>
                  <a:pt x="927150" y="1373625"/>
                </a:lnTo>
                <a:lnTo>
                  <a:pt x="927150" y="1375907"/>
                </a:lnTo>
                <a:lnTo>
                  <a:pt x="924866" y="1375907"/>
                </a:lnTo>
                <a:lnTo>
                  <a:pt x="924866" y="1378189"/>
                </a:lnTo>
                <a:lnTo>
                  <a:pt x="924866" y="1380471"/>
                </a:lnTo>
                <a:lnTo>
                  <a:pt x="927150" y="1380471"/>
                </a:lnTo>
                <a:lnTo>
                  <a:pt x="927150" y="1382753"/>
                </a:lnTo>
                <a:lnTo>
                  <a:pt x="929433" y="1382753"/>
                </a:lnTo>
                <a:lnTo>
                  <a:pt x="929433" y="1385025"/>
                </a:lnTo>
                <a:lnTo>
                  <a:pt x="929433" y="1387307"/>
                </a:lnTo>
                <a:lnTo>
                  <a:pt x="931717" y="1387307"/>
                </a:lnTo>
                <a:lnTo>
                  <a:pt x="931717" y="1389589"/>
                </a:lnTo>
                <a:lnTo>
                  <a:pt x="929433" y="1389589"/>
                </a:lnTo>
                <a:lnTo>
                  <a:pt x="929433" y="1391871"/>
                </a:lnTo>
                <a:lnTo>
                  <a:pt x="927150" y="1391871"/>
                </a:lnTo>
                <a:lnTo>
                  <a:pt x="927150" y="1394153"/>
                </a:lnTo>
                <a:lnTo>
                  <a:pt x="927150" y="1396435"/>
                </a:lnTo>
                <a:lnTo>
                  <a:pt x="924866" y="1396435"/>
                </a:lnTo>
                <a:lnTo>
                  <a:pt x="924866" y="1398717"/>
                </a:lnTo>
                <a:lnTo>
                  <a:pt x="922582" y="1398717"/>
                </a:lnTo>
                <a:lnTo>
                  <a:pt x="922582" y="1400999"/>
                </a:lnTo>
                <a:lnTo>
                  <a:pt x="920299" y="1400999"/>
                </a:lnTo>
                <a:lnTo>
                  <a:pt x="920299" y="1403280"/>
                </a:lnTo>
                <a:lnTo>
                  <a:pt x="920299" y="1405562"/>
                </a:lnTo>
                <a:lnTo>
                  <a:pt x="920299" y="1407844"/>
                </a:lnTo>
                <a:lnTo>
                  <a:pt x="920299" y="1410126"/>
                </a:lnTo>
                <a:lnTo>
                  <a:pt x="918015" y="1410126"/>
                </a:lnTo>
                <a:lnTo>
                  <a:pt x="918015" y="1412408"/>
                </a:lnTo>
                <a:lnTo>
                  <a:pt x="915732" y="1412408"/>
                </a:lnTo>
                <a:lnTo>
                  <a:pt x="913448" y="1412408"/>
                </a:lnTo>
                <a:lnTo>
                  <a:pt x="911164" y="1412408"/>
                </a:lnTo>
                <a:lnTo>
                  <a:pt x="908881" y="1412408"/>
                </a:lnTo>
                <a:lnTo>
                  <a:pt x="906597" y="1412408"/>
                </a:lnTo>
                <a:lnTo>
                  <a:pt x="904314" y="1412408"/>
                </a:lnTo>
                <a:lnTo>
                  <a:pt x="904314" y="1414690"/>
                </a:lnTo>
                <a:lnTo>
                  <a:pt x="902030" y="1414690"/>
                </a:lnTo>
                <a:lnTo>
                  <a:pt x="899746" y="1414690"/>
                </a:lnTo>
                <a:lnTo>
                  <a:pt x="899746" y="1416972"/>
                </a:lnTo>
                <a:lnTo>
                  <a:pt x="897463" y="1416972"/>
                </a:lnTo>
                <a:lnTo>
                  <a:pt x="897463" y="1414690"/>
                </a:lnTo>
                <a:lnTo>
                  <a:pt x="895179" y="1414690"/>
                </a:lnTo>
                <a:lnTo>
                  <a:pt x="895179" y="1416972"/>
                </a:lnTo>
                <a:lnTo>
                  <a:pt x="892896" y="1416972"/>
                </a:lnTo>
                <a:lnTo>
                  <a:pt x="890612" y="1416972"/>
                </a:lnTo>
                <a:lnTo>
                  <a:pt x="888328" y="1416972"/>
                </a:lnTo>
                <a:lnTo>
                  <a:pt x="886045" y="1416972"/>
                </a:lnTo>
                <a:lnTo>
                  <a:pt x="883761" y="1416972"/>
                </a:lnTo>
                <a:lnTo>
                  <a:pt x="881478" y="1416972"/>
                </a:lnTo>
                <a:lnTo>
                  <a:pt x="881478" y="1419254"/>
                </a:lnTo>
                <a:lnTo>
                  <a:pt x="881478" y="1421535"/>
                </a:lnTo>
                <a:lnTo>
                  <a:pt x="879194" y="1421535"/>
                </a:lnTo>
                <a:lnTo>
                  <a:pt x="879194" y="1423818"/>
                </a:lnTo>
                <a:lnTo>
                  <a:pt x="879194" y="1426099"/>
                </a:lnTo>
                <a:lnTo>
                  <a:pt x="876911" y="1426099"/>
                </a:lnTo>
                <a:lnTo>
                  <a:pt x="876911" y="1428381"/>
                </a:lnTo>
                <a:lnTo>
                  <a:pt x="876911" y="1430663"/>
                </a:lnTo>
                <a:lnTo>
                  <a:pt x="874627" y="1430663"/>
                </a:lnTo>
                <a:lnTo>
                  <a:pt x="863209" y="1412408"/>
                </a:lnTo>
                <a:lnTo>
                  <a:pt x="860925" y="1410126"/>
                </a:lnTo>
                <a:lnTo>
                  <a:pt x="854074" y="1398717"/>
                </a:lnTo>
                <a:lnTo>
                  <a:pt x="851791" y="1394153"/>
                </a:lnTo>
                <a:lnTo>
                  <a:pt x="851791" y="1391871"/>
                </a:lnTo>
                <a:lnTo>
                  <a:pt x="840373" y="1375907"/>
                </a:lnTo>
                <a:lnTo>
                  <a:pt x="831238" y="1362216"/>
                </a:lnTo>
                <a:lnTo>
                  <a:pt x="831238" y="1359934"/>
                </a:lnTo>
                <a:lnTo>
                  <a:pt x="828955" y="1357652"/>
                </a:lnTo>
                <a:lnTo>
                  <a:pt x="831238" y="1355370"/>
                </a:lnTo>
                <a:lnTo>
                  <a:pt x="833522" y="1355370"/>
                </a:lnTo>
                <a:lnTo>
                  <a:pt x="835806" y="1353088"/>
                </a:lnTo>
                <a:lnTo>
                  <a:pt x="835806" y="1355370"/>
                </a:lnTo>
                <a:lnTo>
                  <a:pt x="838089" y="1355370"/>
                </a:lnTo>
                <a:lnTo>
                  <a:pt x="838089" y="1353088"/>
                </a:lnTo>
                <a:lnTo>
                  <a:pt x="840373" y="1353088"/>
                </a:lnTo>
                <a:lnTo>
                  <a:pt x="838089" y="1353088"/>
                </a:lnTo>
                <a:lnTo>
                  <a:pt x="838089" y="1350806"/>
                </a:lnTo>
                <a:lnTo>
                  <a:pt x="840373" y="1348524"/>
                </a:lnTo>
                <a:lnTo>
                  <a:pt x="835806" y="1348524"/>
                </a:lnTo>
                <a:lnTo>
                  <a:pt x="838089" y="1346243"/>
                </a:lnTo>
                <a:lnTo>
                  <a:pt x="838089" y="1343961"/>
                </a:lnTo>
                <a:lnTo>
                  <a:pt x="840373" y="1343961"/>
                </a:lnTo>
                <a:lnTo>
                  <a:pt x="840373" y="1341679"/>
                </a:lnTo>
                <a:lnTo>
                  <a:pt x="842657" y="1341679"/>
                </a:lnTo>
                <a:lnTo>
                  <a:pt x="842657" y="1339397"/>
                </a:lnTo>
                <a:lnTo>
                  <a:pt x="844940" y="1337115"/>
                </a:lnTo>
                <a:lnTo>
                  <a:pt x="849507" y="1332551"/>
                </a:lnTo>
                <a:lnTo>
                  <a:pt x="851791" y="1327987"/>
                </a:lnTo>
                <a:lnTo>
                  <a:pt x="854074" y="1325706"/>
                </a:lnTo>
                <a:lnTo>
                  <a:pt x="856358" y="1323424"/>
                </a:lnTo>
                <a:lnTo>
                  <a:pt x="858642" y="1321142"/>
                </a:lnTo>
                <a:lnTo>
                  <a:pt x="860925" y="1316578"/>
                </a:lnTo>
                <a:lnTo>
                  <a:pt x="865492" y="1309732"/>
                </a:lnTo>
                <a:lnTo>
                  <a:pt x="870060" y="1307450"/>
                </a:lnTo>
                <a:lnTo>
                  <a:pt x="874627" y="1300605"/>
                </a:lnTo>
                <a:lnTo>
                  <a:pt x="876911" y="1298323"/>
                </a:lnTo>
                <a:lnTo>
                  <a:pt x="879194" y="1296041"/>
                </a:lnTo>
                <a:lnTo>
                  <a:pt x="890612" y="1282349"/>
                </a:lnTo>
                <a:lnTo>
                  <a:pt x="890612" y="1280068"/>
                </a:lnTo>
                <a:lnTo>
                  <a:pt x="895179" y="1275504"/>
                </a:lnTo>
                <a:lnTo>
                  <a:pt x="897463" y="1273222"/>
                </a:lnTo>
                <a:lnTo>
                  <a:pt x="902030" y="1268658"/>
                </a:lnTo>
                <a:lnTo>
                  <a:pt x="902030" y="1266376"/>
                </a:lnTo>
                <a:lnTo>
                  <a:pt x="906597" y="1261812"/>
                </a:lnTo>
                <a:lnTo>
                  <a:pt x="904314" y="1259531"/>
                </a:lnTo>
                <a:lnTo>
                  <a:pt x="902030" y="1257249"/>
                </a:lnTo>
                <a:lnTo>
                  <a:pt x="899746" y="1257249"/>
                </a:lnTo>
                <a:lnTo>
                  <a:pt x="895179" y="1254967"/>
                </a:lnTo>
                <a:lnTo>
                  <a:pt x="892896" y="1254967"/>
                </a:lnTo>
                <a:lnTo>
                  <a:pt x="890612" y="1254967"/>
                </a:lnTo>
                <a:lnTo>
                  <a:pt x="890612" y="1252685"/>
                </a:lnTo>
                <a:lnTo>
                  <a:pt x="888328" y="1252685"/>
                </a:lnTo>
                <a:lnTo>
                  <a:pt x="886045" y="1252685"/>
                </a:lnTo>
                <a:lnTo>
                  <a:pt x="881478" y="1254967"/>
                </a:lnTo>
                <a:lnTo>
                  <a:pt x="879194" y="1254967"/>
                </a:lnTo>
                <a:lnTo>
                  <a:pt x="874627" y="1254967"/>
                </a:lnTo>
                <a:lnTo>
                  <a:pt x="872343" y="1254967"/>
                </a:lnTo>
                <a:lnTo>
                  <a:pt x="870060" y="1254967"/>
                </a:lnTo>
                <a:lnTo>
                  <a:pt x="860925" y="1257249"/>
                </a:lnTo>
                <a:lnTo>
                  <a:pt x="856358" y="1257249"/>
                </a:lnTo>
                <a:lnTo>
                  <a:pt x="851791" y="1259531"/>
                </a:lnTo>
                <a:lnTo>
                  <a:pt x="847224" y="1259531"/>
                </a:lnTo>
                <a:lnTo>
                  <a:pt x="844940" y="1259531"/>
                </a:lnTo>
                <a:lnTo>
                  <a:pt x="842657" y="1259531"/>
                </a:lnTo>
                <a:lnTo>
                  <a:pt x="838089" y="1259531"/>
                </a:lnTo>
                <a:lnTo>
                  <a:pt x="835806" y="1259531"/>
                </a:lnTo>
                <a:lnTo>
                  <a:pt x="833522" y="1259531"/>
                </a:lnTo>
                <a:lnTo>
                  <a:pt x="828955" y="1261812"/>
                </a:lnTo>
                <a:lnTo>
                  <a:pt x="826671" y="1261812"/>
                </a:lnTo>
                <a:lnTo>
                  <a:pt x="824388" y="1261812"/>
                </a:lnTo>
                <a:lnTo>
                  <a:pt x="822104" y="1261812"/>
                </a:lnTo>
                <a:lnTo>
                  <a:pt x="819821" y="1261812"/>
                </a:lnTo>
                <a:lnTo>
                  <a:pt x="817537" y="1264094"/>
                </a:lnTo>
                <a:lnTo>
                  <a:pt x="815253" y="1261812"/>
                </a:lnTo>
                <a:lnTo>
                  <a:pt x="815253" y="1259531"/>
                </a:lnTo>
                <a:lnTo>
                  <a:pt x="812970" y="1257249"/>
                </a:lnTo>
                <a:lnTo>
                  <a:pt x="815253" y="1254967"/>
                </a:lnTo>
                <a:lnTo>
                  <a:pt x="815253" y="1252685"/>
                </a:lnTo>
                <a:lnTo>
                  <a:pt x="815253" y="1250403"/>
                </a:lnTo>
                <a:lnTo>
                  <a:pt x="815253" y="1248121"/>
                </a:lnTo>
                <a:lnTo>
                  <a:pt x="815253" y="1245839"/>
                </a:lnTo>
                <a:lnTo>
                  <a:pt x="815253" y="1243557"/>
                </a:lnTo>
                <a:lnTo>
                  <a:pt x="815253" y="1241275"/>
                </a:lnTo>
                <a:lnTo>
                  <a:pt x="812970" y="1241275"/>
                </a:lnTo>
                <a:lnTo>
                  <a:pt x="812970" y="1238993"/>
                </a:lnTo>
                <a:lnTo>
                  <a:pt x="810686" y="1238993"/>
                </a:lnTo>
                <a:lnTo>
                  <a:pt x="810686" y="1236712"/>
                </a:lnTo>
                <a:lnTo>
                  <a:pt x="810686" y="1234430"/>
                </a:lnTo>
                <a:lnTo>
                  <a:pt x="808403" y="1234430"/>
                </a:lnTo>
                <a:lnTo>
                  <a:pt x="808403" y="1232148"/>
                </a:lnTo>
                <a:lnTo>
                  <a:pt x="808403" y="1229866"/>
                </a:lnTo>
                <a:lnTo>
                  <a:pt x="808403" y="1227594"/>
                </a:lnTo>
                <a:lnTo>
                  <a:pt x="808403" y="1225312"/>
                </a:lnTo>
                <a:lnTo>
                  <a:pt x="810686" y="1225312"/>
                </a:lnTo>
                <a:lnTo>
                  <a:pt x="810686" y="1223030"/>
                </a:lnTo>
                <a:lnTo>
                  <a:pt x="808403" y="1223030"/>
                </a:lnTo>
                <a:lnTo>
                  <a:pt x="806119" y="1225312"/>
                </a:lnTo>
                <a:lnTo>
                  <a:pt x="803835" y="1225312"/>
                </a:lnTo>
                <a:lnTo>
                  <a:pt x="799268" y="1225312"/>
                </a:lnTo>
                <a:lnTo>
                  <a:pt x="801552" y="1229866"/>
                </a:lnTo>
                <a:lnTo>
                  <a:pt x="801552" y="1232148"/>
                </a:lnTo>
                <a:lnTo>
                  <a:pt x="801552" y="1234430"/>
                </a:lnTo>
                <a:lnTo>
                  <a:pt x="796984" y="1236712"/>
                </a:lnTo>
                <a:lnTo>
                  <a:pt x="794701" y="1236712"/>
                </a:lnTo>
                <a:lnTo>
                  <a:pt x="792417" y="1236712"/>
                </a:lnTo>
                <a:lnTo>
                  <a:pt x="790134" y="1236712"/>
                </a:lnTo>
                <a:lnTo>
                  <a:pt x="787850" y="1238993"/>
                </a:lnTo>
                <a:lnTo>
                  <a:pt x="785567" y="1238993"/>
                </a:lnTo>
                <a:lnTo>
                  <a:pt x="780999" y="1238993"/>
                </a:lnTo>
                <a:lnTo>
                  <a:pt x="776432" y="1241275"/>
                </a:lnTo>
                <a:lnTo>
                  <a:pt x="776432" y="1243557"/>
                </a:lnTo>
                <a:lnTo>
                  <a:pt x="776432" y="1245839"/>
                </a:lnTo>
                <a:lnTo>
                  <a:pt x="774149" y="1245839"/>
                </a:lnTo>
                <a:lnTo>
                  <a:pt x="774149" y="1248121"/>
                </a:lnTo>
                <a:lnTo>
                  <a:pt x="771865" y="1248121"/>
                </a:lnTo>
                <a:lnTo>
                  <a:pt x="771865" y="1250403"/>
                </a:lnTo>
                <a:lnTo>
                  <a:pt x="771865" y="1252685"/>
                </a:lnTo>
                <a:lnTo>
                  <a:pt x="774149" y="1252685"/>
                </a:lnTo>
                <a:lnTo>
                  <a:pt x="774149" y="1254967"/>
                </a:lnTo>
                <a:lnTo>
                  <a:pt x="771865" y="1254967"/>
                </a:lnTo>
                <a:lnTo>
                  <a:pt x="769582" y="1254967"/>
                </a:lnTo>
                <a:lnTo>
                  <a:pt x="769582" y="1257249"/>
                </a:lnTo>
                <a:lnTo>
                  <a:pt x="769582" y="1259531"/>
                </a:lnTo>
                <a:lnTo>
                  <a:pt x="771865" y="1259531"/>
                </a:lnTo>
                <a:lnTo>
                  <a:pt x="771865" y="1261812"/>
                </a:lnTo>
                <a:lnTo>
                  <a:pt x="771865" y="1264094"/>
                </a:lnTo>
                <a:lnTo>
                  <a:pt x="774149" y="1264094"/>
                </a:lnTo>
                <a:lnTo>
                  <a:pt x="774149" y="1266376"/>
                </a:lnTo>
                <a:lnTo>
                  <a:pt x="776432" y="1266376"/>
                </a:lnTo>
                <a:lnTo>
                  <a:pt x="776432" y="1268658"/>
                </a:lnTo>
                <a:lnTo>
                  <a:pt x="778716" y="1268658"/>
                </a:lnTo>
                <a:lnTo>
                  <a:pt x="778716" y="1270940"/>
                </a:lnTo>
                <a:lnTo>
                  <a:pt x="778716" y="1273222"/>
                </a:lnTo>
                <a:lnTo>
                  <a:pt x="778716" y="1277786"/>
                </a:lnTo>
                <a:lnTo>
                  <a:pt x="774149" y="1280068"/>
                </a:lnTo>
                <a:lnTo>
                  <a:pt x="771865" y="1280068"/>
                </a:lnTo>
                <a:lnTo>
                  <a:pt x="769582" y="1289195"/>
                </a:lnTo>
                <a:lnTo>
                  <a:pt x="771865" y="1291477"/>
                </a:lnTo>
                <a:lnTo>
                  <a:pt x="771865" y="1293759"/>
                </a:lnTo>
                <a:lnTo>
                  <a:pt x="771865" y="1298323"/>
                </a:lnTo>
                <a:lnTo>
                  <a:pt x="769582" y="1298323"/>
                </a:lnTo>
                <a:lnTo>
                  <a:pt x="767298" y="1298323"/>
                </a:lnTo>
                <a:lnTo>
                  <a:pt x="765014" y="1300605"/>
                </a:lnTo>
                <a:lnTo>
                  <a:pt x="767298" y="1302887"/>
                </a:lnTo>
                <a:lnTo>
                  <a:pt x="769582" y="1305168"/>
                </a:lnTo>
                <a:lnTo>
                  <a:pt x="780999" y="1316578"/>
                </a:lnTo>
                <a:lnTo>
                  <a:pt x="778716" y="1316578"/>
                </a:lnTo>
                <a:lnTo>
                  <a:pt x="778716" y="1318860"/>
                </a:lnTo>
                <a:lnTo>
                  <a:pt x="776432" y="1318860"/>
                </a:lnTo>
                <a:lnTo>
                  <a:pt x="776432" y="1321142"/>
                </a:lnTo>
                <a:lnTo>
                  <a:pt x="778716" y="1321142"/>
                </a:lnTo>
                <a:lnTo>
                  <a:pt x="778716" y="1323424"/>
                </a:lnTo>
                <a:lnTo>
                  <a:pt x="780999" y="1323424"/>
                </a:lnTo>
                <a:lnTo>
                  <a:pt x="778716" y="1323424"/>
                </a:lnTo>
                <a:lnTo>
                  <a:pt x="778716" y="1325706"/>
                </a:lnTo>
                <a:lnTo>
                  <a:pt x="776432" y="1325706"/>
                </a:lnTo>
                <a:lnTo>
                  <a:pt x="776432" y="1323424"/>
                </a:lnTo>
                <a:lnTo>
                  <a:pt x="776432" y="1325706"/>
                </a:lnTo>
                <a:lnTo>
                  <a:pt x="774149" y="1325706"/>
                </a:lnTo>
                <a:lnTo>
                  <a:pt x="774149" y="1323424"/>
                </a:lnTo>
                <a:lnTo>
                  <a:pt x="774149" y="1325706"/>
                </a:lnTo>
                <a:lnTo>
                  <a:pt x="771865" y="1325706"/>
                </a:lnTo>
                <a:lnTo>
                  <a:pt x="769582" y="1325706"/>
                </a:lnTo>
                <a:lnTo>
                  <a:pt x="767298" y="1325706"/>
                </a:lnTo>
                <a:lnTo>
                  <a:pt x="765014" y="1325706"/>
                </a:lnTo>
                <a:lnTo>
                  <a:pt x="765014" y="1327987"/>
                </a:lnTo>
                <a:lnTo>
                  <a:pt x="765014" y="1330269"/>
                </a:lnTo>
                <a:lnTo>
                  <a:pt x="765014" y="1332551"/>
                </a:lnTo>
                <a:lnTo>
                  <a:pt x="762731" y="1332551"/>
                </a:lnTo>
                <a:lnTo>
                  <a:pt x="765014" y="1332551"/>
                </a:lnTo>
                <a:lnTo>
                  <a:pt x="765014" y="1334833"/>
                </a:lnTo>
                <a:lnTo>
                  <a:pt x="762731" y="1334833"/>
                </a:lnTo>
                <a:lnTo>
                  <a:pt x="762731" y="1337115"/>
                </a:lnTo>
                <a:lnTo>
                  <a:pt x="762731" y="1339397"/>
                </a:lnTo>
                <a:lnTo>
                  <a:pt x="760447" y="1339397"/>
                </a:lnTo>
                <a:lnTo>
                  <a:pt x="760447" y="1341679"/>
                </a:lnTo>
                <a:lnTo>
                  <a:pt x="760447" y="1339397"/>
                </a:lnTo>
                <a:lnTo>
                  <a:pt x="760447" y="1341679"/>
                </a:lnTo>
                <a:lnTo>
                  <a:pt x="758163" y="1341679"/>
                </a:lnTo>
                <a:lnTo>
                  <a:pt x="755880" y="1341679"/>
                </a:lnTo>
                <a:lnTo>
                  <a:pt x="755880" y="1343961"/>
                </a:lnTo>
                <a:lnTo>
                  <a:pt x="755880" y="1346243"/>
                </a:lnTo>
                <a:lnTo>
                  <a:pt x="753596" y="1346243"/>
                </a:lnTo>
                <a:lnTo>
                  <a:pt x="753596" y="1348524"/>
                </a:lnTo>
                <a:lnTo>
                  <a:pt x="753596" y="1346243"/>
                </a:lnTo>
                <a:lnTo>
                  <a:pt x="753596" y="1348524"/>
                </a:lnTo>
                <a:lnTo>
                  <a:pt x="751313" y="1348524"/>
                </a:lnTo>
                <a:lnTo>
                  <a:pt x="751313" y="1346243"/>
                </a:lnTo>
                <a:lnTo>
                  <a:pt x="749029" y="1346243"/>
                </a:lnTo>
                <a:lnTo>
                  <a:pt x="749029" y="1343961"/>
                </a:lnTo>
                <a:lnTo>
                  <a:pt x="746745" y="1343961"/>
                </a:lnTo>
                <a:lnTo>
                  <a:pt x="746745" y="1346243"/>
                </a:lnTo>
                <a:lnTo>
                  <a:pt x="746745" y="1348524"/>
                </a:lnTo>
                <a:lnTo>
                  <a:pt x="749029" y="1348524"/>
                </a:lnTo>
                <a:lnTo>
                  <a:pt x="749029" y="1350806"/>
                </a:lnTo>
                <a:lnTo>
                  <a:pt x="751313" y="1350806"/>
                </a:lnTo>
                <a:lnTo>
                  <a:pt x="751313" y="1353088"/>
                </a:lnTo>
                <a:lnTo>
                  <a:pt x="751313" y="1355370"/>
                </a:lnTo>
                <a:lnTo>
                  <a:pt x="753596" y="1355370"/>
                </a:lnTo>
                <a:lnTo>
                  <a:pt x="753596" y="1357652"/>
                </a:lnTo>
                <a:lnTo>
                  <a:pt x="755880" y="1357652"/>
                </a:lnTo>
                <a:lnTo>
                  <a:pt x="753596" y="1357652"/>
                </a:lnTo>
                <a:lnTo>
                  <a:pt x="755880" y="1357652"/>
                </a:lnTo>
                <a:lnTo>
                  <a:pt x="755880" y="1359934"/>
                </a:lnTo>
                <a:lnTo>
                  <a:pt x="755880" y="1362216"/>
                </a:lnTo>
                <a:lnTo>
                  <a:pt x="755880" y="1364498"/>
                </a:lnTo>
                <a:lnTo>
                  <a:pt x="753596" y="1364498"/>
                </a:lnTo>
                <a:lnTo>
                  <a:pt x="753596" y="1366780"/>
                </a:lnTo>
                <a:lnTo>
                  <a:pt x="753596" y="1369062"/>
                </a:lnTo>
                <a:lnTo>
                  <a:pt x="753596" y="1371343"/>
                </a:lnTo>
                <a:lnTo>
                  <a:pt x="755880" y="1371343"/>
                </a:lnTo>
                <a:lnTo>
                  <a:pt x="755880" y="1373625"/>
                </a:lnTo>
                <a:lnTo>
                  <a:pt x="753596" y="1373625"/>
                </a:lnTo>
                <a:lnTo>
                  <a:pt x="753596" y="1375907"/>
                </a:lnTo>
                <a:lnTo>
                  <a:pt x="753596" y="1378189"/>
                </a:lnTo>
                <a:lnTo>
                  <a:pt x="753596" y="1380471"/>
                </a:lnTo>
                <a:lnTo>
                  <a:pt x="753596" y="1382753"/>
                </a:lnTo>
                <a:lnTo>
                  <a:pt x="755880" y="1382753"/>
                </a:lnTo>
                <a:lnTo>
                  <a:pt x="755880" y="1385025"/>
                </a:lnTo>
                <a:lnTo>
                  <a:pt x="755880" y="1387307"/>
                </a:lnTo>
                <a:lnTo>
                  <a:pt x="753596" y="1387307"/>
                </a:lnTo>
                <a:lnTo>
                  <a:pt x="753596" y="1389589"/>
                </a:lnTo>
                <a:lnTo>
                  <a:pt x="751313" y="1389589"/>
                </a:lnTo>
                <a:lnTo>
                  <a:pt x="751313" y="1391871"/>
                </a:lnTo>
                <a:lnTo>
                  <a:pt x="749029" y="1391871"/>
                </a:lnTo>
                <a:lnTo>
                  <a:pt x="749029" y="1394153"/>
                </a:lnTo>
                <a:lnTo>
                  <a:pt x="751313" y="1394153"/>
                </a:lnTo>
                <a:lnTo>
                  <a:pt x="751313" y="1396435"/>
                </a:lnTo>
                <a:lnTo>
                  <a:pt x="749029" y="1396435"/>
                </a:lnTo>
                <a:lnTo>
                  <a:pt x="749029" y="1398717"/>
                </a:lnTo>
                <a:lnTo>
                  <a:pt x="746745" y="1398717"/>
                </a:lnTo>
                <a:lnTo>
                  <a:pt x="744462" y="1398717"/>
                </a:lnTo>
                <a:lnTo>
                  <a:pt x="742178" y="1398717"/>
                </a:lnTo>
                <a:lnTo>
                  <a:pt x="742178" y="1400999"/>
                </a:lnTo>
                <a:lnTo>
                  <a:pt x="742178" y="1398717"/>
                </a:lnTo>
                <a:lnTo>
                  <a:pt x="739895" y="1398717"/>
                </a:lnTo>
                <a:lnTo>
                  <a:pt x="739895" y="1400999"/>
                </a:lnTo>
                <a:lnTo>
                  <a:pt x="737611" y="1400999"/>
                </a:lnTo>
                <a:lnTo>
                  <a:pt x="735328" y="1400999"/>
                </a:lnTo>
                <a:lnTo>
                  <a:pt x="733044" y="1400999"/>
                </a:lnTo>
                <a:lnTo>
                  <a:pt x="733044" y="1403280"/>
                </a:lnTo>
                <a:lnTo>
                  <a:pt x="730760" y="1403280"/>
                </a:lnTo>
                <a:lnTo>
                  <a:pt x="730760" y="1405562"/>
                </a:lnTo>
                <a:lnTo>
                  <a:pt x="730760" y="1407844"/>
                </a:lnTo>
                <a:lnTo>
                  <a:pt x="733044" y="1407844"/>
                </a:lnTo>
                <a:lnTo>
                  <a:pt x="733044" y="1410126"/>
                </a:lnTo>
                <a:lnTo>
                  <a:pt x="733044" y="1412408"/>
                </a:lnTo>
                <a:lnTo>
                  <a:pt x="733044" y="1414690"/>
                </a:lnTo>
                <a:lnTo>
                  <a:pt x="733044" y="1416972"/>
                </a:lnTo>
                <a:lnTo>
                  <a:pt x="730760" y="1416972"/>
                </a:lnTo>
                <a:lnTo>
                  <a:pt x="730760" y="1419254"/>
                </a:lnTo>
                <a:lnTo>
                  <a:pt x="728477" y="1419254"/>
                </a:lnTo>
                <a:lnTo>
                  <a:pt x="728477" y="1421535"/>
                </a:lnTo>
                <a:lnTo>
                  <a:pt x="726193" y="1421535"/>
                </a:lnTo>
                <a:lnTo>
                  <a:pt x="726193" y="1423818"/>
                </a:lnTo>
                <a:lnTo>
                  <a:pt x="723909" y="1423818"/>
                </a:lnTo>
                <a:lnTo>
                  <a:pt x="723909" y="1426099"/>
                </a:lnTo>
                <a:lnTo>
                  <a:pt x="719342" y="1421535"/>
                </a:lnTo>
                <a:lnTo>
                  <a:pt x="717059" y="1421535"/>
                </a:lnTo>
                <a:lnTo>
                  <a:pt x="714775" y="1419254"/>
                </a:lnTo>
                <a:lnTo>
                  <a:pt x="712492" y="1416972"/>
                </a:lnTo>
                <a:lnTo>
                  <a:pt x="710208" y="1414690"/>
                </a:lnTo>
                <a:lnTo>
                  <a:pt x="710208" y="1412408"/>
                </a:lnTo>
                <a:lnTo>
                  <a:pt x="707924" y="1412408"/>
                </a:lnTo>
                <a:lnTo>
                  <a:pt x="705641" y="1410126"/>
                </a:lnTo>
                <a:lnTo>
                  <a:pt x="703357" y="1407844"/>
                </a:lnTo>
                <a:lnTo>
                  <a:pt x="698790" y="1405562"/>
                </a:lnTo>
                <a:lnTo>
                  <a:pt x="696506" y="1403280"/>
                </a:lnTo>
                <a:lnTo>
                  <a:pt x="689655" y="1400999"/>
                </a:lnTo>
                <a:lnTo>
                  <a:pt x="691939" y="1398717"/>
                </a:lnTo>
                <a:lnTo>
                  <a:pt x="694223" y="1394153"/>
                </a:lnTo>
                <a:lnTo>
                  <a:pt x="696506" y="1387307"/>
                </a:lnTo>
                <a:lnTo>
                  <a:pt x="698790" y="1387307"/>
                </a:lnTo>
                <a:lnTo>
                  <a:pt x="696506" y="1380471"/>
                </a:lnTo>
                <a:lnTo>
                  <a:pt x="691939" y="1373625"/>
                </a:lnTo>
                <a:lnTo>
                  <a:pt x="689655" y="1371343"/>
                </a:lnTo>
                <a:lnTo>
                  <a:pt x="680521" y="1359934"/>
                </a:lnTo>
                <a:lnTo>
                  <a:pt x="678238" y="1359934"/>
                </a:lnTo>
                <a:lnTo>
                  <a:pt x="675954" y="1357652"/>
                </a:lnTo>
                <a:lnTo>
                  <a:pt x="669103" y="1364498"/>
                </a:lnTo>
                <a:lnTo>
                  <a:pt x="657685" y="1353088"/>
                </a:lnTo>
                <a:lnTo>
                  <a:pt x="659969" y="1348524"/>
                </a:lnTo>
                <a:lnTo>
                  <a:pt x="662253" y="1346243"/>
                </a:lnTo>
                <a:lnTo>
                  <a:pt x="669103" y="1334833"/>
                </a:lnTo>
                <a:lnTo>
                  <a:pt x="669103" y="1332551"/>
                </a:lnTo>
                <a:lnTo>
                  <a:pt x="675954" y="1323424"/>
                </a:lnTo>
                <a:lnTo>
                  <a:pt x="680521" y="1323424"/>
                </a:lnTo>
                <a:lnTo>
                  <a:pt x="685088" y="1312014"/>
                </a:lnTo>
                <a:lnTo>
                  <a:pt x="687372" y="1309732"/>
                </a:lnTo>
                <a:lnTo>
                  <a:pt x="689655" y="1298323"/>
                </a:lnTo>
                <a:lnTo>
                  <a:pt x="685088" y="1296041"/>
                </a:lnTo>
                <a:lnTo>
                  <a:pt x="673670" y="1289195"/>
                </a:lnTo>
                <a:lnTo>
                  <a:pt x="675954" y="1286913"/>
                </a:lnTo>
                <a:lnTo>
                  <a:pt x="687372" y="1266376"/>
                </a:lnTo>
                <a:lnTo>
                  <a:pt x="680521" y="1261812"/>
                </a:lnTo>
                <a:lnTo>
                  <a:pt x="675954" y="1259531"/>
                </a:lnTo>
                <a:lnTo>
                  <a:pt x="671387" y="1257249"/>
                </a:lnTo>
                <a:lnTo>
                  <a:pt x="669103" y="1257249"/>
                </a:lnTo>
                <a:lnTo>
                  <a:pt x="666820" y="1259531"/>
                </a:lnTo>
                <a:lnTo>
                  <a:pt x="664536" y="1259531"/>
                </a:lnTo>
                <a:lnTo>
                  <a:pt x="662253" y="1259531"/>
                </a:lnTo>
                <a:lnTo>
                  <a:pt x="659969" y="1259531"/>
                </a:lnTo>
                <a:lnTo>
                  <a:pt x="657685" y="1259531"/>
                </a:lnTo>
                <a:lnTo>
                  <a:pt x="657685" y="1261812"/>
                </a:lnTo>
                <a:lnTo>
                  <a:pt x="655402" y="1261812"/>
                </a:lnTo>
                <a:lnTo>
                  <a:pt x="646267" y="1264094"/>
                </a:lnTo>
                <a:lnTo>
                  <a:pt x="639416" y="1266376"/>
                </a:lnTo>
                <a:lnTo>
                  <a:pt x="637133" y="1266376"/>
                </a:lnTo>
                <a:lnTo>
                  <a:pt x="632566" y="1266376"/>
                </a:lnTo>
                <a:lnTo>
                  <a:pt x="621148" y="1270940"/>
                </a:lnTo>
                <a:lnTo>
                  <a:pt x="618855" y="1270940"/>
                </a:lnTo>
                <a:lnTo>
                  <a:pt x="602869" y="1275504"/>
                </a:lnTo>
                <a:lnTo>
                  <a:pt x="593735" y="1277786"/>
                </a:lnTo>
                <a:lnTo>
                  <a:pt x="591451" y="1277786"/>
                </a:lnTo>
                <a:lnTo>
                  <a:pt x="589168" y="1277786"/>
                </a:lnTo>
                <a:lnTo>
                  <a:pt x="586884" y="1277786"/>
                </a:lnTo>
                <a:lnTo>
                  <a:pt x="582317" y="1280068"/>
                </a:lnTo>
                <a:lnTo>
                  <a:pt x="575466" y="1282349"/>
                </a:lnTo>
                <a:lnTo>
                  <a:pt x="566332" y="1282349"/>
                </a:lnTo>
                <a:lnTo>
                  <a:pt x="564048" y="1284631"/>
                </a:lnTo>
                <a:lnTo>
                  <a:pt x="564048" y="1280068"/>
                </a:lnTo>
                <a:lnTo>
                  <a:pt x="561765" y="1275504"/>
                </a:lnTo>
                <a:lnTo>
                  <a:pt x="559481" y="1270940"/>
                </a:lnTo>
                <a:lnTo>
                  <a:pt x="557197" y="1270940"/>
                </a:lnTo>
                <a:lnTo>
                  <a:pt x="557197" y="1268658"/>
                </a:lnTo>
                <a:lnTo>
                  <a:pt x="559481" y="1266376"/>
                </a:lnTo>
                <a:lnTo>
                  <a:pt x="559481" y="1264094"/>
                </a:lnTo>
                <a:lnTo>
                  <a:pt x="559481" y="1261812"/>
                </a:lnTo>
                <a:lnTo>
                  <a:pt x="559481" y="1259531"/>
                </a:lnTo>
                <a:lnTo>
                  <a:pt x="559481" y="1257249"/>
                </a:lnTo>
                <a:lnTo>
                  <a:pt x="561765" y="1254967"/>
                </a:lnTo>
                <a:lnTo>
                  <a:pt x="561765" y="1252685"/>
                </a:lnTo>
                <a:lnTo>
                  <a:pt x="561765" y="1248121"/>
                </a:lnTo>
                <a:lnTo>
                  <a:pt x="561765" y="1245839"/>
                </a:lnTo>
                <a:lnTo>
                  <a:pt x="564048" y="1245839"/>
                </a:lnTo>
                <a:lnTo>
                  <a:pt x="564048" y="1243557"/>
                </a:lnTo>
                <a:lnTo>
                  <a:pt x="566332" y="1238993"/>
                </a:lnTo>
                <a:lnTo>
                  <a:pt x="566332" y="1236712"/>
                </a:lnTo>
                <a:lnTo>
                  <a:pt x="566332" y="1234430"/>
                </a:lnTo>
                <a:lnTo>
                  <a:pt x="541212" y="1227594"/>
                </a:lnTo>
                <a:lnTo>
                  <a:pt x="541212" y="1225312"/>
                </a:lnTo>
                <a:lnTo>
                  <a:pt x="541212" y="1223030"/>
                </a:lnTo>
                <a:lnTo>
                  <a:pt x="541212" y="1209338"/>
                </a:lnTo>
                <a:lnTo>
                  <a:pt x="541212" y="1200211"/>
                </a:lnTo>
                <a:lnTo>
                  <a:pt x="541212" y="1197929"/>
                </a:lnTo>
                <a:lnTo>
                  <a:pt x="541212" y="1195647"/>
                </a:lnTo>
                <a:lnTo>
                  <a:pt x="541212" y="1193365"/>
                </a:lnTo>
                <a:lnTo>
                  <a:pt x="541212" y="1191083"/>
                </a:lnTo>
                <a:lnTo>
                  <a:pt x="543496" y="1188801"/>
                </a:lnTo>
                <a:lnTo>
                  <a:pt x="541212" y="1184237"/>
                </a:lnTo>
                <a:lnTo>
                  <a:pt x="541212" y="1170546"/>
                </a:lnTo>
                <a:lnTo>
                  <a:pt x="541212" y="1163700"/>
                </a:lnTo>
                <a:lnTo>
                  <a:pt x="543496" y="1156855"/>
                </a:lnTo>
                <a:lnTo>
                  <a:pt x="545779" y="1147727"/>
                </a:lnTo>
                <a:lnTo>
                  <a:pt x="545779" y="1145445"/>
                </a:lnTo>
                <a:lnTo>
                  <a:pt x="545779" y="1143163"/>
                </a:lnTo>
                <a:lnTo>
                  <a:pt x="548063" y="1140881"/>
                </a:lnTo>
                <a:lnTo>
                  <a:pt x="550347" y="1129472"/>
                </a:lnTo>
                <a:lnTo>
                  <a:pt x="552630" y="1124908"/>
                </a:lnTo>
                <a:lnTo>
                  <a:pt x="548063" y="1127190"/>
                </a:lnTo>
                <a:lnTo>
                  <a:pt x="543496" y="1124908"/>
                </a:lnTo>
                <a:lnTo>
                  <a:pt x="536645" y="1120344"/>
                </a:lnTo>
                <a:lnTo>
                  <a:pt x="534362" y="1118063"/>
                </a:lnTo>
                <a:lnTo>
                  <a:pt x="525227" y="1113499"/>
                </a:lnTo>
                <a:lnTo>
                  <a:pt x="518376" y="1108935"/>
                </a:lnTo>
                <a:lnTo>
                  <a:pt x="516093" y="1106653"/>
                </a:lnTo>
                <a:lnTo>
                  <a:pt x="513809" y="1104371"/>
                </a:lnTo>
                <a:lnTo>
                  <a:pt x="509242" y="1102089"/>
                </a:lnTo>
                <a:lnTo>
                  <a:pt x="506958" y="1099807"/>
                </a:lnTo>
                <a:lnTo>
                  <a:pt x="504675" y="1097525"/>
                </a:lnTo>
                <a:lnTo>
                  <a:pt x="502391" y="1097525"/>
                </a:lnTo>
                <a:lnTo>
                  <a:pt x="497824" y="1095243"/>
                </a:lnTo>
                <a:lnTo>
                  <a:pt x="495540" y="1092962"/>
                </a:lnTo>
                <a:lnTo>
                  <a:pt x="493257" y="1092962"/>
                </a:lnTo>
                <a:lnTo>
                  <a:pt x="490973" y="1090680"/>
                </a:lnTo>
                <a:lnTo>
                  <a:pt x="486406" y="1088398"/>
                </a:lnTo>
                <a:lnTo>
                  <a:pt x="481839" y="1086116"/>
                </a:lnTo>
                <a:lnTo>
                  <a:pt x="481839" y="1081552"/>
                </a:lnTo>
                <a:lnTo>
                  <a:pt x="481839" y="1079270"/>
                </a:lnTo>
                <a:lnTo>
                  <a:pt x="486406" y="1074716"/>
                </a:lnTo>
                <a:lnTo>
                  <a:pt x="488689" y="1070143"/>
                </a:lnTo>
                <a:lnTo>
                  <a:pt x="488689" y="1067870"/>
                </a:lnTo>
                <a:lnTo>
                  <a:pt x="490973" y="1063306"/>
                </a:lnTo>
                <a:lnTo>
                  <a:pt x="493257" y="1056461"/>
                </a:lnTo>
                <a:lnTo>
                  <a:pt x="495540" y="1054179"/>
                </a:lnTo>
                <a:lnTo>
                  <a:pt x="495540" y="1051897"/>
                </a:lnTo>
                <a:lnTo>
                  <a:pt x="500108" y="1042769"/>
                </a:lnTo>
                <a:lnTo>
                  <a:pt x="500108" y="1040488"/>
                </a:lnTo>
                <a:lnTo>
                  <a:pt x="502391" y="1038206"/>
                </a:lnTo>
                <a:lnTo>
                  <a:pt x="504675" y="1029078"/>
                </a:lnTo>
                <a:lnTo>
                  <a:pt x="506958" y="1024514"/>
                </a:lnTo>
                <a:lnTo>
                  <a:pt x="509242" y="1019950"/>
                </a:lnTo>
                <a:lnTo>
                  <a:pt x="509242" y="1015387"/>
                </a:lnTo>
                <a:lnTo>
                  <a:pt x="509242" y="1013105"/>
                </a:lnTo>
                <a:lnTo>
                  <a:pt x="511526" y="1013105"/>
                </a:lnTo>
                <a:lnTo>
                  <a:pt x="513809" y="1010823"/>
                </a:lnTo>
                <a:lnTo>
                  <a:pt x="518376" y="1010823"/>
                </a:lnTo>
                <a:lnTo>
                  <a:pt x="520660" y="1008541"/>
                </a:lnTo>
                <a:lnTo>
                  <a:pt x="527511" y="1006259"/>
                </a:lnTo>
                <a:lnTo>
                  <a:pt x="532078" y="1003977"/>
                </a:lnTo>
                <a:lnTo>
                  <a:pt x="532078" y="1001695"/>
                </a:lnTo>
                <a:lnTo>
                  <a:pt x="529794" y="999413"/>
                </a:lnTo>
                <a:lnTo>
                  <a:pt x="529794" y="997131"/>
                </a:lnTo>
                <a:lnTo>
                  <a:pt x="529794" y="994850"/>
                </a:lnTo>
                <a:lnTo>
                  <a:pt x="529794" y="992568"/>
                </a:lnTo>
                <a:lnTo>
                  <a:pt x="527511" y="990286"/>
                </a:lnTo>
                <a:lnTo>
                  <a:pt x="527511" y="988004"/>
                </a:lnTo>
                <a:lnTo>
                  <a:pt x="527511" y="985722"/>
                </a:lnTo>
                <a:lnTo>
                  <a:pt x="527511" y="983440"/>
                </a:lnTo>
                <a:lnTo>
                  <a:pt x="527511" y="981158"/>
                </a:lnTo>
                <a:lnTo>
                  <a:pt x="525227" y="976594"/>
                </a:lnTo>
                <a:lnTo>
                  <a:pt x="525227" y="974313"/>
                </a:lnTo>
                <a:lnTo>
                  <a:pt x="522943" y="974313"/>
                </a:lnTo>
                <a:lnTo>
                  <a:pt x="522943" y="972031"/>
                </a:lnTo>
                <a:lnTo>
                  <a:pt x="522943" y="969749"/>
                </a:lnTo>
                <a:lnTo>
                  <a:pt x="520660" y="969749"/>
                </a:lnTo>
                <a:lnTo>
                  <a:pt x="520660" y="967467"/>
                </a:lnTo>
                <a:lnTo>
                  <a:pt x="520660" y="965185"/>
                </a:lnTo>
                <a:lnTo>
                  <a:pt x="518376" y="962903"/>
                </a:lnTo>
                <a:lnTo>
                  <a:pt x="518376" y="960621"/>
                </a:lnTo>
                <a:lnTo>
                  <a:pt x="516093" y="958339"/>
                </a:lnTo>
                <a:lnTo>
                  <a:pt x="513809" y="953775"/>
                </a:lnTo>
                <a:lnTo>
                  <a:pt x="513809" y="951494"/>
                </a:lnTo>
                <a:lnTo>
                  <a:pt x="511526" y="949212"/>
                </a:lnTo>
                <a:lnTo>
                  <a:pt x="511526" y="946930"/>
                </a:lnTo>
                <a:lnTo>
                  <a:pt x="509242" y="944648"/>
                </a:lnTo>
                <a:lnTo>
                  <a:pt x="506958" y="942366"/>
                </a:lnTo>
                <a:lnTo>
                  <a:pt x="506958" y="940084"/>
                </a:lnTo>
                <a:lnTo>
                  <a:pt x="504675" y="937802"/>
                </a:lnTo>
                <a:lnTo>
                  <a:pt x="502391" y="940084"/>
                </a:lnTo>
                <a:lnTo>
                  <a:pt x="500108" y="937802"/>
                </a:lnTo>
                <a:lnTo>
                  <a:pt x="497824" y="935520"/>
                </a:lnTo>
                <a:lnTo>
                  <a:pt x="495540" y="933238"/>
                </a:lnTo>
                <a:lnTo>
                  <a:pt x="493257" y="930957"/>
                </a:lnTo>
                <a:lnTo>
                  <a:pt x="490973" y="930957"/>
                </a:lnTo>
                <a:lnTo>
                  <a:pt x="490973" y="928675"/>
                </a:lnTo>
                <a:lnTo>
                  <a:pt x="488689" y="926393"/>
                </a:lnTo>
                <a:lnTo>
                  <a:pt x="486406" y="926393"/>
                </a:lnTo>
                <a:lnTo>
                  <a:pt x="484122" y="924111"/>
                </a:lnTo>
                <a:lnTo>
                  <a:pt x="481839" y="924111"/>
                </a:lnTo>
                <a:lnTo>
                  <a:pt x="479555" y="924111"/>
                </a:lnTo>
                <a:lnTo>
                  <a:pt x="477272" y="924111"/>
                </a:lnTo>
                <a:lnTo>
                  <a:pt x="474988" y="924111"/>
                </a:lnTo>
                <a:lnTo>
                  <a:pt x="472704" y="924111"/>
                </a:lnTo>
                <a:lnTo>
                  <a:pt x="470421" y="924111"/>
                </a:lnTo>
                <a:lnTo>
                  <a:pt x="468137" y="924111"/>
                </a:lnTo>
                <a:lnTo>
                  <a:pt x="465854" y="926393"/>
                </a:lnTo>
                <a:lnTo>
                  <a:pt x="465854" y="928675"/>
                </a:lnTo>
                <a:lnTo>
                  <a:pt x="465854" y="930957"/>
                </a:lnTo>
                <a:lnTo>
                  <a:pt x="463570" y="930957"/>
                </a:lnTo>
                <a:lnTo>
                  <a:pt x="463570" y="933238"/>
                </a:lnTo>
                <a:lnTo>
                  <a:pt x="463570" y="935520"/>
                </a:lnTo>
                <a:lnTo>
                  <a:pt x="461287" y="937802"/>
                </a:lnTo>
                <a:lnTo>
                  <a:pt x="459003" y="935520"/>
                </a:lnTo>
                <a:lnTo>
                  <a:pt x="456719" y="935520"/>
                </a:lnTo>
                <a:lnTo>
                  <a:pt x="456719" y="933238"/>
                </a:lnTo>
                <a:lnTo>
                  <a:pt x="454436" y="933238"/>
                </a:lnTo>
                <a:lnTo>
                  <a:pt x="452152" y="933238"/>
                </a:lnTo>
                <a:lnTo>
                  <a:pt x="452152" y="930957"/>
                </a:lnTo>
                <a:lnTo>
                  <a:pt x="449868" y="930957"/>
                </a:lnTo>
                <a:lnTo>
                  <a:pt x="447585" y="930957"/>
                </a:lnTo>
                <a:lnTo>
                  <a:pt x="447585" y="928675"/>
                </a:lnTo>
                <a:lnTo>
                  <a:pt x="445301" y="928675"/>
                </a:lnTo>
                <a:lnTo>
                  <a:pt x="443018" y="926393"/>
                </a:lnTo>
                <a:lnTo>
                  <a:pt x="440734" y="926393"/>
                </a:lnTo>
                <a:lnTo>
                  <a:pt x="438450" y="924111"/>
                </a:lnTo>
                <a:lnTo>
                  <a:pt x="436167" y="924111"/>
                </a:lnTo>
                <a:lnTo>
                  <a:pt x="436167" y="921829"/>
                </a:lnTo>
                <a:lnTo>
                  <a:pt x="433883" y="921829"/>
                </a:lnTo>
                <a:lnTo>
                  <a:pt x="431600" y="921829"/>
                </a:lnTo>
                <a:lnTo>
                  <a:pt x="431600" y="919556"/>
                </a:lnTo>
                <a:lnTo>
                  <a:pt x="429316" y="919556"/>
                </a:lnTo>
                <a:lnTo>
                  <a:pt x="427033" y="917265"/>
                </a:lnTo>
                <a:lnTo>
                  <a:pt x="424749" y="917265"/>
                </a:lnTo>
                <a:lnTo>
                  <a:pt x="422465" y="917265"/>
                </a:lnTo>
                <a:lnTo>
                  <a:pt x="422465" y="914983"/>
                </a:lnTo>
                <a:lnTo>
                  <a:pt x="420182" y="914983"/>
                </a:lnTo>
                <a:lnTo>
                  <a:pt x="417898" y="914983"/>
                </a:lnTo>
                <a:lnTo>
                  <a:pt x="413331" y="912711"/>
                </a:lnTo>
                <a:lnTo>
                  <a:pt x="411047" y="912711"/>
                </a:lnTo>
                <a:lnTo>
                  <a:pt x="408764" y="912711"/>
                </a:lnTo>
                <a:lnTo>
                  <a:pt x="406480" y="912711"/>
                </a:lnTo>
                <a:lnTo>
                  <a:pt x="406480" y="910429"/>
                </a:lnTo>
                <a:lnTo>
                  <a:pt x="404197" y="910429"/>
                </a:lnTo>
                <a:lnTo>
                  <a:pt x="401913" y="910429"/>
                </a:lnTo>
                <a:lnTo>
                  <a:pt x="399629" y="910429"/>
                </a:lnTo>
                <a:lnTo>
                  <a:pt x="399629" y="908147"/>
                </a:lnTo>
                <a:lnTo>
                  <a:pt x="397346" y="908147"/>
                </a:lnTo>
                <a:lnTo>
                  <a:pt x="395062" y="908147"/>
                </a:lnTo>
                <a:lnTo>
                  <a:pt x="392779" y="908147"/>
                </a:lnTo>
                <a:lnTo>
                  <a:pt x="390495" y="905865"/>
                </a:lnTo>
                <a:lnTo>
                  <a:pt x="388211" y="905865"/>
                </a:lnTo>
                <a:lnTo>
                  <a:pt x="385928" y="905865"/>
                </a:lnTo>
                <a:lnTo>
                  <a:pt x="383644" y="903583"/>
                </a:lnTo>
                <a:lnTo>
                  <a:pt x="381360" y="903583"/>
                </a:lnTo>
                <a:lnTo>
                  <a:pt x="379077" y="901301"/>
                </a:lnTo>
                <a:lnTo>
                  <a:pt x="376793" y="899019"/>
                </a:lnTo>
                <a:lnTo>
                  <a:pt x="374510" y="899019"/>
                </a:lnTo>
                <a:lnTo>
                  <a:pt x="372226" y="899019"/>
                </a:lnTo>
                <a:lnTo>
                  <a:pt x="369943" y="896738"/>
                </a:lnTo>
                <a:lnTo>
                  <a:pt x="367659" y="896738"/>
                </a:lnTo>
                <a:lnTo>
                  <a:pt x="365375" y="896738"/>
                </a:lnTo>
                <a:lnTo>
                  <a:pt x="363092" y="894456"/>
                </a:lnTo>
                <a:lnTo>
                  <a:pt x="360808" y="894456"/>
                </a:lnTo>
                <a:lnTo>
                  <a:pt x="358525" y="894456"/>
                </a:lnTo>
                <a:lnTo>
                  <a:pt x="356241" y="892174"/>
                </a:lnTo>
                <a:lnTo>
                  <a:pt x="353958" y="892174"/>
                </a:lnTo>
                <a:lnTo>
                  <a:pt x="351674" y="892174"/>
                </a:lnTo>
                <a:lnTo>
                  <a:pt x="351674" y="889892"/>
                </a:lnTo>
                <a:lnTo>
                  <a:pt x="349390" y="889892"/>
                </a:lnTo>
                <a:lnTo>
                  <a:pt x="347107" y="889892"/>
                </a:lnTo>
                <a:lnTo>
                  <a:pt x="344823" y="887610"/>
                </a:lnTo>
                <a:lnTo>
                  <a:pt x="342539" y="887610"/>
                </a:lnTo>
                <a:lnTo>
                  <a:pt x="340256" y="887610"/>
                </a:lnTo>
                <a:lnTo>
                  <a:pt x="340256" y="885328"/>
                </a:lnTo>
                <a:lnTo>
                  <a:pt x="337972" y="885328"/>
                </a:lnTo>
                <a:lnTo>
                  <a:pt x="335689" y="885328"/>
                </a:lnTo>
                <a:lnTo>
                  <a:pt x="333405" y="883046"/>
                </a:lnTo>
                <a:lnTo>
                  <a:pt x="331121" y="883046"/>
                </a:lnTo>
                <a:lnTo>
                  <a:pt x="331121" y="880764"/>
                </a:lnTo>
                <a:lnTo>
                  <a:pt x="328838" y="880764"/>
                </a:lnTo>
                <a:lnTo>
                  <a:pt x="326554" y="880764"/>
                </a:lnTo>
                <a:lnTo>
                  <a:pt x="326554" y="878482"/>
                </a:lnTo>
                <a:lnTo>
                  <a:pt x="324271" y="878482"/>
                </a:lnTo>
                <a:lnTo>
                  <a:pt x="328838" y="873919"/>
                </a:lnTo>
                <a:lnTo>
                  <a:pt x="347107" y="844254"/>
                </a:lnTo>
                <a:lnTo>
                  <a:pt x="356241" y="832844"/>
                </a:lnTo>
                <a:lnTo>
                  <a:pt x="358525" y="828281"/>
                </a:lnTo>
                <a:lnTo>
                  <a:pt x="351674" y="821435"/>
                </a:lnTo>
                <a:lnTo>
                  <a:pt x="347107" y="819153"/>
                </a:lnTo>
                <a:lnTo>
                  <a:pt x="344823" y="816871"/>
                </a:lnTo>
                <a:lnTo>
                  <a:pt x="337972" y="812307"/>
                </a:lnTo>
                <a:lnTo>
                  <a:pt x="331121" y="807744"/>
                </a:lnTo>
                <a:lnTo>
                  <a:pt x="326554" y="805462"/>
                </a:lnTo>
                <a:lnTo>
                  <a:pt x="326554" y="803180"/>
                </a:lnTo>
                <a:lnTo>
                  <a:pt x="324271" y="800898"/>
                </a:lnTo>
                <a:lnTo>
                  <a:pt x="315136" y="796334"/>
                </a:lnTo>
                <a:lnTo>
                  <a:pt x="315136" y="794052"/>
                </a:lnTo>
                <a:lnTo>
                  <a:pt x="299151" y="789488"/>
                </a:lnTo>
                <a:lnTo>
                  <a:pt x="274031" y="784925"/>
                </a:lnTo>
                <a:lnTo>
                  <a:pt x="239778" y="778079"/>
                </a:lnTo>
                <a:lnTo>
                  <a:pt x="242061" y="757551"/>
                </a:lnTo>
                <a:lnTo>
                  <a:pt x="244345" y="716477"/>
                </a:lnTo>
                <a:lnTo>
                  <a:pt x="226076" y="695940"/>
                </a:lnTo>
                <a:lnTo>
                  <a:pt x="221509" y="689095"/>
                </a:lnTo>
                <a:lnTo>
                  <a:pt x="237494" y="661712"/>
                </a:lnTo>
                <a:lnTo>
                  <a:pt x="253479" y="634329"/>
                </a:lnTo>
                <a:lnTo>
                  <a:pt x="230643" y="625201"/>
                </a:lnTo>
                <a:lnTo>
                  <a:pt x="216942" y="625201"/>
                </a:lnTo>
                <a:lnTo>
                  <a:pt x="223792" y="600110"/>
                </a:lnTo>
                <a:lnTo>
                  <a:pt x="248912" y="604674"/>
                </a:lnTo>
                <a:lnTo>
                  <a:pt x="251196" y="606946"/>
                </a:lnTo>
                <a:lnTo>
                  <a:pt x="269464" y="613792"/>
                </a:lnTo>
                <a:lnTo>
                  <a:pt x="276315" y="586419"/>
                </a:lnTo>
                <a:lnTo>
                  <a:pt x="280882" y="579573"/>
                </a:lnTo>
                <a:lnTo>
                  <a:pt x="260330" y="575009"/>
                </a:lnTo>
                <a:lnTo>
                  <a:pt x="255763" y="575009"/>
                </a:lnTo>
                <a:lnTo>
                  <a:pt x="253479" y="575009"/>
                </a:lnTo>
                <a:lnTo>
                  <a:pt x="237494" y="572727"/>
                </a:lnTo>
                <a:lnTo>
                  <a:pt x="230643" y="572727"/>
                </a:lnTo>
                <a:lnTo>
                  <a:pt x="228360" y="572727"/>
                </a:lnTo>
                <a:lnTo>
                  <a:pt x="226076" y="572727"/>
                </a:lnTo>
                <a:lnTo>
                  <a:pt x="200956" y="572727"/>
                </a:lnTo>
                <a:lnTo>
                  <a:pt x="196389" y="572727"/>
                </a:lnTo>
                <a:lnTo>
                  <a:pt x="168986" y="572727"/>
                </a:lnTo>
                <a:lnTo>
                  <a:pt x="168986" y="575009"/>
                </a:lnTo>
                <a:lnTo>
                  <a:pt x="168986" y="579573"/>
                </a:lnTo>
                <a:lnTo>
                  <a:pt x="168986" y="597828"/>
                </a:lnTo>
                <a:lnTo>
                  <a:pt x="166703" y="604674"/>
                </a:lnTo>
                <a:lnTo>
                  <a:pt x="162135" y="620638"/>
                </a:lnTo>
                <a:lnTo>
                  <a:pt x="134732" y="618356"/>
                </a:lnTo>
                <a:lnTo>
                  <a:pt x="132449" y="618356"/>
                </a:lnTo>
                <a:lnTo>
                  <a:pt x="130165" y="643457"/>
                </a:lnTo>
                <a:lnTo>
                  <a:pt x="102762" y="641175"/>
                </a:lnTo>
                <a:lnTo>
                  <a:pt x="102762" y="643457"/>
                </a:lnTo>
                <a:lnTo>
                  <a:pt x="100478" y="668557"/>
                </a:lnTo>
                <a:lnTo>
                  <a:pt x="95911" y="689095"/>
                </a:lnTo>
                <a:lnTo>
                  <a:pt x="95911" y="691376"/>
                </a:lnTo>
                <a:lnTo>
                  <a:pt x="93627" y="695940"/>
                </a:lnTo>
                <a:lnTo>
                  <a:pt x="93627" y="698222"/>
                </a:lnTo>
                <a:lnTo>
                  <a:pt x="91344" y="702786"/>
                </a:lnTo>
                <a:lnTo>
                  <a:pt x="89060" y="714195"/>
                </a:lnTo>
                <a:lnTo>
                  <a:pt x="86777" y="730169"/>
                </a:lnTo>
                <a:lnTo>
                  <a:pt x="84493" y="737014"/>
                </a:lnTo>
                <a:lnTo>
                  <a:pt x="82209" y="741578"/>
                </a:lnTo>
                <a:lnTo>
                  <a:pt x="82209" y="743860"/>
                </a:lnTo>
                <a:lnTo>
                  <a:pt x="73075" y="759833"/>
                </a:lnTo>
                <a:lnTo>
                  <a:pt x="68508" y="768951"/>
                </a:lnTo>
                <a:lnTo>
                  <a:pt x="47955" y="757551"/>
                </a:lnTo>
                <a:lnTo>
                  <a:pt x="45672" y="757551"/>
                </a:lnTo>
                <a:lnTo>
                  <a:pt x="34254" y="752988"/>
                </a:lnTo>
                <a:lnTo>
                  <a:pt x="31970" y="734732"/>
                </a:lnTo>
                <a:lnTo>
                  <a:pt x="31970" y="730169"/>
                </a:lnTo>
                <a:lnTo>
                  <a:pt x="31970" y="718759"/>
                </a:lnTo>
                <a:lnTo>
                  <a:pt x="29687" y="707350"/>
                </a:lnTo>
                <a:lnTo>
                  <a:pt x="29687" y="705068"/>
                </a:lnTo>
                <a:lnTo>
                  <a:pt x="29687" y="689095"/>
                </a:lnTo>
                <a:lnTo>
                  <a:pt x="29687" y="677685"/>
                </a:lnTo>
                <a:lnTo>
                  <a:pt x="29687" y="670839"/>
                </a:lnTo>
                <a:lnTo>
                  <a:pt x="27403" y="657148"/>
                </a:lnTo>
                <a:lnTo>
                  <a:pt x="27403" y="652584"/>
                </a:lnTo>
                <a:lnTo>
                  <a:pt x="27403" y="643457"/>
                </a:lnTo>
                <a:lnTo>
                  <a:pt x="27403" y="641175"/>
                </a:lnTo>
                <a:lnTo>
                  <a:pt x="27403" y="634329"/>
                </a:lnTo>
                <a:lnTo>
                  <a:pt x="2284" y="634329"/>
                </a:lnTo>
                <a:lnTo>
                  <a:pt x="0" y="634329"/>
                </a:lnTo>
                <a:lnTo>
                  <a:pt x="0" y="632047"/>
                </a:lnTo>
                <a:lnTo>
                  <a:pt x="0" y="629765"/>
                </a:lnTo>
                <a:lnTo>
                  <a:pt x="2284" y="627483"/>
                </a:lnTo>
                <a:lnTo>
                  <a:pt x="2284" y="622920"/>
                </a:lnTo>
                <a:lnTo>
                  <a:pt x="4567" y="622920"/>
                </a:lnTo>
                <a:lnTo>
                  <a:pt x="11418" y="620638"/>
                </a:lnTo>
                <a:lnTo>
                  <a:pt x="13702" y="618356"/>
                </a:lnTo>
                <a:lnTo>
                  <a:pt x="13702" y="616074"/>
                </a:lnTo>
                <a:lnTo>
                  <a:pt x="13702" y="609228"/>
                </a:lnTo>
                <a:lnTo>
                  <a:pt x="15985" y="604674"/>
                </a:lnTo>
                <a:lnTo>
                  <a:pt x="13702" y="604674"/>
                </a:lnTo>
                <a:lnTo>
                  <a:pt x="13702" y="602392"/>
                </a:lnTo>
                <a:lnTo>
                  <a:pt x="13702" y="600110"/>
                </a:lnTo>
                <a:lnTo>
                  <a:pt x="13702" y="597828"/>
                </a:lnTo>
                <a:lnTo>
                  <a:pt x="13702" y="595546"/>
                </a:lnTo>
                <a:lnTo>
                  <a:pt x="13702" y="593264"/>
                </a:lnTo>
                <a:lnTo>
                  <a:pt x="15985" y="593264"/>
                </a:lnTo>
                <a:lnTo>
                  <a:pt x="18269" y="593264"/>
                </a:lnTo>
                <a:lnTo>
                  <a:pt x="22836" y="595546"/>
                </a:lnTo>
                <a:lnTo>
                  <a:pt x="31970" y="593264"/>
                </a:lnTo>
                <a:lnTo>
                  <a:pt x="34254" y="590983"/>
                </a:lnTo>
                <a:lnTo>
                  <a:pt x="34254" y="588701"/>
                </a:lnTo>
                <a:lnTo>
                  <a:pt x="34254" y="584137"/>
                </a:lnTo>
                <a:lnTo>
                  <a:pt x="36538" y="581855"/>
                </a:lnTo>
                <a:lnTo>
                  <a:pt x="36538" y="577291"/>
                </a:lnTo>
                <a:lnTo>
                  <a:pt x="36538" y="572727"/>
                </a:lnTo>
                <a:lnTo>
                  <a:pt x="36538" y="570445"/>
                </a:lnTo>
                <a:lnTo>
                  <a:pt x="34254" y="570445"/>
                </a:lnTo>
                <a:lnTo>
                  <a:pt x="34254" y="563600"/>
                </a:lnTo>
                <a:lnTo>
                  <a:pt x="34254" y="561318"/>
                </a:lnTo>
                <a:lnTo>
                  <a:pt x="41105" y="554472"/>
                </a:lnTo>
                <a:lnTo>
                  <a:pt x="41105" y="552190"/>
                </a:lnTo>
                <a:lnTo>
                  <a:pt x="41105" y="549908"/>
                </a:lnTo>
                <a:lnTo>
                  <a:pt x="41105" y="547627"/>
                </a:lnTo>
                <a:lnTo>
                  <a:pt x="36538" y="547627"/>
                </a:lnTo>
                <a:lnTo>
                  <a:pt x="31970" y="545345"/>
                </a:lnTo>
                <a:lnTo>
                  <a:pt x="31970" y="543063"/>
                </a:lnTo>
                <a:lnTo>
                  <a:pt x="29687" y="543063"/>
                </a:lnTo>
                <a:lnTo>
                  <a:pt x="29687" y="538499"/>
                </a:lnTo>
                <a:lnTo>
                  <a:pt x="31970" y="538499"/>
                </a:lnTo>
                <a:lnTo>
                  <a:pt x="31970" y="536217"/>
                </a:lnTo>
                <a:lnTo>
                  <a:pt x="34254" y="536217"/>
                </a:lnTo>
                <a:lnTo>
                  <a:pt x="36538" y="536217"/>
                </a:lnTo>
                <a:lnTo>
                  <a:pt x="38821" y="533935"/>
                </a:lnTo>
                <a:lnTo>
                  <a:pt x="38821" y="529371"/>
                </a:lnTo>
                <a:lnTo>
                  <a:pt x="38821" y="524808"/>
                </a:lnTo>
                <a:lnTo>
                  <a:pt x="41105" y="522526"/>
                </a:lnTo>
                <a:lnTo>
                  <a:pt x="43388" y="522526"/>
                </a:lnTo>
                <a:lnTo>
                  <a:pt x="43388" y="520244"/>
                </a:lnTo>
                <a:lnTo>
                  <a:pt x="45672" y="520244"/>
                </a:lnTo>
                <a:lnTo>
                  <a:pt x="50239" y="517962"/>
                </a:lnTo>
                <a:lnTo>
                  <a:pt x="52523" y="515680"/>
                </a:lnTo>
                <a:lnTo>
                  <a:pt x="54806" y="511116"/>
                </a:lnTo>
                <a:lnTo>
                  <a:pt x="54806" y="508834"/>
                </a:lnTo>
                <a:lnTo>
                  <a:pt x="52523" y="508834"/>
                </a:lnTo>
                <a:lnTo>
                  <a:pt x="52523" y="506552"/>
                </a:lnTo>
                <a:lnTo>
                  <a:pt x="50239" y="506552"/>
                </a:lnTo>
                <a:lnTo>
                  <a:pt x="47955" y="506552"/>
                </a:lnTo>
                <a:lnTo>
                  <a:pt x="45672" y="506552"/>
                </a:lnTo>
                <a:lnTo>
                  <a:pt x="38821" y="501989"/>
                </a:lnTo>
                <a:lnTo>
                  <a:pt x="38821" y="499707"/>
                </a:lnTo>
                <a:lnTo>
                  <a:pt x="38821" y="497425"/>
                </a:lnTo>
                <a:lnTo>
                  <a:pt x="41105" y="497425"/>
                </a:lnTo>
                <a:lnTo>
                  <a:pt x="43388" y="495143"/>
                </a:lnTo>
                <a:lnTo>
                  <a:pt x="45672" y="495143"/>
                </a:lnTo>
                <a:lnTo>
                  <a:pt x="47955" y="488297"/>
                </a:lnTo>
                <a:lnTo>
                  <a:pt x="47955" y="479170"/>
                </a:lnTo>
                <a:lnTo>
                  <a:pt x="47955" y="476888"/>
                </a:lnTo>
                <a:lnTo>
                  <a:pt x="47955" y="474606"/>
                </a:lnTo>
                <a:lnTo>
                  <a:pt x="50239" y="474606"/>
                </a:lnTo>
                <a:lnTo>
                  <a:pt x="52523" y="472324"/>
                </a:lnTo>
                <a:lnTo>
                  <a:pt x="54806" y="472324"/>
                </a:lnTo>
                <a:lnTo>
                  <a:pt x="57090" y="470042"/>
                </a:lnTo>
                <a:lnTo>
                  <a:pt x="59374" y="470042"/>
                </a:lnTo>
                <a:lnTo>
                  <a:pt x="59374" y="467760"/>
                </a:lnTo>
                <a:lnTo>
                  <a:pt x="61657" y="467760"/>
                </a:lnTo>
                <a:lnTo>
                  <a:pt x="63941" y="465478"/>
                </a:lnTo>
                <a:lnTo>
                  <a:pt x="63941" y="463196"/>
                </a:lnTo>
                <a:lnTo>
                  <a:pt x="66224" y="460915"/>
                </a:lnTo>
                <a:lnTo>
                  <a:pt x="66224" y="458633"/>
                </a:lnTo>
                <a:lnTo>
                  <a:pt x="68508" y="451787"/>
                </a:lnTo>
                <a:lnTo>
                  <a:pt x="68508" y="444951"/>
                </a:lnTo>
                <a:lnTo>
                  <a:pt x="68508" y="442669"/>
                </a:lnTo>
                <a:lnTo>
                  <a:pt x="66224" y="442669"/>
                </a:lnTo>
                <a:lnTo>
                  <a:pt x="63941" y="442669"/>
                </a:lnTo>
                <a:lnTo>
                  <a:pt x="61657" y="440387"/>
                </a:lnTo>
                <a:lnTo>
                  <a:pt x="59374" y="435823"/>
                </a:lnTo>
                <a:lnTo>
                  <a:pt x="61657" y="433541"/>
                </a:lnTo>
                <a:lnTo>
                  <a:pt x="61657" y="431259"/>
                </a:lnTo>
                <a:lnTo>
                  <a:pt x="66224" y="428977"/>
                </a:lnTo>
                <a:lnTo>
                  <a:pt x="68508" y="426696"/>
                </a:lnTo>
                <a:lnTo>
                  <a:pt x="73075" y="426696"/>
                </a:lnTo>
                <a:lnTo>
                  <a:pt x="75359" y="424414"/>
                </a:lnTo>
                <a:lnTo>
                  <a:pt x="77642" y="424414"/>
                </a:lnTo>
                <a:lnTo>
                  <a:pt x="77642" y="422132"/>
                </a:lnTo>
                <a:lnTo>
                  <a:pt x="75359" y="422132"/>
                </a:lnTo>
                <a:lnTo>
                  <a:pt x="75359" y="419850"/>
                </a:lnTo>
                <a:lnTo>
                  <a:pt x="63941" y="410722"/>
                </a:lnTo>
                <a:lnTo>
                  <a:pt x="66224" y="408440"/>
                </a:lnTo>
                <a:lnTo>
                  <a:pt x="68508" y="406158"/>
                </a:lnTo>
                <a:lnTo>
                  <a:pt x="70792" y="399313"/>
                </a:lnTo>
                <a:lnTo>
                  <a:pt x="70792" y="394749"/>
                </a:lnTo>
                <a:lnTo>
                  <a:pt x="73075" y="392467"/>
                </a:lnTo>
                <a:lnTo>
                  <a:pt x="75359" y="390185"/>
                </a:lnTo>
                <a:lnTo>
                  <a:pt x="77642" y="387903"/>
                </a:lnTo>
                <a:lnTo>
                  <a:pt x="77642" y="383339"/>
                </a:lnTo>
                <a:lnTo>
                  <a:pt x="79926" y="378776"/>
                </a:lnTo>
                <a:lnTo>
                  <a:pt x="77642" y="376494"/>
                </a:lnTo>
                <a:lnTo>
                  <a:pt x="75359" y="374212"/>
                </a:lnTo>
                <a:lnTo>
                  <a:pt x="73075" y="371930"/>
                </a:lnTo>
                <a:lnTo>
                  <a:pt x="75359" y="369648"/>
                </a:lnTo>
                <a:lnTo>
                  <a:pt x="77642" y="369648"/>
                </a:lnTo>
                <a:lnTo>
                  <a:pt x="79926" y="367366"/>
                </a:lnTo>
                <a:lnTo>
                  <a:pt x="82209" y="367366"/>
                </a:lnTo>
                <a:lnTo>
                  <a:pt x="86777" y="369648"/>
                </a:lnTo>
                <a:lnTo>
                  <a:pt x="89060" y="371930"/>
                </a:lnTo>
                <a:lnTo>
                  <a:pt x="91344" y="369648"/>
                </a:lnTo>
                <a:lnTo>
                  <a:pt x="93627" y="369648"/>
                </a:lnTo>
                <a:lnTo>
                  <a:pt x="93627" y="367366"/>
                </a:lnTo>
                <a:lnTo>
                  <a:pt x="91344" y="367366"/>
                </a:lnTo>
                <a:lnTo>
                  <a:pt x="89060" y="362802"/>
                </a:lnTo>
                <a:lnTo>
                  <a:pt x="91344" y="358239"/>
                </a:lnTo>
                <a:lnTo>
                  <a:pt x="91344" y="355957"/>
                </a:lnTo>
                <a:lnTo>
                  <a:pt x="93627" y="351393"/>
                </a:lnTo>
                <a:lnTo>
                  <a:pt x="95911" y="344547"/>
                </a:lnTo>
                <a:lnTo>
                  <a:pt x="95911" y="342265"/>
                </a:lnTo>
                <a:lnTo>
                  <a:pt x="98195" y="339983"/>
                </a:lnTo>
                <a:lnTo>
                  <a:pt x="100478" y="337702"/>
                </a:lnTo>
                <a:lnTo>
                  <a:pt x="102762" y="337702"/>
                </a:lnTo>
                <a:lnTo>
                  <a:pt x="109613" y="333138"/>
                </a:lnTo>
                <a:lnTo>
                  <a:pt x="109613" y="330856"/>
                </a:lnTo>
                <a:lnTo>
                  <a:pt x="116463" y="326292"/>
                </a:lnTo>
                <a:lnTo>
                  <a:pt x="118747" y="326292"/>
                </a:lnTo>
                <a:lnTo>
                  <a:pt x="118747" y="324010"/>
                </a:lnTo>
                <a:lnTo>
                  <a:pt x="118747" y="321728"/>
                </a:lnTo>
                <a:lnTo>
                  <a:pt x="118747" y="319446"/>
                </a:lnTo>
                <a:lnTo>
                  <a:pt x="118747" y="314883"/>
                </a:lnTo>
                <a:lnTo>
                  <a:pt x="118747" y="310319"/>
                </a:lnTo>
                <a:lnTo>
                  <a:pt x="118747" y="308037"/>
                </a:lnTo>
                <a:lnTo>
                  <a:pt x="121031" y="308037"/>
                </a:lnTo>
                <a:lnTo>
                  <a:pt x="123314" y="305755"/>
                </a:lnTo>
                <a:lnTo>
                  <a:pt x="130165" y="305755"/>
                </a:lnTo>
                <a:lnTo>
                  <a:pt x="132449" y="301191"/>
                </a:lnTo>
                <a:lnTo>
                  <a:pt x="130165" y="296637"/>
                </a:lnTo>
                <a:lnTo>
                  <a:pt x="130165" y="294345"/>
                </a:lnTo>
                <a:lnTo>
                  <a:pt x="130165" y="292073"/>
                </a:lnTo>
                <a:lnTo>
                  <a:pt x="132449" y="289791"/>
                </a:lnTo>
                <a:lnTo>
                  <a:pt x="134732" y="292073"/>
                </a:lnTo>
                <a:lnTo>
                  <a:pt x="137016" y="294345"/>
                </a:lnTo>
                <a:lnTo>
                  <a:pt x="139299" y="296637"/>
                </a:lnTo>
                <a:lnTo>
                  <a:pt x="143867" y="292073"/>
                </a:lnTo>
                <a:lnTo>
                  <a:pt x="146150" y="289791"/>
                </a:lnTo>
                <a:lnTo>
                  <a:pt x="146150" y="287509"/>
                </a:lnTo>
                <a:lnTo>
                  <a:pt x="148434" y="287509"/>
                </a:lnTo>
                <a:lnTo>
                  <a:pt x="150717" y="287509"/>
                </a:lnTo>
                <a:lnTo>
                  <a:pt x="150717" y="289791"/>
                </a:lnTo>
                <a:lnTo>
                  <a:pt x="150717" y="292073"/>
                </a:lnTo>
                <a:lnTo>
                  <a:pt x="150717" y="294345"/>
                </a:lnTo>
                <a:lnTo>
                  <a:pt x="148434" y="296637"/>
                </a:lnTo>
                <a:lnTo>
                  <a:pt x="148434" y="298909"/>
                </a:lnTo>
                <a:lnTo>
                  <a:pt x="148434" y="301191"/>
                </a:lnTo>
                <a:lnTo>
                  <a:pt x="150717" y="303473"/>
                </a:lnTo>
                <a:lnTo>
                  <a:pt x="153001" y="303473"/>
                </a:lnTo>
                <a:lnTo>
                  <a:pt x="155284" y="303473"/>
                </a:lnTo>
                <a:lnTo>
                  <a:pt x="157568" y="303473"/>
                </a:lnTo>
                <a:lnTo>
                  <a:pt x="159852" y="301191"/>
                </a:lnTo>
                <a:lnTo>
                  <a:pt x="159852" y="298909"/>
                </a:lnTo>
                <a:lnTo>
                  <a:pt x="159852" y="296637"/>
                </a:lnTo>
                <a:lnTo>
                  <a:pt x="162135" y="294345"/>
                </a:lnTo>
                <a:lnTo>
                  <a:pt x="168986" y="292073"/>
                </a:lnTo>
                <a:lnTo>
                  <a:pt x="173553" y="294345"/>
                </a:lnTo>
                <a:lnTo>
                  <a:pt x="175837" y="296637"/>
                </a:lnTo>
                <a:lnTo>
                  <a:pt x="178121" y="296637"/>
                </a:lnTo>
                <a:lnTo>
                  <a:pt x="182688" y="292073"/>
                </a:lnTo>
                <a:lnTo>
                  <a:pt x="187255" y="292073"/>
                </a:lnTo>
                <a:lnTo>
                  <a:pt x="189538" y="289791"/>
                </a:lnTo>
                <a:lnTo>
                  <a:pt x="194106" y="282946"/>
                </a:lnTo>
                <a:lnTo>
                  <a:pt x="196389" y="282946"/>
                </a:lnTo>
                <a:lnTo>
                  <a:pt x="196389" y="280664"/>
                </a:lnTo>
                <a:lnTo>
                  <a:pt x="200956" y="280664"/>
                </a:lnTo>
                <a:lnTo>
                  <a:pt x="205524" y="278382"/>
                </a:lnTo>
                <a:lnTo>
                  <a:pt x="207807" y="278382"/>
                </a:lnTo>
                <a:lnTo>
                  <a:pt x="210091" y="280664"/>
                </a:lnTo>
                <a:lnTo>
                  <a:pt x="212374" y="280664"/>
                </a:lnTo>
                <a:lnTo>
                  <a:pt x="214658" y="280664"/>
                </a:lnTo>
                <a:lnTo>
                  <a:pt x="216942" y="280664"/>
                </a:lnTo>
                <a:lnTo>
                  <a:pt x="219225" y="280664"/>
                </a:lnTo>
                <a:lnTo>
                  <a:pt x="221509" y="278382"/>
                </a:lnTo>
                <a:lnTo>
                  <a:pt x="226076" y="278382"/>
                </a:lnTo>
                <a:lnTo>
                  <a:pt x="228360" y="278382"/>
                </a:lnTo>
                <a:lnTo>
                  <a:pt x="230643" y="278382"/>
                </a:lnTo>
                <a:lnTo>
                  <a:pt x="232927" y="278382"/>
                </a:lnTo>
                <a:lnTo>
                  <a:pt x="235210" y="282946"/>
                </a:lnTo>
                <a:lnTo>
                  <a:pt x="237494" y="285227"/>
                </a:lnTo>
                <a:lnTo>
                  <a:pt x="239778" y="285227"/>
                </a:lnTo>
                <a:lnTo>
                  <a:pt x="242061" y="285227"/>
                </a:lnTo>
                <a:lnTo>
                  <a:pt x="242061" y="280664"/>
                </a:lnTo>
                <a:lnTo>
                  <a:pt x="244345" y="280664"/>
                </a:lnTo>
                <a:lnTo>
                  <a:pt x="246628" y="282946"/>
                </a:lnTo>
                <a:lnTo>
                  <a:pt x="248912" y="285227"/>
                </a:lnTo>
                <a:lnTo>
                  <a:pt x="260330" y="282946"/>
                </a:lnTo>
                <a:lnTo>
                  <a:pt x="262614" y="282946"/>
                </a:lnTo>
                <a:lnTo>
                  <a:pt x="262614" y="285227"/>
                </a:lnTo>
                <a:lnTo>
                  <a:pt x="264897" y="287509"/>
                </a:lnTo>
                <a:lnTo>
                  <a:pt x="271748" y="289791"/>
                </a:lnTo>
                <a:lnTo>
                  <a:pt x="278599" y="289791"/>
                </a:lnTo>
                <a:lnTo>
                  <a:pt x="280882" y="292073"/>
                </a:lnTo>
                <a:lnTo>
                  <a:pt x="283166" y="292073"/>
                </a:lnTo>
                <a:lnTo>
                  <a:pt x="285450" y="292073"/>
                </a:lnTo>
                <a:lnTo>
                  <a:pt x="287733" y="289791"/>
                </a:lnTo>
                <a:lnTo>
                  <a:pt x="290017" y="280664"/>
                </a:lnTo>
                <a:lnTo>
                  <a:pt x="292300" y="278382"/>
                </a:lnTo>
                <a:lnTo>
                  <a:pt x="296868" y="278382"/>
                </a:lnTo>
                <a:lnTo>
                  <a:pt x="301435" y="278382"/>
                </a:lnTo>
                <a:lnTo>
                  <a:pt x="301435" y="280664"/>
                </a:lnTo>
                <a:lnTo>
                  <a:pt x="301435" y="282946"/>
                </a:lnTo>
                <a:lnTo>
                  <a:pt x="299151" y="282946"/>
                </a:lnTo>
                <a:lnTo>
                  <a:pt x="299151" y="285227"/>
                </a:lnTo>
                <a:lnTo>
                  <a:pt x="299151" y="287509"/>
                </a:lnTo>
                <a:lnTo>
                  <a:pt x="303718" y="287509"/>
                </a:lnTo>
                <a:lnTo>
                  <a:pt x="306002" y="287509"/>
                </a:lnTo>
                <a:lnTo>
                  <a:pt x="310569" y="292073"/>
                </a:lnTo>
                <a:lnTo>
                  <a:pt x="312853" y="292073"/>
                </a:lnTo>
                <a:lnTo>
                  <a:pt x="312853" y="296637"/>
                </a:lnTo>
                <a:lnTo>
                  <a:pt x="315136" y="296637"/>
                </a:lnTo>
                <a:lnTo>
                  <a:pt x="315136" y="298909"/>
                </a:lnTo>
                <a:lnTo>
                  <a:pt x="315136" y="301191"/>
                </a:lnTo>
                <a:lnTo>
                  <a:pt x="312853" y="305755"/>
                </a:lnTo>
                <a:lnTo>
                  <a:pt x="312853" y="308037"/>
                </a:lnTo>
                <a:lnTo>
                  <a:pt x="315136" y="308037"/>
                </a:lnTo>
                <a:lnTo>
                  <a:pt x="317420" y="308037"/>
                </a:lnTo>
                <a:lnTo>
                  <a:pt x="321987" y="303473"/>
                </a:lnTo>
                <a:lnTo>
                  <a:pt x="324271" y="303473"/>
                </a:lnTo>
                <a:lnTo>
                  <a:pt x="326554" y="303473"/>
                </a:lnTo>
                <a:lnTo>
                  <a:pt x="328838" y="308037"/>
                </a:lnTo>
                <a:lnTo>
                  <a:pt x="331121" y="308037"/>
                </a:lnTo>
                <a:lnTo>
                  <a:pt x="335689" y="308037"/>
                </a:lnTo>
                <a:lnTo>
                  <a:pt x="335689" y="310319"/>
                </a:lnTo>
                <a:lnTo>
                  <a:pt x="337972" y="310319"/>
                </a:lnTo>
                <a:lnTo>
                  <a:pt x="337972" y="312601"/>
                </a:lnTo>
                <a:lnTo>
                  <a:pt x="335689" y="312601"/>
                </a:lnTo>
                <a:lnTo>
                  <a:pt x="335689" y="314883"/>
                </a:lnTo>
                <a:lnTo>
                  <a:pt x="337972" y="314883"/>
                </a:lnTo>
                <a:lnTo>
                  <a:pt x="340256" y="314883"/>
                </a:lnTo>
                <a:lnTo>
                  <a:pt x="342539" y="317165"/>
                </a:lnTo>
                <a:lnTo>
                  <a:pt x="344823" y="319446"/>
                </a:lnTo>
                <a:lnTo>
                  <a:pt x="347107" y="319446"/>
                </a:lnTo>
                <a:lnTo>
                  <a:pt x="347107" y="324010"/>
                </a:lnTo>
                <a:lnTo>
                  <a:pt x="349390" y="324010"/>
                </a:lnTo>
                <a:lnTo>
                  <a:pt x="349390" y="326292"/>
                </a:lnTo>
                <a:lnTo>
                  <a:pt x="351674" y="326292"/>
                </a:lnTo>
                <a:lnTo>
                  <a:pt x="351674" y="324010"/>
                </a:lnTo>
                <a:lnTo>
                  <a:pt x="353958" y="324010"/>
                </a:lnTo>
                <a:lnTo>
                  <a:pt x="353958" y="321728"/>
                </a:lnTo>
                <a:lnTo>
                  <a:pt x="356241" y="319446"/>
                </a:lnTo>
                <a:lnTo>
                  <a:pt x="358525" y="321728"/>
                </a:lnTo>
                <a:lnTo>
                  <a:pt x="360808" y="321728"/>
                </a:lnTo>
                <a:lnTo>
                  <a:pt x="360808" y="324010"/>
                </a:lnTo>
                <a:lnTo>
                  <a:pt x="360808" y="326292"/>
                </a:lnTo>
                <a:lnTo>
                  <a:pt x="358525" y="326292"/>
                </a:lnTo>
                <a:lnTo>
                  <a:pt x="358525" y="328574"/>
                </a:lnTo>
                <a:lnTo>
                  <a:pt x="356241" y="328574"/>
                </a:lnTo>
                <a:lnTo>
                  <a:pt x="360808" y="330856"/>
                </a:lnTo>
                <a:lnTo>
                  <a:pt x="363092" y="330856"/>
                </a:lnTo>
                <a:lnTo>
                  <a:pt x="363092" y="333138"/>
                </a:lnTo>
                <a:lnTo>
                  <a:pt x="365375" y="335420"/>
                </a:lnTo>
                <a:lnTo>
                  <a:pt x="365375" y="337702"/>
                </a:lnTo>
                <a:lnTo>
                  <a:pt x="365375" y="339983"/>
                </a:lnTo>
                <a:lnTo>
                  <a:pt x="367659" y="339983"/>
                </a:lnTo>
                <a:lnTo>
                  <a:pt x="369943" y="339983"/>
                </a:lnTo>
                <a:lnTo>
                  <a:pt x="372226" y="339983"/>
                </a:lnTo>
                <a:lnTo>
                  <a:pt x="374510" y="339983"/>
                </a:lnTo>
                <a:lnTo>
                  <a:pt x="374510" y="337702"/>
                </a:lnTo>
                <a:lnTo>
                  <a:pt x="374510" y="335420"/>
                </a:lnTo>
                <a:lnTo>
                  <a:pt x="376793" y="333138"/>
                </a:lnTo>
                <a:lnTo>
                  <a:pt x="379077" y="335420"/>
                </a:lnTo>
                <a:lnTo>
                  <a:pt x="381360" y="335420"/>
                </a:lnTo>
                <a:lnTo>
                  <a:pt x="381360" y="337702"/>
                </a:lnTo>
                <a:lnTo>
                  <a:pt x="379077" y="339983"/>
                </a:lnTo>
                <a:lnTo>
                  <a:pt x="379077" y="342265"/>
                </a:lnTo>
                <a:lnTo>
                  <a:pt x="379077" y="344547"/>
                </a:lnTo>
                <a:lnTo>
                  <a:pt x="381360" y="344547"/>
                </a:lnTo>
                <a:lnTo>
                  <a:pt x="383644" y="344547"/>
                </a:lnTo>
                <a:lnTo>
                  <a:pt x="388211" y="344547"/>
                </a:lnTo>
                <a:lnTo>
                  <a:pt x="390495" y="346829"/>
                </a:lnTo>
                <a:lnTo>
                  <a:pt x="390495" y="349111"/>
                </a:lnTo>
                <a:lnTo>
                  <a:pt x="392779" y="349111"/>
                </a:lnTo>
                <a:lnTo>
                  <a:pt x="397346" y="346829"/>
                </a:lnTo>
                <a:lnTo>
                  <a:pt x="399629" y="344547"/>
                </a:lnTo>
                <a:lnTo>
                  <a:pt x="401913" y="349111"/>
                </a:lnTo>
                <a:lnTo>
                  <a:pt x="404197" y="351393"/>
                </a:lnTo>
                <a:lnTo>
                  <a:pt x="411047" y="355957"/>
                </a:lnTo>
                <a:lnTo>
                  <a:pt x="411047" y="358239"/>
                </a:lnTo>
                <a:lnTo>
                  <a:pt x="411047" y="360521"/>
                </a:lnTo>
                <a:lnTo>
                  <a:pt x="411047" y="362802"/>
                </a:lnTo>
                <a:lnTo>
                  <a:pt x="413331" y="365084"/>
                </a:lnTo>
                <a:lnTo>
                  <a:pt x="413331" y="367366"/>
                </a:lnTo>
                <a:lnTo>
                  <a:pt x="415614" y="369648"/>
                </a:lnTo>
                <a:lnTo>
                  <a:pt x="420182" y="369648"/>
                </a:lnTo>
                <a:lnTo>
                  <a:pt x="422465" y="371930"/>
                </a:lnTo>
                <a:lnTo>
                  <a:pt x="424749" y="371930"/>
                </a:lnTo>
                <a:lnTo>
                  <a:pt x="427033" y="371930"/>
                </a:lnTo>
                <a:lnTo>
                  <a:pt x="429316" y="371930"/>
                </a:lnTo>
                <a:lnTo>
                  <a:pt x="431600" y="371930"/>
                </a:lnTo>
                <a:lnTo>
                  <a:pt x="436167" y="374212"/>
                </a:lnTo>
                <a:lnTo>
                  <a:pt x="436167" y="376494"/>
                </a:lnTo>
                <a:lnTo>
                  <a:pt x="433883" y="378776"/>
                </a:lnTo>
                <a:lnTo>
                  <a:pt x="431600" y="378776"/>
                </a:lnTo>
                <a:lnTo>
                  <a:pt x="431600" y="381058"/>
                </a:lnTo>
                <a:lnTo>
                  <a:pt x="431600" y="383339"/>
                </a:lnTo>
                <a:lnTo>
                  <a:pt x="433883" y="385621"/>
                </a:lnTo>
                <a:lnTo>
                  <a:pt x="433883" y="387903"/>
                </a:lnTo>
                <a:lnTo>
                  <a:pt x="436167" y="387903"/>
                </a:lnTo>
                <a:lnTo>
                  <a:pt x="438450" y="385621"/>
                </a:lnTo>
                <a:lnTo>
                  <a:pt x="440734" y="385621"/>
                </a:lnTo>
                <a:lnTo>
                  <a:pt x="443018" y="387903"/>
                </a:lnTo>
                <a:lnTo>
                  <a:pt x="445301" y="390185"/>
                </a:lnTo>
                <a:lnTo>
                  <a:pt x="445301" y="392467"/>
                </a:lnTo>
                <a:lnTo>
                  <a:pt x="443018" y="394749"/>
                </a:lnTo>
                <a:lnTo>
                  <a:pt x="445301" y="394749"/>
                </a:lnTo>
                <a:lnTo>
                  <a:pt x="445301" y="397031"/>
                </a:lnTo>
                <a:lnTo>
                  <a:pt x="452152" y="397031"/>
                </a:lnTo>
                <a:lnTo>
                  <a:pt x="456719" y="397031"/>
                </a:lnTo>
                <a:lnTo>
                  <a:pt x="459003" y="399313"/>
                </a:lnTo>
                <a:lnTo>
                  <a:pt x="459003" y="401595"/>
                </a:lnTo>
                <a:lnTo>
                  <a:pt x="461287" y="403877"/>
                </a:lnTo>
                <a:lnTo>
                  <a:pt x="461287" y="406158"/>
                </a:lnTo>
                <a:lnTo>
                  <a:pt x="463570" y="406158"/>
                </a:lnTo>
                <a:lnTo>
                  <a:pt x="465854" y="408440"/>
                </a:lnTo>
                <a:lnTo>
                  <a:pt x="468137" y="410722"/>
                </a:lnTo>
                <a:lnTo>
                  <a:pt x="468137" y="413004"/>
                </a:lnTo>
                <a:lnTo>
                  <a:pt x="468137" y="415286"/>
                </a:lnTo>
                <a:lnTo>
                  <a:pt x="470421" y="417568"/>
                </a:lnTo>
                <a:lnTo>
                  <a:pt x="472704" y="419850"/>
                </a:lnTo>
                <a:lnTo>
                  <a:pt x="474988" y="419850"/>
                </a:lnTo>
                <a:lnTo>
                  <a:pt x="477272" y="419850"/>
                </a:lnTo>
                <a:lnTo>
                  <a:pt x="479555" y="422132"/>
                </a:lnTo>
                <a:lnTo>
                  <a:pt x="484122" y="422132"/>
                </a:lnTo>
                <a:lnTo>
                  <a:pt x="484122" y="419850"/>
                </a:lnTo>
                <a:lnTo>
                  <a:pt x="486406" y="419850"/>
                </a:lnTo>
                <a:lnTo>
                  <a:pt x="486406" y="415286"/>
                </a:lnTo>
                <a:lnTo>
                  <a:pt x="488689" y="415286"/>
                </a:lnTo>
                <a:lnTo>
                  <a:pt x="490973" y="415286"/>
                </a:lnTo>
                <a:lnTo>
                  <a:pt x="490973" y="413004"/>
                </a:lnTo>
                <a:lnTo>
                  <a:pt x="493257" y="413004"/>
                </a:lnTo>
                <a:lnTo>
                  <a:pt x="495540" y="415286"/>
                </a:lnTo>
                <a:lnTo>
                  <a:pt x="497824" y="415286"/>
                </a:lnTo>
                <a:lnTo>
                  <a:pt x="500108" y="415286"/>
                </a:lnTo>
                <a:lnTo>
                  <a:pt x="506958" y="415286"/>
                </a:lnTo>
                <a:lnTo>
                  <a:pt x="509242" y="417568"/>
                </a:lnTo>
                <a:lnTo>
                  <a:pt x="506958" y="422132"/>
                </a:lnTo>
                <a:lnTo>
                  <a:pt x="506958" y="424414"/>
                </a:lnTo>
                <a:lnTo>
                  <a:pt x="506958" y="426696"/>
                </a:lnTo>
                <a:lnTo>
                  <a:pt x="509242" y="426696"/>
                </a:lnTo>
                <a:lnTo>
                  <a:pt x="511526" y="426696"/>
                </a:lnTo>
                <a:lnTo>
                  <a:pt x="513809" y="426696"/>
                </a:lnTo>
                <a:lnTo>
                  <a:pt x="513809" y="424414"/>
                </a:lnTo>
                <a:lnTo>
                  <a:pt x="516093" y="422132"/>
                </a:lnTo>
                <a:lnTo>
                  <a:pt x="522943" y="426696"/>
                </a:lnTo>
                <a:lnTo>
                  <a:pt x="525227" y="426696"/>
                </a:lnTo>
                <a:lnTo>
                  <a:pt x="527511" y="428977"/>
                </a:lnTo>
                <a:lnTo>
                  <a:pt x="527511" y="426696"/>
                </a:lnTo>
                <a:lnTo>
                  <a:pt x="529794" y="422132"/>
                </a:lnTo>
                <a:lnTo>
                  <a:pt x="527511" y="419850"/>
                </a:lnTo>
                <a:lnTo>
                  <a:pt x="527511" y="417568"/>
                </a:lnTo>
                <a:lnTo>
                  <a:pt x="529794" y="417568"/>
                </a:lnTo>
                <a:lnTo>
                  <a:pt x="532078" y="419850"/>
                </a:lnTo>
                <a:lnTo>
                  <a:pt x="534362" y="422132"/>
                </a:lnTo>
                <a:lnTo>
                  <a:pt x="534362" y="424414"/>
                </a:lnTo>
                <a:lnTo>
                  <a:pt x="536645" y="422132"/>
                </a:lnTo>
                <a:lnTo>
                  <a:pt x="538929" y="419850"/>
                </a:lnTo>
                <a:lnTo>
                  <a:pt x="550347" y="417568"/>
                </a:lnTo>
                <a:lnTo>
                  <a:pt x="552630" y="417568"/>
                </a:lnTo>
                <a:lnTo>
                  <a:pt x="554914" y="417568"/>
                </a:lnTo>
                <a:lnTo>
                  <a:pt x="557197" y="417568"/>
                </a:lnTo>
                <a:lnTo>
                  <a:pt x="557197" y="415286"/>
                </a:lnTo>
                <a:lnTo>
                  <a:pt x="554914" y="415286"/>
                </a:lnTo>
                <a:lnTo>
                  <a:pt x="554914" y="413004"/>
                </a:lnTo>
                <a:lnTo>
                  <a:pt x="557197" y="410722"/>
                </a:lnTo>
                <a:lnTo>
                  <a:pt x="561765" y="410722"/>
                </a:lnTo>
                <a:lnTo>
                  <a:pt x="564048" y="410722"/>
                </a:lnTo>
                <a:lnTo>
                  <a:pt x="564048" y="413004"/>
                </a:lnTo>
                <a:lnTo>
                  <a:pt x="561765" y="415286"/>
                </a:lnTo>
                <a:lnTo>
                  <a:pt x="561765" y="417568"/>
                </a:lnTo>
                <a:lnTo>
                  <a:pt x="564048" y="417568"/>
                </a:lnTo>
                <a:lnTo>
                  <a:pt x="568616" y="417568"/>
                </a:lnTo>
                <a:lnTo>
                  <a:pt x="570899" y="417568"/>
                </a:lnTo>
                <a:lnTo>
                  <a:pt x="573183" y="413004"/>
                </a:lnTo>
                <a:lnTo>
                  <a:pt x="575466" y="413004"/>
                </a:lnTo>
                <a:lnTo>
                  <a:pt x="580033" y="419850"/>
                </a:lnTo>
                <a:lnTo>
                  <a:pt x="582317" y="419850"/>
                </a:lnTo>
                <a:lnTo>
                  <a:pt x="584601" y="422132"/>
                </a:lnTo>
                <a:lnTo>
                  <a:pt x="586884" y="424414"/>
                </a:lnTo>
                <a:lnTo>
                  <a:pt x="589168" y="422132"/>
                </a:lnTo>
                <a:lnTo>
                  <a:pt x="589168" y="424414"/>
                </a:lnTo>
                <a:lnTo>
                  <a:pt x="589168" y="426696"/>
                </a:lnTo>
                <a:lnTo>
                  <a:pt x="589168" y="428977"/>
                </a:lnTo>
                <a:lnTo>
                  <a:pt x="591451" y="433541"/>
                </a:lnTo>
                <a:lnTo>
                  <a:pt x="593735" y="435823"/>
                </a:lnTo>
                <a:lnTo>
                  <a:pt x="598302" y="435823"/>
                </a:lnTo>
                <a:lnTo>
                  <a:pt x="598302" y="438105"/>
                </a:lnTo>
                <a:lnTo>
                  <a:pt x="598302" y="440387"/>
                </a:lnTo>
                <a:lnTo>
                  <a:pt x="600595" y="440387"/>
                </a:lnTo>
                <a:lnTo>
                  <a:pt x="600595" y="442669"/>
                </a:lnTo>
                <a:lnTo>
                  <a:pt x="602869" y="442669"/>
                </a:lnTo>
                <a:lnTo>
                  <a:pt x="602869" y="444951"/>
                </a:lnTo>
                <a:lnTo>
                  <a:pt x="605153" y="447233"/>
                </a:lnTo>
                <a:lnTo>
                  <a:pt x="609720" y="444951"/>
                </a:lnTo>
                <a:lnTo>
                  <a:pt x="612004" y="444951"/>
                </a:lnTo>
                <a:lnTo>
                  <a:pt x="612004" y="447233"/>
                </a:lnTo>
                <a:lnTo>
                  <a:pt x="612004" y="449514"/>
                </a:lnTo>
                <a:lnTo>
                  <a:pt x="609720" y="451787"/>
                </a:lnTo>
                <a:lnTo>
                  <a:pt x="607446" y="454069"/>
                </a:lnTo>
                <a:lnTo>
                  <a:pt x="609720" y="454069"/>
                </a:lnTo>
                <a:lnTo>
                  <a:pt x="612004" y="456351"/>
                </a:lnTo>
                <a:lnTo>
                  <a:pt x="614297" y="454069"/>
                </a:lnTo>
                <a:lnTo>
                  <a:pt x="616571" y="451787"/>
                </a:lnTo>
                <a:lnTo>
                  <a:pt x="618855" y="449514"/>
                </a:lnTo>
                <a:lnTo>
                  <a:pt x="618855" y="451787"/>
                </a:lnTo>
                <a:lnTo>
                  <a:pt x="621148" y="451787"/>
                </a:lnTo>
                <a:lnTo>
                  <a:pt x="623431" y="449514"/>
                </a:lnTo>
                <a:lnTo>
                  <a:pt x="625705" y="449514"/>
                </a:lnTo>
                <a:lnTo>
                  <a:pt x="625705" y="451787"/>
                </a:lnTo>
                <a:lnTo>
                  <a:pt x="625705" y="454069"/>
                </a:lnTo>
                <a:lnTo>
                  <a:pt x="625705" y="456351"/>
                </a:lnTo>
                <a:lnTo>
                  <a:pt x="623431" y="456351"/>
                </a:lnTo>
                <a:lnTo>
                  <a:pt x="625705" y="458633"/>
                </a:lnTo>
                <a:lnTo>
                  <a:pt x="627999" y="460915"/>
                </a:lnTo>
                <a:lnTo>
                  <a:pt x="630282" y="463196"/>
                </a:lnTo>
                <a:lnTo>
                  <a:pt x="632566" y="463196"/>
                </a:lnTo>
                <a:lnTo>
                  <a:pt x="637133" y="467760"/>
                </a:lnTo>
                <a:lnTo>
                  <a:pt x="639416" y="467760"/>
                </a:lnTo>
                <a:lnTo>
                  <a:pt x="639416" y="470042"/>
                </a:lnTo>
                <a:lnTo>
                  <a:pt x="643984" y="470042"/>
                </a:lnTo>
                <a:lnTo>
                  <a:pt x="646267" y="470042"/>
                </a:lnTo>
                <a:lnTo>
                  <a:pt x="648551" y="470042"/>
                </a:lnTo>
                <a:lnTo>
                  <a:pt x="648551" y="467760"/>
                </a:lnTo>
                <a:lnTo>
                  <a:pt x="650834" y="467760"/>
                </a:lnTo>
                <a:lnTo>
                  <a:pt x="653118" y="470042"/>
                </a:lnTo>
                <a:lnTo>
                  <a:pt x="655402" y="470042"/>
                </a:lnTo>
                <a:lnTo>
                  <a:pt x="655402" y="467760"/>
                </a:lnTo>
                <a:lnTo>
                  <a:pt x="655402" y="465478"/>
                </a:lnTo>
                <a:lnTo>
                  <a:pt x="657685" y="463196"/>
                </a:lnTo>
                <a:lnTo>
                  <a:pt x="659969" y="465478"/>
                </a:lnTo>
                <a:lnTo>
                  <a:pt x="662253" y="465478"/>
                </a:lnTo>
                <a:lnTo>
                  <a:pt x="664536" y="465478"/>
                </a:lnTo>
                <a:lnTo>
                  <a:pt x="664536" y="463196"/>
                </a:lnTo>
                <a:lnTo>
                  <a:pt x="666820" y="460915"/>
                </a:lnTo>
                <a:lnTo>
                  <a:pt x="666820" y="458633"/>
                </a:lnTo>
                <a:lnTo>
                  <a:pt x="669103" y="460915"/>
                </a:lnTo>
                <a:lnTo>
                  <a:pt x="671387" y="463196"/>
                </a:lnTo>
                <a:lnTo>
                  <a:pt x="671387" y="460915"/>
                </a:lnTo>
                <a:lnTo>
                  <a:pt x="671387" y="458633"/>
                </a:lnTo>
                <a:lnTo>
                  <a:pt x="673670" y="460915"/>
                </a:lnTo>
                <a:lnTo>
                  <a:pt x="678238" y="460915"/>
                </a:lnTo>
                <a:lnTo>
                  <a:pt x="680521" y="463196"/>
                </a:lnTo>
                <a:lnTo>
                  <a:pt x="682805" y="463196"/>
                </a:lnTo>
                <a:lnTo>
                  <a:pt x="685088" y="465478"/>
                </a:lnTo>
                <a:lnTo>
                  <a:pt x="687372" y="465478"/>
                </a:lnTo>
                <a:lnTo>
                  <a:pt x="701074" y="472324"/>
                </a:lnTo>
                <a:lnTo>
                  <a:pt x="707924" y="474606"/>
                </a:lnTo>
                <a:lnTo>
                  <a:pt x="714775" y="474606"/>
                </a:lnTo>
                <a:lnTo>
                  <a:pt x="719342" y="474606"/>
                </a:lnTo>
                <a:lnTo>
                  <a:pt x="721626" y="476888"/>
                </a:lnTo>
                <a:lnTo>
                  <a:pt x="723909" y="479170"/>
                </a:lnTo>
                <a:lnTo>
                  <a:pt x="730760" y="486015"/>
                </a:lnTo>
                <a:lnTo>
                  <a:pt x="733044" y="486015"/>
                </a:lnTo>
                <a:lnTo>
                  <a:pt x="735328" y="486015"/>
                </a:lnTo>
                <a:lnTo>
                  <a:pt x="739895" y="488297"/>
                </a:lnTo>
                <a:lnTo>
                  <a:pt x="749029" y="490579"/>
                </a:lnTo>
                <a:lnTo>
                  <a:pt x="755880" y="490579"/>
                </a:lnTo>
                <a:lnTo>
                  <a:pt x="758163" y="492861"/>
                </a:lnTo>
                <a:lnTo>
                  <a:pt x="760447" y="492861"/>
                </a:lnTo>
                <a:lnTo>
                  <a:pt x="762731" y="492861"/>
                </a:lnTo>
                <a:lnTo>
                  <a:pt x="762731" y="490579"/>
                </a:lnTo>
                <a:lnTo>
                  <a:pt x="765014" y="490579"/>
                </a:lnTo>
                <a:lnTo>
                  <a:pt x="769582" y="488297"/>
                </a:lnTo>
                <a:lnTo>
                  <a:pt x="778716" y="486015"/>
                </a:lnTo>
                <a:lnTo>
                  <a:pt x="780999" y="486015"/>
                </a:lnTo>
                <a:lnTo>
                  <a:pt x="780999" y="488297"/>
                </a:lnTo>
                <a:lnTo>
                  <a:pt x="783283" y="488297"/>
                </a:lnTo>
                <a:lnTo>
                  <a:pt x="785567" y="490579"/>
                </a:lnTo>
                <a:lnTo>
                  <a:pt x="787850" y="490579"/>
                </a:lnTo>
                <a:lnTo>
                  <a:pt x="792417" y="490579"/>
                </a:lnTo>
                <a:lnTo>
                  <a:pt x="796984" y="490579"/>
                </a:lnTo>
                <a:lnTo>
                  <a:pt x="801552" y="492861"/>
                </a:lnTo>
                <a:lnTo>
                  <a:pt x="803835" y="492861"/>
                </a:lnTo>
                <a:lnTo>
                  <a:pt x="806119" y="492861"/>
                </a:lnTo>
                <a:lnTo>
                  <a:pt x="808403" y="492861"/>
                </a:lnTo>
                <a:lnTo>
                  <a:pt x="810686" y="490579"/>
                </a:lnTo>
                <a:lnTo>
                  <a:pt x="812970" y="488297"/>
                </a:lnTo>
                <a:lnTo>
                  <a:pt x="815253" y="490579"/>
                </a:lnTo>
                <a:lnTo>
                  <a:pt x="819821" y="488297"/>
                </a:lnTo>
                <a:lnTo>
                  <a:pt x="824388" y="486015"/>
                </a:lnTo>
                <a:lnTo>
                  <a:pt x="826671" y="486015"/>
                </a:lnTo>
                <a:lnTo>
                  <a:pt x="828955" y="486015"/>
                </a:lnTo>
                <a:lnTo>
                  <a:pt x="831238" y="486015"/>
                </a:lnTo>
                <a:lnTo>
                  <a:pt x="833522" y="486015"/>
                </a:lnTo>
                <a:lnTo>
                  <a:pt x="840373" y="488297"/>
                </a:lnTo>
                <a:lnTo>
                  <a:pt x="842657" y="488297"/>
                </a:lnTo>
                <a:lnTo>
                  <a:pt x="842657" y="483733"/>
                </a:lnTo>
                <a:lnTo>
                  <a:pt x="844940" y="483733"/>
                </a:lnTo>
                <a:lnTo>
                  <a:pt x="844940" y="481451"/>
                </a:lnTo>
                <a:lnTo>
                  <a:pt x="844940" y="479170"/>
                </a:lnTo>
                <a:lnTo>
                  <a:pt x="847224" y="479170"/>
                </a:lnTo>
                <a:lnTo>
                  <a:pt x="849507" y="479170"/>
                </a:lnTo>
                <a:lnTo>
                  <a:pt x="854074" y="474606"/>
                </a:lnTo>
                <a:lnTo>
                  <a:pt x="858642" y="470042"/>
                </a:lnTo>
                <a:lnTo>
                  <a:pt x="860925" y="467760"/>
                </a:lnTo>
                <a:lnTo>
                  <a:pt x="863209" y="467760"/>
                </a:lnTo>
                <a:lnTo>
                  <a:pt x="865492" y="470042"/>
                </a:lnTo>
                <a:lnTo>
                  <a:pt x="867776" y="467760"/>
                </a:lnTo>
                <a:lnTo>
                  <a:pt x="870060" y="465478"/>
                </a:lnTo>
                <a:lnTo>
                  <a:pt x="874627" y="463196"/>
                </a:lnTo>
                <a:lnTo>
                  <a:pt x="874627" y="460915"/>
                </a:lnTo>
                <a:lnTo>
                  <a:pt x="876911" y="460915"/>
                </a:lnTo>
                <a:lnTo>
                  <a:pt x="879194" y="458633"/>
                </a:lnTo>
                <a:lnTo>
                  <a:pt x="881478" y="458633"/>
                </a:lnTo>
                <a:lnTo>
                  <a:pt x="879194" y="456351"/>
                </a:lnTo>
                <a:lnTo>
                  <a:pt x="879194" y="454069"/>
                </a:lnTo>
                <a:lnTo>
                  <a:pt x="881478" y="454069"/>
                </a:lnTo>
                <a:lnTo>
                  <a:pt x="881478" y="451787"/>
                </a:lnTo>
                <a:lnTo>
                  <a:pt x="883761" y="451787"/>
                </a:lnTo>
                <a:lnTo>
                  <a:pt x="888328" y="451787"/>
                </a:lnTo>
                <a:lnTo>
                  <a:pt x="890612" y="449514"/>
                </a:lnTo>
                <a:lnTo>
                  <a:pt x="892896" y="449514"/>
                </a:lnTo>
                <a:lnTo>
                  <a:pt x="895179" y="449514"/>
                </a:lnTo>
                <a:lnTo>
                  <a:pt x="897463" y="449514"/>
                </a:lnTo>
                <a:lnTo>
                  <a:pt x="902030" y="451787"/>
                </a:lnTo>
                <a:lnTo>
                  <a:pt x="904314" y="454069"/>
                </a:lnTo>
                <a:lnTo>
                  <a:pt x="906597" y="451787"/>
                </a:lnTo>
                <a:lnTo>
                  <a:pt x="908881" y="451787"/>
                </a:lnTo>
                <a:lnTo>
                  <a:pt x="908881" y="454069"/>
                </a:lnTo>
                <a:lnTo>
                  <a:pt x="915732" y="456351"/>
                </a:lnTo>
                <a:lnTo>
                  <a:pt x="918015" y="458633"/>
                </a:lnTo>
                <a:lnTo>
                  <a:pt x="922582" y="460915"/>
                </a:lnTo>
                <a:lnTo>
                  <a:pt x="924866" y="463196"/>
                </a:lnTo>
                <a:lnTo>
                  <a:pt x="927150" y="463196"/>
                </a:lnTo>
                <a:lnTo>
                  <a:pt x="931717" y="463196"/>
                </a:lnTo>
                <a:lnTo>
                  <a:pt x="936284" y="463196"/>
                </a:lnTo>
                <a:lnTo>
                  <a:pt x="940851" y="465478"/>
                </a:lnTo>
                <a:lnTo>
                  <a:pt x="943135" y="465478"/>
                </a:lnTo>
                <a:lnTo>
                  <a:pt x="945418" y="465478"/>
                </a:lnTo>
                <a:lnTo>
                  <a:pt x="949986" y="465478"/>
                </a:lnTo>
                <a:lnTo>
                  <a:pt x="952269" y="465478"/>
                </a:lnTo>
                <a:lnTo>
                  <a:pt x="954553" y="465478"/>
                </a:lnTo>
                <a:lnTo>
                  <a:pt x="956836" y="465478"/>
                </a:lnTo>
                <a:lnTo>
                  <a:pt x="961403" y="465478"/>
                </a:lnTo>
                <a:lnTo>
                  <a:pt x="965971" y="465478"/>
                </a:lnTo>
                <a:lnTo>
                  <a:pt x="979672" y="465478"/>
                </a:lnTo>
                <a:lnTo>
                  <a:pt x="984240" y="465478"/>
                </a:lnTo>
                <a:lnTo>
                  <a:pt x="991090" y="463196"/>
                </a:lnTo>
                <a:lnTo>
                  <a:pt x="993374" y="465478"/>
                </a:lnTo>
                <a:lnTo>
                  <a:pt x="997941" y="467760"/>
                </a:lnTo>
                <a:lnTo>
                  <a:pt x="1000225" y="467760"/>
                </a:lnTo>
                <a:lnTo>
                  <a:pt x="1002508" y="467760"/>
                </a:lnTo>
                <a:lnTo>
                  <a:pt x="1004792" y="465478"/>
                </a:lnTo>
                <a:lnTo>
                  <a:pt x="1007076" y="465478"/>
                </a:lnTo>
                <a:lnTo>
                  <a:pt x="1009359" y="463196"/>
                </a:lnTo>
                <a:lnTo>
                  <a:pt x="1013926" y="460915"/>
                </a:lnTo>
                <a:lnTo>
                  <a:pt x="1016210" y="460915"/>
                </a:lnTo>
                <a:lnTo>
                  <a:pt x="1016210" y="458633"/>
                </a:lnTo>
                <a:lnTo>
                  <a:pt x="1020777" y="456351"/>
                </a:lnTo>
                <a:lnTo>
                  <a:pt x="1023061" y="454069"/>
                </a:lnTo>
                <a:lnTo>
                  <a:pt x="1027628" y="454069"/>
                </a:lnTo>
                <a:lnTo>
                  <a:pt x="1029911" y="454069"/>
                </a:lnTo>
                <a:lnTo>
                  <a:pt x="1032195" y="454069"/>
                </a:lnTo>
                <a:lnTo>
                  <a:pt x="1034479" y="454069"/>
                </a:lnTo>
                <a:lnTo>
                  <a:pt x="1039046" y="449514"/>
                </a:lnTo>
                <a:lnTo>
                  <a:pt x="1043613" y="444951"/>
                </a:lnTo>
                <a:lnTo>
                  <a:pt x="1045897" y="444951"/>
                </a:lnTo>
                <a:lnTo>
                  <a:pt x="1050464" y="438105"/>
                </a:lnTo>
                <a:lnTo>
                  <a:pt x="1052747" y="435823"/>
                </a:lnTo>
                <a:lnTo>
                  <a:pt x="1057315" y="433541"/>
                </a:lnTo>
                <a:lnTo>
                  <a:pt x="1059598" y="433541"/>
                </a:lnTo>
                <a:lnTo>
                  <a:pt x="1071016" y="424414"/>
                </a:lnTo>
                <a:lnTo>
                  <a:pt x="1087001" y="415286"/>
                </a:lnTo>
                <a:lnTo>
                  <a:pt x="1091569" y="413004"/>
                </a:lnTo>
                <a:lnTo>
                  <a:pt x="1091569" y="410722"/>
                </a:lnTo>
                <a:lnTo>
                  <a:pt x="1093852" y="410722"/>
                </a:lnTo>
                <a:lnTo>
                  <a:pt x="1096136" y="406158"/>
                </a:lnTo>
                <a:lnTo>
                  <a:pt x="1100703" y="394749"/>
                </a:lnTo>
                <a:lnTo>
                  <a:pt x="1112121" y="371930"/>
                </a:lnTo>
                <a:lnTo>
                  <a:pt x="1114405" y="365084"/>
                </a:lnTo>
                <a:lnTo>
                  <a:pt x="1118972" y="358239"/>
                </a:lnTo>
                <a:lnTo>
                  <a:pt x="1118972" y="351393"/>
                </a:lnTo>
                <a:lnTo>
                  <a:pt x="1116688" y="342265"/>
                </a:lnTo>
                <a:lnTo>
                  <a:pt x="1118972" y="339983"/>
                </a:lnTo>
                <a:lnTo>
                  <a:pt x="1118972" y="337702"/>
                </a:lnTo>
                <a:lnTo>
                  <a:pt x="1125822" y="326292"/>
                </a:lnTo>
                <a:lnTo>
                  <a:pt x="1125822" y="324010"/>
                </a:lnTo>
                <a:lnTo>
                  <a:pt x="1128106" y="321728"/>
                </a:lnTo>
                <a:lnTo>
                  <a:pt x="1128106" y="314883"/>
                </a:lnTo>
                <a:lnTo>
                  <a:pt x="1128106" y="312601"/>
                </a:lnTo>
                <a:lnTo>
                  <a:pt x="1130390" y="308037"/>
                </a:lnTo>
                <a:lnTo>
                  <a:pt x="1130390" y="305755"/>
                </a:lnTo>
                <a:lnTo>
                  <a:pt x="1134957" y="298909"/>
                </a:lnTo>
                <a:lnTo>
                  <a:pt x="1134957" y="287509"/>
                </a:lnTo>
                <a:lnTo>
                  <a:pt x="1139524" y="264690"/>
                </a:lnTo>
                <a:lnTo>
                  <a:pt x="1146375" y="255563"/>
                </a:lnTo>
                <a:lnTo>
                  <a:pt x="1148659" y="255563"/>
                </a:lnTo>
                <a:lnTo>
                  <a:pt x="1148659" y="253281"/>
                </a:lnTo>
                <a:lnTo>
                  <a:pt x="1150942" y="250999"/>
                </a:lnTo>
                <a:lnTo>
                  <a:pt x="1155509" y="241871"/>
                </a:lnTo>
                <a:lnTo>
                  <a:pt x="1155509" y="239590"/>
                </a:lnTo>
                <a:lnTo>
                  <a:pt x="1157793" y="232744"/>
                </a:lnTo>
                <a:lnTo>
                  <a:pt x="1162360" y="219053"/>
                </a:lnTo>
                <a:lnTo>
                  <a:pt x="1164644" y="212207"/>
                </a:lnTo>
                <a:lnTo>
                  <a:pt x="1171494" y="198515"/>
                </a:lnTo>
                <a:lnTo>
                  <a:pt x="1173778" y="187106"/>
                </a:lnTo>
                <a:lnTo>
                  <a:pt x="1173778" y="184824"/>
                </a:lnTo>
                <a:lnTo>
                  <a:pt x="1176062" y="182542"/>
                </a:lnTo>
                <a:lnTo>
                  <a:pt x="1176062" y="177978"/>
                </a:lnTo>
                <a:lnTo>
                  <a:pt x="1178345" y="171133"/>
                </a:lnTo>
                <a:lnTo>
                  <a:pt x="1185196" y="152878"/>
                </a:lnTo>
                <a:lnTo>
                  <a:pt x="1187480" y="150596"/>
                </a:lnTo>
                <a:lnTo>
                  <a:pt x="1194330" y="130068"/>
                </a:lnTo>
                <a:lnTo>
                  <a:pt x="1194330" y="125504"/>
                </a:lnTo>
                <a:lnTo>
                  <a:pt x="1194330" y="123222"/>
                </a:lnTo>
                <a:lnTo>
                  <a:pt x="1196614" y="120940"/>
                </a:lnTo>
                <a:lnTo>
                  <a:pt x="1201181" y="116377"/>
                </a:lnTo>
                <a:lnTo>
                  <a:pt x="1203465" y="116377"/>
                </a:lnTo>
                <a:lnTo>
                  <a:pt x="1203465" y="114095"/>
                </a:lnTo>
                <a:lnTo>
                  <a:pt x="1205748" y="102685"/>
                </a:lnTo>
                <a:lnTo>
                  <a:pt x="1205748" y="98122"/>
                </a:lnTo>
                <a:lnTo>
                  <a:pt x="1205748" y="88994"/>
                </a:lnTo>
                <a:lnTo>
                  <a:pt x="1203465" y="84430"/>
                </a:lnTo>
                <a:lnTo>
                  <a:pt x="1201181" y="82148"/>
                </a:lnTo>
                <a:lnTo>
                  <a:pt x="1198898" y="77584"/>
                </a:lnTo>
                <a:lnTo>
                  <a:pt x="1198898" y="75303"/>
                </a:lnTo>
                <a:lnTo>
                  <a:pt x="1196614" y="75303"/>
                </a:lnTo>
                <a:lnTo>
                  <a:pt x="1196614" y="73021"/>
                </a:lnTo>
                <a:lnTo>
                  <a:pt x="1196614" y="70739"/>
                </a:lnTo>
                <a:lnTo>
                  <a:pt x="1194330" y="61611"/>
                </a:lnTo>
                <a:lnTo>
                  <a:pt x="1194330" y="59329"/>
                </a:lnTo>
                <a:lnTo>
                  <a:pt x="1194330" y="57047"/>
                </a:lnTo>
                <a:lnTo>
                  <a:pt x="1194330" y="52484"/>
                </a:lnTo>
                <a:lnTo>
                  <a:pt x="1196614" y="50202"/>
                </a:lnTo>
                <a:lnTo>
                  <a:pt x="1196614" y="47920"/>
                </a:lnTo>
                <a:lnTo>
                  <a:pt x="1203465" y="47920"/>
                </a:lnTo>
                <a:lnTo>
                  <a:pt x="1208032" y="47920"/>
                </a:lnTo>
                <a:lnTo>
                  <a:pt x="1210315" y="47920"/>
                </a:lnTo>
                <a:lnTo>
                  <a:pt x="1212599" y="43356"/>
                </a:lnTo>
                <a:lnTo>
                  <a:pt x="1214883" y="41074"/>
                </a:lnTo>
                <a:lnTo>
                  <a:pt x="1219450" y="36510"/>
                </a:lnTo>
                <a:lnTo>
                  <a:pt x="1219450" y="34228"/>
                </a:lnTo>
                <a:lnTo>
                  <a:pt x="1221734" y="34228"/>
                </a:lnTo>
                <a:lnTo>
                  <a:pt x="1226301" y="34228"/>
                </a:lnTo>
                <a:lnTo>
                  <a:pt x="1242286" y="34228"/>
                </a:lnTo>
                <a:lnTo>
                  <a:pt x="1251420" y="34228"/>
                </a:lnTo>
                <a:lnTo>
                  <a:pt x="1255988" y="34228"/>
                </a:lnTo>
                <a:lnTo>
                  <a:pt x="1260555" y="31947"/>
                </a:lnTo>
                <a:lnTo>
                  <a:pt x="1265122" y="31947"/>
                </a:lnTo>
                <a:lnTo>
                  <a:pt x="1267405" y="29665"/>
                </a:lnTo>
                <a:lnTo>
                  <a:pt x="1281107" y="27383"/>
                </a:lnTo>
                <a:lnTo>
                  <a:pt x="1287958" y="25101"/>
                </a:lnTo>
                <a:lnTo>
                  <a:pt x="1292525" y="22819"/>
                </a:lnTo>
                <a:lnTo>
                  <a:pt x="1294809" y="22819"/>
                </a:lnTo>
                <a:lnTo>
                  <a:pt x="1313077" y="18255"/>
                </a:lnTo>
                <a:lnTo>
                  <a:pt x="1333630" y="13691"/>
                </a:lnTo>
                <a:lnTo>
                  <a:pt x="1335913" y="13691"/>
                </a:lnTo>
                <a:lnTo>
                  <a:pt x="1340481" y="11409"/>
                </a:lnTo>
                <a:lnTo>
                  <a:pt x="1342764" y="11409"/>
                </a:lnTo>
                <a:lnTo>
                  <a:pt x="1374734" y="4564"/>
                </a:lnTo>
                <a:lnTo>
                  <a:pt x="1377018" y="4564"/>
                </a:lnTo>
                <a:lnTo>
                  <a:pt x="1383869" y="2282"/>
                </a:lnTo>
                <a:lnTo>
                  <a:pt x="1393003" y="0"/>
                </a:lnTo>
                <a:lnTo>
                  <a:pt x="1395287" y="0"/>
                </a:lnTo>
                <a:lnTo>
                  <a:pt x="1397571" y="0"/>
                </a:lnTo>
                <a:lnTo>
                  <a:pt x="1399854" y="0"/>
                </a:lnTo>
                <a:lnTo>
                  <a:pt x="1402138" y="0"/>
                </a:lnTo>
                <a:lnTo>
                  <a:pt x="1399854" y="2282"/>
                </a:lnTo>
                <a:lnTo>
                  <a:pt x="1397571" y="4564"/>
                </a:lnTo>
                <a:close/>
              </a:path>
            </a:pathLst>
          </a:custGeom>
          <a:solidFill>
            <a:srgbClr val="E7E8DD"/>
          </a:solidFill>
          <a:ln w="3175" cap="flat">
            <a:solidFill>
              <a:schemeClr val="tx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grpSp>
        <p:nvGrpSpPr>
          <p:cNvPr id="29" name="Graphic 2">
            <a:extLst>
              <a:ext uri="{FF2B5EF4-FFF2-40B4-BE49-F238E27FC236}">
                <a16:creationId xmlns:a16="http://schemas.microsoft.com/office/drawing/2014/main" id="{28C9C6EC-9AF9-471B-9EBA-1E00E7735258}"/>
              </a:ext>
            </a:extLst>
          </p:cNvPr>
          <p:cNvGrpSpPr/>
          <p:nvPr/>
        </p:nvGrpSpPr>
        <p:grpSpPr>
          <a:xfrm>
            <a:off x="3495040" y="2342003"/>
            <a:ext cx="3200460" cy="2872228"/>
            <a:chOff x="3079750" y="1917367"/>
            <a:chExt cx="3320377" cy="3363305"/>
          </a:xfrm>
          <a:solidFill>
            <a:srgbClr val="FFFF99"/>
          </a:solidFill>
        </p:grpSpPr>
        <p:sp>
          <p:nvSpPr>
            <p:cNvPr id="53" name="Freeform 12">
              <a:extLst>
                <a:ext uri="{FF2B5EF4-FFF2-40B4-BE49-F238E27FC236}">
                  <a16:creationId xmlns:a16="http://schemas.microsoft.com/office/drawing/2014/main" id="{90160ACA-59A1-437B-9726-EF38DF70822F}"/>
                </a:ext>
              </a:extLst>
            </p:cNvPr>
            <p:cNvSpPr/>
            <p:nvPr/>
          </p:nvSpPr>
          <p:spPr>
            <a:xfrm>
              <a:off x="3842477" y="4308642"/>
              <a:ext cx="2283" cy="2281"/>
            </a:xfrm>
            <a:custGeom>
              <a:avLst/>
              <a:gdLst>
                <a:gd name="connsiteX0" fmla="*/ 0 w 2283"/>
                <a:gd name="connsiteY0" fmla="*/ 0 h 2281"/>
                <a:gd name="connsiteX1" fmla="*/ 2284 w 2283"/>
                <a:gd name="connsiteY1" fmla="*/ 2282 h 2281"/>
                <a:gd name="connsiteX2" fmla="*/ 2284 w 2283"/>
                <a:gd name="connsiteY2" fmla="*/ 0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3" h="2281">
                  <a:moveTo>
                    <a:pt x="0" y="0"/>
                  </a:moveTo>
                  <a:lnTo>
                    <a:pt x="2284" y="2282"/>
                  </a:lnTo>
                  <a:lnTo>
                    <a:pt x="2284" y="0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54" name="Freeform 13">
              <a:extLst>
                <a:ext uri="{FF2B5EF4-FFF2-40B4-BE49-F238E27FC236}">
                  <a16:creationId xmlns:a16="http://schemas.microsoft.com/office/drawing/2014/main" id="{1B88997C-4F18-4244-9052-9BAFBA54FB8E}"/>
                </a:ext>
              </a:extLst>
            </p:cNvPr>
            <p:cNvSpPr/>
            <p:nvPr/>
          </p:nvSpPr>
          <p:spPr>
            <a:xfrm>
              <a:off x="3079750" y="1917367"/>
              <a:ext cx="3320377" cy="3363305"/>
            </a:xfrm>
            <a:custGeom>
              <a:avLst/>
              <a:gdLst>
                <a:gd name="connsiteX0" fmla="*/ 3313527 w 3320377"/>
                <a:gd name="connsiteY0" fmla="*/ 2416376 h 3363305"/>
                <a:gd name="connsiteX1" fmla="*/ 3306676 w 3320377"/>
                <a:gd name="connsiteY1" fmla="*/ 2411812 h 3363305"/>
                <a:gd name="connsiteX2" fmla="*/ 3306676 w 3320377"/>
                <a:gd name="connsiteY2" fmla="*/ 2409530 h 3363305"/>
                <a:gd name="connsiteX3" fmla="*/ 3299825 w 3320377"/>
                <a:gd name="connsiteY3" fmla="*/ 2411812 h 3363305"/>
                <a:gd name="connsiteX4" fmla="*/ 3297541 w 3320377"/>
                <a:gd name="connsiteY4" fmla="*/ 2409530 h 3363305"/>
                <a:gd name="connsiteX5" fmla="*/ 3297541 w 3320377"/>
                <a:gd name="connsiteY5" fmla="*/ 2407248 h 3363305"/>
                <a:gd name="connsiteX6" fmla="*/ 3297541 w 3320377"/>
                <a:gd name="connsiteY6" fmla="*/ 2404966 h 3363305"/>
                <a:gd name="connsiteX7" fmla="*/ 3297541 w 3320377"/>
                <a:gd name="connsiteY7" fmla="*/ 2400402 h 3363305"/>
                <a:gd name="connsiteX8" fmla="*/ 3295258 w 3320377"/>
                <a:gd name="connsiteY8" fmla="*/ 2393557 h 3363305"/>
                <a:gd name="connsiteX9" fmla="*/ 3295258 w 3320377"/>
                <a:gd name="connsiteY9" fmla="*/ 2391275 h 3363305"/>
                <a:gd name="connsiteX10" fmla="*/ 3295258 w 3320377"/>
                <a:gd name="connsiteY10" fmla="*/ 2386711 h 3363305"/>
                <a:gd name="connsiteX11" fmla="*/ 3295258 w 3320377"/>
                <a:gd name="connsiteY11" fmla="*/ 2384429 h 3363305"/>
                <a:gd name="connsiteX12" fmla="*/ 3290691 w 3320377"/>
                <a:gd name="connsiteY12" fmla="*/ 2384429 h 3363305"/>
                <a:gd name="connsiteX13" fmla="*/ 3290691 w 3320377"/>
                <a:gd name="connsiteY13" fmla="*/ 2382147 h 3363305"/>
                <a:gd name="connsiteX14" fmla="*/ 3290691 w 3320377"/>
                <a:gd name="connsiteY14" fmla="*/ 2379865 h 3363305"/>
                <a:gd name="connsiteX15" fmla="*/ 3290691 w 3320377"/>
                <a:gd name="connsiteY15" fmla="*/ 2377583 h 3363305"/>
                <a:gd name="connsiteX16" fmla="*/ 3290691 w 3320377"/>
                <a:gd name="connsiteY16" fmla="*/ 2375302 h 3363305"/>
                <a:gd name="connsiteX17" fmla="*/ 3290691 w 3320377"/>
                <a:gd name="connsiteY17" fmla="*/ 2370738 h 3363305"/>
                <a:gd name="connsiteX18" fmla="*/ 3288407 w 3320377"/>
                <a:gd name="connsiteY18" fmla="*/ 2370738 h 3363305"/>
                <a:gd name="connsiteX19" fmla="*/ 3288407 w 3320377"/>
                <a:gd name="connsiteY19" fmla="*/ 2368456 h 3363305"/>
                <a:gd name="connsiteX20" fmla="*/ 3290691 w 3320377"/>
                <a:gd name="connsiteY20" fmla="*/ 2366174 h 3363305"/>
                <a:gd name="connsiteX21" fmla="*/ 3292974 w 3320377"/>
                <a:gd name="connsiteY21" fmla="*/ 2363892 h 3363305"/>
                <a:gd name="connsiteX22" fmla="*/ 3292974 w 3320377"/>
                <a:gd name="connsiteY22" fmla="*/ 2361620 h 3363305"/>
                <a:gd name="connsiteX23" fmla="*/ 3290691 w 3320377"/>
                <a:gd name="connsiteY23" fmla="*/ 2361620 h 3363305"/>
                <a:gd name="connsiteX24" fmla="*/ 3288407 w 3320377"/>
                <a:gd name="connsiteY24" fmla="*/ 2359338 h 3363305"/>
                <a:gd name="connsiteX25" fmla="*/ 3288407 w 3320377"/>
                <a:gd name="connsiteY25" fmla="*/ 2357056 h 3363305"/>
                <a:gd name="connsiteX26" fmla="*/ 3288407 w 3320377"/>
                <a:gd name="connsiteY26" fmla="*/ 2354774 h 3363305"/>
                <a:gd name="connsiteX27" fmla="*/ 3288407 w 3320377"/>
                <a:gd name="connsiteY27" fmla="*/ 2350210 h 3363305"/>
                <a:gd name="connsiteX28" fmla="*/ 3290691 w 3320377"/>
                <a:gd name="connsiteY28" fmla="*/ 2345646 h 3363305"/>
                <a:gd name="connsiteX29" fmla="*/ 3290691 w 3320377"/>
                <a:gd name="connsiteY29" fmla="*/ 2343365 h 3363305"/>
                <a:gd name="connsiteX30" fmla="*/ 3288407 w 3320377"/>
                <a:gd name="connsiteY30" fmla="*/ 2343365 h 3363305"/>
                <a:gd name="connsiteX31" fmla="*/ 3288407 w 3320377"/>
                <a:gd name="connsiteY31" fmla="*/ 2341083 h 3363305"/>
                <a:gd name="connsiteX32" fmla="*/ 3288407 w 3320377"/>
                <a:gd name="connsiteY32" fmla="*/ 2338801 h 3363305"/>
                <a:gd name="connsiteX33" fmla="*/ 3286124 w 3320377"/>
                <a:gd name="connsiteY33" fmla="*/ 2338801 h 3363305"/>
                <a:gd name="connsiteX34" fmla="*/ 3283840 w 3320377"/>
                <a:gd name="connsiteY34" fmla="*/ 2338801 h 3363305"/>
                <a:gd name="connsiteX35" fmla="*/ 3283840 w 3320377"/>
                <a:gd name="connsiteY35" fmla="*/ 2336519 h 3363305"/>
                <a:gd name="connsiteX36" fmla="*/ 3281556 w 3320377"/>
                <a:gd name="connsiteY36" fmla="*/ 2336519 h 3363305"/>
                <a:gd name="connsiteX37" fmla="*/ 3281556 w 3320377"/>
                <a:gd name="connsiteY37" fmla="*/ 2334237 h 3363305"/>
                <a:gd name="connsiteX38" fmla="*/ 3279273 w 3320377"/>
                <a:gd name="connsiteY38" fmla="*/ 2334237 h 3363305"/>
                <a:gd name="connsiteX39" fmla="*/ 3279273 w 3320377"/>
                <a:gd name="connsiteY39" fmla="*/ 2331955 h 3363305"/>
                <a:gd name="connsiteX40" fmla="*/ 3276989 w 3320377"/>
                <a:gd name="connsiteY40" fmla="*/ 2331955 h 3363305"/>
                <a:gd name="connsiteX41" fmla="*/ 3274706 w 3320377"/>
                <a:gd name="connsiteY41" fmla="*/ 2331955 h 3363305"/>
                <a:gd name="connsiteX42" fmla="*/ 3274706 w 3320377"/>
                <a:gd name="connsiteY42" fmla="*/ 2329673 h 3363305"/>
                <a:gd name="connsiteX43" fmla="*/ 3274706 w 3320377"/>
                <a:gd name="connsiteY43" fmla="*/ 2327391 h 3363305"/>
                <a:gd name="connsiteX44" fmla="*/ 3274706 w 3320377"/>
                <a:gd name="connsiteY44" fmla="*/ 2325110 h 3363305"/>
                <a:gd name="connsiteX45" fmla="*/ 3272422 w 3320377"/>
                <a:gd name="connsiteY45" fmla="*/ 2325110 h 3363305"/>
                <a:gd name="connsiteX46" fmla="*/ 3270139 w 3320377"/>
                <a:gd name="connsiteY46" fmla="*/ 2325110 h 3363305"/>
                <a:gd name="connsiteX47" fmla="*/ 3270139 w 3320377"/>
                <a:gd name="connsiteY47" fmla="*/ 2322827 h 3363305"/>
                <a:gd name="connsiteX48" fmla="*/ 3267855 w 3320377"/>
                <a:gd name="connsiteY48" fmla="*/ 2322827 h 3363305"/>
                <a:gd name="connsiteX49" fmla="*/ 3267855 w 3320377"/>
                <a:gd name="connsiteY49" fmla="*/ 2325110 h 3363305"/>
                <a:gd name="connsiteX50" fmla="*/ 3265571 w 3320377"/>
                <a:gd name="connsiteY50" fmla="*/ 2325110 h 3363305"/>
                <a:gd name="connsiteX51" fmla="*/ 3265571 w 3320377"/>
                <a:gd name="connsiteY51" fmla="*/ 2322827 h 3363305"/>
                <a:gd name="connsiteX52" fmla="*/ 3263288 w 3320377"/>
                <a:gd name="connsiteY52" fmla="*/ 2322827 h 3363305"/>
                <a:gd name="connsiteX53" fmla="*/ 3263288 w 3320377"/>
                <a:gd name="connsiteY53" fmla="*/ 2320546 h 3363305"/>
                <a:gd name="connsiteX54" fmla="*/ 3261004 w 3320377"/>
                <a:gd name="connsiteY54" fmla="*/ 2320546 h 3363305"/>
                <a:gd name="connsiteX55" fmla="*/ 3258720 w 3320377"/>
                <a:gd name="connsiteY55" fmla="*/ 2320546 h 3363305"/>
                <a:gd name="connsiteX56" fmla="*/ 3258720 w 3320377"/>
                <a:gd name="connsiteY56" fmla="*/ 2318264 h 3363305"/>
                <a:gd name="connsiteX57" fmla="*/ 3256437 w 3320377"/>
                <a:gd name="connsiteY57" fmla="*/ 2318264 h 3363305"/>
                <a:gd name="connsiteX58" fmla="*/ 3254153 w 3320377"/>
                <a:gd name="connsiteY58" fmla="*/ 2318264 h 3363305"/>
                <a:gd name="connsiteX59" fmla="*/ 3251870 w 3320377"/>
                <a:gd name="connsiteY59" fmla="*/ 2318264 h 3363305"/>
                <a:gd name="connsiteX60" fmla="*/ 3251870 w 3320377"/>
                <a:gd name="connsiteY60" fmla="*/ 2320546 h 3363305"/>
                <a:gd name="connsiteX61" fmla="*/ 3249586 w 3320377"/>
                <a:gd name="connsiteY61" fmla="*/ 2320546 h 3363305"/>
                <a:gd name="connsiteX62" fmla="*/ 3247302 w 3320377"/>
                <a:gd name="connsiteY62" fmla="*/ 2320546 h 3363305"/>
                <a:gd name="connsiteX63" fmla="*/ 3247302 w 3320377"/>
                <a:gd name="connsiteY63" fmla="*/ 2318264 h 3363305"/>
                <a:gd name="connsiteX64" fmla="*/ 3245019 w 3320377"/>
                <a:gd name="connsiteY64" fmla="*/ 2318264 h 3363305"/>
                <a:gd name="connsiteX65" fmla="*/ 3242735 w 3320377"/>
                <a:gd name="connsiteY65" fmla="*/ 2318264 h 3363305"/>
                <a:gd name="connsiteX66" fmla="*/ 3242735 w 3320377"/>
                <a:gd name="connsiteY66" fmla="*/ 2320546 h 3363305"/>
                <a:gd name="connsiteX67" fmla="*/ 3240452 w 3320377"/>
                <a:gd name="connsiteY67" fmla="*/ 2320546 h 3363305"/>
                <a:gd name="connsiteX68" fmla="*/ 3240452 w 3320377"/>
                <a:gd name="connsiteY68" fmla="*/ 2322827 h 3363305"/>
                <a:gd name="connsiteX69" fmla="*/ 3240452 w 3320377"/>
                <a:gd name="connsiteY69" fmla="*/ 2325110 h 3363305"/>
                <a:gd name="connsiteX70" fmla="*/ 3238168 w 3320377"/>
                <a:gd name="connsiteY70" fmla="*/ 2325110 h 3363305"/>
                <a:gd name="connsiteX71" fmla="*/ 3235885 w 3320377"/>
                <a:gd name="connsiteY71" fmla="*/ 2325110 h 3363305"/>
                <a:gd name="connsiteX72" fmla="*/ 3235885 w 3320377"/>
                <a:gd name="connsiteY72" fmla="*/ 2327391 h 3363305"/>
                <a:gd name="connsiteX73" fmla="*/ 3233601 w 3320377"/>
                <a:gd name="connsiteY73" fmla="*/ 2327391 h 3363305"/>
                <a:gd name="connsiteX74" fmla="*/ 3233601 w 3320377"/>
                <a:gd name="connsiteY74" fmla="*/ 2325110 h 3363305"/>
                <a:gd name="connsiteX75" fmla="*/ 3231317 w 3320377"/>
                <a:gd name="connsiteY75" fmla="*/ 2325110 h 3363305"/>
                <a:gd name="connsiteX76" fmla="*/ 3231317 w 3320377"/>
                <a:gd name="connsiteY76" fmla="*/ 2322827 h 3363305"/>
                <a:gd name="connsiteX77" fmla="*/ 3229034 w 3320377"/>
                <a:gd name="connsiteY77" fmla="*/ 2322827 h 3363305"/>
                <a:gd name="connsiteX78" fmla="*/ 3229034 w 3320377"/>
                <a:gd name="connsiteY78" fmla="*/ 2320546 h 3363305"/>
                <a:gd name="connsiteX79" fmla="*/ 3226750 w 3320377"/>
                <a:gd name="connsiteY79" fmla="*/ 2320546 h 3363305"/>
                <a:gd name="connsiteX80" fmla="*/ 3226750 w 3320377"/>
                <a:gd name="connsiteY80" fmla="*/ 2318264 h 3363305"/>
                <a:gd name="connsiteX81" fmla="*/ 3224466 w 3320377"/>
                <a:gd name="connsiteY81" fmla="*/ 2318264 h 3363305"/>
                <a:gd name="connsiteX82" fmla="*/ 3224466 w 3320377"/>
                <a:gd name="connsiteY82" fmla="*/ 2315982 h 3363305"/>
                <a:gd name="connsiteX83" fmla="*/ 3224466 w 3320377"/>
                <a:gd name="connsiteY83" fmla="*/ 2313700 h 3363305"/>
                <a:gd name="connsiteX84" fmla="*/ 3224466 w 3320377"/>
                <a:gd name="connsiteY84" fmla="*/ 2311418 h 3363305"/>
                <a:gd name="connsiteX85" fmla="*/ 3222183 w 3320377"/>
                <a:gd name="connsiteY85" fmla="*/ 2311418 h 3363305"/>
                <a:gd name="connsiteX86" fmla="*/ 3219899 w 3320377"/>
                <a:gd name="connsiteY86" fmla="*/ 2311418 h 3363305"/>
                <a:gd name="connsiteX87" fmla="*/ 3219899 w 3320377"/>
                <a:gd name="connsiteY87" fmla="*/ 2309136 h 3363305"/>
                <a:gd name="connsiteX88" fmla="*/ 3219899 w 3320377"/>
                <a:gd name="connsiteY88" fmla="*/ 2306854 h 3363305"/>
                <a:gd name="connsiteX89" fmla="*/ 3217616 w 3320377"/>
                <a:gd name="connsiteY89" fmla="*/ 2306854 h 3363305"/>
                <a:gd name="connsiteX90" fmla="*/ 3217616 w 3320377"/>
                <a:gd name="connsiteY90" fmla="*/ 2304572 h 3363305"/>
                <a:gd name="connsiteX91" fmla="*/ 3215332 w 3320377"/>
                <a:gd name="connsiteY91" fmla="*/ 2304572 h 3363305"/>
                <a:gd name="connsiteX92" fmla="*/ 3215332 w 3320377"/>
                <a:gd name="connsiteY92" fmla="*/ 2302290 h 3363305"/>
                <a:gd name="connsiteX93" fmla="*/ 3213049 w 3320377"/>
                <a:gd name="connsiteY93" fmla="*/ 2302290 h 3363305"/>
                <a:gd name="connsiteX94" fmla="*/ 3210765 w 3320377"/>
                <a:gd name="connsiteY94" fmla="*/ 2302290 h 3363305"/>
                <a:gd name="connsiteX95" fmla="*/ 3210765 w 3320377"/>
                <a:gd name="connsiteY95" fmla="*/ 2300009 h 3363305"/>
                <a:gd name="connsiteX96" fmla="*/ 3210765 w 3320377"/>
                <a:gd name="connsiteY96" fmla="*/ 2297727 h 3363305"/>
                <a:gd name="connsiteX97" fmla="*/ 3208481 w 3320377"/>
                <a:gd name="connsiteY97" fmla="*/ 2297727 h 3363305"/>
                <a:gd name="connsiteX98" fmla="*/ 3208481 w 3320377"/>
                <a:gd name="connsiteY98" fmla="*/ 2295445 h 3363305"/>
                <a:gd name="connsiteX99" fmla="*/ 3206198 w 3320377"/>
                <a:gd name="connsiteY99" fmla="*/ 2295445 h 3363305"/>
                <a:gd name="connsiteX100" fmla="*/ 3203914 w 3320377"/>
                <a:gd name="connsiteY100" fmla="*/ 2295445 h 3363305"/>
                <a:gd name="connsiteX101" fmla="*/ 3203914 w 3320377"/>
                <a:gd name="connsiteY101" fmla="*/ 2297727 h 3363305"/>
                <a:gd name="connsiteX102" fmla="*/ 3201631 w 3320377"/>
                <a:gd name="connsiteY102" fmla="*/ 2297727 h 3363305"/>
                <a:gd name="connsiteX103" fmla="*/ 3199347 w 3320377"/>
                <a:gd name="connsiteY103" fmla="*/ 2297727 h 3363305"/>
                <a:gd name="connsiteX104" fmla="*/ 3197063 w 3320377"/>
                <a:gd name="connsiteY104" fmla="*/ 2297727 h 3363305"/>
                <a:gd name="connsiteX105" fmla="*/ 3194780 w 3320377"/>
                <a:gd name="connsiteY105" fmla="*/ 2295445 h 3363305"/>
                <a:gd name="connsiteX106" fmla="*/ 3192496 w 3320377"/>
                <a:gd name="connsiteY106" fmla="*/ 2295445 h 3363305"/>
                <a:gd name="connsiteX107" fmla="*/ 3192496 w 3320377"/>
                <a:gd name="connsiteY107" fmla="*/ 2293163 h 3363305"/>
                <a:gd name="connsiteX108" fmla="*/ 3190212 w 3320377"/>
                <a:gd name="connsiteY108" fmla="*/ 2293163 h 3363305"/>
                <a:gd name="connsiteX109" fmla="*/ 3190212 w 3320377"/>
                <a:gd name="connsiteY109" fmla="*/ 2290881 h 3363305"/>
                <a:gd name="connsiteX110" fmla="*/ 3190212 w 3320377"/>
                <a:gd name="connsiteY110" fmla="*/ 2288599 h 3363305"/>
                <a:gd name="connsiteX111" fmla="*/ 3187929 w 3320377"/>
                <a:gd name="connsiteY111" fmla="*/ 2288599 h 3363305"/>
                <a:gd name="connsiteX112" fmla="*/ 3187929 w 3320377"/>
                <a:gd name="connsiteY112" fmla="*/ 2286317 h 3363305"/>
                <a:gd name="connsiteX113" fmla="*/ 3185645 w 3320377"/>
                <a:gd name="connsiteY113" fmla="*/ 2286317 h 3363305"/>
                <a:gd name="connsiteX114" fmla="*/ 3183362 w 3320377"/>
                <a:gd name="connsiteY114" fmla="*/ 2286317 h 3363305"/>
                <a:gd name="connsiteX115" fmla="*/ 3183362 w 3320377"/>
                <a:gd name="connsiteY115" fmla="*/ 2284035 h 3363305"/>
                <a:gd name="connsiteX116" fmla="*/ 3181078 w 3320377"/>
                <a:gd name="connsiteY116" fmla="*/ 2281753 h 3363305"/>
                <a:gd name="connsiteX117" fmla="*/ 3181078 w 3320377"/>
                <a:gd name="connsiteY117" fmla="*/ 2279471 h 3363305"/>
                <a:gd name="connsiteX118" fmla="*/ 3178795 w 3320377"/>
                <a:gd name="connsiteY118" fmla="*/ 2279471 h 3363305"/>
                <a:gd name="connsiteX119" fmla="*/ 3178795 w 3320377"/>
                <a:gd name="connsiteY119" fmla="*/ 2277190 h 3363305"/>
                <a:gd name="connsiteX120" fmla="*/ 3178795 w 3320377"/>
                <a:gd name="connsiteY120" fmla="*/ 2274908 h 3363305"/>
                <a:gd name="connsiteX121" fmla="*/ 3181078 w 3320377"/>
                <a:gd name="connsiteY121" fmla="*/ 2274908 h 3363305"/>
                <a:gd name="connsiteX122" fmla="*/ 3181078 w 3320377"/>
                <a:gd name="connsiteY122" fmla="*/ 2272626 h 3363305"/>
                <a:gd name="connsiteX123" fmla="*/ 3178795 w 3320377"/>
                <a:gd name="connsiteY123" fmla="*/ 2272626 h 3363305"/>
                <a:gd name="connsiteX124" fmla="*/ 3178795 w 3320377"/>
                <a:gd name="connsiteY124" fmla="*/ 2270344 h 3363305"/>
                <a:gd name="connsiteX125" fmla="*/ 3176511 w 3320377"/>
                <a:gd name="connsiteY125" fmla="*/ 2270344 h 3363305"/>
                <a:gd name="connsiteX126" fmla="*/ 3176511 w 3320377"/>
                <a:gd name="connsiteY126" fmla="*/ 2268062 h 3363305"/>
                <a:gd name="connsiteX127" fmla="*/ 3176511 w 3320377"/>
                <a:gd name="connsiteY127" fmla="*/ 2265780 h 3363305"/>
                <a:gd name="connsiteX128" fmla="*/ 3174227 w 3320377"/>
                <a:gd name="connsiteY128" fmla="*/ 2265780 h 3363305"/>
                <a:gd name="connsiteX129" fmla="*/ 3174227 w 3320377"/>
                <a:gd name="connsiteY129" fmla="*/ 2263498 h 3363305"/>
                <a:gd name="connsiteX130" fmla="*/ 3171944 w 3320377"/>
                <a:gd name="connsiteY130" fmla="*/ 2263498 h 3363305"/>
                <a:gd name="connsiteX131" fmla="*/ 3169660 w 3320377"/>
                <a:gd name="connsiteY131" fmla="*/ 2263498 h 3363305"/>
                <a:gd name="connsiteX132" fmla="*/ 3167377 w 3320377"/>
                <a:gd name="connsiteY132" fmla="*/ 2263498 h 3363305"/>
                <a:gd name="connsiteX133" fmla="*/ 3167377 w 3320377"/>
                <a:gd name="connsiteY133" fmla="*/ 2261216 h 3363305"/>
                <a:gd name="connsiteX134" fmla="*/ 3165093 w 3320377"/>
                <a:gd name="connsiteY134" fmla="*/ 2261216 h 3363305"/>
                <a:gd name="connsiteX135" fmla="*/ 3165093 w 3320377"/>
                <a:gd name="connsiteY135" fmla="*/ 2258934 h 3363305"/>
                <a:gd name="connsiteX136" fmla="*/ 3162810 w 3320377"/>
                <a:gd name="connsiteY136" fmla="*/ 2258934 h 3363305"/>
                <a:gd name="connsiteX137" fmla="*/ 3162810 w 3320377"/>
                <a:gd name="connsiteY137" fmla="*/ 2256653 h 3363305"/>
                <a:gd name="connsiteX138" fmla="*/ 3162810 w 3320377"/>
                <a:gd name="connsiteY138" fmla="*/ 2254371 h 3363305"/>
                <a:gd name="connsiteX139" fmla="*/ 3160526 w 3320377"/>
                <a:gd name="connsiteY139" fmla="*/ 2254371 h 3363305"/>
                <a:gd name="connsiteX140" fmla="*/ 3160526 w 3320377"/>
                <a:gd name="connsiteY140" fmla="*/ 2252089 h 3363305"/>
                <a:gd name="connsiteX141" fmla="*/ 3160526 w 3320377"/>
                <a:gd name="connsiteY141" fmla="*/ 2249807 h 3363305"/>
                <a:gd name="connsiteX142" fmla="*/ 3158242 w 3320377"/>
                <a:gd name="connsiteY142" fmla="*/ 2247525 h 3363305"/>
                <a:gd name="connsiteX143" fmla="*/ 3158242 w 3320377"/>
                <a:gd name="connsiteY143" fmla="*/ 2245243 h 3363305"/>
                <a:gd name="connsiteX144" fmla="*/ 3158242 w 3320377"/>
                <a:gd name="connsiteY144" fmla="*/ 2242961 h 3363305"/>
                <a:gd name="connsiteX145" fmla="*/ 3155959 w 3320377"/>
                <a:gd name="connsiteY145" fmla="*/ 2242961 h 3363305"/>
                <a:gd name="connsiteX146" fmla="*/ 3153675 w 3320377"/>
                <a:gd name="connsiteY146" fmla="*/ 2242961 h 3363305"/>
                <a:gd name="connsiteX147" fmla="*/ 3153675 w 3320377"/>
                <a:gd name="connsiteY147" fmla="*/ 2240679 h 3363305"/>
                <a:gd name="connsiteX148" fmla="*/ 3151391 w 3320377"/>
                <a:gd name="connsiteY148" fmla="*/ 2240679 h 3363305"/>
                <a:gd name="connsiteX149" fmla="*/ 3149108 w 3320377"/>
                <a:gd name="connsiteY149" fmla="*/ 2240679 h 3363305"/>
                <a:gd name="connsiteX150" fmla="*/ 3149108 w 3320377"/>
                <a:gd name="connsiteY150" fmla="*/ 2238397 h 3363305"/>
                <a:gd name="connsiteX151" fmla="*/ 3146824 w 3320377"/>
                <a:gd name="connsiteY151" fmla="*/ 2238397 h 3363305"/>
                <a:gd name="connsiteX152" fmla="*/ 3144541 w 3320377"/>
                <a:gd name="connsiteY152" fmla="*/ 2238397 h 3363305"/>
                <a:gd name="connsiteX153" fmla="*/ 3142257 w 3320377"/>
                <a:gd name="connsiteY153" fmla="*/ 2238397 h 3363305"/>
                <a:gd name="connsiteX154" fmla="*/ 3139973 w 3320377"/>
                <a:gd name="connsiteY154" fmla="*/ 2238397 h 3363305"/>
                <a:gd name="connsiteX155" fmla="*/ 3139973 w 3320377"/>
                <a:gd name="connsiteY155" fmla="*/ 2240679 h 3363305"/>
                <a:gd name="connsiteX156" fmla="*/ 3137690 w 3320377"/>
                <a:gd name="connsiteY156" fmla="*/ 2240679 h 3363305"/>
                <a:gd name="connsiteX157" fmla="*/ 3137690 w 3320377"/>
                <a:gd name="connsiteY157" fmla="*/ 2238397 h 3363305"/>
                <a:gd name="connsiteX158" fmla="*/ 3137690 w 3320377"/>
                <a:gd name="connsiteY158" fmla="*/ 2236115 h 3363305"/>
                <a:gd name="connsiteX159" fmla="*/ 3135406 w 3320377"/>
                <a:gd name="connsiteY159" fmla="*/ 2233834 h 3363305"/>
                <a:gd name="connsiteX160" fmla="*/ 3135406 w 3320377"/>
                <a:gd name="connsiteY160" fmla="*/ 2231552 h 3363305"/>
                <a:gd name="connsiteX161" fmla="*/ 3137690 w 3320377"/>
                <a:gd name="connsiteY161" fmla="*/ 2231552 h 3363305"/>
                <a:gd name="connsiteX162" fmla="*/ 3137690 w 3320377"/>
                <a:gd name="connsiteY162" fmla="*/ 2229270 h 3363305"/>
                <a:gd name="connsiteX163" fmla="*/ 3137690 w 3320377"/>
                <a:gd name="connsiteY163" fmla="*/ 2226988 h 3363305"/>
                <a:gd name="connsiteX164" fmla="*/ 3139973 w 3320377"/>
                <a:gd name="connsiteY164" fmla="*/ 2226988 h 3363305"/>
                <a:gd name="connsiteX165" fmla="*/ 3139973 w 3320377"/>
                <a:gd name="connsiteY165" fmla="*/ 2224706 h 3363305"/>
                <a:gd name="connsiteX166" fmla="*/ 3139973 w 3320377"/>
                <a:gd name="connsiteY166" fmla="*/ 2222424 h 3363305"/>
                <a:gd name="connsiteX167" fmla="*/ 3139973 w 3320377"/>
                <a:gd name="connsiteY167" fmla="*/ 2220142 h 3363305"/>
                <a:gd name="connsiteX168" fmla="*/ 3139973 w 3320377"/>
                <a:gd name="connsiteY168" fmla="*/ 2217860 h 3363305"/>
                <a:gd name="connsiteX169" fmla="*/ 3137690 w 3320377"/>
                <a:gd name="connsiteY169" fmla="*/ 2217860 h 3363305"/>
                <a:gd name="connsiteX170" fmla="*/ 3137690 w 3320377"/>
                <a:gd name="connsiteY170" fmla="*/ 2215578 h 3363305"/>
                <a:gd name="connsiteX171" fmla="*/ 3137690 w 3320377"/>
                <a:gd name="connsiteY171" fmla="*/ 2213297 h 3363305"/>
                <a:gd name="connsiteX172" fmla="*/ 3135406 w 3320377"/>
                <a:gd name="connsiteY172" fmla="*/ 2213297 h 3363305"/>
                <a:gd name="connsiteX173" fmla="*/ 3135406 w 3320377"/>
                <a:gd name="connsiteY173" fmla="*/ 2211015 h 3363305"/>
                <a:gd name="connsiteX174" fmla="*/ 3135406 w 3320377"/>
                <a:gd name="connsiteY174" fmla="*/ 2208733 h 3363305"/>
                <a:gd name="connsiteX175" fmla="*/ 3133123 w 3320377"/>
                <a:gd name="connsiteY175" fmla="*/ 2208733 h 3363305"/>
                <a:gd name="connsiteX176" fmla="*/ 3133123 w 3320377"/>
                <a:gd name="connsiteY176" fmla="*/ 2206451 h 3363305"/>
                <a:gd name="connsiteX177" fmla="*/ 3130839 w 3320377"/>
                <a:gd name="connsiteY177" fmla="*/ 2206451 h 3363305"/>
                <a:gd name="connsiteX178" fmla="*/ 3130839 w 3320377"/>
                <a:gd name="connsiteY178" fmla="*/ 2208733 h 3363305"/>
                <a:gd name="connsiteX179" fmla="*/ 3128556 w 3320377"/>
                <a:gd name="connsiteY179" fmla="*/ 2208733 h 3363305"/>
                <a:gd name="connsiteX180" fmla="*/ 3126272 w 3320377"/>
                <a:gd name="connsiteY180" fmla="*/ 2211015 h 3363305"/>
                <a:gd name="connsiteX181" fmla="*/ 3123988 w 3320377"/>
                <a:gd name="connsiteY181" fmla="*/ 2211015 h 3363305"/>
                <a:gd name="connsiteX182" fmla="*/ 3121705 w 3320377"/>
                <a:gd name="connsiteY182" fmla="*/ 2211015 h 3363305"/>
                <a:gd name="connsiteX183" fmla="*/ 3119421 w 3320377"/>
                <a:gd name="connsiteY183" fmla="*/ 2211015 h 3363305"/>
                <a:gd name="connsiteX184" fmla="*/ 3117137 w 3320377"/>
                <a:gd name="connsiteY184" fmla="*/ 2211015 h 3363305"/>
                <a:gd name="connsiteX185" fmla="*/ 3117137 w 3320377"/>
                <a:gd name="connsiteY185" fmla="*/ 2208733 h 3363305"/>
                <a:gd name="connsiteX186" fmla="*/ 3114854 w 3320377"/>
                <a:gd name="connsiteY186" fmla="*/ 2208733 h 3363305"/>
                <a:gd name="connsiteX187" fmla="*/ 3114854 w 3320377"/>
                <a:gd name="connsiteY187" fmla="*/ 2206451 h 3363305"/>
                <a:gd name="connsiteX188" fmla="*/ 3114854 w 3320377"/>
                <a:gd name="connsiteY188" fmla="*/ 2204178 h 3363305"/>
                <a:gd name="connsiteX189" fmla="*/ 3112570 w 3320377"/>
                <a:gd name="connsiteY189" fmla="*/ 2204178 h 3363305"/>
                <a:gd name="connsiteX190" fmla="*/ 3112570 w 3320377"/>
                <a:gd name="connsiteY190" fmla="*/ 2201897 h 3363305"/>
                <a:gd name="connsiteX191" fmla="*/ 3110287 w 3320377"/>
                <a:gd name="connsiteY191" fmla="*/ 2201897 h 3363305"/>
                <a:gd name="connsiteX192" fmla="*/ 3108003 w 3320377"/>
                <a:gd name="connsiteY192" fmla="*/ 2201897 h 3363305"/>
                <a:gd name="connsiteX193" fmla="*/ 3108003 w 3320377"/>
                <a:gd name="connsiteY193" fmla="*/ 2199615 h 3363305"/>
                <a:gd name="connsiteX194" fmla="*/ 3108003 w 3320377"/>
                <a:gd name="connsiteY194" fmla="*/ 2197333 h 3363305"/>
                <a:gd name="connsiteX195" fmla="*/ 3105720 w 3320377"/>
                <a:gd name="connsiteY195" fmla="*/ 2197333 h 3363305"/>
                <a:gd name="connsiteX196" fmla="*/ 3103436 w 3320377"/>
                <a:gd name="connsiteY196" fmla="*/ 2197333 h 3363305"/>
                <a:gd name="connsiteX197" fmla="*/ 3103436 w 3320377"/>
                <a:gd name="connsiteY197" fmla="*/ 2195051 h 3363305"/>
                <a:gd name="connsiteX198" fmla="*/ 3103436 w 3320377"/>
                <a:gd name="connsiteY198" fmla="*/ 2192769 h 3363305"/>
                <a:gd name="connsiteX199" fmla="*/ 3105720 w 3320377"/>
                <a:gd name="connsiteY199" fmla="*/ 2192769 h 3363305"/>
                <a:gd name="connsiteX200" fmla="*/ 3105720 w 3320377"/>
                <a:gd name="connsiteY200" fmla="*/ 2190487 h 3363305"/>
                <a:gd name="connsiteX201" fmla="*/ 3105720 w 3320377"/>
                <a:gd name="connsiteY201" fmla="*/ 2188205 h 3363305"/>
                <a:gd name="connsiteX202" fmla="*/ 3105720 w 3320377"/>
                <a:gd name="connsiteY202" fmla="*/ 2185923 h 3363305"/>
                <a:gd name="connsiteX203" fmla="*/ 3105720 w 3320377"/>
                <a:gd name="connsiteY203" fmla="*/ 2183641 h 3363305"/>
                <a:gd name="connsiteX204" fmla="*/ 3103436 w 3320377"/>
                <a:gd name="connsiteY204" fmla="*/ 2183641 h 3363305"/>
                <a:gd name="connsiteX205" fmla="*/ 3101152 w 3320377"/>
                <a:gd name="connsiteY205" fmla="*/ 2183641 h 3363305"/>
                <a:gd name="connsiteX206" fmla="*/ 3101152 w 3320377"/>
                <a:gd name="connsiteY206" fmla="*/ 2181359 h 3363305"/>
                <a:gd name="connsiteX207" fmla="*/ 3098869 w 3320377"/>
                <a:gd name="connsiteY207" fmla="*/ 2181359 h 3363305"/>
                <a:gd name="connsiteX208" fmla="*/ 3098869 w 3320377"/>
                <a:gd name="connsiteY208" fmla="*/ 2179078 h 3363305"/>
                <a:gd name="connsiteX209" fmla="*/ 3096585 w 3320377"/>
                <a:gd name="connsiteY209" fmla="*/ 2179078 h 3363305"/>
                <a:gd name="connsiteX210" fmla="*/ 3096585 w 3320377"/>
                <a:gd name="connsiteY210" fmla="*/ 2176796 h 3363305"/>
                <a:gd name="connsiteX211" fmla="*/ 3096585 w 3320377"/>
                <a:gd name="connsiteY211" fmla="*/ 2174514 h 3363305"/>
                <a:gd name="connsiteX212" fmla="*/ 3094302 w 3320377"/>
                <a:gd name="connsiteY212" fmla="*/ 2174514 h 3363305"/>
                <a:gd name="connsiteX213" fmla="*/ 3092018 w 3320377"/>
                <a:gd name="connsiteY213" fmla="*/ 2174514 h 3363305"/>
                <a:gd name="connsiteX214" fmla="*/ 3092018 w 3320377"/>
                <a:gd name="connsiteY214" fmla="*/ 2176796 h 3363305"/>
                <a:gd name="connsiteX215" fmla="*/ 3089734 w 3320377"/>
                <a:gd name="connsiteY215" fmla="*/ 2176796 h 3363305"/>
                <a:gd name="connsiteX216" fmla="*/ 3087451 w 3320377"/>
                <a:gd name="connsiteY216" fmla="*/ 2176796 h 3363305"/>
                <a:gd name="connsiteX217" fmla="*/ 3085167 w 3320377"/>
                <a:gd name="connsiteY217" fmla="*/ 2176796 h 3363305"/>
                <a:gd name="connsiteX218" fmla="*/ 3085167 w 3320377"/>
                <a:gd name="connsiteY218" fmla="*/ 2174514 h 3363305"/>
                <a:gd name="connsiteX219" fmla="*/ 3085167 w 3320377"/>
                <a:gd name="connsiteY219" fmla="*/ 2172232 h 3363305"/>
                <a:gd name="connsiteX220" fmla="*/ 3085167 w 3320377"/>
                <a:gd name="connsiteY220" fmla="*/ 2169950 h 3363305"/>
                <a:gd name="connsiteX221" fmla="*/ 3085167 w 3320377"/>
                <a:gd name="connsiteY221" fmla="*/ 2167668 h 3363305"/>
                <a:gd name="connsiteX222" fmla="*/ 3082883 w 3320377"/>
                <a:gd name="connsiteY222" fmla="*/ 2167668 h 3363305"/>
                <a:gd name="connsiteX223" fmla="*/ 3082883 w 3320377"/>
                <a:gd name="connsiteY223" fmla="*/ 2165386 h 3363305"/>
                <a:gd name="connsiteX224" fmla="*/ 3080600 w 3320377"/>
                <a:gd name="connsiteY224" fmla="*/ 2165386 h 3363305"/>
                <a:gd name="connsiteX225" fmla="*/ 3080600 w 3320377"/>
                <a:gd name="connsiteY225" fmla="*/ 2163104 h 3363305"/>
                <a:gd name="connsiteX226" fmla="*/ 3080600 w 3320377"/>
                <a:gd name="connsiteY226" fmla="*/ 2160822 h 3363305"/>
                <a:gd name="connsiteX227" fmla="*/ 3080600 w 3320377"/>
                <a:gd name="connsiteY227" fmla="*/ 2158541 h 3363305"/>
                <a:gd name="connsiteX228" fmla="*/ 3078316 w 3320377"/>
                <a:gd name="connsiteY228" fmla="*/ 2158541 h 3363305"/>
                <a:gd name="connsiteX229" fmla="*/ 3078316 w 3320377"/>
                <a:gd name="connsiteY229" fmla="*/ 2156259 h 3363305"/>
                <a:gd name="connsiteX230" fmla="*/ 3078316 w 3320377"/>
                <a:gd name="connsiteY230" fmla="*/ 2153977 h 3363305"/>
                <a:gd name="connsiteX231" fmla="*/ 3078316 w 3320377"/>
                <a:gd name="connsiteY231" fmla="*/ 2151695 h 3363305"/>
                <a:gd name="connsiteX232" fmla="*/ 3076033 w 3320377"/>
                <a:gd name="connsiteY232" fmla="*/ 2149413 h 3363305"/>
                <a:gd name="connsiteX233" fmla="*/ 3076033 w 3320377"/>
                <a:gd name="connsiteY233" fmla="*/ 2147131 h 3363305"/>
                <a:gd name="connsiteX234" fmla="*/ 3073749 w 3320377"/>
                <a:gd name="connsiteY234" fmla="*/ 2147131 h 3363305"/>
                <a:gd name="connsiteX235" fmla="*/ 3073749 w 3320377"/>
                <a:gd name="connsiteY235" fmla="*/ 2144849 h 3363305"/>
                <a:gd name="connsiteX236" fmla="*/ 3071466 w 3320377"/>
                <a:gd name="connsiteY236" fmla="*/ 2144849 h 3363305"/>
                <a:gd name="connsiteX237" fmla="*/ 3069182 w 3320377"/>
                <a:gd name="connsiteY237" fmla="*/ 2144849 h 3363305"/>
                <a:gd name="connsiteX238" fmla="*/ 3069182 w 3320377"/>
                <a:gd name="connsiteY238" fmla="*/ 2142567 h 3363305"/>
                <a:gd name="connsiteX239" fmla="*/ 3066898 w 3320377"/>
                <a:gd name="connsiteY239" fmla="*/ 2142567 h 3363305"/>
                <a:gd name="connsiteX240" fmla="*/ 3064615 w 3320377"/>
                <a:gd name="connsiteY240" fmla="*/ 2142567 h 3363305"/>
                <a:gd name="connsiteX241" fmla="*/ 3064615 w 3320377"/>
                <a:gd name="connsiteY241" fmla="*/ 2140285 h 3363305"/>
                <a:gd name="connsiteX242" fmla="*/ 3062331 w 3320377"/>
                <a:gd name="connsiteY242" fmla="*/ 2140285 h 3363305"/>
                <a:gd name="connsiteX243" fmla="*/ 3062331 w 3320377"/>
                <a:gd name="connsiteY243" fmla="*/ 2138003 h 3363305"/>
                <a:gd name="connsiteX244" fmla="*/ 3064615 w 3320377"/>
                <a:gd name="connsiteY244" fmla="*/ 2138003 h 3363305"/>
                <a:gd name="connsiteX245" fmla="*/ 3064615 w 3320377"/>
                <a:gd name="connsiteY245" fmla="*/ 2135722 h 3363305"/>
                <a:gd name="connsiteX246" fmla="*/ 3064615 w 3320377"/>
                <a:gd name="connsiteY246" fmla="*/ 2133440 h 3363305"/>
                <a:gd name="connsiteX247" fmla="*/ 3064615 w 3320377"/>
                <a:gd name="connsiteY247" fmla="*/ 2131158 h 3363305"/>
                <a:gd name="connsiteX248" fmla="*/ 3062331 w 3320377"/>
                <a:gd name="connsiteY248" fmla="*/ 2131158 h 3363305"/>
                <a:gd name="connsiteX249" fmla="*/ 3062331 w 3320377"/>
                <a:gd name="connsiteY249" fmla="*/ 2128876 h 3363305"/>
                <a:gd name="connsiteX250" fmla="*/ 3060048 w 3320377"/>
                <a:gd name="connsiteY250" fmla="*/ 2128876 h 3363305"/>
                <a:gd name="connsiteX251" fmla="*/ 3060048 w 3320377"/>
                <a:gd name="connsiteY251" fmla="*/ 2126594 h 3363305"/>
                <a:gd name="connsiteX252" fmla="*/ 3057764 w 3320377"/>
                <a:gd name="connsiteY252" fmla="*/ 2126594 h 3363305"/>
                <a:gd name="connsiteX253" fmla="*/ 3055480 w 3320377"/>
                <a:gd name="connsiteY253" fmla="*/ 2126594 h 3363305"/>
                <a:gd name="connsiteX254" fmla="*/ 3055480 w 3320377"/>
                <a:gd name="connsiteY254" fmla="*/ 2124312 h 3363305"/>
                <a:gd name="connsiteX255" fmla="*/ 3055480 w 3320377"/>
                <a:gd name="connsiteY255" fmla="*/ 2122030 h 3363305"/>
                <a:gd name="connsiteX256" fmla="*/ 3055480 w 3320377"/>
                <a:gd name="connsiteY256" fmla="*/ 2119748 h 3363305"/>
                <a:gd name="connsiteX257" fmla="*/ 3053197 w 3320377"/>
                <a:gd name="connsiteY257" fmla="*/ 2119748 h 3363305"/>
                <a:gd name="connsiteX258" fmla="*/ 3053197 w 3320377"/>
                <a:gd name="connsiteY258" fmla="*/ 2117466 h 3363305"/>
                <a:gd name="connsiteX259" fmla="*/ 3050913 w 3320377"/>
                <a:gd name="connsiteY259" fmla="*/ 2117466 h 3363305"/>
                <a:gd name="connsiteX260" fmla="*/ 3050913 w 3320377"/>
                <a:gd name="connsiteY260" fmla="*/ 2115185 h 3363305"/>
                <a:gd name="connsiteX261" fmla="*/ 3048630 w 3320377"/>
                <a:gd name="connsiteY261" fmla="*/ 2115185 h 3363305"/>
                <a:gd name="connsiteX262" fmla="*/ 3048630 w 3320377"/>
                <a:gd name="connsiteY262" fmla="*/ 2112903 h 3363305"/>
                <a:gd name="connsiteX263" fmla="*/ 3048630 w 3320377"/>
                <a:gd name="connsiteY263" fmla="*/ 2110621 h 3363305"/>
                <a:gd name="connsiteX264" fmla="*/ 3048630 w 3320377"/>
                <a:gd name="connsiteY264" fmla="*/ 2108339 h 3363305"/>
                <a:gd name="connsiteX265" fmla="*/ 3048630 w 3320377"/>
                <a:gd name="connsiteY265" fmla="*/ 2106057 h 3363305"/>
                <a:gd name="connsiteX266" fmla="*/ 3050913 w 3320377"/>
                <a:gd name="connsiteY266" fmla="*/ 2106057 h 3363305"/>
                <a:gd name="connsiteX267" fmla="*/ 3050913 w 3320377"/>
                <a:gd name="connsiteY267" fmla="*/ 2103775 h 3363305"/>
                <a:gd name="connsiteX268" fmla="*/ 3053197 w 3320377"/>
                <a:gd name="connsiteY268" fmla="*/ 2103775 h 3363305"/>
                <a:gd name="connsiteX269" fmla="*/ 3053197 w 3320377"/>
                <a:gd name="connsiteY269" fmla="*/ 2101493 h 3363305"/>
                <a:gd name="connsiteX270" fmla="*/ 3050913 w 3320377"/>
                <a:gd name="connsiteY270" fmla="*/ 2101493 h 3363305"/>
                <a:gd name="connsiteX271" fmla="*/ 3050913 w 3320377"/>
                <a:gd name="connsiteY271" fmla="*/ 2099211 h 3363305"/>
                <a:gd name="connsiteX272" fmla="*/ 3050913 w 3320377"/>
                <a:gd name="connsiteY272" fmla="*/ 2096929 h 3363305"/>
                <a:gd name="connsiteX273" fmla="*/ 3048630 w 3320377"/>
                <a:gd name="connsiteY273" fmla="*/ 2096929 h 3363305"/>
                <a:gd name="connsiteX274" fmla="*/ 3048630 w 3320377"/>
                <a:gd name="connsiteY274" fmla="*/ 2094647 h 3363305"/>
                <a:gd name="connsiteX275" fmla="*/ 3048630 w 3320377"/>
                <a:gd name="connsiteY275" fmla="*/ 2092366 h 3363305"/>
                <a:gd name="connsiteX276" fmla="*/ 3046346 w 3320377"/>
                <a:gd name="connsiteY276" fmla="*/ 2092366 h 3363305"/>
                <a:gd name="connsiteX277" fmla="*/ 3044062 w 3320377"/>
                <a:gd name="connsiteY277" fmla="*/ 2092366 h 3363305"/>
                <a:gd name="connsiteX278" fmla="*/ 3044062 w 3320377"/>
                <a:gd name="connsiteY278" fmla="*/ 2090083 h 3363305"/>
                <a:gd name="connsiteX279" fmla="*/ 3041779 w 3320377"/>
                <a:gd name="connsiteY279" fmla="*/ 2090083 h 3363305"/>
                <a:gd name="connsiteX280" fmla="*/ 3039495 w 3320377"/>
                <a:gd name="connsiteY280" fmla="*/ 2090083 h 3363305"/>
                <a:gd name="connsiteX281" fmla="*/ 3037212 w 3320377"/>
                <a:gd name="connsiteY281" fmla="*/ 2090083 h 3363305"/>
                <a:gd name="connsiteX282" fmla="*/ 3034928 w 3320377"/>
                <a:gd name="connsiteY282" fmla="*/ 2090083 h 3363305"/>
                <a:gd name="connsiteX283" fmla="*/ 3032644 w 3320377"/>
                <a:gd name="connsiteY283" fmla="*/ 2090083 h 3363305"/>
                <a:gd name="connsiteX284" fmla="*/ 3032644 w 3320377"/>
                <a:gd name="connsiteY284" fmla="*/ 2087802 h 3363305"/>
                <a:gd name="connsiteX285" fmla="*/ 3030361 w 3320377"/>
                <a:gd name="connsiteY285" fmla="*/ 2087802 h 3363305"/>
                <a:gd name="connsiteX286" fmla="*/ 3030361 w 3320377"/>
                <a:gd name="connsiteY286" fmla="*/ 2090083 h 3363305"/>
                <a:gd name="connsiteX287" fmla="*/ 3028077 w 3320377"/>
                <a:gd name="connsiteY287" fmla="*/ 2090083 h 3363305"/>
                <a:gd name="connsiteX288" fmla="*/ 3028077 w 3320377"/>
                <a:gd name="connsiteY288" fmla="*/ 2087802 h 3363305"/>
                <a:gd name="connsiteX289" fmla="*/ 3025794 w 3320377"/>
                <a:gd name="connsiteY289" fmla="*/ 2090083 h 3363305"/>
                <a:gd name="connsiteX290" fmla="*/ 3023510 w 3320377"/>
                <a:gd name="connsiteY290" fmla="*/ 2090083 h 3363305"/>
                <a:gd name="connsiteX291" fmla="*/ 3021227 w 3320377"/>
                <a:gd name="connsiteY291" fmla="*/ 2090083 h 3363305"/>
                <a:gd name="connsiteX292" fmla="*/ 3018943 w 3320377"/>
                <a:gd name="connsiteY292" fmla="*/ 2090083 h 3363305"/>
                <a:gd name="connsiteX293" fmla="*/ 3018943 w 3320377"/>
                <a:gd name="connsiteY293" fmla="*/ 2087802 h 3363305"/>
                <a:gd name="connsiteX294" fmla="*/ 3016659 w 3320377"/>
                <a:gd name="connsiteY294" fmla="*/ 2087802 h 3363305"/>
                <a:gd name="connsiteX295" fmla="*/ 3014376 w 3320377"/>
                <a:gd name="connsiteY295" fmla="*/ 2087802 h 3363305"/>
                <a:gd name="connsiteX296" fmla="*/ 3014376 w 3320377"/>
                <a:gd name="connsiteY296" fmla="*/ 2085520 h 3363305"/>
                <a:gd name="connsiteX297" fmla="*/ 3012092 w 3320377"/>
                <a:gd name="connsiteY297" fmla="*/ 2085520 h 3363305"/>
                <a:gd name="connsiteX298" fmla="*/ 3009808 w 3320377"/>
                <a:gd name="connsiteY298" fmla="*/ 2085520 h 3363305"/>
                <a:gd name="connsiteX299" fmla="*/ 3007525 w 3320377"/>
                <a:gd name="connsiteY299" fmla="*/ 2085520 h 3363305"/>
                <a:gd name="connsiteX300" fmla="*/ 3005241 w 3320377"/>
                <a:gd name="connsiteY300" fmla="*/ 2085520 h 3363305"/>
                <a:gd name="connsiteX301" fmla="*/ 3005241 w 3320377"/>
                <a:gd name="connsiteY301" fmla="*/ 2083238 h 3363305"/>
                <a:gd name="connsiteX302" fmla="*/ 3002958 w 3320377"/>
                <a:gd name="connsiteY302" fmla="*/ 2083238 h 3363305"/>
                <a:gd name="connsiteX303" fmla="*/ 3002958 w 3320377"/>
                <a:gd name="connsiteY303" fmla="*/ 2080956 h 3363305"/>
                <a:gd name="connsiteX304" fmla="*/ 3002958 w 3320377"/>
                <a:gd name="connsiteY304" fmla="*/ 2078674 h 3363305"/>
                <a:gd name="connsiteX305" fmla="*/ 3002958 w 3320377"/>
                <a:gd name="connsiteY305" fmla="*/ 2076392 h 3363305"/>
                <a:gd name="connsiteX306" fmla="*/ 3000674 w 3320377"/>
                <a:gd name="connsiteY306" fmla="*/ 2076392 h 3363305"/>
                <a:gd name="connsiteX307" fmla="*/ 3000674 w 3320377"/>
                <a:gd name="connsiteY307" fmla="*/ 2074110 h 3363305"/>
                <a:gd name="connsiteX308" fmla="*/ 3000674 w 3320377"/>
                <a:gd name="connsiteY308" fmla="*/ 2071828 h 3363305"/>
                <a:gd name="connsiteX309" fmla="*/ 3000674 w 3320377"/>
                <a:gd name="connsiteY309" fmla="*/ 2069546 h 3363305"/>
                <a:gd name="connsiteX310" fmla="*/ 3000674 w 3320377"/>
                <a:gd name="connsiteY310" fmla="*/ 2067265 h 3363305"/>
                <a:gd name="connsiteX311" fmla="*/ 3000674 w 3320377"/>
                <a:gd name="connsiteY311" fmla="*/ 2064983 h 3363305"/>
                <a:gd name="connsiteX312" fmla="*/ 3000674 w 3320377"/>
                <a:gd name="connsiteY312" fmla="*/ 2062701 h 3363305"/>
                <a:gd name="connsiteX313" fmla="*/ 3000674 w 3320377"/>
                <a:gd name="connsiteY313" fmla="*/ 2060419 h 3363305"/>
                <a:gd name="connsiteX314" fmla="*/ 3000674 w 3320377"/>
                <a:gd name="connsiteY314" fmla="*/ 2058137 h 3363305"/>
                <a:gd name="connsiteX315" fmla="*/ 3000674 w 3320377"/>
                <a:gd name="connsiteY315" fmla="*/ 2055865 h 3363305"/>
                <a:gd name="connsiteX316" fmla="*/ 3000674 w 3320377"/>
                <a:gd name="connsiteY316" fmla="*/ 2053573 h 3363305"/>
                <a:gd name="connsiteX317" fmla="*/ 2998390 w 3320377"/>
                <a:gd name="connsiteY317" fmla="*/ 2053573 h 3363305"/>
                <a:gd name="connsiteX318" fmla="*/ 2998390 w 3320377"/>
                <a:gd name="connsiteY318" fmla="*/ 2051291 h 3363305"/>
                <a:gd name="connsiteX319" fmla="*/ 2996107 w 3320377"/>
                <a:gd name="connsiteY319" fmla="*/ 2051291 h 3363305"/>
                <a:gd name="connsiteX320" fmla="*/ 2996107 w 3320377"/>
                <a:gd name="connsiteY320" fmla="*/ 2053573 h 3363305"/>
                <a:gd name="connsiteX321" fmla="*/ 2993823 w 3320377"/>
                <a:gd name="connsiteY321" fmla="*/ 2053573 h 3363305"/>
                <a:gd name="connsiteX322" fmla="*/ 2993823 w 3320377"/>
                <a:gd name="connsiteY322" fmla="*/ 2055865 h 3363305"/>
                <a:gd name="connsiteX323" fmla="*/ 2993823 w 3320377"/>
                <a:gd name="connsiteY323" fmla="*/ 2058137 h 3363305"/>
                <a:gd name="connsiteX324" fmla="*/ 2991540 w 3320377"/>
                <a:gd name="connsiteY324" fmla="*/ 2058137 h 3363305"/>
                <a:gd name="connsiteX325" fmla="*/ 2989256 w 3320377"/>
                <a:gd name="connsiteY325" fmla="*/ 2058137 h 3363305"/>
                <a:gd name="connsiteX326" fmla="*/ 2986973 w 3320377"/>
                <a:gd name="connsiteY326" fmla="*/ 2058137 h 3363305"/>
                <a:gd name="connsiteX327" fmla="*/ 2984689 w 3320377"/>
                <a:gd name="connsiteY327" fmla="*/ 2058137 h 3363305"/>
                <a:gd name="connsiteX328" fmla="*/ 2982405 w 3320377"/>
                <a:gd name="connsiteY328" fmla="*/ 2058137 h 3363305"/>
                <a:gd name="connsiteX329" fmla="*/ 2980122 w 3320377"/>
                <a:gd name="connsiteY329" fmla="*/ 2058137 h 3363305"/>
                <a:gd name="connsiteX330" fmla="*/ 2977838 w 3320377"/>
                <a:gd name="connsiteY330" fmla="*/ 2058137 h 3363305"/>
                <a:gd name="connsiteX331" fmla="*/ 2977838 w 3320377"/>
                <a:gd name="connsiteY331" fmla="*/ 2055865 h 3363305"/>
                <a:gd name="connsiteX332" fmla="*/ 2975554 w 3320377"/>
                <a:gd name="connsiteY332" fmla="*/ 2055865 h 3363305"/>
                <a:gd name="connsiteX333" fmla="*/ 2975554 w 3320377"/>
                <a:gd name="connsiteY333" fmla="*/ 2053573 h 3363305"/>
                <a:gd name="connsiteX334" fmla="*/ 2973271 w 3320377"/>
                <a:gd name="connsiteY334" fmla="*/ 2053573 h 3363305"/>
                <a:gd name="connsiteX335" fmla="*/ 2973271 w 3320377"/>
                <a:gd name="connsiteY335" fmla="*/ 2051291 h 3363305"/>
                <a:gd name="connsiteX336" fmla="*/ 2970987 w 3320377"/>
                <a:gd name="connsiteY336" fmla="*/ 2051291 h 3363305"/>
                <a:gd name="connsiteX337" fmla="*/ 2968704 w 3320377"/>
                <a:gd name="connsiteY337" fmla="*/ 2051291 h 3363305"/>
                <a:gd name="connsiteX338" fmla="*/ 2968704 w 3320377"/>
                <a:gd name="connsiteY338" fmla="*/ 2049019 h 3363305"/>
                <a:gd name="connsiteX339" fmla="*/ 2966420 w 3320377"/>
                <a:gd name="connsiteY339" fmla="*/ 2049019 h 3363305"/>
                <a:gd name="connsiteX340" fmla="*/ 2966420 w 3320377"/>
                <a:gd name="connsiteY340" fmla="*/ 2046737 h 3363305"/>
                <a:gd name="connsiteX341" fmla="*/ 2964137 w 3320377"/>
                <a:gd name="connsiteY341" fmla="*/ 2046737 h 3363305"/>
                <a:gd name="connsiteX342" fmla="*/ 2964137 w 3320377"/>
                <a:gd name="connsiteY342" fmla="*/ 2044455 h 3363305"/>
                <a:gd name="connsiteX343" fmla="*/ 2964137 w 3320377"/>
                <a:gd name="connsiteY343" fmla="*/ 2042173 h 3363305"/>
                <a:gd name="connsiteX344" fmla="*/ 2961853 w 3320377"/>
                <a:gd name="connsiteY344" fmla="*/ 2042173 h 3363305"/>
                <a:gd name="connsiteX345" fmla="*/ 2961853 w 3320377"/>
                <a:gd name="connsiteY345" fmla="*/ 2039891 h 3363305"/>
                <a:gd name="connsiteX346" fmla="*/ 2961853 w 3320377"/>
                <a:gd name="connsiteY346" fmla="*/ 2037610 h 3363305"/>
                <a:gd name="connsiteX347" fmla="*/ 2959569 w 3320377"/>
                <a:gd name="connsiteY347" fmla="*/ 2037610 h 3363305"/>
                <a:gd name="connsiteX348" fmla="*/ 2959569 w 3320377"/>
                <a:gd name="connsiteY348" fmla="*/ 2035327 h 3363305"/>
                <a:gd name="connsiteX349" fmla="*/ 2959569 w 3320377"/>
                <a:gd name="connsiteY349" fmla="*/ 2033046 h 3363305"/>
                <a:gd name="connsiteX350" fmla="*/ 2957286 w 3320377"/>
                <a:gd name="connsiteY350" fmla="*/ 2030764 h 3363305"/>
                <a:gd name="connsiteX351" fmla="*/ 2955002 w 3320377"/>
                <a:gd name="connsiteY351" fmla="*/ 2030764 h 3363305"/>
                <a:gd name="connsiteX352" fmla="*/ 2952719 w 3320377"/>
                <a:gd name="connsiteY352" fmla="*/ 2030764 h 3363305"/>
                <a:gd name="connsiteX353" fmla="*/ 2950435 w 3320377"/>
                <a:gd name="connsiteY353" fmla="*/ 2030764 h 3363305"/>
                <a:gd name="connsiteX354" fmla="*/ 2948151 w 3320377"/>
                <a:gd name="connsiteY354" fmla="*/ 2030764 h 3363305"/>
                <a:gd name="connsiteX355" fmla="*/ 2945868 w 3320377"/>
                <a:gd name="connsiteY355" fmla="*/ 2030764 h 3363305"/>
                <a:gd name="connsiteX356" fmla="*/ 2943584 w 3320377"/>
                <a:gd name="connsiteY356" fmla="*/ 2030764 h 3363305"/>
                <a:gd name="connsiteX357" fmla="*/ 2943584 w 3320377"/>
                <a:gd name="connsiteY357" fmla="*/ 2028482 h 3363305"/>
                <a:gd name="connsiteX358" fmla="*/ 2941300 w 3320377"/>
                <a:gd name="connsiteY358" fmla="*/ 2028482 h 3363305"/>
                <a:gd name="connsiteX359" fmla="*/ 2941300 w 3320377"/>
                <a:gd name="connsiteY359" fmla="*/ 2026200 h 3363305"/>
                <a:gd name="connsiteX360" fmla="*/ 2941300 w 3320377"/>
                <a:gd name="connsiteY360" fmla="*/ 2023918 h 3363305"/>
                <a:gd name="connsiteX361" fmla="*/ 2941300 w 3320377"/>
                <a:gd name="connsiteY361" fmla="*/ 2021636 h 3363305"/>
                <a:gd name="connsiteX362" fmla="*/ 2941300 w 3320377"/>
                <a:gd name="connsiteY362" fmla="*/ 2019354 h 3363305"/>
                <a:gd name="connsiteX363" fmla="*/ 2939017 w 3320377"/>
                <a:gd name="connsiteY363" fmla="*/ 2019354 h 3363305"/>
                <a:gd name="connsiteX364" fmla="*/ 2936733 w 3320377"/>
                <a:gd name="connsiteY364" fmla="*/ 2019354 h 3363305"/>
                <a:gd name="connsiteX365" fmla="*/ 2936733 w 3320377"/>
                <a:gd name="connsiteY365" fmla="*/ 2017072 h 3363305"/>
                <a:gd name="connsiteX366" fmla="*/ 2934450 w 3320377"/>
                <a:gd name="connsiteY366" fmla="*/ 2017072 h 3363305"/>
                <a:gd name="connsiteX367" fmla="*/ 2932166 w 3320377"/>
                <a:gd name="connsiteY367" fmla="*/ 2017072 h 3363305"/>
                <a:gd name="connsiteX368" fmla="*/ 2929883 w 3320377"/>
                <a:gd name="connsiteY368" fmla="*/ 2017072 h 3363305"/>
                <a:gd name="connsiteX369" fmla="*/ 2927599 w 3320377"/>
                <a:gd name="connsiteY369" fmla="*/ 2017072 h 3363305"/>
                <a:gd name="connsiteX370" fmla="*/ 2925315 w 3320377"/>
                <a:gd name="connsiteY370" fmla="*/ 2017072 h 3363305"/>
                <a:gd name="connsiteX371" fmla="*/ 2923032 w 3320377"/>
                <a:gd name="connsiteY371" fmla="*/ 2017072 h 3363305"/>
                <a:gd name="connsiteX372" fmla="*/ 2923032 w 3320377"/>
                <a:gd name="connsiteY372" fmla="*/ 2019354 h 3363305"/>
                <a:gd name="connsiteX373" fmla="*/ 2920748 w 3320377"/>
                <a:gd name="connsiteY373" fmla="*/ 2019354 h 3363305"/>
                <a:gd name="connsiteX374" fmla="*/ 2918465 w 3320377"/>
                <a:gd name="connsiteY374" fmla="*/ 2019354 h 3363305"/>
                <a:gd name="connsiteX375" fmla="*/ 2918465 w 3320377"/>
                <a:gd name="connsiteY375" fmla="*/ 2017072 h 3363305"/>
                <a:gd name="connsiteX376" fmla="*/ 2916181 w 3320377"/>
                <a:gd name="connsiteY376" fmla="*/ 2017072 h 3363305"/>
                <a:gd name="connsiteX377" fmla="*/ 2916181 w 3320377"/>
                <a:gd name="connsiteY377" fmla="*/ 2014791 h 3363305"/>
                <a:gd name="connsiteX378" fmla="*/ 2913898 w 3320377"/>
                <a:gd name="connsiteY378" fmla="*/ 2014791 h 3363305"/>
                <a:gd name="connsiteX379" fmla="*/ 2913898 w 3320377"/>
                <a:gd name="connsiteY379" fmla="*/ 2012509 h 3363305"/>
                <a:gd name="connsiteX380" fmla="*/ 2911614 w 3320377"/>
                <a:gd name="connsiteY380" fmla="*/ 2012509 h 3363305"/>
                <a:gd name="connsiteX381" fmla="*/ 2909330 w 3320377"/>
                <a:gd name="connsiteY381" fmla="*/ 2010227 h 3363305"/>
                <a:gd name="connsiteX382" fmla="*/ 2907047 w 3320377"/>
                <a:gd name="connsiteY382" fmla="*/ 2010227 h 3363305"/>
                <a:gd name="connsiteX383" fmla="*/ 2907047 w 3320377"/>
                <a:gd name="connsiteY383" fmla="*/ 2007945 h 3363305"/>
                <a:gd name="connsiteX384" fmla="*/ 2907047 w 3320377"/>
                <a:gd name="connsiteY384" fmla="*/ 2005663 h 3363305"/>
                <a:gd name="connsiteX385" fmla="*/ 2904763 w 3320377"/>
                <a:gd name="connsiteY385" fmla="*/ 2005663 h 3363305"/>
                <a:gd name="connsiteX386" fmla="*/ 2904763 w 3320377"/>
                <a:gd name="connsiteY386" fmla="*/ 2003381 h 3363305"/>
                <a:gd name="connsiteX387" fmla="*/ 2904763 w 3320377"/>
                <a:gd name="connsiteY387" fmla="*/ 2001099 h 3363305"/>
                <a:gd name="connsiteX388" fmla="*/ 2902479 w 3320377"/>
                <a:gd name="connsiteY388" fmla="*/ 2001099 h 3363305"/>
                <a:gd name="connsiteX389" fmla="*/ 2902479 w 3320377"/>
                <a:gd name="connsiteY389" fmla="*/ 1998817 h 3363305"/>
                <a:gd name="connsiteX390" fmla="*/ 2900196 w 3320377"/>
                <a:gd name="connsiteY390" fmla="*/ 1996535 h 3363305"/>
                <a:gd name="connsiteX391" fmla="*/ 2900196 w 3320377"/>
                <a:gd name="connsiteY391" fmla="*/ 1994254 h 3363305"/>
                <a:gd name="connsiteX392" fmla="*/ 2897912 w 3320377"/>
                <a:gd name="connsiteY392" fmla="*/ 1994254 h 3363305"/>
                <a:gd name="connsiteX393" fmla="*/ 2897912 w 3320377"/>
                <a:gd name="connsiteY393" fmla="*/ 1991971 h 3363305"/>
                <a:gd name="connsiteX394" fmla="*/ 2897912 w 3320377"/>
                <a:gd name="connsiteY394" fmla="*/ 1989690 h 3363305"/>
                <a:gd name="connsiteX395" fmla="*/ 2897912 w 3320377"/>
                <a:gd name="connsiteY395" fmla="*/ 1987408 h 3363305"/>
                <a:gd name="connsiteX396" fmla="*/ 2895629 w 3320377"/>
                <a:gd name="connsiteY396" fmla="*/ 1987408 h 3363305"/>
                <a:gd name="connsiteX397" fmla="*/ 2895629 w 3320377"/>
                <a:gd name="connsiteY397" fmla="*/ 1985126 h 3363305"/>
                <a:gd name="connsiteX398" fmla="*/ 2895629 w 3320377"/>
                <a:gd name="connsiteY398" fmla="*/ 1982844 h 3363305"/>
                <a:gd name="connsiteX399" fmla="*/ 2893345 w 3320377"/>
                <a:gd name="connsiteY399" fmla="*/ 1982844 h 3363305"/>
                <a:gd name="connsiteX400" fmla="*/ 2893345 w 3320377"/>
                <a:gd name="connsiteY400" fmla="*/ 1980562 h 3363305"/>
                <a:gd name="connsiteX401" fmla="*/ 2891061 w 3320377"/>
                <a:gd name="connsiteY401" fmla="*/ 1980562 h 3363305"/>
                <a:gd name="connsiteX402" fmla="*/ 2888778 w 3320377"/>
                <a:gd name="connsiteY402" fmla="*/ 1980562 h 3363305"/>
                <a:gd name="connsiteX403" fmla="*/ 2888778 w 3320377"/>
                <a:gd name="connsiteY403" fmla="*/ 1978280 h 3363305"/>
                <a:gd name="connsiteX404" fmla="*/ 2886494 w 3320377"/>
                <a:gd name="connsiteY404" fmla="*/ 1978280 h 3363305"/>
                <a:gd name="connsiteX405" fmla="*/ 2886494 w 3320377"/>
                <a:gd name="connsiteY405" fmla="*/ 1975998 h 3363305"/>
                <a:gd name="connsiteX406" fmla="*/ 2884211 w 3320377"/>
                <a:gd name="connsiteY406" fmla="*/ 1975998 h 3363305"/>
                <a:gd name="connsiteX407" fmla="*/ 2884211 w 3320377"/>
                <a:gd name="connsiteY407" fmla="*/ 1973716 h 3363305"/>
                <a:gd name="connsiteX408" fmla="*/ 2884211 w 3320377"/>
                <a:gd name="connsiteY408" fmla="*/ 1971434 h 3363305"/>
                <a:gd name="connsiteX409" fmla="*/ 2886494 w 3320377"/>
                <a:gd name="connsiteY409" fmla="*/ 1971434 h 3363305"/>
                <a:gd name="connsiteX410" fmla="*/ 2886494 w 3320377"/>
                <a:gd name="connsiteY410" fmla="*/ 1969153 h 3363305"/>
                <a:gd name="connsiteX411" fmla="*/ 2886494 w 3320377"/>
                <a:gd name="connsiteY411" fmla="*/ 1966871 h 3363305"/>
                <a:gd name="connsiteX412" fmla="*/ 2886494 w 3320377"/>
                <a:gd name="connsiteY412" fmla="*/ 1964589 h 3363305"/>
                <a:gd name="connsiteX413" fmla="*/ 2886494 w 3320377"/>
                <a:gd name="connsiteY413" fmla="*/ 1962307 h 3363305"/>
                <a:gd name="connsiteX414" fmla="*/ 2886494 w 3320377"/>
                <a:gd name="connsiteY414" fmla="*/ 1960025 h 3363305"/>
                <a:gd name="connsiteX415" fmla="*/ 2886494 w 3320377"/>
                <a:gd name="connsiteY415" fmla="*/ 1957743 h 3363305"/>
                <a:gd name="connsiteX416" fmla="*/ 2886494 w 3320377"/>
                <a:gd name="connsiteY416" fmla="*/ 1955461 h 3363305"/>
                <a:gd name="connsiteX417" fmla="*/ 2884211 w 3320377"/>
                <a:gd name="connsiteY417" fmla="*/ 1955461 h 3363305"/>
                <a:gd name="connsiteX418" fmla="*/ 2884211 w 3320377"/>
                <a:gd name="connsiteY418" fmla="*/ 1953179 h 3363305"/>
                <a:gd name="connsiteX419" fmla="*/ 2886494 w 3320377"/>
                <a:gd name="connsiteY419" fmla="*/ 1948615 h 3363305"/>
                <a:gd name="connsiteX420" fmla="*/ 2888778 w 3320377"/>
                <a:gd name="connsiteY420" fmla="*/ 1944052 h 3363305"/>
                <a:gd name="connsiteX421" fmla="*/ 2891061 w 3320377"/>
                <a:gd name="connsiteY421" fmla="*/ 1939488 h 3363305"/>
                <a:gd name="connsiteX422" fmla="*/ 2893345 w 3320377"/>
                <a:gd name="connsiteY422" fmla="*/ 1934924 h 3363305"/>
                <a:gd name="connsiteX423" fmla="*/ 2895629 w 3320377"/>
                <a:gd name="connsiteY423" fmla="*/ 1930360 h 3363305"/>
                <a:gd name="connsiteX424" fmla="*/ 2897912 w 3320377"/>
                <a:gd name="connsiteY424" fmla="*/ 1925797 h 3363305"/>
                <a:gd name="connsiteX425" fmla="*/ 2900196 w 3320377"/>
                <a:gd name="connsiteY425" fmla="*/ 1918951 h 3363305"/>
                <a:gd name="connsiteX426" fmla="*/ 2902479 w 3320377"/>
                <a:gd name="connsiteY426" fmla="*/ 1914387 h 3363305"/>
                <a:gd name="connsiteX427" fmla="*/ 2904763 w 3320377"/>
                <a:gd name="connsiteY427" fmla="*/ 1909823 h 3363305"/>
                <a:gd name="connsiteX428" fmla="*/ 2907047 w 3320377"/>
                <a:gd name="connsiteY428" fmla="*/ 1905259 h 3363305"/>
                <a:gd name="connsiteX429" fmla="*/ 2907047 w 3320377"/>
                <a:gd name="connsiteY429" fmla="*/ 1902978 h 3363305"/>
                <a:gd name="connsiteX430" fmla="*/ 2911614 w 3320377"/>
                <a:gd name="connsiteY430" fmla="*/ 1891578 h 3363305"/>
                <a:gd name="connsiteX431" fmla="*/ 2918465 w 3320377"/>
                <a:gd name="connsiteY431" fmla="*/ 1877886 h 3363305"/>
                <a:gd name="connsiteX432" fmla="*/ 2927599 w 3320377"/>
                <a:gd name="connsiteY432" fmla="*/ 1859631 h 3363305"/>
                <a:gd name="connsiteX433" fmla="*/ 2929883 w 3320377"/>
                <a:gd name="connsiteY433" fmla="*/ 1855067 h 3363305"/>
                <a:gd name="connsiteX434" fmla="*/ 2934450 w 3320377"/>
                <a:gd name="connsiteY434" fmla="*/ 1843658 h 3363305"/>
                <a:gd name="connsiteX435" fmla="*/ 2941300 w 3320377"/>
                <a:gd name="connsiteY435" fmla="*/ 1829966 h 3363305"/>
                <a:gd name="connsiteX436" fmla="*/ 2941300 w 3320377"/>
                <a:gd name="connsiteY436" fmla="*/ 1825403 h 3363305"/>
                <a:gd name="connsiteX437" fmla="*/ 2945868 w 3320377"/>
                <a:gd name="connsiteY437" fmla="*/ 1820839 h 3363305"/>
                <a:gd name="connsiteX438" fmla="*/ 2948151 w 3320377"/>
                <a:gd name="connsiteY438" fmla="*/ 1811711 h 3363305"/>
                <a:gd name="connsiteX439" fmla="*/ 2952719 w 3320377"/>
                <a:gd name="connsiteY439" fmla="*/ 1802584 h 3363305"/>
                <a:gd name="connsiteX440" fmla="*/ 2955002 w 3320377"/>
                <a:gd name="connsiteY440" fmla="*/ 1795738 h 3363305"/>
                <a:gd name="connsiteX441" fmla="*/ 2957286 w 3320377"/>
                <a:gd name="connsiteY441" fmla="*/ 1795738 h 3363305"/>
                <a:gd name="connsiteX442" fmla="*/ 2957286 w 3320377"/>
                <a:gd name="connsiteY442" fmla="*/ 1793456 h 3363305"/>
                <a:gd name="connsiteX443" fmla="*/ 2961853 w 3320377"/>
                <a:gd name="connsiteY443" fmla="*/ 1779765 h 3363305"/>
                <a:gd name="connsiteX444" fmla="*/ 2964137 w 3320377"/>
                <a:gd name="connsiteY444" fmla="*/ 1777483 h 3363305"/>
                <a:gd name="connsiteX445" fmla="*/ 2964137 w 3320377"/>
                <a:gd name="connsiteY445" fmla="*/ 1775201 h 3363305"/>
                <a:gd name="connsiteX446" fmla="*/ 2966420 w 3320377"/>
                <a:gd name="connsiteY446" fmla="*/ 1775201 h 3363305"/>
                <a:gd name="connsiteX447" fmla="*/ 2966420 w 3320377"/>
                <a:gd name="connsiteY447" fmla="*/ 1770637 h 3363305"/>
                <a:gd name="connsiteX448" fmla="*/ 2968704 w 3320377"/>
                <a:gd name="connsiteY448" fmla="*/ 1770637 h 3363305"/>
                <a:gd name="connsiteX449" fmla="*/ 2968704 w 3320377"/>
                <a:gd name="connsiteY449" fmla="*/ 1766073 h 3363305"/>
                <a:gd name="connsiteX450" fmla="*/ 2970987 w 3320377"/>
                <a:gd name="connsiteY450" fmla="*/ 1761510 h 3363305"/>
                <a:gd name="connsiteX451" fmla="*/ 2973271 w 3320377"/>
                <a:gd name="connsiteY451" fmla="*/ 1759228 h 3363305"/>
                <a:gd name="connsiteX452" fmla="*/ 2977838 w 3320377"/>
                <a:gd name="connsiteY452" fmla="*/ 1750100 h 3363305"/>
                <a:gd name="connsiteX453" fmla="*/ 2980122 w 3320377"/>
                <a:gd name="connsiteY453" fmla="*/ 1740973 h 3363305"/>
                <a:gd name="connsiteX454" fmla="*/ 2982405 w 3320377"/>
                <a:gd name="connsiteY454" fmla="*/ 1738700 h 3363305"/>
                <a:gd name="connsiteX455" fmla="*/ 2982405 w 3320377"/>
                <a:gd name="connsiteY455" fmla="*/ 1734127 h 3363305"/>
                <a:gd name="connsiteX456" fmla="*/ 2984689 w 3320377"/>
                <a:gd name="connsiteY456" fmla="*/ 1731854 h 3363305"/>
                <a:gd name="connsiteX457" fmla="*/ 2986973 w 3320377"/>
                <a:gd name="connsiteY457" fmla="*/ 1727291 h 3363305"/>
                <a:gd name="connsiteX458" fmla="*/ 2989256 w 3320377"/>
                <a:gd name="connsiteY458" fmla="*/ 1720445 h 3363305"/>
                <a:gd name="connsiteX459" fmla="*/ 2991540 w 3320377"/>
                <a:gd name="connsiteY459" fmla="*/ 1718163 h 3363305"/>
                <a:gd name="connsiteX460" fmla="*/ 2991540 w 3320377"/>
                <a:gd name="connsiteY460" fmla="*/ 1715881 h 3363305"/>
                <a:gd name="connsiteX461" fmla="*/ 2991540 w 3320377"/>
                <a:gd name="connsiteY461" fmla="*/ 1713599 h 3363305"/>
                <a:gd name="connsiteX462" fmla="*/ 2993823 w 3320377"/>
                <a:gd name="connsiteY462" fmla="*/ 1713599 h 3363305"/>
                <a:gd name="connsiteX463" fmla="*/ 2993823 w 3320377"/>
                <a:gd name="connsiteY463" fmla="*/ 1711318 h 3363305"/>
                <a:gd name="connsiteX464" fmla="*/ 2996107 w 3320377"/>
                <a:gd name="connsiteY464" fmla="*/ 1706754 h 3363305"/>
                <a:gd name="connsiteX465" fmla="*/ 3000674 w 3320377"/>
                <a:gd name="connsiteY465" fmla="*/ 1699908 h 3363305"/>
                <a:gd name="connsiteX466" fmla="*/ 3000674 w 3320377"/>
                <a:gd name="connsiteY466" fmla="*/ 1697626 h 3363305"/>
                <a:gd name="connsiteX467" fmla="*/ 3000674 w 3320377"/>
                <a:gd name="connsiteY467" fmla="*/ 1695344 h 3363305"/>
                <a:gd name="connsiteX468" fmla="*/ 3002958 w 3320377"/>
                <a:gd name="connsiteY468" fmla="*/ 1693062 h 3363305"/>
                <a:gd name="connsiteX469" fmla="*/ 3002958 w 3320377"/>
                <a:gd name="connsiteY469" fmla="*/ 1690780 h 3363305"/>
                <a:gd name="connsiteX470" fmla="*/ 3007525 w 3320377"/>
                <a:gd name="connsiteY470" fmla="*/ 1683935 h 3363305"/>
                <a:gd name="connsiteX471" fmla="*/ 3009808 w 3320377"/>
                <a:gd name="connsiteY471" fmla="*/ 1679371 h 3363305"/>
                <a:gd name="connsiteX472" fmla="*/ 3009808 w 3320377"/>
                <a:gd name="connsiteY472" fmla="*/ 1674807 h 3363305"/>
                <a:gd name="connsiteX473" fmla="*/ 3012092 w 3320377"/>
                <a:gd name="connsiteY473" fmla="*/ 1670243 h 3363305"/>
                <a:gd name="connsiteX474" fmla="*/ 3014376 w 3320377"/>
                <a:gd name="connsiteY474" fmla="*/ 1665679 h 3363305"/>
                <a:gd name="connsiteX475" fmla="*/ 3016659 w 3320377"/>
                <a:gd name="connsiteY475" fmla="*/ 1663398 h 3363305"/>
                <a:gd name="connsiteX476" fmla="*/ 3016659 w 3320377"/>
                <a:gd name="connsiteY476" fmla="*/ 1661116 h 3363305"/>
                <a:gd name="connsiteX477" fmla="*/ 3023510 w 3320377"/>
                <a:gd name="connsiteY477" fmla="*/ 1649706 h 3363305"/>
                <a:gd name="connsiteX478" fmla="*/ 3030361 w 3320377"/>
                <a:gd name="connsiteY478" fmla="*/ 1636015 h 3363305"/>
                <a:gd name="connsiteX479" fmla="*/ 3030361 w 3320377"/>
                <a:gd name="connsiteY479" fmla="*/ 1633733 h 3363305"/>
                <a:gd name="connsiteX480" fmla="*/ 3037212 w 3320377"/>
                <a:gd name="connsiteY480" fmla="*/ 1620042 h 3363305"/>
                <a:gd name="connsiteX481" fmla="*/ 3037212 w 3320377"/>
                <a:gd name="connsiteY481" fmla="*/ 1617760 h 3363305"/>
                <a:gd name="connsiteX482" fmla="*/ 3039495 w 3320377"/>
                <a:gd name="connsiteY482" fmla="*/ 1613196 h 3363305"/>
                <a:gd name="connsiteX483" fmla="*/ 3041779 w 3320377"/>
                <a:gd name="connsiteY483" fmla="*/ 1610914 h 3363305"/>
                <a:gd name="connsiteX484" fmla="*/ 3041779 w 3320377"/>
                <a:gd name="connsiteY484" fmla="*/ 1608632 h 3363305"/>
                <a:gd name="connsiteX485" fmla="*/ 3041779 w 3320377"/>
                <a:gd name="connsiteY485" fmla="*/ 1606350 h 3363305"/>
                <a:gd name="connsiteX486" fmla="*/ 3044062 w 3320377"/>
                <a:gd name="connsiteY486" fmla="*/ 1606350 h 3363305"/>
                <a:gd name="connsiteX487" fmla="*/ 3044062 w 3320377"/>
                <a:gd name="connsiteY487" fmla="*/ 1604068 h 3363305"/>
                <a:gd name="connsiteX488" fmla="*/ 3046346 w 3320377"/>
                <a:gd name="connsiteY488" fmla="*/ 1601786 h 3363305"/>
                <a:gd name="connsiteX489" fmla="*/ 3046346 w 3320377"/>
                <a:gd name="connsiteY489" fmla="*/ 1599505 h 3363305"/>
                <a:gd name="connsiteX490" fmla="*/ 3046346 w 3320377"/>
                <a:gd name="connsiteY490" fmla="*/ 1597223 h 3363305"/>
                <a:gd name="connsiteX491" fmla="*/ 3048630 w 3320377"/>
                <a:gd name="connsiteY491" fmla="*/ 1597223 h 3363305"/>
                <a:gd name="connsiteX492" fmla="*/ 3048630 w 3320377"/>
                <a:gd name="connsiteY492" fmla="*/ 1592659 h 3363305"/>
                <a:gd name="connsiteX493" fmla="*/ 3050913 w 3320377"/>
                <a:gd name="connsiteY493" fmla="*/ 1588095 h 3363305"/>
                <a:gd name="connsiteX494" fmla="*/ 3053197 w 3320377"/>
                <a:gd name="connsiteY494" fmla="*/ 1588095 h 3363305"/>
                <a:gd name="connsiteX495" fmla="*/ 3053197 w 3320377"/>
                <a:gd name="connsiteY495" fmla="*/ 1585813 h 3363305"/>
                <a:gd name="connsiteX496" fmla="*/ 3053197 w 3320377"/>
                <a:gd name="connsiteY496" fmla="*/ 1583531 h 3363305"/>
                <a:gd name="connsiteX497" fmla="*/ 3055480 w 3320377"/>
                <a:gd name="connsiteY497" fmla="*/ 1581259 h 3363305"/>
                <a:gd name="connsiteX498" fmla="*/ 3055480 w 3320377"/>
                <a:gd name="connsiteY498" fmla="*/ 1578977 h 3363305"/>
                <a:gd name="connsiteX499" fmla="*/ 3055480 w 3320377"/>
                <a:gd name="connsiteY499" fmla="*/ 1576695 h 3363305"/>
                <a:gd name="connsiteX500" fmla="*/ 3057764 w 3320377"/>
                <a:gd name="connsiteY500" fmla="*/ 1576695 h 3363305"/>
                <a:gd name="connsiteX501" fmla="*/ 3057764 w 3320377"/>
                <a:gd name="connsiteY501" fmla="*/ 1574413 h 3363305"/>
                <a:gd name="connsiteX502" fmla="*/ 3057764 w 3320377"/>
                <a:gd name="connsiteY502" fmla="*/ 1572131 h 3363305"/>
                <a:gd name="connsiteX503" fmla="*/ 3060048 w 3320377"/>
                <a:gd name="connsiteY503" fmla="*/ 1572131 h 3363305"/>
                <a:gd name="connsiteX504" fmla="*/ 3060048 w 3320377"/>
                <a:gd name="connsiteY504" fmla="*/ 1569849 h 3363305"/>
                <a:gd name="connsiteX505" fmla="*/ 3060048 w 3320377"/>
                <a:gd name="connsiteY505" fmla="*/ 1567567 h 3363305"/>
                <a:gd name="connsiteX506" fmla="*/ 3062331 w 3320377"/>
                <a:gd name="connsiteY506" fmla="*/ 1567567 h 3363305"/>
                <a:gd name="connsiteX507" fmla="*/ 3062331 w 3320377"/>
                <a:gd name="connsiteY507" fmla="*/ 1565286 h 3363305"/>
                <a:gd name="connsiteX508" fmla="*/ 3062331 w 3320377"/>
                <a:gd name="connsiteY508" fmla="*/ 1563004 h 3363305"/>
                <a:gd name="connsiteX509" fmla="*/ 3064615 w 3320377"/>
                <a:gd name="connsiteY509" fmla="*/ 1563004 h 3363305"/>
                <a:gd name="connsiteX510" fmla="*/ 3064615 w 3320377"/>
                <a:gd name="connsiteY510" fmla="*/ 1560722 h 3363305"/>
                <a:gd name="connsiteX511" fmla="*/ 3069182 w 3320377"/>
                <a:gd name="connsiteY511" fmla="*/ 1551594 h 3363305"/>
                <a:gd name="connsiteX512" fmla="*/ 3069182 w 3320377"/>
                <a:gd name="connsiteY512" fmla="*/ 1549312 h 3363305"/>
                <a:gd name="connsiteX513" fmla="*/ 3071466 w 3320377"/>
                <a:gd name="connsiteY513" fmla="*/ 1547030 h 3363305"/>
                <a:gd name="connsiteX514" fmla="*/ 3073749 w 3320377"/>
                <a:gd name="connsiteY514" fmla="*/ 1542467 h 3363305"/>
                <a:gd name="connsiteX515" fmla="*/ 3073749 w 3320377"/>
                <a:gd name="connsiteY515" fmla="*/ 1540185 h 3363305"/>
                <a:gd name="connsiteX516" fmla="*/ 3076033 w 3320377"/>
                <a:gd name="connsiteY516" fmla="*/ 1537903 h 3363305"/>
                <a:gd name="connsiteX517" fmla="*/ 3073749 w 3320377"/>
                <a:gd name="connsiteY517" fmla="*/ 1535621 h 3363305"/>
                <a:gd name="connsiteX518" fmla="*/ 3071466 w 3320377"/>
                <a:gd name="connsiteY518" fmla="*/ 1535621 h 3363305"/>
                <a:gd name="connsiteX519" fmla="*/ 3066898 w 3320377"/>
                <a:gd name="connsiteY519" fmla="*/ 1535621 h 3363305"/>
                <a:gd name="connsiteX520" fmla="*/ 3066898 w 3320377"/>
                <a:gd name="connsiteY520" fmla="*/ 1533339 h 3363305"/>
                <a:gd name="connsiteX521" fmla="*/ 3064615 w 3320377"/>
                <a:gd name="connsiteY521" fmla="*/ 1533339 h 3363305"/>
                <a:gd name="connsiteX522" fmla="*/ 3062331 w 3320377"/>
                <a:gd name="connsiteY522" fmla="*/ 1533339 h 3363305"/>
                <a:gd name="connsiteX523" fmla="*/ 3060048 w 3320377"/>
                <a:gd name="connsiteY523" fmla="*/ 1533339 h 3363305"/>
                <a:gd name="connsiteX524" fmla="*/ 3057764 w 3320377"/>
                <a:gd name="connsiteY524" fmla="*/ 1531057 h 3363305"/>
                <a:gd name="connsiteX525" fmla="*/ 3055480 w 3320377"/>
                <a:gd name="connsiteY525" fmla="*/ 1531057 h 3363305"/>
                <a:gd name="connsiteX526" fmla="*/ 3053197 w 3320377"/>
                <a:gd name="connsiteY526" fmla="*/ 1531057 h 3363305"/>
                <a:gd name="connsiteX527" fmla="*/ 3050913 w 3320377"/>
                <a:gd name="connsiteY527" fmla="*/ 1528775 h 3363305"/>
                <a:gd name="connsiteX528" fmla="*/ 3048630 w 3320377"/>
                <a:gd name="connsiteY528" fmla="*/ 1528775 h 3363305"/>
                <a:gd name="connsiteX529" fmla="*/ 3048630 w 3320377"/>
                <a:gd name="connsiteY529" fmla="*/ 1526493 h 3363305"/>
                <a:gd name="connsiteX530" fmla="*/ 3050913 w 3320377"/>
                <a:gd name="connsiteY530" fmla="*/ 1524211 h 3363305"/>
                <a:gd name="connsiteX531" fmla="*/ 3050913 w 3320377"/>
                <a:gd name="connsiteY531" fmla="*/ 1521930 h 3363305"/>
                <a:gd name="connsiteX532" fmla="*/ 3050913 w 3320377"/>
                <a:gd name="connsiteY532" fmla="*/ 1519648 h 3363305"/>
                <a:gd name="connsiteX533" fmla="*/ 3053197 w 3320377"/>
                <a:gd name="connsiteY533" fmla="*/ 1517366 h 3363305"/>
                <a:gd name="connsiteX534" fmla="*/ 3055480 w 3320377"/>
                <a:gd name="connsiteY534" fmla="*/ 1508238 h 3363305"/>
                <a:gd name="connsiteX535" fmla="*/ 3057764 w 3320377"/>
                <a:gd name="connsiteY535" fmla="*/ 1499111 h 3363305"/>
                <a:gd name="connsiteX536" fmla="*/ 3060048 w 3320377"/>
                <a:gd name="connsiteY536" fmla="*/ 1492265 h 3363305"/>
                <a:gd name="connsiteX537" fmla="*/ 3062331 w 3320377"/>
                <a:gd name="connsiteY537" fmla="*/ 1483137 h 3363305"/>
                <a:gd name="connsiteX538" fmla="*/ 3055480 w 3320377"/>
                <a:gd name="connsiteY538" fmla="*/ 1478574 h 3363305"/>
                <a:gd name="connsiteX539" fmla="*/ 3057764 w 3320377"/>
                <a:gd name="connsiteY539" fmla="*/ 1474010 h 3363305"/>
                <a:gd name="connsiteX540" fmla="*/ 3060048 w 3320377"/>
                <a:gd name="connsiteY540" fmla="*/ 1469446 h 3363305"/>
                <a:gd name="connsiteX541" fmla="*/ 3064615 w 3320377"/>
                <a:gd name="connsiteY541" fmla="*/ 1464882 h 3363305"/>
                <a:gd name="connsiteX542" fmla="*/ 3066898 w 3320377"/>
                <a:gd name="connsiteY542" fmla="*/ 1460318 h 3363305"/>
                <a:gd name="connsiteX543" fmla="*/ 3069182 w 3320377"/>
                <a:gd name="connsiteY543" fmla="*/ 1462600 h 3363305"/>
                <a:gd name="connsiteX544" fmla="*/ 3071466 w 3320377"/>
                <a:gd name="connsiteY544" fmla="*/ 1455754 h 3363305"/>
                <a:gd name="connsiteX545" fmla="*/ 3071466 w 3320377"/>
                <a:gd name="connsiteY545" fmla="*/ 1451191 h 3363305"/>
                <a:gd name="connsiteX546" fmla="*/ 3073749 w 3320377"/>
                <a:gd name="connsiteY546" fmla="*/ 1448909 h 3363305"/>
                <a:gd name="connsiteX547" fmla="*/ 3073749 w 3320377"/>
                <a:gd name="connsiteY547" fmla="*/ 1446627 h 3363305"/>
                <a:gd name="connsiteX548" fmla="*/ 3076033 w 3320377"/>
                <a:gd name="connsiteY548" fmla="*/ 1442063 h 3363305"/>
                <a:gd name="connsiteX549" fmla="*/ 3080600 w 3320377"/>
                <a:gd name="connsiteY549" fmla="*/ 1426090 h 3363305"/>
                <a:gd name="connsiteX550" fmla="*/ 3080600 w 3320377"/>
                <a:gd name="connsiteY550" fmla="*/ 1421535 h 3363305"/>
                <a:gd name="connsiteX551" fmla="*/ 3082883 w 3320377"/>
                <a:gd name="connsiteY551" fmla="*/ 1412408 h 3363305"/>
                <a:gd name="connsiteX552" fmla="*/ 3085167 w 3320377"/>
                <a:gd name="connsiteY552" fmla="*/ 1410126 h 3363305"/>
                <a:gd name="connsiteX553" fmla="*/ 3087451 w 3320377"/>
                <a:gd name="connsiteY553" fmla="*/ 1403280 h 3363305"/>
                <a:gd name="connsiteX554" fmla="*/ 3085167 w 3320377"/>
                <a:gd name="connsiteY554" fmla="*/ 1403280 h 3363305"/>
                <a:gd name="connsiteX555" fmla="*/ 3082883 w 3320377"/>
                <a:gd name="connsiteY555" fmla="*/ 1403280 h 3363305"/>
                <a:gd name="connsiteX556" fmla="*/ 3080600 w 3320377"/>
                <a:gd name="connsiteY556" fmla="*/ 1403280 h 3363305"/>
                <a:gd name="connsiteX557" fmla="*/ 3076033 w 3320377"/>
                <a:gd name="connsiteY557" fmla="*/ 1400999 h 3363305"/>
                <a:gd name="connsiteX558" fmla="*/ 3073749 w 3320377"/>
                <a:gd name="connsiteY558" fmla="*/ 1398717 h 3363305"/>
                <a:gd name="connsiteX559" fmla="*/ 3069182 w 3320377"/>
                <a:gd name="connsiteY559" fmla="*/ 1398717 h 3363305"/>
                <a:gd name="connsiteX560" fmla="*/ 3069182 w 3320377"/>
                <a:gd name="connsiteY560" fmla="*/ 1396435 h 3363305"/>
                <a:gd name="connsiteX561" fmla="*/ 3066898 w 3320377"/>
                <a:gd name="connsiteY561" fmla="*/ 1391871 h 3363305"/>
                <a:gd name="connsiteX562" fmla="*/ 3064615 w 3320377"/>
                <a:gd name="connsiteY562" fmla="*/ 1389589 h 3363305"/>
                <a:gd name="connsiteX563" fmla="*/ 3064615 w 3320377"/>
                <a:gd name="connsiteY563" fmla="*/ 1387307 h 3363305"/>
                <a:gd name="connsiteX564" fmla="*/ 3062331 w 3320377"/>
                <a:gd name="connsiteY564" fmla="*/ 1385025 h 3363305"/>
                <a:gd name="connsiteX565" fmla="*/ 3062331 w 3320377"/>
                <a:gd name="connsiteY565" fmla="*/ 1382743 h 3363305"/>
                <a:gd name="connsiteX566" fmla="*/ 3064615 w 3320377"/>
                <a:gd name="connsiteY566" fmla="*/ 1382743 h 3363305"/>
                <a:gd name="connsiteX567" fmla="*/ 3066898 w 3320377"/>
                <a:gd name="connsiteY567" fmla="*/ 1382743 h 3363305"/>
                <a:gd name="connsiteX568" fmla="*/ 3073749 w 3320377"/>
                <a:gd name="connsiteY568" fmla="*/ 1382743 h 3363305"/>
                <a:gd name="connsiteX569" fmla="*/ 3076033 w 3320377"/>
                <a:gd name="connsiteY569" fmla="*/ 1382743 h 3363305"/>
                <a:gd name="connsiteX570" fmla="*/ 3078316 w 3320377"/>
                <a:gd name="connsiteY570" fmla="*/ 1378179 h 3363305"/>
                <a:gd name="connsiteX571" fmla="*/ 3080600 w 3320377"/>
                <a:gd name="connsiteY571" fmla="*/ 1373616 h 3363305"/>
                <a:gd name="connsiteX572" fmla="*/ 3082883 w 3320377"/>
                <a:gd name="connsiteY572" fmla="*/ 1371334 h 3363305"/>
                <a:gd name="connsiteX573" fmla="*/ 3085167 w 3320377"/>
                <a:gd name="connsiteY573" fmla="*/ 1371334 h 3363305"/>
                <a:gd name="connsiteX574" fmla="*/ 3087451 w 3320377"/>
                <a:gd name="connsiteY574" fmla="*/ 1373616 h 3363305"/>
                <a:gd name="connsiteX575" fmla="*/ 3089734 w 3320377"/>
                <a:gd name="connsiteY575" fmla="*/ 1373616 h 3363305"/>
                <a:gd name="connsiteX576" fmla="*/ 3092018 w 3320377"/>
                <a:gd name="connsiteY576" fmla="*/ 1373616 h 3363305"/>
                <a:gd name="connsiteX577" fmla="*/ 3094302 w 3320377"/>
                <a:gd name="connsiteY577" fmla="*/ 1373616 h 3363305"/>
                <a:gd name="connsiteX578" fmla="*/ 3096585 w 3320377"/>
                <a:gd name="connsiteY578" fmla="*/ 1373616 h 3363305"/>
                <a:gd name="connsiteX579" fmla="*/ 3096585 w 3320377"/>
                <a:gd name="connsiteY579" fmla="*/ 1371334 h 3363305"/>
                <a:gd name="connsiteX580" fmla="*/ 3096585 w 3320377"/>
                <a:gd name="connsiteY580" fmla="*/ 1369052 h 3363305"/>
                <a:gd name="connsiteX581" fmla="*/ 3098869 w 3320377"/>
                <a:gd name="connsiteY581" fmla="*/ 1359924 h 3363305"/>
                <a:gd name="connsiteX582" fmla="*/ 3101152 w 3320377"/>
                <a:gd name="connsiteY582" fmla="*/ 1353079 h 3363305"/>
                <a:gd name="connsiteX583" fmla="*/ 3105720 w 3320377"/>
                <a:gd name="connsiteY583" fmla="*/ 1341669 h 3363305"/>
                <a:gd name="connsiteX584" fmla="*/ 3105720 w 3320377"/>
                <a:gd name="connsiteY584" fmla="*/ 1337106 h 3363305"/>
                <a:gd name="connsiteX585" fmla="*/ 3108003 w 3320377"/>
                <a:gd name="connsiteY585" fmla="*/ 1330260 h 3363305"/>
                <a:gd name="connsiteX586" fmla="*/ 3112570 w 3320377"/>
                <a:gd name="connsiteY586" fmla="*/ 1321132 h 3363305"/>
                <a:gd name="connsiteX587" fmla="*/ 3114854 w 3320377"/>
                <a:gd name="connsiteY587" fmla="*/ 1307441 h 3363305"/>
                <a:gd name="connsiteX588" fmla="*/ 3117137 w 3320377"/>
                <a:gd name="connsiteY588" fmla="*/ 1300595 h 3363305"/>
                <a:gd name="connsiteX589" fmla="*/ 3114854 w 3320377"/>
                <a:gd name="connsiteY589" fmla="*/ 1300595 h 3363305"/>
                <a:gd name="connsiteX590" fmla="*/ 3114854 w 3320377"/>
                <a:gd name="connsiteY590" fmla="*/ 1302877 h 3363305"/>
                <a:gd name="connsiteX591" fmla="*/ 3112570 w 3320377"/>
                <a:gd name="connsiteY591" fmla="*/ 1302877 h 3363305"/>
                <a:gd name="connsiteX592" fmla="*/ 3112570 w 3320377"/>
                <a:gd name="connsiteY592" fmla="*/ 1300595 h 3363305"/>
                <a:gd name="connsiteX593" fmla="*/ 3110287 w 3320377"/>
                <a:gd name="connsiteY593" fmla="*/ 1300595 h 3363305"/>
                <a:gd name="connsiteX594" fmla="*/ 3110287 w 3320377"/>
                <a:gd name="connsiteY594" fmla="*/ 1302877 h 3363305"/>
                <a:gd name="connsiteX595" fmla="*/ 3108003 w 3320377"/>
                <a:gd name="connsiteY595" fmla="*/ 1302877 h 3363305"/>
                <a:gd name="connsiteX596" fmla="*/ 3105720 w 3320377"/>
                <a:gd name="connsiteY596" fmla="*/ 1302877 h 3363305"/>
                <a:gd name="connsiteX597" fmla="*/ 3103436 w 3320377"/>
                <a:gd name="connsiteY597" fmla="*/ 1302877 h 3363305"/>
                <a:gd name="connsiteX598" fmla="*/ 3101152 w 3320377"/>
                <a:gd name="connsiteY598" fmla="*/ 1302877 h 3363305"/>
                <a:gd name="connsiteX599" fmla="*/ 3098869 w 3320377"/>
                <a:gd name="connsiteY599" fmla="*/ 1302877 h 3363305"/>
                <a:gd name="connsiteX600" fmla="*/ 3096585 w 3320377"/>
                <a:gd name="connsiteY600" fmla="*/ 1302877 h 3363305"/>
                <a:gd name="connsiteX601" fmla="*/ 3096585 w 3320377"/>
                <a:gd name="connsiteY601" fmla="*/ 1305159 h 3363305"/>
                <a:gd name="connsiteX602" fmla="*/ 3096585 w 3320377"/>
                <a:gd name="connsiteY602" fmla="*/ 1307441 h 3363305"/>
                <a:gd name="connsiteX603" fmla="*/ 3094302 w 3320377"/>
                <a:gd name="connsiteY603" fmla="*/ 1307441 h 3363305"/>
                <a:gd name="connsiteX604" fmla="*/ 3094302 w 3320377"/>
                <a:gd name="connsiteY604" fmla="*/ 1309723 h 3363305"/>
                <a:gd name="connsiteX605" fmla="*/ 3094302 w 3320377"/>
                <a:gd name="connsiteY605" fmla="*/ 1312005 h 3363305"/>
                <a:gd name="connsiteX606" fmla="*/ 3092018 w 3320377"/>
                <a:gd name="connsiteY606" fmla="*/ 1312005 h 3363305"/>
                <a:gd name="connsiteX607" fmla="*/ 3092018 w 3320377"/>
                <a:gd name="connsiteY607" fmla="*/ 1314286 h 3363305"/>
                <a:gd name="connsiteX608" fmla="*/ 3092018 w 3320377"/>
                <a:gd name="connsiteY608" fmla="*/ 1316568 h 3363305"/>
                <a:gd name="connsiteX609" fmla="*/ 3089734 w 3320377"/>
                <a:gd name="connsiteY609" fmla="*/ 1316568 h 3363305"/>
                <a:gd name="connsiteX610" fmla="*/ 3078316 w 3320377"/>
                <a:gd name="connsiteY610" fmla="*/ 1298313 h 3363305"/>
                <a:gd name="connsiteX611" fmla="*/ 3076033 w 3320377"/>
                <a:gd name="connsiteY611" fmla="*/ 1296031 h 3363305"/>
                <a:gd name="connsiteX612" fmla="*/ 3069182 w 3320377"/>
                <a:gd name="connsiteY612" fmla="*/ 1284622 h 3363305"/>
                <a:gd name="connsiteX613" fmla="*/ 3066898 w 3320377"/>
                <a:gd name="connsiteY613" fmla="*/ 1280058 h 3363305"/>
                <a:gd name="connsiteX614" fmla="*/ 3066898 w 3320377"/>
                <a:gd name="connsiteY614" fmla="*/ 1277776 h 3363305"/>
                <a:gd name="connsiteX615" fmla="*/ 3055480 w 3320377"/>
                <a:gd name="connsiteY615" fmla="*/ 1261812 h 3363305"/>
                <a:gd name="connsiteX616" fmla="*/ 3046346 w 3320377"/>
                <a:gd name="connsiteY616" fmla="*/ 1248121 h 3363305"/>
                <a:gd name="connsiteX617" fmla="*/ 3046346 w 3320377"/>
                <a:gd name="connsiteY617" fmla="*/ 1245839 h 3363305"/>
                <a:gd name="connsiteX618" fmla="*/ 3044062 w 3320377"/>
                <a:gd name="connsiteY618" fmla="*/ 1243557 h 3363305"/>
                <a:gd name="connsiteX619" fmla="*/ 3046346 w 3320377"/>
                <a:gd name="connsiteY619" fmla="*/ 1241275 h 3363305"/>
                <a:gd name="connsiteX620" fmla="*/ 3048630 w 3320377"/>
                <a:gd name="connsiteY620" fmla="*/ 1241275 h 3363305"/>
                <a:gd name="connsiteX621" fmla="*/ 3050913 w 3320377"/>
                <a:gd name="connsiteY621" fmla="*/ 1238993 h 3363305"/>
                <a:gd name="connsiteX622" fmla="*/ 3050913 w 3320377"/>
                <a:gd name="connsiteY622" fmla="*/ 1241275 h 3363305"/>
                <a:gd name="connsiteX623" fmla="*/ 3053197 w 3320377"/>
                <a:gd name="connsiteY623" fmla="*/ 1241275 h 3363305"/>
                <a:gd name="connsiteX624" fmla="*/ 3053197 w 3320377"/>
                <a:gd name="connsiteY624" fmla="*/ 1238993 h 3363305"/>
                <a:gd name="connsiteX625" fmla="*/ 3053197 w 3320377"/>
                <a:gd name="connsiteY625" fmla="*/ 1236712 h 3363305"/>
                <a:gd name="connsiteX626" fmla="*/ 3055480 w 3320377"/>
                <a:gd name="connsiteY626" fmla="*/ 1234430 h 3363305"/>
                <a:gd name="connsiteX627" fmla="*/ 3050913 w 3320377"/>
                <a:gd name="connsiteY627" fmla="*/ 1234430 h 3363305"/>
                <a:gd name="connsiteX628" fmla="*/ 3053197 w 3320377"/>
                <a:gd name="connsiteY628" fmla="*/ 1232148 h 3363305"/>
                <a:gd name="connsiteX629" fmla="*/ 3053197 w 3320377"/>
                <a:gd name="connsiteY629" fmla="*/ 1229866 h 3363305"/>
                <a:gd name="connsiteX630" fmla="*/ 3055480 w 3320377"/>
                <a:gd name="connsiteY630" fmla="*/ 1229866 h 3363305"/>
                <a:gd name="connsiteX631" fmla="*/ 3055480 w 3320377"/>
                <a:gd name="connsiteY631" fmla="*/ 1227584 h 3363305"/>
                <a:gd name="connsiteX632" fmla="*/ 3057764 w 3320377"/>
                <a:gd name="connsiteY632" fmla="*/ 1227584 h 3363305"/>
                <a:gd name="connsiteX633" fmla="*/ 3057764 w 3320377"/>
                <a:gd name="connsiteY633" fmla="*/ 1225302 h 3363305"/>
                <a:gd name="connsiteX634" fmla="*/ 3060048 w 3320377"/>
                <a:gd name="connsiteY634" fmla="*/ 1223020 h 3363305"/>
                <a:gd name="connsiteX635" fmla="*/ 3064615 w 3320377"/>
                <a:gd name="connsiteY635" fmla="*/ 1218456 h 3363305"/>
                <a:gd name="connsiteX636" fmla="*/ 3066898 w 3320377"/>
                <a:gd name="connsiteY636" fmla="*/ 1213893 h 3363305"/>
                <a:gd name="connsiteX637" fmla="*/ 3069182 w 3320377"/>
                <a:gd name="connsiteY637" fmla="*/ 1211611 h 3363305"/>
                <a:gd name="connsiteX638" fmla="*/ 3071466 w 3320377"/>
                <a:gd name="connsiteY638" fmla="*/ 1209329 h 3363305"/>
                <a:gd name="connsiteX639" fmla="*/ 3073749 w 3320377"/>
                <a:gd name="connsiteY639" fmla="*/ 1207047 h 3363305"/>
                <a:gd name="connsiteX640" fmla="*/ 3076033 w 3320377"/>
                <a:gd name="connsiteY640" fmla="*/ 1202483 h 3363305"/>
                <a:gd name="connsiteX641" fmla="*/ 3080600 w 3320377"/>
                <a:gd name="connsiteY641" fmla="*/ 1195637 h 3363305"/>
                <a:gd name="connsiteX642" fmla="*/ 3085167 w 3320377"/>
                <a:gd name="connsiteY642" fmla="*/ 1193355 h 3363305"/>
                <a:gd name="connsiteX643" fmla="*/ 3089734 w 3320377"/>
                <a:gd name="connsiteY643" fmla="*/ 1186510 h 3363305"/>
                <a:gd name="connsiteX644" fmla="*/ 3092018 w 3320377"/>
                <a:gd name="connsiteY644" fmla="*/ 1184228 h 3363305"/>
                <a:gd name="connsiteX645" fmla="*/ 3094302 w 3320377"/>
                <a:gd name="connsiteY645" fmla="*/ 1181946 h 3363305"/>
                <a:gd name="connsiteX646" fmla="*/ 3105720 w 3320377"/>
                <a:gd name="connsiteY646" fmla="*/ 1168255 h 3363305"/>
                <a:gd name="connsiteX647" fmla="*/ 3105720 w 3320377"/>
                <a:gd name="connsiteY647" fmla="*/ 1165973 h 3363305"/>
                <a:gd name="connsiteX648" fmla="*/ 3110287 w 3320377"/>
                <a:gd name="connsiteY648" fmla="*/ 1161409 h 3363305"/>
                <a:gd name="connsiteX649" fmla="*/ 3112570 w 3320377"/>
                <a:gd name="connsiteY649" fmla="*/ 1159127 h 3363305"/>
                <a:gd name="connsiteX650" fmla="*/ 3117137 w 3320377"/>
                <a:gd name="connsiteY650" fmla="*/ 1154563 h 3363305"/>
                <a:gd name="connsiteX651" fmla="*/ 3117137 w 3320377"/>
                <a:gd name="connsiteY651" fmla="*/ 1152281 h 3363305"/>
                <a:gd name="connsiteX652" fmla="*/ 3121705 w 3320377"/>
                <a:gd name="connsiteY652" fmla="*/ 1147718 h 3363305"/>
                <a:gd name="connsiteX653" fmla="*/ 3119421 w 3320377"/>
                <a:gd name="connsiteY653" fmla="*/ 1145436 h 3363305"/>
                <a:gd name="connsiteX654" fmla="*/ 3117137 w 3320377"/>
                <a:gd name="connsiteY654" fmla="*/ 1143154 h 3363305"/>
                <a:gd name="connsiteX655" fmla="*/ 3114854 w 3320377"/>
                <a:gd name="connsiteY655" fmla="*/ 1143154 h 3363305"/>
                <a:gd name="connsiteX656" fmla="*/ 3110287 w 3320377"/>
                <a:gd name="connsiteY656" fmla="*/ 1140872 h 3363305"/>
                <a:gd name="connsiteX657" fmla="*/ 3108003 w 3320377"/>
                <a:gd name="connsiteY657" fmla="*/ 1140872 h 3363305"/>
                <a:gd name="connsiteX658" fmla="*/ 3105720 w 3320377"/>
                <a:gd name="connsiteY658" fmla="*/ 1140872 h 3363305"/>
                <a:gd name="connsiteX659" fmla="*/ 3105720 w 3320377"/>
                <a:gd name="connsiteY659" fmla="*/ 1138590 h 3363305"/>
                <a:gd name="connsiteX660" fmla="*/ 3103436 w 3320377"/>
                <a:gd name="connsiteY660" fmla="*/ 1138590 h 3363305"/>
                <a:gd name="connsiteX661" fmla="*/ 3101152 w 3320377"/>
                <a:gd name="connsiteY661" fmla="*/ 1138590 h 3363305"/>
                <a:gd name="connsiteX662" fmla="*/ 3096585 w 3320377"/>
                <a:gd name="connsiteY662" fmla="*/ 1140872 h 3363305"/>
                <a:gd name="connsiteX663" fmla="*/ 3094302 w 3320377"/>
                <a:gd name="connsiteY663" fmla="*/ 1140872 h 3363305"/>
                <a:gd name="connsiteX664" fmla="*/ 3089734 w 3320377"/>
                <a:gd name="connsiteY664" fmla="*/ 1140872 h 3363305"/>
                <a:gd name="connsiteX665" fmla="*/ 3087451 w 3320377"/>
                <a:gd name="connsiteY665" fmla="*/ 1140872 h 3363305"/>
                <a:gd name="connsiteX666" fmla="*/ 3085167 w 3320377"/>
                <a:gd name="connsiteY666" fmla="*/ 1140872 h 3363305"/>
                <a:gd name="connsiteX667" fmla="*/ 3076033 w 3320377"/>
                <a:gd name="connsiteY667" fmla="*/ 1143154 h 3363305"/>
                <a:gd name="connsiteX668" fmla="*/ 3071466 w 3320377"/>
                <a:gd name="connsiteY668" fmla="*/ 1143154 h 3363305"/>
                <a:gd name="connsiteX669" fmla="*/ 3066898 w 3320377"/>
                <a:gd name="connsiteY669" fmla="*/ 1145436 h 3363305"/>
                <a:gd name="connsiteX670" fmla="*/ 3062331 w 3320377"/>
                <a:gd name="connsiteY670" fmla="*/ 1145436 h 3363305"/>
                <a:gd name="connsiteX671" fmla="*/ 3060048 w 3320377"/>
                <a:gd name="connsiteY671" fmla="*/ 1145436 h 3363305"/>
                <a:gd name="connsiteX672" fmla="*/ 3057764 w 3320377"/>
                <a:gd name="connsiteY672" fmla="*/ 1145436 h 3363305"/>
                <a:gd name="connsiteX673" fmla="*/ 3053197 w 3320377"/>
                <a:gd name="connsiteY673" fmla="*/ 1145436 h 3363305"/>
                <a:gd name="connsiteX674" fmla="*/ 3050913 w 3320377"/>
                <a:gd name="connsiteY674" fmla="*/ 1145436 h 3363305"/>
                <a:gd name="connsiteX675" fmla="*/ 3048630 w 3320377"/>
                <a:gd name="connsiteY675" fmla="*/ 1145436 h 3363305"/>
                <a:gd name="connsiteX676" fmla="*/ 3044062 w 3320377"/>
                <a:gd name="connsiteY676" fmla="*/ 1147718 h 3363305"/>
                <a:gd name="connsiteX677" fmla="*/ 3041779 w 3320377"/>
                <a:gd name="connsiteY677" fmla="*/ 1147718 h 3363305"/>
                <a:gd name="connsiteX678" fmla="*/ 3039495 w 3320377"/>
                <a:gd name="connsiteY678" fmla="*/ 1147718 h 3363305"/>
                <a:gd name="connsiteX679" fmla="*/ 3037212 w 3320377"/>
                <a:gd name="connsiteY679" fmla="*/ 1147718 h 3363305"/>
                <a:gd name="connsiteX680" fmla="*/ 3034928 w 3320377"/>
                <a:gd name="connsiteY680" fmla="*/ 1147718 h 3363305"/>
                <a:gd name="connsiteX681" fmla="*/ 3032644 w 3320377"/>
                <a:gd name="connsiteY681" fmla="*/ 1149999 h 3363305"/>
                <a:gd name="connsiteX682" fmla="*/ 3030361 w 3320377"/>
                <a:gd name="connsiteY682" fmla="*/ 1147718 h 3363305"/>
                <a:gd name="connsiteX683" fmla="*/ 3030361 w 3320377"/>
                <a:gd name="connsiteY683" fmla="*/ 1145436 h 3363305"/>
                <a:gd name="connsiteX684" fmla="*/ 3028077 w 3320377"/>
                <a:gd name="connsiteY684" fmla="*/ 1143154 h 3363305"/>
                <a:gd name="connsiteX685" fmla="*/ 3030361 w 3320377"/>
                <a:gd name="connsiteY685" fmla="*/ 1140872 h 3363305"/>
                <a:gd name="connsiteX686" fmla="*/ 3030361 w 3320377"/>
                <a:gd name="connsiteY686" fmla="*/ 1138590 h 3363305"/>
                <a:gd name="connsiteX687" fmla="*/ 3030361 w 3320377"/>
                <a:gd name="connsiteY687" fmla="*/ 1136308 h 3363305"/>
                <a:gd name="connsiteX688" fmla="*/ 3030361 w 3320377"/>
                <a:gd name="connsiteY688" fmla="*/ 1134026 h 3363305"/>
                <a:gd name="connsiteX689" fmla="*/ 3030361 w 3320377"/>
                <a:gd name="connsiteY689" fmla="*/ 1131744 h 3363305"/>
                <a:gd name="connsiteX690" fmla="*/ 3030361 w 3320377"/>
                <a:gd name="connsiteY690" fmla="*/ 1129462 h 3363305"/>
                <a:gd name="connsiteX691" fmla="*/ 3030361 w 3320377"/>
                <a:gd name="connsiteY691" fmla="*/ 1127181 h 3363305"/>
                <a:gd name="connsiteX692" fmla="*/ 3028077 w 3320377"/>
                <a:gd name="connsiteY692" fmla="*/ 1127181 h 3363305"/>
                <a:gd name="connsiteX693" fmla="*/ 3028077 w 3320377"/>
                <a:gd name="connsiteY693" fmla="*/ 1124899 h 3363305"/>
                <a:gd name="connsiteX694" fmla="*/ 3025794 w 3320377"/>
                <a:gd name="connsiteY694" fmla="*/ 1124899 h 3363305"/>
                <a:gd name="connsiteX695" fmla="*/ 3025794 w 3320377"/>
                <a:gd name="connsiteY695" fmla="*/ 1122617 h 3363305"/>
                <a:gd name="connsiteX696" fmla="*/ 3025794 w 3320377"/>
                <a:gd name="connsiteY696" fmla="*/ 1120335 h 3363305"/>
                <a:gd name="connsiteX697" fmla="*/ 3023510 w 3320377"/>
                <a:gd name="connsiteY697" fmla="*/ 1120335 h 3363305"/>
                <a:gd name="connsiteX698" fmla="*/ 3023510 w 3320377"/>
                <a:gd name="connsiteY698" fmla="*/ 1118053 h 3363305"/>
                <a:gd name="connsiteX699" fmla="*/ 3023510 w 3320377"/>
                <a:gd name="connsiteY699" fmla="*/ 1115771 h 3363305"/>
                <a:gd name="connsiteX700" fmla="*/ 3023510 w 3320377"/>
                <a:gd name="connsiteY700" fmla="*/ 1113489 h 3363305"/>
                <a:gd name="connsiteX701" fmla="*/ 3023510 w 3320377"/>
                <a:gd name="connsiteY701" fmla="*/ 1111207 h 3363305"/>
                <a:gd name="connsiteX702" fmla="*/ 3025794 w 3320377"/>
                <a:gd name="connsiteY702" fmla="*/ 1111207 h 3363305"/>
                <a:gd name="connsiteX703" fmla="*/ 3025794 w 3320377"/>
                <a:gd name="connsiteY703" fmla="*/ 1108935 h 3363305"/>
                <a:gd name="connsiteX704" fmla="*/ 3023510 w 3320377"/>
                <a:gd name="connsiteY704" fmla="*/ 1108935 h 3363305"/>
                <a:gd name="connsiteX705" fmla="*/ 3021227 w 3320377"/>
                <a:gd name="connsiteY705" fmla="*/ 1111207 h 3363305"/>
                <a:gd name="connsiteX706" fmla="*/ 3018943 w 3320377"/>
                <a:gd name="connsiteY706" fmla="*/ 1111207 h 3363305"/>
                <a:gd name="connsiteX707" fmla="*/ 3014376 w 3320377"/>
                <a:gd name="connsiteY707" fmla="*/ 1111207 h 3363305"/>
                <a:gd name="connsiteX708" fmla="*/ 3016659 w 3320377"/>
                <a:gd name="connsiteY708" fmla="*/ 1115771 h 3363305"/>
                <a:gd name="connsiteX709" fmla="*/ 3016659 w 3320377"/>
                <a:gd name="connsiteY709" fmla="*/ 1118053 h 3363305"/>
                <a:gd name="connsiteX710" fmla="*/ 3016659 w 3320377"/>
                <a:gd name="connsiteY710" fmla="*/ 1120335 h 3363305"/>
                <a:gd name="connsiteX711" fmla="*/ 3012092 w 3320377"/>
                <a:gd name="connsiteY711" fmla="*/ 1122617 h 3363305"/>
                <a:gd name="connsiteX712" fmla="*/ 3009808 w 3320377"/>
                <a:gd name="connsiteY712" fmla="*/ 1122617 h 3363305"/>
                <a:gd name="connsiteX713" fmla="*/ 3007525 w 3320377"/>
                <a:gd name="connsiteY713" fmla="*/ 1122617 h 3363305"/>
                <a:gd name="connsiteX714" fmla="*/ 3005241 w 3320377"/>
                <a:gd name="connsiteY714" fmla="*/ 1122617 h 3363305"/>
                <a:gd name="connsiteX715" fmla="*/ 3002958 w 3320377"/>
                <a:gd name="connsiteY715" fmla="*/ 1124899 h 3363305"/>
                <a:gd name="connsiteX716" fmla="*/ 3000674 w 3320377"/>
                <a:gd name="connsiteY716" fmla="*/ 1124899 h 3363305"/>
                <a:gd name="connsiteX717" fmla="*/ 2996107 w 3320377"/>
                <a:gd name="connsiteY717" fmla="*/ 1124899 h 3363305"/>
                <a:gd name="connsiteX718" fmla="*/ 2991540 w 3320377"/>
                <a:gd name="connsiteY718" fmla="*/ 1127181 h 3363305"/>
                <a:gd name="connsiteX719" fmla="*/ 2991540 w 3320377"/>
                <a:gd name="connsiteY719" fmla="*/ 1129462 h 3363305"/>
                <a:gd name="connsiteX720" fmla="*/ 2991540 w 3320377"/>
                <a:gd name="connsiteY720" fmla="*/ 1131744 h 3363305"/>
                <a:gd name="connsiteX721" fmla="*/ 2989256 w 3320377"/>
                <a:gd name="connsiteY721" fmla="*/ 1131744 h 3363305"/>
                <a:gd name="connsiteX722" fmla="*/ 2989256 w 3320377"/>
                <a:gd name="connsiteY722" fmla="*/ 1134026 h 3363305"/>
                <a:gd name="connsiteX723" fmla="*/ 2986973 w 3320377"/>
                <a:gd name="connsiteY723" fmla="*/ 1134026 h 3363305"/>
                <a:gd name="connsiteX724" fmla="*/ 2986973 w 3320377"/>
                <a:gd name="connsiteY724" fmla="*/ 1136308 h 3363305"/>
                <a:gd name="connsiteX725" fmla="*/ 2986973 w 3320377"/>
                <a:gd name="connsiteY725" fmla="*/ 1138590 h 3363305"/>
                <a:gd name="connsiteX726" fmla="*/ 2989256 w 3320377"/>
                <a:gd name="connsiteY726" fmla="*/ 1138590 h 3363305"/>
                <a:gd name="connsiteX727" fmla="*/ 2989256 w 3320377"/>
                <a:gd name="connsiteY727" fmla="*/ 1140872 h 3363305"/>
                <a:gd name="connsiteX728" fmla="*/ 2986973 w 3320377"/>
                <a:gd name="connsiteY728" fmla="*/ 1140872 h 3363305"/>
                <a:gd name="connsiteX729" fmla="*/ 2984689 w 3320377"/>
                <a:gd name="connsiteY729" fmla="*/ 1140872 h 3363305"/>
                <a:gd name="connsiteX730" fmla="*/ 2984689 w 3320377"/>
                <a:gd name="connsiteY730" fmla="*/ 1143154 h 3363305"/>
                <a:gd name="connsiteX731" fmla="*/ 2984689 w 3320377"/>
                <a:gd name="connsiteY731" fmla="*/ 1145436 h 3363305"/>
                <a:gd name="connsiteX732" fmla="*/ 2986973 w 3320377"/>
                <a:gd name="connsiteY732" fmla="*/ 1145436 h 3363305"/>
                <a:gd name="connsiteX733" fmla="*/ 2986973 w 3320377"/>
                <a:gd name="connsiteY733" fmla="*/ 1147718 h 3363305"/>
                <a:gd name="connsiteX734" fmla="*/ 2986973 w 3320377"/>
                <a:gd name="connsiteY734" fmla="*/ 1149999 h 3363305"/>
                <a:gd name="connsiteX735" fmla="*/ 2989256 w 3320377"/>
                <a:gd name="connsiteY735" fmla="*/ 1149999 h 3363305"/>
                <a:gd name="connsiteX736" fmla="*/ 2989256 w 3320377"/>
                <a:gd name="connsiteY736" fmla="*/ 1152281 h 3363305"/>
                <a:gd name="connsiteX737" fmla="*/ 2991540 w 3320377"/>
                <a:gd name="connsiteY737" fmla="*/ 1152281 h 3363305"/>
                <a:gd name="connsiteX738" fmla="*/ 2991540 w 3320377"/>
                <a:gd name="connsiteY738" fmla="*/ 1154563 h 3363305"/>
                <a:gd name="connsiteX739" fmla="*/ 2993823 w 3320377"/>
                <a:gd name="connsiteY739" fmla="*/ 1154563 h 3363305"/>
                <a:gd name="connsiteX740" fmla="*/ 2993823 w 3320377"/>
                <a:gd name="connsiteY740" fmla="*/ 1156845 h 3363305"/>
                <a:gd name="connsiteX741" fmla="*/ 2993823 w 3320377"/>
                <a:gd name="connsiteY741" fmla="*/ 1159127 h 3363305"/>
                <a:gd name="connsiteX742" fmla="*/ 2993823 w 3320377"/>
                <a:gd name="connsiteY742" fmla="*/ 1163691 h 3363305"/>
                <a:gd name="connsiteX743" fmla="*/ 2989256 w 3320377"/>
                <a:gd name="connsiteY743" fmla="*/ 1165973 h 3363305"/>
                <a:gd name="connsiteX744" fmla="*/ 2986973 w 3320377"/>
                <a:gd name="connsiteY744" fmla="*/ 1165973 h 3363305"/>
                <a:gd name="connsiteX745" fmla="*/ 2984689 w 3320377"/>
                <a:gd name="connsiteY745" fmla="*/ 1175100 h 3363305"/>
                <a:gd name="connsiteX746" fmla="*/ 2986973 w 3320377"/>
                <a:gd name="connsiteY746" fmla="*/ 1177382 h 3363305"/>
                <a:gd name="connsiteX747" fmla="*/ 2986973 w 3320377"/>
                <a:gd name="connsiteY747" fmla="*/ 1179664 h 3363305"/>
                <a:gd name="connsiteX748" fmla="*/ 2986973 w 3320377"/>
                <a:gd name="connsiteY748" fmla="*/ 1184228 h 3363305"/>
                <a:gd name="connsiteX749" fmla="*/ 2984689 w 3320377"/>
                <a:gd name="connsiteY749" fmla="*/ 1184228 h 3363305"/>
                <a:gd name="connsiteX750" fmla="*/ 2982405 w 3320377"/>
                <a:gd name="connsiteY750" fmla="*/ 1184228 h 3363305"/>
                <a:gd name="connsiteX751" fmla="*/ 2980122 w 3320377"/>
                <a:gd name="connsiteY751" fmla="*/ 1186510 h 3363305"/>
                <a:gd name="connsiteX752" fmla="*/ 2982405 w 3320377"/>
                <a:gd name="connsiteY752" fmla="*/ 1188792 h 3363305"/>
                <a:gd name="connsiteX753" fmla="*/ 2984689 w 3320377"/>
                <a:gd name="connsiteY753" fmla="*/ 1191074 h 3363305"/>
                <a:gd name="connsiteX754" fmla="*/ 2996107 w 3320377"/>
                <a:gd name="connsiteY754" fmla="*/ 1202483 h 3363305"/>
                <a:gd name="connsiteX755" fmla="*/ 2993823 w 3320377"/>
                <a:gd name="connsiteY755" fmla="*/ 1202483 h 3363305"/>
                <a:gd name="connsiteX756" fmla="*/ 2993823 w 3320377"/>
                <a:gd name="connsiteY756" fmla="*/ 1204765 h 3363305"/>
                <a:gd name="connsiteX757" fmla="*/ 2991540 w 3320377"/>
                <a:gd name="connsiteY757" fmla="*/ 1204765 h 3363305"/>
                <a:gd name="connsiteX758" fmla="*/ 2991540 w 3320377"/>
                <a:gd name="connsiteY758" fmla="*/ 1207047 h 3363305"/>
                <a:gd name="connsiteX759" fmla="*/ 2993823 w 3320377"/>
                <a:gd name="connsiteY759" fmla="*/ 1207047 h 3363305"/>
                <a:gd name="connsiteX760" fmla="*/ 2993823 w 3320377"/>
                <a:gd name="connsiteY760" fmla="*/ 1209329 h 3363305"/>
                <a:gd name="connsiteX761" fmla="*/ 2993823 w 3320377"/>
                <a:gd name="connsiteY761" fmla="*/ 1211611 h 3363305"/>
                <a:gd name="connsiteX762" fmla="*/ 2991540 w 3320377"/>
                <a:gd name="connsiteY762" fmla="*/ 1211611 h 3363305"/>
                <a:gd name="connsiteX763" fmla="*/ 2989256 w 3320377"/>
                <a:gd name="connsiteY763" fmla="*/ 1211611 h 3363305"/>
                <a:gd name="connsiteX764" fmla="*/ 2986973 w 3320377"/>
                <a:gd name="connsiteY764" fmla="*/ 1211611 h 3363305"/>
                <a:gd name="connsiteX765" fmla="*/ 2984689 w 3320377"/>
                <a:gd name="connsiteY765" fmla="*/ 1211611 h 3363305"/>
                <a:gd name="connsiteX766" fmla="*/ 2982405 w 3320377"/>
                <a:gd name="connsiteY766" fmla="*/ 1211611 h 3363305"/>
                <a:gd name="connsiteX767" fmla="*/ 2980122 w 3320377"/>
                <a:gd name="connsiteY767" fmla="*/ 1211611 h 3363305"/>
                <a:gd name="connsiteX768" fmla="*/ 2980122 w 3320377"/>
                <a:gd name="connsiteY768" fmla="*/ 1213893 h 3363305"/>
                <a:gd name="connsiteX769" fmla="*/ 2980122 w 3320377"/>
                <a:gd name="connsiteY769" fmla="*/ 1216175 h 3363305"/>
                <a:gd name="connsiteX770" fmla="*/ 2980122 w 3320377"/>
                <a:gd name="connsiteY770" fmla="*/ 1218456 h 3363305"/>
                <a:gd name="connsiteX771" fmla="*/ 2980122 w 3320377"/>
                <a:gd name="connsiteY771" fmla="*/ 1220738 h 3363305"/>
                <a:gd name="connsiteX772" fmla="*/ 2977838 w 3320377"/>
                <a:gd name="connsiteY772" fmla="*/ 1220738 h 3363305"/>
                <a:gd name="connsiteX773" fmla="*/ 2977838 w 3320377"/>
                <a:gd name="connsiteY773" fmla="*/ 1223020 h 3363305"/>
                <a:gd name="connsiteX774" fmla="*/ 2977838 w 3320377"/>
                <a:gd name="connsiteY774" fmla="*/ 1225302 h 3363305"/>
                <a:gd name="connsiteX775" fmla="*/ 2975554 w 3320377"/>
                <a:gd name="connsiteY775" fmla="*/ 1225302 h 3363305"/>
                <a:gd name="connsiteX776" fmla="*/ 2975554 w 3320377"/>
                <a:gd name="connsiteY776" fmla="*/ 1227584 h 3363305"/>
                <a:gd name="connsiteX777" fmla="*/ 2973271 w 3320377"/>
                <a:gd name="connsiteY777" fmla="*/ 1227584 h 3363305"/>
                <a:gd name="connsiteX778" fmla="*/ 2970987 w 3320377"/>
                <a:gd name="connsiteY778" fmla="*/ 1227584 h 3363305"/>
                <a:gd name="connsiteX779" fmla="*/ 2970987 w 3320377"/>
                <a:gd name="connsiteY779" fmla="*/ 1229866 h 3363305"/>
                <a:gd name="connsiteX780" fmla="*/ 2970987 w 3320377"/>
                <a:gd name="connsiteY780" fmla="*/ 1232148 h 3363305"/>
                <a:gd name="connsiteX781" fmla="*/ 2968704 w 3320377"/>
                <a:gd name="connsiteY781" fmla="*/ 1232148 h 3363305"/>
                <a:gd name="connsiteX782" fmla="*/ 2968704 w 3320377"/>
                <a:gd name="connsiteY782" fmla="*/ 1234430 h 3363305"/>
                <a:gd name="connsiteX783" fmla="*/ 2966420 w 3320377"/>
                <a:gd name="connsiteY783" fmla="*/ 1234430 h 3363305"/>
                <a:gd name="connsiteX784" fmla="*/ 2966420 w 3320377"/>
                <a:gd name="connsiteY784" fmla="*/ 1232148 h 3363305"/>
                <a:gd name="connsiteX785" fmla="*/ 2964137 w 3320377"/>
                <a:gd name="connsiteY785" fmla="*/ 1232148 h 3363305"/>
                <a:gd name="connsiteX786" fmla="*/ 2964137 w 3320377"/>
                <a:gd name="connsiteY786" fmla="*/ 1229866 h 3363305"/>
                <a:gd name="connsiteX787" fmla="*/ 2961853 w 3320377"/>
                <a:gd name="connsiteY787" fmla="*/ 1229866 h 3363305"/>
                <a:gd name="connsiteX788" fmla="*/ 2961853 w 3320377"/>
                <a:gd name="connsiteY788" fmla="*/ 1232148 h 3363305"/>
                <a:gd name="connsiteX789" fmla="*/ 2961853 w 3320377"/>
                <a:gd name="connsiteY789" fmla="*/ 1234430 h 3363305"/>
                <a:gd name="connsiteX790" fmla="*/ 2964137 w 3320377"/>
                <a:gd name="connsiteY790" fmla="*/ 1234430 h 3363305"/>
                <a:gd name="connsiteX791" fmla="*/ 2964137 w 3320377"/>
                <a:gd name="connsiteY791" fmla="*/ 1236712 h 3363305"/>
                <a:gd name="connsiteX792" fmla="*/ 2966420 w 3320377"/>
                <a:gd name="connsiteY792" fmla="*/ 1236712 h 3363305"/>
                <a:gd name="connsiteX793" fmla="*/ 2966420 w 3320377"/>
                <a:gd name="connsiteY793" fmla="*/ 1238993 h 3363305"/>
                <a:gd name="connsiteX794" fmla="*/ 2966420 w 3320377"/>
                <a:gd name="connsiteY794" fmla="*/ 1241275 h 3363305"/>
                <a:gd name="connsiteX795" fmla="*/ 2968704 w 3320377"/>
                <a:gd name="connsiteY795" fmla="*/ 1241275 h 3363305"/>
                <a:gd name="connsiteX796" fmla="*/ 2968704 w 3320377"/>
                <a:gd name="connsiteY796" fmla="*/ 1243557 h 3363305"/>
                <a:gd name="connsiteX797" fmla="*/ 2970987 w 3320377"/>
                <a:gd name="connsiteY797" fmla="*/ 1243557 h 3363305"/>
                <a:gd name="connsiteX798" fmla="*/ 2970987 w 3320377"/>
                <a:gd name="connsiteY798" fmla="*/ 1245839 h 3363305"/>
                <a:gd name="connsiteX799" fmla="*/ 2970987 w 3320377"/>
                <a:gd name="connsiteY799" fmla="*/ 1248121 h 3363305"/>
                <a:gd name="connsiteX800" fmla="*/ 2970987 w 3320377"/>
                <a:gd name="connsiteY800" fmla="*/ 1250403 h 3363305"/>
                <a:gd name="connsiteX801" fmla="*/ 2968704 w 3320377"/>
                <a:gd name="connsiteY801" fmla="*/ 1250403 h 3363305"/>
                <a:gd name="connsiteX802" fmla="*/ 2968704 w 3320377"/>
                <a:gd name="connsiteY802" fmla="*/ 1252685 h 3363305"/>
                <a:gd name="connsiteX803" fmla="*/ 2968704 w 3320377"/>
                <a:gd name="connsiteY803" fmla="*/ 1254967 h 3363305"/>
                <a:gd name="connsiteX804" fmla="*/ 2968704 w 3320377"/>
                <a:gd name="connsiteY804" fmla="*/ 1257249 h 3363305"/>
                <a:gd name="connsiteX805" fmla="*/ 2970987 w 3320377"/>
                <a:gd name="connsiteY805" fmla="*/ 1257249 h 3363305"/>
                <a:gd name="connsiteX806" fmla="*/ 2970987 w 3320377"/>
                <a:gd name="connsiteY806" fmla="*/ 1259531 h 3363305"/>
                <a:gd name="connsiteX807" fmla="*/ 2968704 w 3320377"/>
                <a:gd name="connsiteY807" fmla="*/ 1259531 h 3363305"/>
                <a:gd name="connsiteX808" fmla="*/ 2968704 w 3320377"/>
                <a:gd name="connsiteY808" fmla="*/ 1261812 h 3363305"/>
                <a:gd name="connsiteX809" fmla="*/ 2968704 w 3320377"/>
                <a:gd name="connsiteY809" fmla="*/ 1264094 h 3363305"/>
                <a:gd name="connsiteX810" fmla="*/ 2968704 w 3320377"/>
                <a:gd name="connsiteY810" fmla="*/ 1266376 h 3363305"/>
                <a:gd name="connsiteX811" fmla="*/ 2968704 w 3320377"/>
                <a:gd name="connsiteY811" fmla="*/ 1268658 h 3363305"/>
                <a:gd name="connsiteX812" fmla="*/ 2970987 w 3320377"/>
                <a:gd name="connsiteY812" fmla="*/ 1268658 h 3363305"/>
                <a:gd name="connsiteX813" fmla="*/ 2970987 w 3320377"/>
                <a:gd name="connsiteY813" fmla="*/ 1270931 h 3363305"/>
                <a:gd name="connsiteX814" fmla="*/ 2970987 w 3320377"/>
                <a:gd name="connsiteY814" fmla="*/ 1273212 h 3363305"/>
                <a:gd name="connsiteX815" fmla="*/ 2968704 w 3320377"/>
                <a:gd name="connsiteY815" fmla="*/ 1273212 h 3363305"/>
                <a:gd name="connsiteX816" fmla="*/ 2968704 w 3320377"/>
                <a:gd name="connsiteY816" fmla="*/ 1275494 h 3363305"/>
                <a:gd name="connsiteX817" fmla="*/ 2966420 w 3320377"/>
                <a:gd name="connsiteY817" fmla="*/ 1275494 h 3363305"/>
                <a:gd name="connsiteX818" fmla="*/ 2966420 w 3320377"/>
                <a:gd name="connsiteY818" fmla="*/ 1277776 h 3363305"/>
                <a:gd name="connsiteX819" fmla="*/ 2964137 w 3320377"/>
                <a:gd name="connsiteY819" fmla="*/ 1277776 h 3363305"/>
                <a:gd name="connsiteX820" fmla="*/ 2964137 w 3320377"/>
                <a:gd name="connsiteY820" fmla="*/ 1280058 h 3363305"/>
                <a:gd name="connsiteX821" fmla="*/ 2966420 w 3320377"/>
                <a:gd name="connsiteY821" fmla="*/ 1280058 h 3363305"/>
                <a:gd name="connsiteX822" fmla="*/ 2966420 w 3320377"/>
                <a:gd name="connsiteY822" fmla="*/ 1282340 h 3363305"/>
                <a:gd name="connsiteX823" fmla="*/ 2964137 w 3320377"/>
                <a:gd name="connsiteY823" fmla="*/ 1282340 h 3363305"/>
                <a:gd name="connsiteX824" fmla="*/ 2964137 w 3320377"/>
                <a:gd name="connsiteY824" fmla="*/ 1284622 h 3363305"/>
                <a:gd name="connsiteX825" fmla="*/ 2961853 w 3320377"/>
                <a:gd name="connsiteY825" fmla="*/ 1284622 h 3363305"/>
                <a:gd name="connsiteX826" fmla="*/ 2959569 w 3320377"/>
                <a:gd name="connsiteY826" fmla="*/ 1284622 h 3363305"/>
                <a:gd name="connsiteX827" fmla="*/ 2957286 w 3320377"/>
                <a:gd name="connsiteY827" fmla="*/ 1284622 h 3363305"/>
                <a:gd name="connsiteX828" fmla="*/ 2955002 w 3320377"/>
                <a:gd name="connsiteY828" fmla="*/ 1284622 h 3363305"/>
                <a:gd name="connsiteX829" fmla="*/ 2955002 w 3320377"/>
                <a:gd name="connsiteY829" fmla="*/ 1286904 h 3363305"/>
                <a:gd name="connsiteX830" fmla="*/ 2952719 w 3320377"/>
                <a:gd name="connsiteY830" fmla="*/ 1286904 h 3363305"/>
                <a:gd name="connsiteX831" fmla="*/ 2950435 w 3320377"/>
                <a:gd name="connsiteY831" fmla="*/ 1286904 h 3363305"/>
                <a:gd name="connsiteX832" fmla="*/ 2948151 w 3320377"/>
                <a:gd name="connsiteY832" fmla="*/ 1286904 h 3363305"/>
                <a:gd name="connsiteX833" fmla="*/ 2948151 w 3320377"/>
                <a:gd name="connsiteY833" fmla="*/ 1289186 h 3363305"/>
                <a:gd name="connsiteX834" fmla="*/ 2945868 w 3320377"/>
                <a:gd name="connsiteY834" fmla="*/ 1289186 h 3363305"/>
                <a:gd name="connsiteX835" fmla="*/ 2945868 w 3320377"/>
                <a:gd name="connsiteY835" fmla="*/ 1291467 h 3363305"/>
                <a:gd name="connsiteX836" fmla="*/ 2945868 w 3320377"/>
                <a:gd name="connsiteY836" fmla="*/ 1293749 h 3363305"/>
                <a:gd name="connsiteX837" fmla="*/ 2948151 w 3320377"/>
                <a:gd name="connsiteY837" fmla="*/ 1293749 h 3363305"/>
                <a:gd name="connsiteX838" fmla="*/ 2948151 w 3320377"/>
                <a:gd name="connsiteY838" fmla="*/ 1296031 h 3363305"/>
                <a:gd name="connsiteX839" fmla="*/ 2948151 w 3320377"/>
                <a:gd name="connsiteY839" fmla="*/ 1298313 h 3363305"/>
                <a:gd name="connsiteX840" fmla="*/ 2948151 w 3320377"/>
                <a:gd name="connsiteY840" fmla="*/ 1300595 h 3363305"/>
                <a:gd name="connsiteX841" fmla="*/ 2948151 w 3320377"/>
                <a:gd name="connsiteY841" fmla="*/ 1302877 h 3363305"/>
                <a:gd name="connsiteX842" fmla="*/ 2945868 w 3320377"/>
                <a:gd name="connsiteY842" fmla="*/ 1302877 h 3363305"/>
                <a:gd name="connsiteX843" fmla="*/ 2945868 w 3320377"/>
                <a:gd name="connsiteY843" fmla="*/ 1305159 h 3363305"/>
                <a:gd name="connsiteX844" fmla="*/ 2943584 w 3320377"/>
                <a:gd name="connsiteY844" fmla="*/ 1305159 h 3363305"/>
                <a:gd name="connsiteX845" fmla="*/ 2943584 w 3320377"/>
                <a:gd name="connsiteY845" fmla="*/ 1307441 h 3363305"/>
                <a:gd name="connsiteX846" fmla="*/ 2941300 w 3320377"/>
                <a:gd name="connsiteY846" fmla="*/ 1307441 h 3363305"/>
                <a:gd name="connsiteX847" fmla="*/ 2941300 w 3320377"/>
                <a:gd name="connsiteY847" fmla="*/ 1309723 h 3363305"/>
                <a:gd name="connsiteX848" fmla="*/ 2939017 w 3320377"/>
                <a:gd name="connsiteY848" fmla="*/ 1309723 h 3363305"/>
                <a:gd name="connsiteX849" fmla="*/ 2939017 w 3320377"/>
                <a:gd name="connsiteY849" fmla="*/ 1312005 h 3363305"/>
                <a:gd name="connsiteX850" fmla="*/ 2934450 w 3320377"/>
                <a:gd name="connsiteY850" fmla="*/ 1307441 h 3363305"/>
                <a:gd name="connsiteX851" fmla="*/ 2932166 w 3320377"/>
                <a:gd name="connsiteY851" fmla="*/ 1307441 h 3363305"/>
                <a:gd name="connsiteX852" fmla="*/ 2929883 w 3320377"/>
                <a:gd name="connsiteY852" fmla="*/ 1305159 h 3363305"/>
                <a:gd name="connsiteX853" fmla="*/ 2927599 w 3320377"/>
                <a:gd name="connsiteY853" fmla="*/ 1302877 h 3363305"/>
                <a:gd name="connsiteX854" fmla="*/ 2925315 w 3320377"/>
                <a:gd name="connsiteY854" fmla="*/ 1300595 h 3363305"/>
                <a:gd name="connsiteX855" fmla="*/ 2925315 w 3320377"/>
                <a:gd name="connsiteY855" fmla="*/ 1298313 h 3363305"/>
                <a:gd name="connsiteX856" fmla="*/ 2923032 w 3320377"/>
                <a:gd name="connsiteY856" fmla="*/ 1298313 h 3363305"/>
                <a:gd name="connsiteX857" fmla="*/ 2920748 w 3320377"/>
                <a:gd name="connsiteY857" fmla="*/ 1296031 h 3363305"/>
                <a:gd name="connsiteX858" fmla="*/ 2918465 w 3320377"/>
                <a:gd name="connsiteY858" fmla="*/ 1293749 h 3363305"/>
                <a:gd name="connsiteX859" fmla="*/ 2913898 w 3320377"/>
                <a:gd name="connsiteY859" fmla="*/ 1291467 h 3363305"/>
                <a:gd name="connsiteX860" fmla="*/ 2911614 w 3320377"/>
                <a:gd name="connsiteY860" fmla="*/ 1289186 h 3363305"/>
                <a:gd name="connsiteX861" fmla="*/ 2904763 w 3320377"/>
                <a:gd name="connsiteY861" fmla="*/ 1286904 h 3363305"/>
                <a:gd name="connsiteX862" fmla="*/ 2907047 w 3320377"/>
                <a:gd name="connsiteY862" fmla="*/ 1284622 h 3363305"/>
                <a:gd name="connsiteX863" fmla="*/ 2909330 w 3320377"/>
                <a:gd name="connsiteY863" fmla="*/ 1280058 h 3363305"/>
                <a:gd name="connsiteX864" fmla="*/ 2911614 w 3320377"/>
                <a:gd name="connsiteY864" fmla="*/ 1273212 h 3363305"/>
                <a:gd name="connsiteX865" fmla="*/ 2913898 w 3320377"/>
                <a:gd name="connsiteY865" fmla="*/ 1273212 h 3363305"/>
                <a:gd name="connsiteX866" fmla="*/ 2911614 w 3320377"/>
                <a:gd name="connsiteY866" fmla="*/ 1266376 h 3363305"/>
                <a:gd name="connsiteX867" fmla="*/ 2907047 w 3320377"/>
                <a:gd name="connsiteY867" fmla="*/ 1259531 h 3363305"/>
                <a:gd name="connsiteX868" fmla="*/ 2904763 w 3320377"/>
                <a:gd name="connsiteY868" fmla="*/ 1257249 h 3363305"/>
                <a:gd name="connsiteX869" fmla="*/ 2895629 w 3320377"/>
                <a:gd name="connsiteY869" fmla="*/ 1245839 h 3363305"/>
                <a:gd name="connsiteX870" fmla="*/ 2893345 w 3320377"/>
                <a:gd name="connsiteY870" fmla="*/ 1245839 h 3363305"/>
                <a:gd name="connsiteX871" fmla="*/ 2891061 w 3320377"/>
                <a:gd name="connsiteY871" fmla="*/ 1243557 h 3363305"/>
                <a:gd name="connsiteX872" fmla="*/ 2884211 w 3320377"/>
                <a:gd name="connsiteY872" fmla="*/ 1250403 h 3363305"/>
                <a:gd name="connsiteX873" fmla="*/ 2872793 w 3320377"/>
                <a:gd name="connsiteY873" fmla="*/ 1238993 h 3363305"/>
                <a:gd name="connsiteX874" fmla="*/ 2875076 w 3320377"/>
                <a:gd name="connsiteY874" fmla="*/ 1234430 h 3363305"/>
                <a:gd name="connsiteX875" fmla="*/ 2877360 w 3320377"/>
                <a:gd name="connsiteY875" fmla="*/ 1232148 h 3363305"/>
                <a:gd name="connsiteX876" fmla="*/ 2884211 w 3320377"/>
                <a:gd name="connsiteY876" fmla="*/ 1220738 h 3363305"/>
                <a:gd name="connsiteX877" fmla="*/ 2884211 w 3320377"/>
                <a:gd name="connsiteY877" fmla="*/ 1218456 h 3363305"/>
                <a:gd name="connsiteX878" fmla="*/ 2891061 w 3320377"/>
                <a:gd name="connsiteY878" fmla="*/ 1209329 h 3363305"/>
                <a:gd name="connsiteX879" fmla="*/ 2895629 w 3320377"/>
                <a:gd name="connsiteY879" fmla="*/ 1209329 h 3363305"/>
                <a:gd name="connsiteX880" fmla="*/ 2900196 w 3320377"/>
                <a:gd name="connsiteY880" fmla="*/ 1197919 h 3363305"/>
                <a:gd name="connsiteX881" fmla="*/ 2902479 w 3320377"/>
                <a:gd name="connsiteY881" fmla="*/ 1195637 h 3363305"/>
                <a:gd name="connsiteX882" fmla="*/ 2904763 w 3320377"/>
                <a:gd name="connsiteY882" fmla="*/ 1184228 h 3363305"/>
                <a:gd name="connsiteX883" fmla="*/ 2900196 w 3320377"/>
                <a:gd name="connsiteY883" fmla="*/ 1181946 h 3363305"/>
                <a:gd name="connsiteX884" fmla="*/ 2888778 w 3320377"/>
                <a:gd name="connsiteY884" fmla="*/ 1175100 h 3363305"/>
                <a:gd name="connsiteX885" fmla="*/ 2891061 w 3320377"/>
                <a:gd name="connsiteY885" fmla="*/ 1172819 h 3363305"/>
                <a:gd name="connsiteX886" fmla="*/ 2902479 w 3320377"/>
                <a:gd name="connsiteY886" fmla="*/ 1152281 h 3363305"/>
                <a:gd name="connsiteX887" fmla="*/ 2895629 w 3320377"/>
                <a:gd name="connsiteY887" fmla="*/ 1147718 h 3363305"/>
                <a:gd name="connsiteX888" fmla="*/ 2891061 w 3320377"/>
                <a:gd name="connsiteY888" fmla="*/ 1145436 h 3363305"/>
                <a:gd name="connsiteX889" fmla="*/ 2886494 w 3320377"/>
                <a:gd name="connsiteY889" fmla="*/ 1143154 h 3363305"/>
                <a:gd name="connsiteX890" fmla="*/ 2884211 w 3320377"/>
                <a:gd name="connsiteY890" fmla="*/ 1143154 h 3363305"/>
                <a:gd name="connsiteX891" fmla="*/ 2881927 w 3320377"/>
                <a:gd name="connsiteY891" fmla="*/ 1145436 h 3363305"/>
                <a:gd name="connsiteX892" fmla="*/ 2879644 w 3320377"/>
                <a:gd name="connsiteY892" fmla="*/ 1145436 h 3363305"/>
                <a:gd name="connsiteX893" fmla="*/ 2877360 w 3320377"/>
                <a:gd name="connsiteY893" fmla="*/ 1145436 h 3363305"/>
                <a:gd name="connsiteX894" fmla="*/ 2875076 w 3320377"/>
                <a:gd name="connsiteY894" fmla="*/ 1145436 h 3363305"/>
                <a:gd name="connsiteX895" fmla="*/ 2872793 w 3320377"/>
                <a:gd name="connsiteY895" fmla="*/ 1145436 h 3363305"/>
                <a:gd name="connsiteX896" fmla="*/ 2872793 w 3320377"/>
                <a:gd name="connsiteY896" fmla="*/ 1147718 h 3363305"/>
                <a:gd name="connsiteX897" fmla="*/ 2870509 w 3320377"/>
                <a:gd name="connsiteY897" fmla="*/ 1147718 h 3363305"/>
                <a:gd name="connsiteX898" fmla="*/ 2861375 w 3320377"/>
                <a:gd name="connsiteY898" fmla="*/ 1149999 h 3363305"/>
                <a:gd name="connsiteX899" fmla="*/ 2854524 w 3320377"/>
                <a:gd name="connsiteY899" fmla="*/ 1152281 h 3363305"/>
                <a:gd name="connsiteX900" fmla="*/ 2852240 w 3320377"/>
                <a:gd name="connsiteY900" fmla="*/ 1152281 h 3363305"/>
                <a:gd name="connsiteX901" fmla="*/ 2847673 w 3320377"/>
                <a:gd name="connsiteY901" fmla="*/ 1152281 h 3363305"/>
                <a:gd name="connsiteX902" fmla="*/ 2836255 w 3320377"/>
                <a:gd name="connsiteY902" fmla="*/ 1156845 h 3363305"/>
                <a:gd name="connsiteX903" fmla="*/ 2833971 w 3320377"/>
                <a:gd name="connsiteY903" fmla="*/ 1156845 h 3363305"/>
                <a:gd name="connsiteX904" fmla="*/ 2817977 w 3320377"/>
                <a:gd name="connsiteY904" fmla="*/ 1161409 h 3363305"/>
                <a:gd name="connsiteX905" fmla="*/ 2808852 w 3320377"/>
                <a:gd name="connsiteY905" fmla="*/ 1163691 h 3363305"/>
                <a:gd name="connsiteX906" fmla="*/ 2806569 w 3320377"/>
                <a:gd name="connsiteY906" fmla="*/ 1163691 h 3363305"/>
                <a:gd name="connsiteX907" fmla="*/ 2804275 w 3320377"/>
                <a:gd name="connsiteY907" fmla="*/ 1163691 h 3363305"/>
                <a:gd name="connsiteX908" fmla="*/ 2801992 w 3320377"/>
                <a:gd name="connsiteY908" fmla="*/ 1163691 h 3363305"/>
                <a:gd name="connsiteX909" fmla="*/ 2797425 w 3320377"/>
                <a:gd name="connsiteY909" fmla="*/ 1165973 h 3363305"/>
                <a:gd name="connsiteX910" fmla="*/ 2790574 w 3320377"/>
                <a:gd name="connsiteY910" fmla="*/ 1168255 h 3363305"/>
                <a:gd name="connsiteX911" fmla="*/ 2781439 w 3320377"/>
                <a:gd name="connsiteY911" fmla="*/ 1168255 h 3363305"/>
                <a:gd name="connsiteX912" fmla="*/ 2779165 w 3320377"/>
                <a:gd name="connsiteY912" fmla="*/ 1170537 h 3363305"/>
                <a:gd name="connsiteX913" fmla="*/ 2779165 w 3320377"/>
                <a:gd name="connsiteY913" fmla="*/ 1165973 h 3363305"/>
                <a:gd name="connsiteX914" fmla="*/ 2776872 w 3320377"/>
                <a:gd name="connsiteY914" fmla="*/ 1161409 h 3363305"/>
                <a:gd name="connsiteX915" fmla="*/ 2774588 w 3320377"/>
                <a:gd name="connsiteY915" fmla="*/ 1156845 h 3363305"/>
                <a:gd name="connsiteX916" fmla="*/ 2772305 w 3320377"/>
                <a:gd name="connsiteY916" fmla="*/ 1156845 h 3363305"/>
                <a:gd name="connsiteX917" fmla="*/ 2772305 w 3320377"/>
                <a:gd name="connsiteY917" fmla="*/ 1154563 h 3363305"/>
                <a:gd name="connsiteX918" fmla="*/ 2774588 w 3320377"/>
                <a:gd name="connsiteY918" fmla="*/ 1152281 h 3363305"/>
                <a:gd name="connsiteX919" fmla="*/ 2774588 w 3320377"/>
                <a:gd name="connsiteY919" fmla="*/ 1149999 h 3363305"/>
                <a:gd name="connsiteX920" fmla="*/ 2774588 w 3320377"/>
                <a:gd name="connsiteY920" fmla="*/ 1147718 h 3363305"/>
                <a:gd name="connsiteX921" fmla="*/ 2774588 w 3320377"/>
                <a:gd name="connsiteY921" fmla="*/ 1145436 h 3363305"/>
                <a:gd name="connsiteX922" fmla="*/ 2774588 w 3320377"/>
                <a:gd name="connsiteY922" fmla="*/ 1143154 h 3363305"/>
                <a:gd name="connsiteX923" fmla="*/ 2776872 w 3320377"/>
                <a:gd name="connsiteY923" fmla="*/ 1140872 h 3363305"/>
                <a:gd name="connsiteX924" fmla="*/ 2776872 w 3320377"/>
                <a:gd name="connsiteY924" fmla="*/ 1138590 h 3363305"/>
                <a:gd name="connsiteX925" fmla="*/ 2776872 w 3320377"/>
                <a:gd name="connsiteY925" fmla="*/ 1134026 h 3363305"/>
                <a:gd name="connsiteX926" fmla="*/ 2776872 w 3320377"/>
                <a:gd name="connsiteY926" fmla="*/ 1131744 h 3363305"/>
                <a:gd name="connsiteX927" fmla="*/ 2779165 w 3320377"/>
                <a:gd name="connsiteY927" fmla="*/ 1131744 h 3363305"/>
                <a:gd name="connsiteX928" fmla="*/ 2779165 w 3320377"/>
                <a:gd name="connsiteY928" fmla="*/ 1129462 h 3363305"/>
                <a:gd name="connsiteX929" fmla="*/ 2781439 w 3320377"/>
                <a:gd name="connsiteY929" fmla="*/ 1124899 h 3363305"/>
                <a:gd name="connsiteX930" fmla="*/ 2781439 w 3320377"/>
                <a:gd name="connsiteY930" fmla="*/ 1122617 h 3363305"/>
                <a:gd name="connsiteX931" fmla="*/ 2781439 w 3320377"/>
                <a:gd name="connsiteY931" fmla="*/ 1120335 h 3363305"/>
                <a:gd name="connsiteX932" fmla="*/ 2756320 w 3320377"/>
                <a:gd name="connsiteY932" fmla="*/ 1113489 h 3363305"/>
                <a:gd name="connsiteX933" fmla="*/ 2756320 w 3320377"/>
                <a:gd name="connsiteY933" fmla="*/ 1111207 h 3363305"/>
                <a:gd name="connsiteX934" fmla="*/ 2756320 w 3320377"/>
                <a:gd name="connsiteY934" fmla="*/ 1108935 h 3363305"/>
                <a:gd name="connsiteX935" fmla="*/ 2756320 w 3320377"/>
                <a:gd name="connsiteY935" fmla="*/ 1095243 h 3363305"/>
                <a:gd name="connsiteX936" fmla="*/ 2756320 w 3320377"/>
                <a:gd name="connsiteY936" fmla="*/ 1086116 h 3363305"/>
                <a:gd name="connsiteX937" fmla="*/ 2756320 w 3320377"/>
                <a:gd name="connsiteY937" fmla="*/ 1083834 h 3363305"/>
                <a:gd name="connsiteX938" fmla="*/ 2756320 w 3320377"/>
                <a:gd name="connsiteY938" fmla="*/ 1081552 h 3363305"/>
                <a:gd name="connsiteX939" fmla="*/ 2756320 w 3320377"/>
                <a:gd name="connsiteY939" fmla="*/ 1079270 h 3363305"/>
                <a:gd name="connsiteX940" fmla="*/ 2756320 w 3320377"/>
                <a:gd name="connsiteY940" fmla="*/ 1076988 h 3363305"/>
                <a:gd name="connsiteX941" fmla="*/ 2758603 w 3320377"/>
                <a:gd name="connsiteY941" fmla="*/ 1074707 h 3363305"/>
                <a:gd name="connsiteX942" fmla="*/ 2756320 w 3320377"/>
                <a:gd name="connsiteY942" fmla="*/ 1070143 h 3363305"/>
                <a:gd name="connsiteX943" fmla="*/ 2756320 w 3320377"/>
                <a:gd name="connsiteY943" fmla="*/ 1056451 h 3363305"/>
                <a:gd name="connsiteX944" fmla="*/ 2756320 w 3320377"/>
                <a:gd name="connsiteY944" fmla="*/ 1049606 h 3363305"/>
                <a:gd name="connsiteX945" fmla="*/ 2758603 w 3320377"/>
                <a:gd name="connsiteY945" fmla="*/ 1042760 h 3363305"/>
                <a:gd name="connsiteX946" fmla="*/ 2760887 w 3320377"/>
                <a:gd name="connsiteY946" fmla="*/ 1033632 h 3363305"/>
                <a:gd name="connsiteX947" fmla="*/ 2760887 w 3320377"/>
                <a:gd name="connsiteY947" fmla="*/ 1031350 h 3363305"/>
                <a:gd name="connsiteX948" fmla="*/ 2760887 w 3320377"/>
                <a:gd name="connsiteY948" fmla="*/ 1029069 h 3363305"/>
                <a:gd name="connsiteX949" fmla="*/ 2763171 w 3320377"/>
                <a:gd name="connsiteY949" fmla="*/ 1026787 h 3363305"/>
                <a:gd name="connsiteX950" fmla="*/ 2765454 w 3320377"/>
                <a:gd name="connsiteY950" fmla="*/ 1015377 h 3363305"/>
                <a:gd name="connsiteX951" fmla="*/ 2767738 w 3320377"/>
                <a:gd name="connsiteY951" fmla="*/ 1010813 h 3363305"/>
                <a:gd name="connsiteX952" fmla="*/ 2763171 w 3320377"/>
                <a:gd name="connsiteY952" fmla="*/ 1013095 h 3363305"/>
                <a:gd name="connsiteX953" fmla="*/ 2758603 w 3320377"/>
                <a:gd name="connsiteY953" fmla="*/ 1010813 h 3363305"/>
                <a:gd name="connsiteX954" fmla="*/ 2751753 w 3320377"/>
                <a:gd name="connsiteY954" fmla="*/ 1006249 h 3363305"/>
                <a:gd name="connsiteX955" fmla="*/ 2749469 w 3320377"/>
                <a:gd name="connsiteY955" fmla="*/ 1003968 h 3363305"/>
                <a:gd name="connsiteX956" fmla="*/ 2740335 w 3320377"/>
                <a:gd name="connsiteY956" fmla="*/ 999404 h 3363305"/>
                <a:gd name="connsiteX957" fmla="*/ 2733484 w 3320377"/>
                <a:gd name="connsiteY957" fmla="*/ 994840 h 3363305"/>
                <a:gd name="connsiteX958" fmla="*/ 2731200 w 3320377"/>
                <a:gd name="connsiteY958" fmla="*/ 992558 h 3363305"/>
                <a:gd name="connsiteX959" fmla="*/ 2728917 w 3320377"/>
                <a:gd name="connsiteY959" fmla="*/ 990276 h 3363305"/>
                <a:gd name="connsiteX960" fmla="*/ 2724349 w 3320377"/>
                <a:gd name="connsiteY960" fmla="*/ 987994 h 3363305"/>
                <a:gd name="connsiteX961" fmla="*/ 2722066 w 3320377"/>
                <a:gd name="connsiteY961" fmla="*/ 985713 h 3363305"/>
                <a:gd name="connsiteX962" fmla="*/ 2719782 w 3320377"/>
                <a:gd name="connsiteY962" fmla="*/ 983431 h 3363305"/>
                <a:gd name="connsiteX963" fmla="*/ 2717499 w 3320377"/>
                <a:gd name="connsiteY963" fmla="*/ 983431 h 3363305"/>
                <a:gd name="connsiteX964" fmla="*/ 2712932 w 3320377"/>
                <a:gd name="connsiteY964" fmla="*/ 981149 h 3363305"/>
                <a:gd name="connsiteX965" fmla="*/ 2710648 w 3320377"/>
                <a:gd name="connsiteY965" fmla="*/ 978867 h 3363305"/>
                <a:gd name="connsiteX966" fmla="*/ 2708364 w 3320377"/>
                <a:gd name="connsiteY966" fmla="*/ 978867 h 3363305"/>
                <a:gd name="connsiteX967" fmla="*/ 2706081 w 3320377"/>
                <a:gd name="connsiteY967" fmla="*/ 976585 h 3363305"/>
                <a:gd name="connsiteX968" fmla="*/ 2701513 w 3320377"/>
                <a:gd name="connsiteY968" fmla="*/ 974303 h 3363305"/>
                <a:gd name="connsiteX969" fmla="*/ 2696946 w 3320377"/>
                <a:gd name="connsiteY969" fmla="*/ 972021 h 3363305"/>
                <a:gd name="connsiteX970" fmla="*/ 2696946 w 3320377"/>
                <a:gd name="connsiteY970" fmla="*/ 967457 h 3363305"/>
                <a:gd name="connsiteX971" fmla="*/ 2696946 w 3320377"/>
                <a:gd name="connsiteY971" fmla="*/ 965175 h 3363305"/>
                <a:gd name="connsiteX972" fmla="*/ 2701513 w 3320377"/>
                <a:gd name="connsiteY972" fmla="*/ 960621 h 3363305"/>
                <a:gd name="connsiteX973" fmla="*/ 2703797 w 3320377"/>
                <a:gd name="connsiteY973" fmla="*/ 956048 h 3363305"/>
                <a:gd name="connsiteX974" fmla="*/ 2703797 w 3320377"/>
                <a:gd name="connsiteY974" fmla="*/ 953775 h 3363305"/>
                <a:gd name="connsiteX975" fmla="*/ 2706081 w 3320377"/>
                <a:gd name="connsiteY975" fmla="*/ 949212 h 3363305"/>
                <a:gd name="connsiteX976" fmla="*/ 2708364 w 3320377"/>
                <a:gd name="connsiteY976" fmla="*/ 942366 h 3363305"/>
                <a:gd name="connsiteX977" fmla="*/ 2710648 w 3320377"/>
                <a:gd name="connsiteY977" fmla="*/ 940084 h 3363305"/>
                <a:gd name="connsiteX978" fmla="*/ 2710648 w 3320377"/>
                <a:gd name="connsiteY978" fmla="*/ 937802 h 3363305"/>
                <a:gd name="connsiteX979" fmla="*/ 2715215 w 3320377"/>
                <a:gd name="connsiteY979" fmla="*/ 928675 h 3363305"/>
                <a:gd name="connsiteX980" fmla="*/ 2715215 w 3320377"/>
                <a:gd name="connsiteY980" fmla="*/ 926393 h 3363305"/>
                <a:gd name="connsiteX981" fmla="*/ 2717499 w 3320377"/>
                <a:gd name="connsiteY981" fmla="*/ 924111 h 3363305"/>
                <a:gd name="connsiteX982" fmla="*/ 2719782 w 3320377"/>
                <a:gd name="connsiteY982" fmla="*/ 914983 h 3363305"/>
                <a:gd name="connsiteX983" fmla="*/ 2722066 w 3320377"/>
                <a:gd name="connsiteY983" fmla="*/ 910419 h 3363305"/>
                <a:gd name="connsiteX984" fmla="*/ 2724349 w 3320377"/>
                <a:gd name="connsiteY984" fmla="*/ 905856 h 3363305"/>
                <a:gd name="connsiteX985" fmla="*/ 2724349 w 3320377"/>
                <a:gd name="connsiteY985" fmla="*/ 901292 h 3363305"/>
                <a:gd name="connsiteX986" fmla="*/ 2724349 w 3320377"/>
                <a:gd name="connsiteY986" fmla="*/ 899010 h 3363305"/>
                <a:gd name="connsiteX987" fmla="*/ 2726633 w 3320377"/>
                <a:gd name="connsiteY987" fmla="*/ 899010 h 3363305"/>
                <a:gd name="connsiteX988" fmla="*/ 2728917 w 3320377"/>
                <a:gd name="connsiteY988" fmla="*/ 896728 h 3363305"/>
                <a:gd name="connsiteX989" fmla="*/ 2733484 w 3320377"/>
                <a:gd name="connsiteY989" fmla="*/ 896728 h 3363305"/>
                <a:gd name="connsiteX990" fmla="*/ 2735767 w 3320377"/>
                <a:gd name="connsiteY990" fmla="*/ 894446 h 3363305"/>
                <a:gd name="connsiteX991" fmla="*/ 2742618 w 3320377"/>
                <a:gd name="connsiteY991" fmla="*/ 892164 h 3363305"/>
                <a:gd name="connsiteX992" fmla="*/ 2747185 w 3320377"/>
                <a:gd name="connsiteY992" fmla="*/ 889882 h 3363305"/>
                <a:gd name="connsiteX993" fmla="*/ 2747185 w 3320377"/>
                <a:gd name="connsiteY993" fmla="*/ 887601 h 3363305"/>
                <a:gd name="connsiteX994" fmla="*/ 2744902 w 3320377"/>
                <a:gd name="connsiteY994" fmla="*/ 885319 h 3363305"/>
                <a:gd name="connsiteX995" fmla="*/ 2744902 w 3320377"/>
                <a:gd name="connsiteY995" fmla="*/ 883037 h 3363305"/>
                <a:gd name="connsiteX996" fmla="*/ 2744902 w 3320377"/>
                <a:gd name="connsiteY996" fmla="*/ 880755 h 3363305"/>
                <a:gd name="connsiteX997" fmla="*/ 2744902 w 3320377"/>
                <a:gd name="connsiteY997" fmla="*/ 878473 h 3363305"/>
                <a:gd name="connsiteX998" fmla="*/ 2742618 w 3320377"/>
                <a:gd name="connsiteY998" fmla="*/ 876191 h 3363305"/>
                <a:gd name="connsiteX999" fmla="*/ 2742618 w 3320377"/>
                <a:gd name="connsiteY999" fmla="*/ 873909 h 3363305"/>
                <a:gd name="connsiteX1000" fmla="*/ 2742618 w 3320377"/>
                <a:gd name="connsiteY1000" fmla="*/ 871627 h 3363305"/>
                <a:gd name="connsiteX1001" fmla="*/ 2742618 w 3320377"/>
                <a:gd name="connsiteY1001" fmla="*/ 869345 h 3363305"/>
                <a:gd name="connsiteX1002" fmla="*/ 2742618 w 3320377"/>
                <a:gd name="connsiteY1002" fmla="*/ 867063 h 3363305"/>
                <a:gd name="connsiteX1003" fmla="*/ 2740335 w 3320377"/>
                <a:gd name="connsiteY1003" fmla="*/ 862500 h 3363305"/>
                <a:gd name="connsiteX1004" fmla="*/ 2740335 w 3320377"/>
                <a:gd name="connsiteY1004" fmla="*/ 860218 h 3363305"/>
                <a:gd name="connsiteX1005" fmla="*/ 2738051 w 3320377"/>
                <a:gd name="connsiteY1005" fmla="*/ 860218 h 3363305"/>
                <a:gd name="connsiteX1006" fmla="*/ 2738051 w 3320377"/>
                <a:gd name="connsiteY1006" fmla="*/ 857936 h 3363305"/>
                <a:gd name="connsiteX1007" fmla="*/ 2738051 w 3320377"/>
                <a:gd name="connsiteY1007" fmla="*/ 855654 h 3363305"/>
                <a:gd name="connsiteX1008" fmla="*/ 2735767 w 3320377"/>
                <a:gd name="connsiteY1008" fmla="*/ 855654 h 3363305"/>
                <a:gd name="connsiteX1009" fmla="*/ 2735767 w 3320377"/>
                <a:gd name="connsiteY1009" fmla="*/ 853372 h 3363305"/>
                <a:gd name="connsiteX1010" fmla="*/ 2735767 w 3320377"/>
                <a:gd name="connsiteY1010" fmla="*/ 851090 h 3363305"/>
                <a:gd name="connsiteX1011" fmla="*/ 2733484 w 3320377"/>
                <a:gd name="connsiteY1011" fmla="*/ 848808 h 3363305"/>
                <a:gd name="connsiteX1012" fmla="*/ 2733484 w 3320377"/>
                <a:gd name="connsiteY1012" fmla="*/ 846526 h 3363305"/>
                <a:gd name="connsiteX1013" fmla="*/ 2731200 w 3320377"/>
                <a:gd name="connsiteY1013" fmla="*/ 844245 h 3363305"/>
                <a:gd name="connsiteX1014" fmla="*/ 2728917 w 3320377"/>
                <a:gd name="connsiteY1014" fmla="*/ 839681 h 3363305"/>
                <a:gd name="connsiteX1015" fmla="*/ 2728917 w 3320377"/>
                <a:gd name="connsiteY1015" fmla="*/ 837399 h 3363305"/>
                <a:gd name="connsiteX1016" fmla="*/ 2726633 w 3320377"/>
                <a:gd name="connsiteY1016" fmla="*/ 835117 h 3363305"/>
                <a:gd name="connsiteX1017" fmla="*/ 2726633 w 3320377"/>
                <a:gd name="connsiteY1017" fmla="*/ 832835 h 3363305"/>
                <a:gd name="connsiteX1018" fmla="*/ 2724349 w 3320377"/>
                <a:gd name="connsiteY1018" fmla="*/ 830553 h 3363305"/>
                <a:gd name="connsiteX1019" fmla="*/ 2722066 w 3320377"/>
                <a:gd name="connsiteY1019" fmla="*/ 828271 h 3363305"/>
                <a:gd name="connsiteX1020" fmla="*/ 2722066 w 3320377"/>
                <a:gd name="connsiteY1020" fmla="*/ 825989 h 3363305"/>
                <a:gd name="connsiteX1021" fmla="*/ 2719782 w 3320377"/>
                <a:gd name="connsiteY1021" fmla="*/ 823707 h 3363305"/>
                <a:gd name="connsiteX1022" fmla="*/ 2717499 w 3320377"/>
                <a:gd name="connsiteY1022" fmla="*/ 825989 h 3363305"/>
                <a:gd name="connsiteX1023" fmla="*/ 2715215 w 3320377"/>
                <a:gd name="connsiteY1023" fmla="*/ 823707 h 3363305"/>
                <a:gd name="connsiteX1024" fmla="*/ 2712932 w 3320377"/>
                <a:gd name="connsiteY1024" fmla="*/ 821425 h 3363305"/>
                <a:gd name="connsiteX1025" fmla="*/ 2710648 w 3320377"/>
                <a:gd name="connsiteY1025" fmla="*/ 819144 h 3363305"/>
                <a:gd name="connsiteX1026" fmla="*/ 2708364 w 3320377"/>
                <a:gd name="connsiteY1026" fmla="*/ 816862 h 3363305"/>
                <a:gd name="connsiteX1027" fmla="*/ 2706081 w 3320377"/>
                <a:gd name="connsiteY1027" fmla="*/ 816862 h 3363305"/>
                <a:gd name="connsiteX1028" fmla="*/ 2706081 w 3320377"/>
                <a:gd name="connsiteY1028" fmla="*/ 814580 h 3363305"/>
                <a:gd name="connsiteX1029" fmla="*/ 2703797 w 3320377"/>
                <a:gd name="connsiteY1029" fmla="*/ 812298 h 3363305"/>
                <a:gd name="connsiteX1030" fmla="*/ 2701513 w 3320377"/>
                <a:gd name="connsiteY1030" fmla="*/ 812298 h 3363305"/>
                <a:gd name="connsiteX1031" fmla="*/ 2699230 w 3320377"/>
                <a:gd name="connsiteY1031" fmla="*/ 810016 h 3363305"/>
                <a:gd name="connsiteX1032" fmla="*/ 2696946 w 3320377"/>
                <a:gd name="connsiteY1032" fmla="*/ 810016 h 3363305"/>
                <a:gd name="connsiteX1033" fmla="*/ 2694663 w 3320377"/>
                <a:gd name="connsiteY1033" fmla="*/ 810016 h 3363305"/>
                <a:gd name="connsiteX1034" fmla="*/ 2692379 w 3320377"/>
                <a:gd name="connsiteY1034" fmla="*/ 810016 h 3363305"/>
                <a:gd name="connsiteX1035" fmla="*/ 2690095 w 3320377"/>
                <a:gd name="connsiteY1035" fmla="*/ 810016 h 3363305"/>
                <a:gd name="connsiteX1036" fmla="*/ 2687812 w 3320377"/>
                <a:gd name="connsiteY1036" fmla="*/ 810016 h 3363305"/>
                <a:gd name="connsiteX1037" fmla="*/ 2685528 w 3320377"/>
                <a:gd name="connsiteY1037" fmla="*/ 810016 h 3363305"/>
                <a:gd name="connsiteX1038" fmla="*/ 2683245 w 3320377"/>
                <a:gd name="connsiteY1038" fmla="*/ 810016 h 3363305"/>
                <a:gd name="connsiteX1039" fmla="*/ 2680961 w 3320377"/>
                <a:gd name="connsiteY1039" fmla="*/ 812298 h 3363305"/>
                <a:gd name="connsiteX1040" fmla="*/ 2680961 w 3320377"/>
                <a:gd name="connsiteY1040" fmla="*/ 814580 h 3363305"/>
                <a:gd name="connsiteX1041" fmla="*/ 2680961 w 3320377"/>
                <a:gd name="connsiteY1041" fmla="*/ 816862 h 3363305"/>
                <a:gd name="connsiteX1042" fmla="*/ 2678678 w 3320377"/>
                <a:gd name="connsiteY1042" fmla="*/ 816862 h 3363305"/>
                <a:gd name="connsiteX1043" fmla="*/ 2678678 w 3320377"/>
                <a:gd name="connsiteY1043" fmla="*/ 819144 h 3363305"/>
                <a:gd name="connsiteX1044" fmla="*/ 2678678 w 3320377"/>
                <a:gd name="connsiteY1044" fmla="*/ 821425 h 3363305"/>
                <a:gd name="connsiteX1045" fmla="*/ 2676394 w 3320377"/>
                <a:gd name="connsiteY1045" fmla="*/ 823707 h 3363305"/>
                <a:gd name="connsiteX1046" fmla="*/ 2674110 w 3320377"/>
                <a:gd name="connsiteY1046" fmla="*/ 821425 h 3363305"/>
                <a:gd name="connsiteX1047" fmla="*/ 2671827 w 3320377"/>
                <a:gd name="connsiteY1047" fmla="*/ 821425 h 3363305"/>
                <a:gd name="connsiteX1048" fmla="*/ 2671827 w 3320377"/>
                <a:gd name="connsiteY1048" fmla="*/ 819144 h 3363305"/>
                <a:gd name="connsiteX1049" fmla="*/ 2669543 w 3320377"/>
                <a:gd name="connsiteY1049" fmla="*/ 819144 h 3363305"/>
                <a:gd name="connsiteX1050" fmla="*/ 2667259 w 3320377"/>
                <a:gd name="connsiteY1050" fmla="*/ 819144 h 3363305"/>
                <a:gd name="connsiteX1051" fmla="*/ 2667259 w 3320377"/>
                <a:gd name="connsiteY1051" fmla="*/ 816862 h 3363305"/>
                <a:gd name="connsiteX1052" fmla="*/ 2664976 w 3320377"/>
                <a:gd name="connsiteY1052" fmla="*/ 816862 h 3363305"/>
                <a:gd name="connsiteX1053" fmla="*/ 2662692 w 3320377"/>
                <a:gd name="connsiteY1053" fmla="*/ 816862 h 3363305"/>
                <a:gd name="connsiteX1054" fmla="*/ 2662692 w 3320377"/>
                <a:gd name="connsiteY1054" fmla="*/ 814580 h 3363305"/>
                <a:gd name="connsiteX1055" fmla="*/ 2660409 w 3320377"/>
                <a:gd name="connsiteY1055" fmla="*/ 814580 h 3363305"/>
                <a:gd name="connsiteX1056" fmla="*/ 2658125 w 3320377"/>
                <a:gd name="connsiteY1056" fmla="*/ 812298 h 3363305"/>
                <a:gd name="connsiteX1057" fmla="*/ 2655842 w 3320377"/>
                <a:gd name="connsiteY1057" fmla="*/ 812298 h 3363305"/>
                <a:gd name="connsiteX1058" fmla="*/ 2653558 w 3320377"/>
                <a:gd name="connsiteY1058" fmla="*/ 810016 h 3363305"/>
                <a:gd name="connsiteX1059" fmla="*/ 2651274 w 3320377"/>
                <a:gd name="connsiteY1059" fmla="*/ 810016 h 3363305"/>
                <a:gd name="connsiteX1060" fmla="*/ 2651274 w 3320377"/>
                <a:gd name="connsiteY1060" fmla="*/ 807734 h 3363305"/>
                <a:gd name="connsiteX1061" fmla="*/ 2648991 w 3320377"/>
                <a:gd name="connsiteY1061" fmla="*/ 807734 h 3363305"/>
                <a:gd name="connsiteX1062" fmla="*/ 2646707 w 3320377"/>
                <a:gd name="connsiteY1062" fmla="*/ 807734 h 3363305"/>
                <a:gd name="connsiteX1063" fmla="*/ 2646707 w 3320377"/>
                <a:gd name="connsiteY1063" fmla="*/ 805452 h 3363305"/>
                <a:gd name="connsiteX1064" fmla="*/ 2644424 w 3320377"/>
                <a:gd name="connsiteY1064" fmla="*/ 805452 h 3363305"/>
                <a:gd name="connsiteX1065" fmla="*/ 2642140 w 3320377"/>
                <a:gd name="connsiteY1065" fmla="*/ 803170 h 3363305"/>
                <a:gd name="connsiteX1066" fmla="*/ 2639856 w 3320377"/>
                <a:gd name="connsiteY1066" fmla="*/ 803170 h 3363305"/>
                <a:gd name="connsiteX1067" fmla="*/ 2637573 w 3320377"/>
                <a:gd name="connsiteY1067" fmla="*/ 803170 h 3363305"/>
                <a:gd name="connsiteX1068" fmla="*/ 2637573 w 3320377"/>
                <a:gd name="connsiteY1068" fmla="*/ 800888 h 3363305"/>
                <a:gd name="connsiteX1069" fmla="*/ 2635289 w 3320377"/>
                <a:gd name="connsiteY1069" fmla="*/ 800888 h 3363305"/>
                <a:gd name="connsiteX1070" fmla="*/ 2633005 w 3320377"/>
                <a:gd name="connsiteY1070" fmla="*/ 800888 h 3363305"/>
                <a:gd name="connsiteX1071" fmla="*/ 2628438 w 3320377"/>
                <a:gd name="connsiteY1071" fmla="*/ 798616 h 3363305"/>
                <a:gd name="connsiteX1072" fmla="*/ 2626155 w 3320377"/>
                <a:gd name="connsiteY1072" fmla="*/ 798616 h 3363305"/>
                <a:gd name="connsiteX1073" fmla="*/ 2623871 w 3320377"/>
                <a:gd name="connsiteY1073" fmla="*/ 798616 h 3363305"/>
                <a:gd name="connsiteX1074" fmla="*/ 2621588 w 3320377"/>
                <a:gd name="connsiteY1074" fmla="*/ 798616 h 3363305"/>
                <a:gd name="connsiteX1075" fmla="*/ 2621588 w 3320377"/>
                <a:gd name="connsiteY1075" fmla="*/ 796334 h 3363305"/>
                <a:gd name="connsiteX1076" fmla="*/ 2619304 w 3320377"/>
                <a:gd name="connsiteY1076" fmla="*/ 796334 h 3363305"/>
                <a:gd name="connsiteX1077" fmla="*/ 2617020 w 3320377"/>
                <a:gd name="connsiteY1077" fmla="*/ 796334 h 3363305"/>
                <a:gd name="connsiteX1078" fmla="*/ 2614737 w 3320377"/>
                <a:gd name="connsiteY1078" fmla="*/ 796334 h 3363305"/>
                <a:gd name="connsiteX1079" fmla="*/ 2614737 w 3320377"/>
                <a:gd name="connsiteY1079" fmla="*/ 794052 h 3363305"/>
                <a:gd name="connsiteX1080" fmla="*/ 2612453 w 3320377"/>
                <a:gd name="connsiteY1080" fmla="*/ 794052 h 3363305"/>
                <a:gd name="connsiteX1081" fmla="*/ 2610170 w 3320377"/>
                <a:gd name="connsiteY1081" fmla="*/ 794052 h 3363305"/>
                <a:gd name="connsiteX1082" fmla="*/ 2607886 w 3320377"/>
                <a:gd name="connsiteY1082" fmla="*/ 794052 h 3363305"/>
                <a:gd name="connsiteX1083" fmla="*/ 2605603 w 3320377"/>
                <a:gd name="connsiteY1083" fmla="*/ 791770 h 3363305"/>
                <a:gd name="connsiteX1084" fmla="*/ 2603319 w 3320377"/>
                <a:gd name="connsiteY1084" fmla="*/ 791770 h 3363305"/>
                <a:gd name="connsiteX1085" fmla="*/ 2601035 w 3320377"/>
                <a:gd name="connsiteY1085" fmla="*/ 791770 h 3363305"/>
                <a:gd name="connsiteX1086" fmla="*/ 2598752 w 3320377"/>
                <a:gd name="connsiteY1086" fmla="*/ 789488 h 3363305"/>
                <a:gd name="connsiteX1087" fmla="*/ 2596468 w 3320377"/>
                <a:gd name="connsiteY1087" fmla="*/ 789488 h 3363305"/>
                <a:gd name="connsiteX1088" fmla="*/ 2594184 w 3320377"/>
                <a:gd name="connsiteY1088" fmla="*/ 787207 h 3363305"/>
                <a:gd name="connsiteX1089" fmla="*/ 2591901 w 3320377"/>
                <a:gd name="connsiteY1089" fmla="*/ 784925 h 3363305"/>
                <a:gd name="connsiteX1090" fmla="*/ 2589617 w 3320377"/>
                <a:gd name="connsiteY1090" fmla="*/ 784925 h 3363305"/>
                <a:gd name="connsiteX1091" fmla="*/ 2587334 w 3320377"/>
                <a:gd name="connsiteY1091" fmla="*/ 784925 h 3363305"/>
                <a:gd name="connsiteX1092" fmla="*/ 2585050 w 3320377"/>
                <a:gd name="connsiteY1092" fmla="*/ 782643 h 3363305"/>
                <a:gd name="connsiteX1093" fmla="*/ 2582766 w 3320377"/>
                <a:gd name="connsiteY1093" fmla="*/ 782643 h 3363305"/>
                <a:gd name="connsiteX1094" fmla="*/ 2580483 w 3320377"/>
                <a:gd name="connsiteY1094" fmla="*/ 782643 h 3363305"/>
                <a:gd name="connsiteX1095" fmla="*/ 2578199 w 3320377"/>
                <a:gd name="connsiteY1095" fmla="*/ 780361 h 3363305"/>
                <a:gd name="connsiteX1096" fmla="*/ 2575916 w 3320377"/>
                <a:gd name="connsiteY1096" fmla="*/ 780361 h 3363305"/>
                <a:gd name="connsiteX1097" fmla="*/ 2573632 w 3320377"/>
                <a:gd name="connsiteY1097" fmla="*/ 780361 h 3363305"/>
                <a:gd name="connsiteX1098" fmla="*/ 2571349 w 3320377"/>
                <a:gd name="connsiteY1098" fmla="*/ 778079 h 3363305"/>
                <a:gd name="connsiteX1099" fmla="*/ 2569065 w 3320377"/>
                <a:gd name="connsiteY1099" fmla="*/ 778079 h 3363305"/>
                <a:gd name="connsiteX1100" fmla="*/ 2566781 w 3320377"/>
                <a:gd name="connsiteY1100" fmla="*/ 778079 h 3363305"/>
                <a:gd name="connsiteX1101" fmla="*/ 2566781 w 3320377"/>
                <a:gd name="connsiteY1101" fmla="*/ 775797 h 3363305"/>
                <a:gd name="connsiteX1102" fmla="*/ 2564498 w 3320377"/>
                <a:gd name="connsiteY1102" fmla="*/ 775797 h 3363305"/>
                <a:gd name="connsiteX1103" fmla="*/ 2562214 w 3320377"/>
                <a:gd name="connsiteY1103" fmla="*/ 775797 h 3363305"/>
                <a:gd name="connsiteX1104" fmla="*/ 2559930 w 3320377"/>
                <a:gd name="connsiteY1104" fmla="*/ 773515 h 3363305"/>
                <a:gd name="connsiteX1105" fmla="*/ 2557647 w 3320377"/>
                <a:gd name="connsiteY1105" fmla="*/ 773515 h 3363305"/>
                <a:gd name="connsiteX1106" fmla="*/ 2555363 w 3320377"/>
                <a:gd name="connsiteY1106" fmla="*/ 773515 h 3363305"/>
                <a:gd name="connsiteX1107" fmla="*/ 2555363 w 3320377"/>
                <a:gd name="connsiteY1107" fmla="*/ 771233 h 3363305"/>
                <a:gd name="connsiteX1108" fmla="*/ 2553080 w 3320377"/>
                <a:gd name="connsiteY1108" fmla="*/ 771233 h 3363305"/>
                <a:gd name="connsiteX1109" fmla="*/ 2550796 w 3320377"/>
                <a:gd name="connsiteY1109" fmla="*/ 771233 h 3363305"/>
                <a:gd name="connsiteX1110" fmla="*/ 2548513 w 3320377"/>
                <a:gd name="connsiteY1110" fmla="*/ 768951 h 3363305"/>
                <a:gd name="connsiteX1111" fmla="*/ 2546229 w 3320377"/>
                <a:gd name="connsiteY1111" fmla="*/ 768951 h 3363305"/>
                <a:gd name="connsiteX1112" fmla="*/ 2546229 w 3320377"/>
                <a:gd name="connsiteY1112" fmla="*/ 766669 h 3363305"/>
                <a:gd name="connsiteX1113" fmla="*/ 2543945 w 3320377"/>
                <a:gd name="connsiteY1113" fmla="*/ 766669 h 3363305"/>
                <a:gd name="connsiteX1114" fmla="*/ 2541662 w 3320377"/>
                <a:gd name="connsiteY1114" fmla="*/ 766669 h 3363305"/>
                <a:gd name="connsiteX1115" fmla="*/ 2541662 w 3320377"/>
                <a:gd name="connsiteY1115" fmla="*/ 764388 h 3363305"/>
                <a:gd name="connsiteX1116" fmla="*/ 2539378 w 3320377"/>
                <a:gd name="connsiteY1116" fmla="*/ 764388 h 3363305"/>
                <a:gd name="connsiteX1117" fmla="*/ 2543945 w 3320377"/>
                <a:gd name="connsiteY1117" fmla="*/ 759824 h 3363305"/>
                <a:gd name="connsiteX1118" fmla="*/ 2562214 w 3320377"/>
                <a:gd name="connsiteY1118" fmla="*/ 730159 h 3363305"/>
                <a:gd name="connsiteX1119" fmla="*/ 2571349 w 3320377"/>
                <a:gd name="connsiteY1119" fmla="*/ 718750 h 3363305"/>
                <a:gd name="connsiteX1120" fmla="*/ 2573632 w 3320377"/>
                <a:gd name="connsiteY1120" fmla="*/ 714186 h 3363305"/>
                <a:gd name="connsiteX1121" fmla="*/ 2566781 w 3320377"/>
                <a:gd name="connsiteY1121" fmla="*/ 707340 h 3363305"/>
                <a:gd name="connsiteX1122" fmla="*/ 2562214 w 3320377"/>
                <a:gd name="connsiteY1122" fmla="*/ 705058 h 3363305"/>
                <a:gd name="connsiteX1123" fmla="*/ 2559930 w 3320377"/>
                <a:gd name="connsiteY1123" fmla="*/ 702776 h 3363305"/>
                <a:gd name="connsiteX1124" fmla="*/ 2553080 w 3320377"/>
                <a:gd name="connsiteY1124" fmla="*/ 698213 h 3363305"/>
                <a:gd name="connsiteX1125" fmla="*/ 2546229 w 3320377"/>
                <a:gd name="connsiteY1125" fmla="*/ 693649 h 3363305"/>
                <a:gd name="connsiteX1126" fmla="*/ 2541662 w 3320377"/>
                <a:gd name="connsiteY1126" fmla="*/ 691367 h 3363305"/>
                <a:gd name="connsiteX1127" fmla="*/ 2541662 w 3320377"/>
                <a:gd name="connsiteY1127" fmla="*/ 689085 h 3363305"/>
                <a:gd name="connsiteX1128" fmla="*/ 2539378 w 3320377"/>
                <a:gd name="connsiteY1128" fmla="*/ 686803 h 3363305"/>
                <a:gd name="connsiteX1129" fmla="*/ 2530244 w 3320377"/>
                <a:gd name="connsiteY1129" fmla="*/ 682239 h 3363305"/>
                <a:gd name="connsiteX1130" fmla="*/ 2530244 w 3320377"/>
                <a:gd name="connsiteY1130" fmla="*/ 679957 h 3363305"/>
                <a:gd name="connsiteX1131" fmla="*/ 2514259 w 3320377"/>
                <a:gd name="connsiteY1131" fmla="*/ 675394 h 3363305"/>
                <a:gd name="connsiteX1132" fmla="*/ 2489139 w 3320377"/>
                <a:gd name="connsiteY1132" fmla="*/ 670830 h 3363305"/>
                <a:gd name="connsiteX1133" fmla="*/ 2454885 w 3320377"/>
                <a:gd name="connsiteY1133" fmla="*/ 663984 h 3363305"/>
                <a:gd name="connsiteX1134" fmla="*/ 2457169 w 3320377"/>
                <a:gd name="connsiteY1134" fmla="*/ 643457 h 3363305"/>
                <a:gd name="connsiteX1135" fmla="*/ 2459452 w 3320377"/>
                <a:gd name="connsiteY1135" fmla="*/ 602383 h 3363305"/>
                <a:gd name="connsiteX1136" fmla="*/ 2441184 w 3320377"/>
                <a:gd name="connsiteY1136" fmla="*/ 581845 h 3363305"/>
                <a:gd name="connsiteX1137" fmla="*/ 2436616 w 3320377"/>
                <a:gd name="connsiteY1137" fmla="*/ 575000 h 3363305"/>
                <a:gd name="connsiteX1138" fmla="*/ 2452601 w 3320377"/>
                <a:gd name="connsiteY1138" fmla="*/ 547617 h 3363305"/>
                <a:gd name="connsiteX1139" fmla="*/ 2468587 w 3320377"/>
                <a:gd name="connsiteY1139" fmla="*/ 520234 h 3363305"/>
                <a:gd name="connsiteX1140" fmla="*/ 2445751 w 3320377"/>
                <a:gd name="connsiteY1140" fmla="*/ 511107 h 3363305"/>
                <a:gd name="connsiteX1141" fmla="*/ 2432049 w 3320377"/>
                <a:gd name="connsiteY1141" fmla="*/ 511107 h 3363305"/>
                <a:gd name="connsiteX1142" fmla="*/ 2438900 w 3320377"/>
                <a:gd name="connsiteY1142" fmla="*/ 486015 h 3363305"/>
                <a:gd name="connsiteX1143" fmla="*/ 2464020 w 3320377"/>
                <a:gd name="connsiteY1143" fmla="*/ 490570 h 3363305"/>
                <a:gd name="connsiteX1144" fmla="*/ 2466303 w 3320377"/>
                <a:gd name="connsiteY1144" fmla="*/ 492851 h 3363305"/>
                <a:gd name="connsiteX1145" fmla="*/ 2484572 w 3320377"/>
                <a:gd name="connsiteY1145" fmla="*/ 499697 h 3363305"/>
                <a:gd name="connsiteX1146" fmla="*/ 2491423 w 3320377"/>
                <a:gd name="connsiteY1146" fmla="*/ 472324 h 3363305"/>
                <a:gd name="connsiteX1147" fmla="*/ 2495990 w 3320377"/>
                <a:gd name="connsiteY1147" fmla="*/ 465478 h 3363305"/>
                <a:gd name="connsiteX1148" fmla="*/ 2475437 w 3320377"/>
                <a:gd name="connsiteY1148" fmla="*/ 460915 h 3363305"/>
                <a:gd name="connsiteX1149" fmla="*/ 2470870 w 3320377"/>
                <a:gd name="connsiteY1149" fmla="*/ 460915 h 3363305"/>
                <a:gd name="connsiteX1150" fmla="*/ 2468587 w 3320377"/>
                <a:gd name="connsiteY1150" fmla="*/ 460915 h 3363305"/>
                <a:gd name="connsiteX1151" fmla="*/ 2452601 w 3320377"/>
                <a:gd name="connsiteY1151" fmla="*/ 458633 h 3363305"/>
                <a:gd name="connsiteX1152" fmla="*/ 2445751 w 3320377"/>
                <a:gd name="connsiteY1152" fmla="*/ 458633 h 3363305"/>
                <a:gd name="connsiteX1153" fmla="*/ 2443467 w 3320377"/>
                <a:gd name="connsiteY1153" fmla="*/ 458633 h 3363305"/>
                <a:gd name="connsiteX1154" fmla="*/ 2441184 w 3320377"/>
                <a:gd name="connsiteY1154" fmla="*/ 458633 h 3363305"/>
                <a:gd name="connsiteX1155" fmla="*/ 2416064 w 3320377"/>
                <a:gd name="connsiteY1155" fmla="*/ 458633 h 3363305"/>
                <a:gd name="connsiteX1156" fmla="*/ 2411497 w 3320377"/>
                <a:gd name="connsiteY1156" fmla="*/ 458633 h 3363305"/>
                <a:gd name="connsiteX1157" fmla="*/ 2384094 w 3320377"/>
                <a:gd name="connsiteY1157" fmla="*/ 458633 h 3363305"/>
                <a:gd name="connsiteX1158" fmla="*/ 2384094 w 3320377"/>
                <a:gd name="connsiteY1158" fmla="*/ 460915 h 3363305"/>
                <a:gd name="connsiteX1159" fmla="*/ 2384094 w 3320377"/>
                <a:gd name="connsiteY1159" fmla="*/ 465478 h 3363305"/>
                <a:gd name="connsiteX1160" fmla="*/ 2384094 w 3320377"/>
                <a:gd name="connsiteY1160" fmla="*/ 483733 h 3363305"/>
                <a:gd name="connsiteX1161" fmla="*/ 2381810 w 3320377"/>
                <a:gd name="connsiteY1161" fmla="*/ 490570 h 3363305"/>
                <a:gd name="connsiteX1162" fmla="*/ 2377243 w 3320377"/>
                <a:gd name="connsiteY1162" fmla="*/ 506543 h 3363305"/>
                <a:gd name="connsiteX1163" fmla="*/ 2349840 w 3320377"/>
                <a:gd name="connsiteY1163" fmla="*/ 504261 h 3363305"/>
                <a:gd name="connsiteX1164" fmla="*/ 2347556 w 3320377"/>
                <a:gd name="connsiteY1164" fmla="*/ 504261 h 3363305"/>
                <a:gd name="connsiteX1165" fmla="*/ 2345272 w 3320377"/>
                <a:gd name="connsiteY1165" fmla="*/ 529362 h 3363305"/>
                <a:gd name="connsiteX1166" fmla="*/ 2317869 w 3320377"/>
                <a:gd name="connsiteY1166" fmla="*/ 527080 h 3363305"/>
                <a:gd name="connsiteX1167" fmla="*/ 2317869 w 3320377"/>
                <a:gd name="connsiteY1167" fmla="*/ 529362 h 3363305"/>
                <a:gd name="connsiteX1168" fmla="*/ 2315586 w 3320377"/>
                <a:gd name="connsiteY1168" fmla="*/ 554463 h 3363305"/>
                <a:gd name="connsiteX1169" fmla="*/ 2311019 w 3320377"/>
                <a:gd name="connsiteY1169" fmla="*/ 575000 h 3363305"/>
                <a:gd name="connsiteX1170" fmla="*/ 2311019 w 3320377"/>
                <a:gd name="connsiteY1170" fmla="*/ 577282 h 3363305"/>
                <a:gd name="connsiteX1171" fmla="*/ 2308735 w 3320377"/>
                <a:gd name="connsiteY1171" fmla="*/ 581845 h 3363305"/>
                <a:gd name="connsiteX1172" fmla="*/ 2308735 w 3320377"/>
                <a:gd name="connsiteY1172" fmla="*/ 584127 h 3363305"/>
                <a:gd name="connsiteX1173" fmla="*/ 2306451 w 3320377"/>
                <a:gd name="connsiteY1173" fmla="*/ 588691 h 3363305"/>
                <a:gd name="connsiteX1174" fmla="*/ 2304168 w 3320377"/>
                <a:gd name="connsiteY1174" fmla="*/ 600101 h 3363305"/>
                <a:gd name="connsiteX1175" fmla="*/ 2301884 w 3320377"/>
                <a:gd name="connsiteY1175" fmla="*/ 616074 h 3363305"/>
                <a:gd name="connsiteX1176" fmla="*/ 2299601 w 3320377"/>
                <a:gd name="connsiteY1176" fmla="*/ 622920 h 3363305"/>
                <a:gd name="connsiteX1177" fmla="*/ 2297317 w 3320377"/>
                <a:gd name="connsiteY1177" fmla="*/ 627483 h 3363305"/>
                <a:gd name="connsiteX1178" fmla="*/ 2297317 w 3320377"/>
                <a:gd name="connsiteY1178" fmla="*/ 629765 h 3363305"/>
                <a:gd name="connsiteX1179" fmla="*/ 2288183 w 3320377"/>
                <a:gd name="connsiteY1179" fmla="*/ 645739 h 3363305"/>
                <a:gd name="connsiteX1180" fmla="*/ 2283615 w 3320377"/>
                <a:gd name="connsiteY1180" fmla="*/ 654857 h 3363305"/>
                <a:gd name="connsiteX1181" fmla="*/ 2263063 w 3320377"/>
                <a:gd name="connsiteY1181" fmla="*/ 643457 h 3363305"/>
                <a:gd name="connsiteX1182" fmla="*/ 2260779 w 3320377"/>
                <a:gd name="connsiteY1182" fmla="*/ 643457 h 3363305"/>
                <a:gd name="connsiteX1183" fmla="*/ 2249361 w 3320377"/>
                <a:gd name="connsiteY1183" fmla="*/ 638893 h 3363305"/>
                <a:gd name="connsiteX1184" fmla="*/ 2247078 w 3320377"/>
                <a:gd name="connsiteY1184" fmla="*/ 620638 h 3363305"/>
                <a:gd name="connsiteX1185" fmla="*/ 2247078 w 3320377"/>
                <a:gd name="connsiteY1185" fmla="*/ 616074 h 3363305"/>
                <a:gd name="connsiteX1186" fmla="*/ 2247078 w 3320377"/>
                <a:gd name="connsiteY1186" fmla="*/ 604664 h 3363305"/>
                <a:gd name="connsiteX1187" fmla="*/ 2244794 w 3320377"/>
                <a:gd name="connsiteY1187" fmla="*/ 593255 h 3363305"/>
                <a:gd name="connsiteX1188" fmla="*/ 2244794 w 3320377"/>
                <a:gd name="connsiteY1188" fmla="*/ 590973 h 3363305"/>
                <a:gd name="connsiteX1189" fmla="*/ 2244794 w 3320377"/>
                <a:gd name="connsiteY1189" fmla="*/ 575000 h 3363305"/>
                <a:gd name="connsiteX1190" fmla="*/ 2244794 w 3320377"/>
                <a:gd name="connsiteY1190" fmla="*/ 563590 h 3363305"/>
                <a:gd name="connsiteX1191" fmla="*/ 2244794 w 3320377"/>
                <a:gd name="connsiteY1191" fmla="*/ 556745 h 3363305"/>
                <a:gd name="connsiteX1192" fmla="*/ 2242511 w 3320377"/>
                <a:gd name="connsiteY1192" fmla="*/ 543053 h 3363305"/>
                <a:gd name="connsiteX1193" fmla="*/ 2242511 w 3320377"/>
                <a:gd name="connsiteY1193" fmla="*/ 538489 h 3363305"/>
                <a:gd name="connsiteX1194" fmla="*/ 2242511 w 3320377"/>
                <a:gd name="connsiteY1194" fmla="*/ 529362 h 3363305"/>
                <a:gd name="connsiteX1195" fmla="*/ 2242511 w 3320377"/>
                <a:gd name="connsiteY1195" fmla="*/ 527080 h 3363305"/>
                <a:gd name="connsiteX1196" fmla="*/ 2242511 w 3320377"/>
                <a:gd name="connsiteY1196" fmla="*/ 520234 h 3363305"/>
                <a:gd name="connsiteX1197" fmla="*/ 2217391 w 3320377"/>
                <a:gd name="connsiteY1197" fmla="*/ 520234 h 3363305"/>
                <a:gd name="connsiteX1198" fmla="*/ 2215108 w 3320377"/>
                <a:gd name="connsiteY1198" fmla="*/ 520234 h 3363305"/>
                <a:gd name="connsiteX1199" fmla="*/ 2215108 w 3320377"/>
                <a:gd name="connsiteY1199" fmla="*/ 522516 h 3363305"/>
                <a:gd name="connsiteX1200" fmla="*/ 2215108 w 3320377"/>
                <a:gd name="connsiteY1200" fmla="*/ 524798 h 3363305"/>
                <a:gd name="connsiteX1201" fmla="*/ 2210540 w 3320377"/>
                <a:gd name="connsiteY1201" fmla="*/ 524798 h 3363305"/>
                <a:gd name="connsiteX1202" fmla="*/ 2208257 w 3320377"/>
                <a:gd name="connsiteY1202" fmla="*/ 527080 h 3363305"/>
                <a:gd name="connsiteX1203" fmla="*/ 2208257 w 3320377"/>
                <a:gd name="connsiteY1203" fmla="*/ 529362 h 3363305"/>
                <a:gd name="connsiteX1204" fmla="*/ 2205973 w 3320377"/>
                <a:gd name="connsiteY1204" fmla="*/ 533926 h 3363305"/>
                <a:gd name="connsiteX1205" fmla="*/ 2203690 w 3320377"/>
                <a:gd name="connsiteY1205" fmla="*/ 533926 h 3363305"/>
                <a:gd name="connsiteX1206" fmla="*/ 2201406 w 3320377"/>
                <a:gd name="connsiteY1206" fmla="*/ 533926 h 3363305"/>
                <a:gd name="connsiteX1207" fmla="*/ 2201406 w 3320377"/>
                <a:gd name="connsiteY1207" fmla="*/ 531644 h 3363305"/>
                <a:gd name="connsiteX1208" fmla="*/ 2196839 w 3320377"/>
                <a:gd name="connsiteY1208" fmla="*/ 531644 h 3363305"/>
                <a:gd name="connsiteX1209" fmla="*/ 2196839 w 3320377"/>
                <a:gd name="connsiteY1209" fmla="*/ 536207 h 3363305"/>
                <a:gd name="connsiteX1210" fmla="*/ 2196839 w 3320377"/>
                <a:gd name="connsiteY1210" fmla="*/ 540771 h 3363305"/>
                <a:gd name="connsiteX1211" fmla="*/ 2196839 w 3320377"/>
                <a:gd name="connsiteY1211" fmla="*/ 549899 h 3363305"/>
                <a:gd name="connsiteX1212" fmla="*/ 2196839 w 3320377"/>
                <a:gd name="connsiteY1212" fmla="*/ 552181 h 3363305"/>
                <a:gd name="connsiteX1213" fmla="*/ 2196839 w 3320377"/>
                <a:gd name="connsiteY1213" fmla="*/ 554463 h 3363305"/>
                <a:gd name="connsiteX1214" fmla="*/ 2192271 w 3320377"/>
                <a:gd name="connsiteY1214" fmla="*/ 559027 h 3363305"/>
                <a:gd name="connsiteX1215" fmla="*/ 2192271 w 3320377"/>
                <a:gd name="connsiteY1215" fmla="*/ 561308 h 3363305"/>
                <a:gd name="connsiteX1216" fmla="*/ 2185421 w 3320377"/>
                <a:gd name="connsiteY1216" fmla="*/ 565872 h 3363305"/>
                <a:gd name="connsiteX1217" fmla="*/ 2183137 w 3320377"/>
                <a:gd name="connsiteY1217" fmla="*/ 565872 h 3363305"/>
                <a:gd name="connsiteX1218" fmla="*/ 2180854 w 3320377"/>
                <a:gd name="connsiteY1218" fmla="*/ 565872 h 3363305"/>
                <a:gd name="connsiteX1219" fmla="*/ 2176286 w 3320377"/>
                <a:gd name="connsiteY1219" fmla="*/ 563590 h 3363305"/>
                <a:gd name="connsiteX1220" fmla="*/ 2174003 w 3320377"/>
                <a:gd name="connsiteY1220" fmla="*/ 563590 h 3363305"/>
                <a:gd name="connsiteX1221" fmla="*/ 2174003 w 3320377"/>
                <a:gd name="connsiteY1221" fmla="*/ 561308 h 3363305"/>
                <a:gd name="connsiteX1222" fmla="*/ 2171719 w 3320377"/>
                <a:gd name="connsiteY1222" fmla="*/ 561308 h 3363305"/>
                <a:gd name="connsiteX1223" fmla="*/ 2169436 w 3320377"/>
                <a:gd name="connsiteY1223" fmla="*/ 559027 h 3363305"/>
                <a:gd name="connsiteX1224" fmla="*/ 2160301 w 3320377"/>
                <a:gd name="connsiteY1224" fmla="*/ 559027 h 3363305"/>
                <a:gd name="connsiteX1225" fmla="*/ 2158018 w 3320377"/>
                <a:gd name="connsiteY1225" fmla="*/ 559027 h 3363305"/>
                <a:gd name="connsiteX1226" fmla="*/ 2155734 w 3320377"/>
                <a:gd name="connsiteY1226" fmla="*/ 561308 h 3363305"/>
                <a:gd name="connsiteX1227" fmla="*/ 2155734 w 3320377"/>
                <a:gd name="connsiteY1227" fmla="*/ 563590 h 3363305"/>
                <a:gd name="connsiteX1228" fmla="*/ 2153450 w 3320377"/>
                <a:gd name="connsiteY1228" fmla="*/ 565872 h 3363305"/>
                <a:gd name="connsiteX1229" fmla="*/ 2146600 w 3320377"/>
                <a:gd name="connsiteY1229" fmla="*/ 568154 h 3363305"/>
                <a:gd name="connsiteX1230" fmla="*/ 2144316 w 3320377"/>
                <a:gd name="connsiteY1230" fmla="*/ 568154 h 3363305"/>
                <a:gd name="connsiteX1231" fmla="*/ 2142032 w 3320377"/>
                <a:gd name="connsiteY1231" fmla="*/ 568154 h 3363305"/>
                <a:gd name="connsiteX1232" fmla="*/ 2139749 w 3320377"/>
                <a:gd name="connsiteY1232" fmla="*/ 568154 h 3363305"/>
                <a:gd name="connsiteX1233" fmla="*/ 2137465 w 3320377"/>
                <a:gd name="connsiteY1233" fmla="*/ 570436 h 3363305"/>
                <a:gd name="connsiteX1234" fmla="*/ 2135182 w 3320377"/>
                <a:gd name="connsiteY1234" fmla="*/ 572718 h 3363305"/>
                <a:gd name="connsiteX1235" fmla="*/ 2132898 w 3320377"/>
                <a:gd name="connsiteY1235" fmla="*/ 577282 h 3363305"/>
                <a:gd name="connsiteX1236" fmla="*/ 2130614 w 3320377"/>
                <a:gd name="connsiteY1236" fmla="*/ 577282 h 3363305"/>
                <a:gd name="connsiteX1237" fmla="*/ 2130614 w 3320377"/>
                <a:gd name="connsiteY1237" fmla="*/ 579563 h 3363305"/>
                <a:gd name="connsiteX1238" fmla="*/ 2132898 w 3320377"/>
                <a:gd name="connsiteY1238" fmla="*/ 584127 h 3363305"/>
                <a:gd name="connsiteX1239" fmla="*/ 2132898 w 3320377"/>
                <a:gd name="connsiteY1239" fmla="*/ 586409 h 3363305"/>
                <a:gd name="connsiteX1240" fmla="*/ 2130614 w 3320377"/>
                <a:gd name="connsiteY1240" fmla="*/ 590973 h 3363305"/>
                <a:gd name="connsiteX1241" fmla="*/ 2126047 w 3320377"/>
                <a:gd name="connsiteY1241" fmla="*/ 593255 h 3363305"/>
                <a:gd name="connsiteX1242" fmla="*/ 2123764 w 3320377"/>
                <a:gd name="connsiteY1242" fmla="*/ 593255 h 3363305"/>
                <a:gd name="connsiteX1243" fmla="*/ 2119196 w 3320377"/>
                <a:gd name="connsiteY1243" fmla="*/ 593255 h 3363305"/>
                <a:gd name="connsiteX1244" fmla="*/ 2119196 w 3320377"/>
                <a:gd name="connsiteY1244" fmla="*/ 595537 h 3363305"/>
                <a:gd name="connsiteX1245" fmla="*/ 2119196 w 3320377"/>
                <a:gd name="connsiteY1245" fmla="*/ 597819 h 3363305"/>
                <a:gd name="connsiteX1246" fmla="*/ 2121480 w 3320377"/>
                <a:gd name="connsiteY1246" fmla="*/ 604664 h 3363305"/>
                <a:gd name="connsiteX1247" fmla="*/ 2119196 w 3320377"/>
                <a:gd name="connsiteY1247" fmla="*/ 606946 h 3363305"/>
                <a:gd name="connsiteX1248" fmla="*/ 2116913 w 3320377"/>
                <a:gd name="connsiteY1248" fmla="*/ 609228 h 3363305"/>
                <a:gd name="connsiteX1249" fmla="*/ 2110062 w 3320377"/>
                <a:gd name="connsiteY1249" fmla="*/ 611510 h 3363305"/>
                <a:gd name="connsiteX1250" fmla="*/ 2107778 w 3320377"/>
                <a:gd name="connsiteY1250" fmla="*/ 611510 h 3363305"/>
                <a:gd name="connsiteX1251" fmla="*/ 2103211 w 3320377"/>
                <a:gd name="connsiteY1251" fmla="*/ 613792 h 3363305"/>
                <a:gd name="connsiteX1252" fmla="*/ 2100928 w 3320377"/>
                <a:gd name="connsiteY1252" fmla="*/ 616074 h 3363305"/>
                <a:gd name="connsiteX1253" fmla="*/ 2098644 w 3320377"/>
                <a:gd name="connsiteY1253" fmla="*/ 616074 h 3363305"/>
                <a:gd name="connsiteX1254" fmla="*/ 2089510 w 3320377"/>
                <a:gd name="connsiteY1254" fmla="*/ 618356 h 3363305"/>
                <a:gd name="connsiteX1255" fmla="*/ 2084942 w 3320377"/>
                <a:gd name="connsiteY1255" fmla="*/ 620638 h 3363305"/>
                <a:gd name="connsiteX1256" fmla="*/ 2082659 w 3320377"/>
                <a:gd name="connsiteY1256" fmla="*/ 620638 h 3363305"/>
                <a:gd name="connsiteX1257" fmla="*/ 2080375 w 3320377"/>
                <a:gd name="connsiteY1257" fmla="*/ 620638 h 3363305"/>
                <a:gd name="connsiteX1258" fmla="*/ 2075808 w 3320377"/>
                <a:gd name="connsiteY1258" fmla="*/ 622920 h 3363305"/>
                <a:gd name="connsiteX1259" fmla="*/ 2075808 w 3320377"/>
                <a:gd name="connsiteY1259" fmla="*/ 625201 h 3363305"/>
                <a:gd name="connsiteX1260" fmla="*/ 2073524 w 3320377"/>
                <a:gd name="connsiteY1260" fmla="*/ 625201 h 3363305"/>
                <a:gd name="connsiteX1261" fmla="*/ 2073524 w 3320377"/>
                <a:gd name="connsiteY1261" fmla="*/ 627483 h 3363305"/>
                <a:gd name="connsiteX1262" fmla="*/ 2073524 w 3320377"/>
                <a:gd name="connsiteY1262" fmla="*/ 629765 h 3363305"/>
                <a:gd name="connsiteX1263" fmla="*/ 2071241 w 3320377"/>
                <a:gd name="connsiteY1263" fmla="*/ 632047 h 3363305"/>
                <a:gd name="connsiteX1264" fmla="*/ 2066674 w 3320377"/>
                <a:gd name="connsiteY1264" fmla="*/ 636611 h 3363305"/>
                <a:gd name="connsiteX1265" fmla="*/ 2064390 w 3320377"/>
                <a:gd name="connsiteY1265" fmla="*/ 636611 h 3363305"/>
                <a:gd name="connsiteX1266" fmla="*/ 2062106 w 3320377"/>
                <a:gd name="connsiteY1266" fmla="*/ 638893 h 3363305"/>
                <a:gd name="connsiteX1267" fmla="*/ 2059823 w 3320377"/>
                <a:gd name="connsiteY1267" fmla="*/ 641165 h 3363305"/>
                <a:gd name="connsiteX1268" fmla="*/ 2057539 w 3320377"/>
                <a:gd name="connsiteY1268" fmla="*/ 645739 h 3363305"/>
                <a:gd name="connsiteX1269" fmla="*/ 2059823 w 3320377"/>
                <a:gd name="connsiteY1269" fmla="*/ 648011 h 3363305"/>
                <a:gd name="connsiteX1270" fmla="*/ 2059823 w 3320377"/>
                <a:gd name="connsiteY1270" fmla="*/ 650302 h 3363305"/>
                <a:gd name="connsiteX1271" fmla="*/ 2057539 w 3320377"/>
                <a:gd name="connsiteY1271" fmla="*/ 652575 h 3363305"/>
                <a:gd name="connsiteX1272" fmla="*/ 2057539 w 3320377"/>
                <a:gd name="connsiteY1272" fmla="*/ 654857 h 3363305"/>
                <a:gd name="connsiteX1273" fmla="*/ 2052972 w 3320377"/>
                <a:gd name="connsiteY1273" fmla="*/ 657139 h 3363305"/>
                <a:gd name="connsiteX1274" fmla="*/ 2052972 w 3320377"/>
                <a:gd name="connsiteY1274" fmla="*/ 659420 h 3363305"/>
                <a:gd name="connsiteX1275" fmla="*/ 2052972 w 3320377"/>
                <a:gd name="connsiteY1275" fmla="*/ 661702 h 3363305"/>
                <a:gd name="connsiteX1276" fmla="*/ 2055256 w 3320377"/>
                <a:gd name="connsiteY1276" fmla="*/ 666266 h 3363305"/>
                <a:gd name="connsiteX1277" fmla="*/ 2052972 w 3320377"/>
                <a:gd name="connsiteY1277" fmla="*/ 668548 h 3363305"/>
                <a:gd name="connsiteX1278" fmla="*/ 2052972 w 3320377"/>
                <a:gd name="connsiteY1278" fmla="*/ 670830 h 3363305"/>
                <a:gd name="connsiteX1279" fmla="*/ 2048405 w 3320377"/>
                <a:gd name="connsiteY1279" fmla="*/ 673112 h 3363305"/>
                <a:gd name="connsiteX1280" fmla="*/ 2048405 w 3320377"/>
                <a:gd name="connsiteY1280" fmla="*/ 675394 h 3363305"/>
                <a:gd name="connsiteX1281" fmla="*/ 2046121 w 3320377"/>
                <a:gd name="connsiteY1281" fmla="*/ 675394 h 3363305"/>
                <a:gd name="connsiteX1282" fmla="*/ 2046121 w 3320377"/>
                <a:gd name="connsiteY1282" fmla="*/ 677676 h 3363305"/>
                <a:gd name="connsiteX1283" fmla="*/ 2048405 w 3320377"/>
                <a:gd name="connsiteY1283" fmla="*/ 679957 h 3363305"/>
                <a:gd name="connsiteX1284" fmla="*/ 2048405 w 3320377"/>
                <a:gd name="connsiteY1284" fmla="*/ 682239 h 3363305"/>
                <a:gd name="connsiteX1285" fmla="*/ 2048405 w 3320377"/>
                <a:gd name="connsiteY1285" fmla="*/ 684521 h 3363305"/>
                <a:gd name="connsiteX1286" fmla="*/ 2046121 w 3320377"/>
                <a:gd name="connsiteY1286" fmla="*/ 686803 h 3363305"/>
                <a:gd name="connsiteX1287" fmla="*/ 2046121 w 3320377"/>
                <a:gd name="connsiteY1287" fmla="*/ 689085 h 3363305"/>
                <a:gd name="connsiteX1288" fmla="*/ 2043838 w 3320377"/>
                <a:gd name="connsiteY1288" fmla="*/ 689085 h 3363305"/>
                <a:gd name="connsiteX1289" fmla="*/ 2043838 w 3320377"/>
                <a:gd name="connsiteY1289" fmla="*/ 691367 h 3363305"/>
                <a:gd name="connsiteX1290" fmla="*/ 2041554 w 3320377"/>
                <a:gd name="connsiteY1290" fmla="*/ 691367 h 3363305"/>
                <a:gd name="connsiteX1291" fmla="*/ 2039271 w 3320377"/>
                <a:gd name="connsiteY1291" fmla="*/ 693649 h 3363305"/>
                <a:gd name="connsiteX1292" fmla="*/ 2039271 w 3320377"/>
                <a:gd name="connsiteY1292" fmla="*/ 695931 h 3363305"/>
                <a:gd name="connsiteX1293" fmla="*/ 2036987 w 3320377"/>
                <a:gd name="connsiteY1293" fmla="*/ 698213 h 3363305"/>
                <a:gd name="connsiteX1294" fmla="*/ 2034703 w 3320377"/>
                <a:gd name="connsiteY1294" fmla="*/ 700495 h 3363305"/>
                <a:gd name="connsiteX1295" fmla="*/ 2034703 w 3320377"/>
                <a:gd name="connsiteY1295" fmla="*/ 702776 h 3363305"/>
                <a:gd name="connsiteX1296" fmla="*/ 2032420 w 3320377"/>
                <a:gd name="connsiteY1296" fmla="*/ 705058 h 3363305"/>
                <a:gd name="connsiteX1297" fmla="*/ 2027852 w 3320377"/>
                <a:gd name="connsiteY1297" fmla="*/ 705058 h 3363305"/>
                <a:gd name="connsiteX1298" fmla="*/ 2027852 w 3320377"/>
                <a:gd name="connsiteY1298" fmla="*/ 707340 h 3363305"/>
                <a:gd name="connsiteX1299" fmla="*/ 2025569 w 3320377"/>
                <a:gd name="connsiteY1299" fmla="*/ 707340 h 3363305"/>
                <a:gd name="connsiteX1300" fmla="*/ 2023285 w 3320377"/>
                <a:gd name="connsiteY1300" fmla="*/ 714186 h 3363305"/>
                <a:gd name="connsiteX1301" fmla="*/ 2021002 w 3320377"/>
                <a:gd name="connsiteY1301" fmla="*/ 716468 h 3363305"/>
                <a:gd name="connsiteX1302" fmla="*/ 2018718 w 3320377"/>
                <a:gd name="connsiteY1302" fmla="*/ 716468 h 3363305"/>
                <a:gd name="connsiteX1303" fmla="*/ 2016435 w 3320377"/>
                <a:gd name="connsiteY1303" fmla="*/ 721032 h 3363305"/>
                <a:gd name="connsiteX1304" fmla="*/ 2014151 w 3320377"/>
                <a:gd name="connsiteY1304" fmla="*/ 725595 h 3363305"/>
                <a:gd name="connsiteX1305" fmla="*/ 2014151 w 3320377"/>
                <a:gd name="connsiteY1305" fmla="*/ 727877 h 3363305"/>
                <a:gd name="connsiteX1306" fmla="*/ 2009584 w 3320377"/>
                <a:gd name="connsiteY1306" fmla="*/ 737005 h 3363305"/>
                <a:gd name="connsiteX1307" fmla="*/ 2007300 w 3320377"/>
                <a:gd name="connsiteY1307" fmla="*/ 739287 h 3363305"/>
                <a:gd name="connsiteX1308" fmla="*/ 2005017 w 3320377"/>
                <a:gd name="connsiteY1308" fmla="*/ 739287 h 3363305"/>
                <a:gd name="connsiteX1309" fmla="*/ 1998166 w 3320377"/>
                <a:gd name="connsiteY1309" fmla="*/ 743851 h 3363305"/>
                <a:gd name="connsiteX1310" fmla="*/ 1993599 w 3320377"/>
                <a:gd name="connsiteY1310" fmla="*/ 743851 h 3363305"/>
                <a:gd name="connsiteX1311" fmla="*/ 1991315 w 3320377"/>
                <a:gd name="connsiteY1311" fmla="*/ 743851 h 3363305"/>
                <a:gd name="connsiteX1312" fmla="*/ 1989031 w 3320377"/>
                <a:gd name="connsiteY1312" fmla="*/ 746132 h 3363305"/>
                <a:gd name="connsiteX1313" fmla="*/ 1979897 w 3320377"/>
                <a:gd name="connsiteY1313" fmla="*/ 750696 h 3363305"/>
                <a:gd name="connsiteX1314" fmla="*/ 1977613 w 3320377"/>
                <a:gd name="connsiteY1314" fmla="*/ 752978 h 3363305"/>
                <a:gd name="connsiteX1315" fmla="*/ 1975330 w 3320377"/>
                <a:gd name="connsiteY1315" fmla="*/ 752978 h 3363305"/>
                <a:gd name="connsiteX1316" fmla="*/ 1975330 w 3320377"/>
                <a:gd name="connsiteY1316" fmla="*/ 755260 h 3363305"/>
                <a:gd name="connsiteX1317" fmla="*/ 1973046 w 3320377"/>
                <a:gd name="connsiteY1317" fmla="*/ 755260 h 3363305"/>
                <a:gd name="connsiteX1318" fmla="*/ 1968479 w 3320377"/>
                <a:gd name="connsiteY1318" fmla="*/ 757542 h 3363305"/>
                <a:gd name="connsiteX1319" fmla="*/ 1959345 w 3320377"/>
                <a:gd name="connsiteY1319" fmla="*/ 757542 h 3363305"/>
                <a:gd name="connsiteX1320" fmla="*/ 1954777 w 3320377"/>
                <a:gd name="connsiteY1320" fmla="*/ 757542 h 3363305"/>
                <a:gd name="connsiteX1321" fmla="*/ 1943360 w 3320377"/>
                <a:gd name="connsiteY1321" fmla="*/ 757542 h 3363305"/>
                <a:gd name="connsiteX1322" fmla="*/ 1934225 w 3320377"/>
                <a:gd name="connsiteY1322" fmla="*/ 757542 h 3363305"/>
                <a:gd name="connsiteX1323" fmla="*/ 1931942 w 3320377"/>
                <a:gd name="connsiteY1323" fmla="*/ 757542 h 3363305"/>
                <a:gd name="connsiteX1324" fmla="*/ 1929658 w 3320377"/>
                <a:gd name="connsiteY1324" fmla="*/ 755260 h 3363305"/>
                <a:gd name="connsiteX1325" fmla="*/ 1920523 w 3320377"/>
                <a:gd name="connsiteY1325" fmla="*/ 755260 h 3363305"/>
                <a:gd name="connsiteX1326" fmla="*/ 1918240 w 3320377"/>
                <a:gd name="connsiteY1326" fmla="*/ 757542 h 3363305"/>
                <a:gd name="connsiteX1327" fmla="*/ 1915956 w 3320377"/>
                <a:gd name="connsiteY1327" fmla="*/ 759824 h 3363305"/>
                <a:gd name="connsiteX1328" fmla="*/ 1909106 w 3320377"/>
                <a:gd name="connsiteY1328" fmla="*/ 764388 h 3363305"/>
                <a:gd name="connsiteX1329" fmla="*/ 1906822 w 3320377"/>
                <a:gd name="connsiteY1329" fmla="*/ 768951 h 3363305"/>
                <a:gd name="connsiteX1330" fmla="*/ 1906822 w 3320377"/>
                <a:gd name="connsiteY1330" fmla="*/ 771233 h 3363305"/>
                <a:gd name="connsiteX1331" fmla="*/ 1906822 w 3320377"/>
                <a:gd name="connsiteY1331" fmla="*/ 773515 h 3363305"/>
                <a:gd name="connsiteX1332" fmla="*/ 1906822 w 3320377"/>
                <a:gd name="connsiteY1332" fmla="*/ 775797 h 3363305"/>
                <a:gd name="connsiteX1333" fmla="*/ 1909106 w 3320377"/>
                <a:gd name="connsiteY1333" fmla="*/ 775797 h 3363305"/>
                <a:gd name="connsiteX1334" fmla="*/ 1909106 w 3320377"/>
                <a:gd name="connsiteY1334" fmla="*/ 778079 h 3363305"/>
                <a:gd name="connsiteX1335" fmla="*/ 1911389 w 3320377"/>
                <a:gd name="connsiteY1335" fmla="*/ 778079 h 3363305"/>
                <a:gd name="connsiteX1336" fmla="*/ 1911389 w 3320377"/>
                <a:gd name="connsiteY1336" fmla="*/ 780361 h 3363305"/>
                <a:gd name="connsiteX1337" fmla="*/ 1911389 w 3320377"/>
                <a:gd name="connsiteY1337" fmla="*/ 791770 h 3363305"/>
                <a:gd name="connsiteX1338" fmla="*/ 1913673 w 3320377"/>
                <a:gd name="connsiteY1338" fmla="*/ 796334 h 3363305"/>
                <a:gd name="connsiteX1339" fmla="*/ 1913673 w 3320377"/>
                <a:gd name="connsiteY1339" fmla="*/ 800888 h 3363305"/>
                <a:gd name="connsiteX1340" fmla="*/ 1913673 w 3320377"/>
                <a:gd name="connsiteY1340" fmla="*/ 803170 h 3363305"/>
                <a:gd name="connsiteX1341" fmla="*/ 1911389 w 3320377"/>
                <a:gd name="connsiteY1341" fmla="*/ 805452 h 3363305"/>
                <a:gd name="connsiteX1342" fmla="*/ 1911389 w 3320377"/>
                <a:gd name="connsiteY1342" fmla="*/ 807734 h 3363305"/>
                <a:gd name="connsiteX1343" fmla="*/ 1911389 w 3320377"/>
                <a:gd name="connsiteY1343" fmla="*/ 810016 h 3363305"/>
                <a:gd name="connsiteX1344" fmla="*/ 1911389 w 3320377"/>
                <a:gd name="connsiteY1344" fmla="*/ 812298 h 3363305"/>
                <a:gd name="connsiteX1345" fmla="*/ 1909106 w 3320377"/>
                <a:gd name="connsiteY1345" fmla="*/ 814580 h 3363305"/>
                <a:gd name="connsiteX1346" fmla="*/ 1906822 w 3320377"/>
                <a:gd name="connsiteY1346" fmla="*/ 814580 h 3363305"/>
                <a:gd name="connsiteX1347" fmla="*/ 1904538 w 3320377"/>
                <a:gd name="connsiteY1347" fmla="*/ 816862 h 3363305"/>
                <a:gd name="connsiteX1348" fmla="*/ 1902255 w 3320377"/>
                <a:gd name="connsiteY1348" fmla="*/ 816862 h 3363305"/>
                <a:gd name="connsiteX1349" fmla="*/ 1902255 w 3320377"/>
                <a:gd name="connsiteY1349" fmla="*/ 819144 h 3363305"/>
                <a:gd name="connsiteX1350" fmla="*/ 1899971 w 3320377"/>
                <a:gd name="connsiteY1350" fmla="*/ 821425 h 3363305"/>
                <a:gd name="connsiteX1351" fmla="*/ 1895404 w 3320377"/>
                <a:gd name="connsiteY1351" fmla="*/ 823707 h 3363305"/>
                <a:gd name="connsiteX1352" fmla="*/ 1886270 w 3320377"/>
                <a:gd name="connsiteY1352" fmla="*/ 835117 h 3363305"/>
                <a:gd name="connsiteX1353" fmla="*/ 1881702 w 3320377"/>
                <a:gd name="connsiteY1353" fmla="*/ 837399 h 3363305"/>
                <a:gd name="connsiteX1354" fmla="*/ 1879419 w 3320377"/>
                <a:gd name="connsiteY1354" fmla="*/ 837399 h 3363305"/>
                <a:gd name="connsiteX1355" fmla="*/ 1877135 w 3320377"/>
                <a:gd name="connsiteY1355" fmla="*/ 837399 h 3363305"/>
                <a:gd name="connsiteX1356" fmla="*/ 1874852 w 3320377"/>
                <a:gd name="connsiteY1356" fmla="*/ 839681 h 3363305"/>
                <a:gd name="connsiteX1357" fmla="*/ 1872568 w 3320377"/>
                <a:gd name="connsiteY1357" fmla="*/ 839681 h 3363305"/>
                <a:gd name="connsiteX1358" fmla="*/ 1870284 w 3320377"/>
                <a:gd name="connsiteY1358" fmla="*/ 839681 h 3363305"/>
                <a:gd name="connsiteX1359" fmla="*/ 1868001 w 3320377"/>
                <a:gd name="connsiteY1359" fmla="*/ 841963 h 3363305"/>
                <a:gd name="connsiteX1360" fmla="*/ 1861150 w 3320377"/>
                <a:gd name="connsiteY1360" fmla="*/ 839681 h 3363305"/>
                <a:gd name="connsiteX1361" fmla="*/ 1858866 w 3320377"/>
                <a:gd name="connsiteY1361" fmla="*/ 841963 h 3363305"/>
                <a:gd name="connsiteX1362" fmla="*/ 1856583 w 3320377"/>
                <a:gd name="connsiteY1362" fmla="*/ 841963 h 3363305"/>
                <a:gd name="connsiteX1363" fmla="*/ 1854299 w 3320377"/>
                <a:gd name="connsiteY1363" fmla="*/ 839681 h 3363305"/>
                <a:gd name="connsiteX1364" fmla="*/ 1852016 w 3320377"/>
                <a:gd name="connsiteY1364" fmla="*/ 839681 h 3363305"/>
                <a:gd name="connsiteX1365" fmla="*/ 1847448 w 3320377"/>
                <a:gd name="connsiteY1365" fmla="*/ 837399 h 3363305"/>
                <a:gd name="connsiteX1366" fmla="*/ 1845165 w 3320377"/>
                <a:gd name="connsiteY1366" fmla="*/ 835117 h 3363305"/>
                <a:gd name="connsiteX1367" fmla="*/ 1840598 w 3320377"/>
                <a:gd name="connsiteY1367" fmla="*/ 832835 h 3363305"/>
                <a:gd name="connsiteX1368" fmla="*/ 1831463 w 3320377"/>
                <a:gd name="connsiteY1368" fmla="*/ 835117 h 3363305"/>
                <a:gd name="connsiteX1369" fmla="*/ 1829180 w 3320377"/>
                <a:gd name="connsiteY1369" fmla="*/ 835117 h 3363305"/>
                <a:gd name="connsiteX1370" fmla="*/ 1826896 w 3320377"/>
                <a:gd name="connsiteY1370" fmla="*/ 835117 h 3363305"/>
                <a:gd name="connsiteX1371" fmla="*/ 1824612 w 3320377"/>
                <a:gd name="connsiteY1371" fmla="*/ 835117 h 3363305"/>
                <a:gd name="connsiteX1372" fmla="*/ 1822329 w 3320377"/>
                <a:gd name="connsiteY1372" fmla="*/ 837399 h 3363305"/>
                <a:gd name="connsiteX1373" fmla="*/ 1820045 w 3320377"/>
                <a:gd name="connsiteY1373" fmla="*/ 841963 h 3363305"/>
                <a:gd name="connsiteX1374" fmla="*/ 1817762 w 3320377"/>
                <a:gd name="connsiteY1374" fmla="*/ 841963 h 3363305"/>
                <a:gd name="connsiteX1375" fmla="*/ 1817762 w 3320377"/>
                <a:gd name="connsiteY1375" fmla="*/ 839681 h 3363305"/>
                <a:gd name="connsiteX1376" fmla="*/ 1815478 w 3320377"/>
                <a:gd name="connsiteY1376" fmla="*/ 839681 h 3363305"/>
                <a:gd name="connsiteX1377" fmla="*/ 1813194 w 3320377"/>
                <a:gd name="connsiteY1377" fmla="*/ 839681 h 3363305"/>
                <a:gd name="connsiteX1378" fmla="*/ 1810911 w 3320377"/>
                <a:gd name="connsiteY1378" fmla="*/ 837399 h 3363305"/>
                <a:gd name="connsiteX1379" fmla="*/ 1808627 w 3320377"/>
                <a:gd name="connsiteY1379" fmla="*/ 837399 h 3363305"/>
                <a:gd name="connsiteX1380" fmla="*/ 1801777 w 3320377"/>
                <a:gd name="connsiteY1380" fmla="*/ 835117 h 3363305"/>
                <a:gd name="connsiteX1381" fmla="*/ 1797209 w 3320377"/>
                <a:gd name="connsiteY1381" fmla="*/ 835117 h 3363305"/>
                <a:gd name="connsiteX1382" fmla="*/ 1794926 w 3320377"/>
                <a:gd name="connsiteY1382" fmla="*/ 832835 h 3363305"/>
                <a:gd name="connsiteX1383" fmla="*/ 1790359 w 3320377"/>
                <a:gd name="connsiteY1383" fmla="*/ 832835 h 3363305"/>
                <a:gd name="connsiteX1384" fmla="*/ 1788075 w 3320377"/>
                <a:gd name="connsiteY1384" fmla="*/ 830553 h 3363305"/>
                <a:gd name="connsiteX1385" fmla="*/ 1781224 w 3320377"/>
                <a:gd name="connsiteY1385" fmla="*/ 828271 h 3363305"/>
                <a:gd name="connsiteX1386" fmla="*/ 1778941 w 3320377"/>
                <a:gd name="connsiteY1386" fmla="*/ 828271 h 3363305"/>
                <a:gd name="connsiteX1387" fmla="*/ 1774373 w 3320377"/>
                <a:gd name="connsiteY1387" fmla="*/ 828271 h 3363305"/>
                <a:gd name="connsiteX1388" fmla="*/ 1772090 w 3320377"/>
                <a:gd name="connsiteY1388" fmla="*/ 828271 h 3363305"/>
                <a:gd name="connsiteX1389" fmla="*/ 1769806 w 3320377"/>
                <a:gd name="connsiteY1389" fmla="*/ 828271 h 3363305"/>
                <a:gd name="connsiteX1390" fmla="*/ 1767522 w 3320377"/>
                <a:gd name="connsiteY1390" fmla="*/ 828271 h 3363305"/>
                <a:gd name="connsiteX1391" fmla="*/ 1765239 w 3320377"/>
                <a:gd name="connsiteY1391" fmla="*/ 828271 h 3363305"/>
                <a:gd name="connsiteX1392" fmla="*/ 1758388 w 3320377"/>
                <a:gd name="connsiteY1392" fmla="*/ 830553 h 3363305"/>
                <a:gd name="connsiteX1393" fmla="*/ 1756105 w 3320377"/>
                <a:gd name="connsiteY1393" fmla="*/ 830553 h 3363305"/>
                <a:gd name="connsiteX1394" fmla="*/ 1753821 w 3320377"/>
                <a:gd name="connsiteY1394" fmla="*/ 830553 h 3363305"/>
                <a:gd name="connsiteX1395" fmla="*/ 1751537 w 3320377"/>
                <a:gd name="connsiteY1395" fmla="*/ 830553 h 3363305"/>
                <a:gd name="connsiteX1396" fmla="*/ 1746970 w 3320377"/>
                <a:gd name="connsiteY1396" fmla="*/ 832835 h 3363305"/>
                <a:gd name="connsiteX1397" fmla="*/ 1737836 w 3320377"/>
                <a:gd name="connsiteY1397" fmla="*/ 839681 h 3363305"/>
                <a:gd name="connsiteX1398" fmla="*/ 1735552 w 3320377"/>
                <a:gd name="connsiteY1398" fmla="*/ 839681 h 3363305"/>
                <a:gd name="connsiteX1399" fmla="*/ 1733269 w 3320377"/>
                <a:gd name="connsiteY1399" fmla="*/ 839681 h 3363305"/>
                <a:gd name="connsiteX1400" fmla="*/ 1726418 w 3320377"/>
                <a:gd name="connsiteY1400" fmla="*/ 837399 h 3363305"/>
                <a:gd name="connsiteX1401" fmla="*/ 1724134 w 3320377"/>
                <a:gd name="connsiteY1401" fmla="*/ 837399 h 3363305"/>
                <a:gd name="connsiteX1402" fmla="*/ 1717283 w 3320377"/>
                <a:gd name="connsiteY1402" fmla="*/ 837399 h 3363305"/>
                <a:gd name="connsiteX1403" fmla="*/ 1710433 w 3320377"/>
                <a:gd name="connsiteY1403" fmla="*/ 839681 h 3363305"/>
                <a:gd name="connsiteX1404" fmla="*/ 1703582 w 3320377"/>
                <a:gd name="connsiteY1404" fmla="*/ 839681 h 3363305"/>
                <a:gd name="connsiteX1405" fmla="*/ 1696722 w 3320377"/>
                <a:gd name="connsiteY1405" fmla="*/ 841963 h 3363305"/>
                <a:gd name="connsiteX1406" fmla="*/ 1689880 w 3320377"/>
                <a:gd name="connsiteY1406" fmla="*/ 846526 h 3363305"/>
                <a:gd name="connsiteX1407" fmla="*/ 1687597 w 3320377"/>
                <a:gd name="connsiteY1407" fmla="*/ 848808 h 3363305"/>
                <a:gd name="connsiteX1408" fmla="*/ 1683020 w 3320377"/>
                <a:gd name="connsiteY1408" fmla="*/ 851090 h 3363305"/>
                <a:gd name="connsiteX1409" fmla="*/ 1680746 w 3320377"/>
                <a:gd name="connsiteY1409" fmla="*/ 851090 h 3363305"/>
                <a:gd name="connsiteX1410" fmla="*/ 1678453 w 3320377"/>
                <a:gd name="connsiteY1410" fmla="*/ 851090 h 3363305"/>
                <a:gd name="connsiteX1411" fmla="*/ 1676169 w 3320377"/>
                <a:gd name="connsiteY1411" fmla="*/ 853372 h 3363305"/>
                <a:gd name="connsiteX1412" fmla="*/ 1676169 w 3320377"/>
                <a:gd name="connsiteY1412" fmla="*/ 851090 h 3363305"/>
                <a:gd name="connsiteX1413" fmla="*/ 1669318 w 3320377"/>
                <a:gd name="connsiteY1413" fmla="*/ 848808 h 3363305"/>
                <a:gd name="connsiteX1414" fmla="*/ 1657900 w 3320377"/>
                <a:gd name="connsiteY1414" fmla="*/ 846526 h 3363305"/>
                <a:gd name="connsiteX1415" fmla="*/ 1653333 w 3320377"/>
                <a:gd name="connsiteY1415" fmla="*/ 844245 h 3363305"/>
                <a:gd name="connsiteX1416" fmla="*/ 1641915 w 3320377"/>
                <a:gd name="connsiteY1416" fmla="*/ 844245 h 3363305"/>
                <a:gd name="connsiteX1417" fmla="*/ 1639632 w 3320377"/>
                <a:gd name="connsiteY1417" fmla="*/ 844245 h 3363305"/>
                <a:gd name="connsiteX1418" fmla="*/ 1637348 w 3320377"/>
                <a:gd name="connsiteY1418" fmla="*/ 844245 h 3363305"/>
                <a:gd name="connsiteX1419" fmla="*/ 1635064 w 3320377"/>
                <a:gd name="connsiteY1419" fmla="*/ 844245 h 3363305"/>
                <a:gd name="connsiteX1420" fmla="*/ 1630497 w 3320377"/>
                <a:gd name="connsiteY1420" fmla="*/ 844245 h 3363305"/>
                <a:gd name="connsiteX1421" fmla="*/ 1628214 w 3320377"/>
                <a:gd name="connsiteY1421" fmla="*/ 841963 h 3363305"/>
                <a:gd name="connsiteX1422" fmla="*/ 1623647 w 3320377"/>
                <a:gd name="connsiteY1422" fmla="*/ 839681 h 3363305"/>
                <a:gd name="connsiteX1423" fmla="*/ 1621363 w 3320377"/>
                <a:gd name="connsiteY1423" fmla="*/ 837399 h 3363305"/>
                <a:gd name="connsiteX1424" fmla="*/ 1619079 w 3320377"/>
                <a:gd name="connsiteY1424" fmla="*/ 832835 h 3363305"/>
                <a:gd name="connsiteX1425" fmla="*/ 1616796 w 3320377"/>
                <a:gd name="connsiteY1425" fmla="*/ 830553 h 3363305"/>
                <a:gd name="connsiteX1426" fmla="*/ 1614512 w 3320377"/>
                <a:gd name="connsiteY1426" fmla="*/ 830553 h 3363305"/>
                <a:gd name="connsiteX1427" fmla="*/ 1614512 w 3320377"/>
                <a:gd name="connsiteY1427" fmla="*/ 828271 h 3363305"/>
                <a:gd name="connsiteX1428" fmla="*/ 1612228 w 3320377"/>
                <a:gd name="connsiteY1428" fmla="*/ 828271 h 3363305"/>
                <a:gd name="connsiteX1429" fmla="*/ 1607661 w 3320377"/>
                <a:gd name="connsiteY1429" fmla="*/ 828271 h 3363305"/>
                <a:gd name="connsiteX1430" fmla="*/ 1603094 w 3320377"/>
                <a:gd name="connsiteY1430" fmla="*/ 830553 h 3363305"/>
                <a:gd name="connsiteX1431" fmla="*/ 1600810 w 3320377"/>
                <a:gd name="connsiteY1431" fmla="*/ 830553 h 3363305"/>
                <a:gd name="connsiteX1432" fmla="*/ 1593960 w 3320377"/>
                <a:gd name="connsiteY1432" fmla="*/ 825989 h 3363305"/>
                <a:gd name="connsiteX1433" fmla="*/ 1591676 w 3320377"/>
                <a:gd name="connsiteY1433" fmla="*/ 825989 h 3363305"/>
                <a:gd name="connsiteX1434" fmla="*/ 1587109 w 3320377"/>
                <a:gd name="connsiteY1434" fmla="*/ 823707 h 3363305"/>
                <a:gd name="connsiteX1435" fmla="*/ 1584825 w 3320377"/>
                <a:gd name="connsiteY1435" fmla="*/ 823707 h 3363305"/>
                <a:gd name="connsiteX1436" fmla="*/ 1582542 w 3320377"/>
                <a:gd name="connsiteY1436" fmla="*/ 825989 h 3363305"/>
                <a:gd name="connsiteX1437" fmla="*/ 1577975 w 3320377"/>
                <a:gd name="connsiteY1437" fmla="*/ 825989 h 3363305"/>
                <a:gd name="connsiteX1438" fmla="*/ 1575691 w 3320377"/>
                <a:gd name="connsiteY1438" fmla="*/ 828271 h 3363305"/>
                <a:gd name="connsiteX1439" fmla="*/ 1573407 w 3320377"/>
                <a:gd name="connsiteY1439" fmla="*/ 830553 h 3363305"/>
                <a:gd name="connsiteX1440" fmla="*/ 1571124 w 3320377"/>
                <a:gd name="connsiteY1440" fmla="*/ 832835 h 3363305"/>
                <a:gd name="connsiteX1441" fmla="*/ 1568840 w 3320377"/>
                <a:gd name="connsiteY1441" fmla="*/ 832835 h 3363305"/>
                <a:gd name="connsiteX1442" fmla="*/ 1564273 w 3320377"/>
                <a:gd name="connsiteY1442" fmla="*/ 835117 h 3363305"/>
                <a:gd name="connsiteX1443" fmla="*/ 1559706 w 3320377"/>
                <a:gd name="connsiteY1443" fmla="*/ 835117 h 3363305"/>
                <a:gd name="connsiteX1444" fmla="*/ 1557422 w 3320377"/>
                <a:gd name="connsiteY1444" fmla="*/ 837399 h 3363305"/>
                <a:gd name="connsiteX1445" fmla="*/ 1557422 w 3320377"/>
                <a:gd name="connsiteY1445" fmla="*/ 841963 h 3363305"/>
                <a:gd name="connsiteX1446" fmla="*/ 1555139 w 3320377"/>
                <a:gd name="connsiteY1446" fmla="*/ 844245 h 3363305"/>
                <a:gd name="connsiteX1447" fmla="*/ 1552855 w 3320377"/>
                <a:gd name="connsiteY1447" fmla="*/ 841963 h 3363305"/>
                <a:gd name="connsiteX1448" fmla="*/ 1550571 w 3320377"/>
                <a:gd name="connsiteY1448" fmla="*/ 841963 h 3363305"/>
                <a:gd name="connsiteX1449" fmla="*/ 1548288 w 3320377"/>
                <a:gd name="connsiteY1449" fmla="*/ 841963 h 3363305"/>
                <a:gd name="connsiteX1450" fmla="*/ 1548288 w 3320377"/>
                <a:gd name="connsiteY1450" fmla="*/ 844245 h 3363305"/>
                <a:gd name="connsiteX1451" fmla="*/ 1546004 w 3320377"/>
                <a:gd name="connsiteY1451" fmla="*/ 846526 h 3363305"/>
                <a:gd name="connsiteX1452" fmla="*/ 1543721 w 3320377"/>
                <a:gd name="connsiteY1452" fmla="*/ 846526 h 3363305"/>
                <a:gd name="connsiteX1453" fmla="*/ 1543721 w 3320377"/>
                <a:gd name="connsiteY1453" fmla="*/ 848808 h 3363305"/>
                <a:gd name="connsiteX1454" fmla="*/ 1541437 w 3320377"/>
                <a:gd name="connsiteY1454" fmla="*/ 851090 h 3363305"/>
                <a:gd name="connsiteX1455" fmla="*/ 1539153 w 3320377"/>
                <a:gd name="connsiteY1455" fmla="*/ 853372 h 3363305"/>
                <a:gd name="connsiteX1456" fmla="*/ 1536870 w 3320377"/>
                <a:gd name="connsiteY1456" fmla="*/ 855654 h 3363305"/>
                <a:gd name="connsiteX1457" fmla="*/ 1534586 w 3320377"/>
                <a:gd name="connsiteY1457" fmla="*/ 855654 h 3363305"/>
                <a:gd name="connsiteX1458" fmla="*/ 1527735 w 3320377"/>
                <a:gd name="connsiteY1458" fmla="*/ 855654 h 3363305"/>
                <a:gd name="connsiteX1459" fmla="*/ 1523168 w 3320377"/>
                <a:gd name="connsiteY1459" fmla="*/ 857936 h 3363305"/>
                <a:gd name="connsiteX1460" fmla="*/ 1520885 w 3320377"/>
                <a:gd name="connsiteY1460" fmla="*/ 860218 h 3363305"/>
                <a:gd name="connsiteX1461" fmla="*/ 1518601 w 3320377"/>
                <a:gd name="connsiteY1461" fmla="*/ 860218 h 3363305"/>
                <a:gd name="connsiteX1462" fmla="*/ 1516317 w 3320377"/>
                <a:gd name="connsiteY1462" fmla="*/ 867063 h 3363305"/>
                <a:gd name="connsiteX1463" fmla="*/ 1511750 w 3320377"/>
                <a:gd name="connsiteY1463" fmla="*/ 873909 h 3363305"/>
                <a:gd name="connsiteX1464" fmla="*/ 1511750 w 3320377"/>
                <a:gd name="connsiteY1464" fmla="*/ 871627 h 3363305"/>
                <a:gd name="connsiteX1465" fmla="*/ 1507183 w 3320377"/>
                <a:gd name="connsiteY1465" fmla="*/ 864781 h 3363305"/>
                <a:gd name="connsiteX1466" fmla="*/ 1507183 w 3320377"/>
                <a:gd name="connsiteY1466" fmla="*/ 860218 h 3363305"/>
                <a:gd name="connsiteX1467" fmla="*/ 1509467 w 3320377"/>
                <a:gd name="connsiteY1467" fmla="*/ 853372 h 3363305"/>
                <a:gd name="connsiteX1468" fmla="*/ 1509467 w 3320377"/>
                <a:gd name="connsiteY1468" fmla="*/ 851090 h 3363305"/>
                <a:gd name="connsiteX1469" fmla="*/ 1507183 w 3320377"/>
                <a:gd name="connsiteY1469" fmla="*/ 851090 h 3363305"/>
                <a:gd name="connsiteX1470" fmla="*/ 1504899 w 3320377"/>
                <a:gd name="connsiteY1470" fmla="*/ 848808 h 3363305"/>
                <a:gd name="connsiteX1471" fmla="*/ 1498049 w 3320377"/>
                <a:gd name="connsiteY1471" fmla="*/ 848808 h 3363305"/>
                <a:gd name="connsiteX1472" fmla="*/ 1493481 w 3320377"/>
                <a:gd name="connsiteY1472" fmla="*/ 844245 h 3363305"/>
                <a:gd name="connsiteX1473" fmla="*/ 1493481 w 3320377"/>
                <a:gd name="connsiteY1473" fmla="*/ 841963 h 3363305"/>
                <a:gd name="connsiteX1474" fmla="*/ 1493481 w 3320377"/>
                <a:gd name="connsiteY1474" fmla="*/ 837399 h 3363305"/>
                <a:gd name="connsiteX1475" fmla="*/ 1495765 w 3320377"/>
                <a:gd name="connsiteY1475" fmla="*/ 837399 h 3363305"/>
                <a:gd name="connsiteX1476" fmla="*/ 1493481 w 3320377"/>
                <a:gd name="connsiteY1476" fmla="*/ 835117 h 3363305"/>
                <a:gd name="connsiteX1477" fmla="*/ 1491198 w 3320377"/>
                <a:gd name="connsiteY1477" fmla="*/ 832835 h 3363305"/>
                <a:gd name="connsiteX1478" fmla="*/ 1488914 w 3320377"/>
                <a:gd name="connsiteY1478" fmla="*/ 830553 h 3363305"/>
                <a:gd name="connsiteX1479" fmla="*/ 1486631 w 3320377"/>
                <a:gd name="connsiteY1479" fmla="*/ 830553 h 3363305"/>
                <a:gd name="connsiteX1480" fmla="*/ 1486631 w 3320377"/>
                <a:gd name="connsiteY1480" fmla="*/ 828271 h 3363305"/>
                <a:gd name="connsiteX1481" fmla="*/ 1486631 w 3320377"/>
                <a:gd name="connsiteY1481" fmla="*/ 825989 h 3363305"/>
                <a:gd name="connsiteX1482" fmla="*/ 1486631 w 3320377"/>
                <a:gd name="connsiteY1482" fmla="*/ 823707 h 3363305"/>
                <a:gd name="connsiteX1483" fmla="*/ 1486631 w 3320377"/>
                <a:gd name="connsiteY1483" fmla="*/ 821425 h 3363305"/>
                <a:gd name="connsiteX1484" fmla="*/ 1486631 w 3320377"/>
                <a:gd name="connsiteY1484" fmla="*/ 814580 h 3363305"/>
                <a:gd name="connsiteX1485" fmla="*/ 1486631 w 3320377"/>
                <a:gd name="connsiteY1485" fmla="*/ 812298 h 3363305"/>
                <a:gd name="connsiteX1486" fmla="*/ 1484347 w 3320377"/>
                <a:gd name="connsiteY1486" fmla="*/ 812298 h 3363305"/>
                <a:gd name="connsiteX1487" fmla="*/ 1486631 w 3320377"/>
                <a:gd name="connsiteY1487" fmla="*/ 810016 h 3363305"/>
                <a:gd name="connsiteX1488" fmla="*/ 1486631 w 3320377"/>
                <a:gd name="connsiteY1488" fmla="*/ 805452 h 3363305"/>
                <a:gd name="connsiteX1489" fmla="*/ 1486631 w 3320377"/>
                <a:gd name="connsiteY1489" fmla="*/ 803170 h 3363305"/>
                <a:gd name="connsiteX1490" fmla="*/ 1484347 w 3320377"/>
                <a:gd name="connsiteY1490" fmla="*/ 800888 h 3363305"/>
                <a:gd name="connsiteX1491" fmla="*/ 1482064 w 3320377"/>
                <a:gd name="connsiteY1491" fmla="*/ 798616 h 3363305"/>
                <a:gd name="connsiteX1492" fmla="*/ 1479780 w 3320377"/>
                <a:gd name="connsiteY1492" fmla="*/ 794052 h 3363305"/>
                <a:gd name="connsiteX1493" fmla="*/ 1477496 w 3320377"/>
                <a:gd name="connsiteY1493" fmla="*/ 791770 h 3363305"/>
                <a:gd name="connsiteX1494" fmla="*/ 1479780 w 3320377"/>
                <a:gd name="connsiteY1494" fmla="*/ 787207 h 3363305"/>
                <a:gd name="connsiteX1495" fmla="*/ 1479780 w 3320377"/>
                <a:gd name="connsiteY1495" fmla="*/ 784925 h 3363305"/>
                <a:gd name="connsiteX1496" fmla="*/ 1479780 w 3320377"/>
                <a:gd name="connsiteY1496" fmla="*/ 782643 h 3363305"/>
                <a:gd name="connsiteX1497" fmla="*/ 1482064 w 3320377"/>
                <a:gd name="connsiteY1497" fmla="*/ 782643 h 3363305"/>
                <a:gd name="connsiteX1498" fmla="*/ 1484347 w 3320377"/>
                <a:gd name="connsiteY1498" fmla="*/ 780361 h 3363305"/>
                <a:gd name="connsiteX1499" fmla="*/ 1484347 w 3320377"/>
                <a:gd name="connsiteY1499" fmla="*/ 778079 h 3363305"/>
                <a:gd name="connsiteX1500" fmla="*/ 1484347 w 3320377"/>
                <a:gd name="connsiteY1500" fmla="*/ 775797 h 3363305"/>
                <a:gd name="connsiteX1501" fmla="*/ 1484347 w 3320377"/>
                <a:gd name="connsiteY1501" fmla="*/ 773515 h 3363305"/>
                <a:gd name="connsiteX1502" fmla="*/ 1484347 w 3320377"/>
                <a:gd name="connsiteY1502" fmla="*/ 764388 h 3363305"/>
                <a:gd name="connsiteX1503" fmla="*/ 1484347 w 3320377"/>
                <a:gd name="connsiteY1503" fmla="*/ 759824 h 3363305"/>
                <a:gd name="connsiteX1504" fmla="*/ 1484347 w 3320377"/>
                <a:gd name="connsiteY1504" fmla="*/ 757542 h 3363305"/>
                <a:gd name="connsiteX1505" fmla="*/ 1484347 w 3320377"/>
                <a:gd name="connsiteY1505" fmla="*/ 755260 h 3363305"/>
                <a:gd name="connsiteX1506" fmla="*/ 1482064 w 3320377"/>
                <a:gd name="connsiteY1506" fmla="*/ 750696 h 3363305"/>
                <a:gd name="connsiteX1507" fmla="*/ 1482064 w 3320377"/>
                <a:gd name="connsiteY1507" fmla="*/ 746132 h 3363305"/>
                <a:gd name="connsiteX1508" fmla="*/ 1479780 w 3320377"/>
                <a:gd name="connsiteY1508" fmla="*/ 743851 h 3363305"/>
                <a:gd name="connsiteX1509" fmla="*/ 1477496 w 3320377"/>
                <a:gd name="connsiteY1509" fmla="*/ 739287 h 3363305"/>
                <a:gd name="connsiteX1510" fmla="*/ 1475213 w 3320377"/>
                <a:gd name="connsiteY1510" fmla="*/ 737005 h 3363305"/>
                <a:gd name="connsiteX1511" fmla="*/ 1472929 w 3320377"/>
                <a:gd name="connsiteY1511" fmla="*/ 734723 h 3363305"/>
                <a:gd name="connsiteX1512" fmla="*/ 1472929 w 3320377"/>
                <a:gd name="connsiteY1512" fmla="*/ 732441 h 3363305"/>
                <a:gd name="connsiteX1513" fmla="*/ 1472929 w 3320377"/>
                <a:gd name="connsiteY1513" fmla="*/ 730159 h 3363305"/>
                <a:gd name="connsiteX1514" fmla="*/ 1470646 w 3320377"/>
                <a:gd name="connsiteY1514" fmla="*/ 721032 h 3363305"/>
                <a:gd name="connsiteX1515" fmla="*/ 1472929 w 3320377"/>
                <a:gd name="connsiteY1515" fmla="*/ 718750 h 3363305"/>
                <a:gd name="connsiteX1516" fmla="*/ 1472929 w 3320377"/>
                <a:gd name="connsiteY1516" fmla="*/ 714186 h 3363305"/>
                <a:gd name="connsiteX1517" fmla="*/ 1472929 w 3320377"/>
                <a:gd name="connsiteY1517" fmla="*/ 711904 h 3363305"/>
                <a:gd name="connsiteX1518" fmla="*/ 1472929 w 3320377"/>
                <a:gd name="connsiteY1518" fmla="*/ 709622 h 3363305"/>
                <a:gd name="connsiteX1519" fmla="*/ 1472929 w 3320377"/>
                <a:gd name="connsiteY1519" fmla="*/ 707340 h 3363305"/>
                <a:gd name="connsiteX1520" fmla="*/ 1472929 w 3320377"/>
                <a:gd name="connsiteY1520" fmla="*/ 700495 h 3363305"/>
                <a:gd name="connsiteX1521" fmla="*/ 1472929 w 3320377"/>
                <a:gd name="connsiteY1521" fmla="*/ 698213 h 3363305"/>
                <a:gd name="connsiteX1522" fmla="*/ 1472929 w 3320377"/>
                <a:gd name="connsiteY1522" fmla="*/ 691367 h 3363305"/>
                <a:gd name="connsiteX1523" fmla="*/ 1475213 w 3320377"/>
                <a:gd name="connsiteY1523" fmla="*/ 686803 h 3363305"/>
                <a:gd name="connsiteX1524" fmla="*/ 1477496 w 3320377"/>
                <a:gd name="connsiteY1524" fmla="*/ 682239 h 3363305"/>
                <a:gd name="connsiteX1525" fmla="*/ 1479780 w 3320377"/>
                <a:gd name="connsiteY1525" fmla="*/ 682239 h 3363305"/>
                <a:gd name="connsiteX1526" fmla="*/ 1484347 w 3320377"/>
                <a:gd name="connsiteY1526" fmla="*/ 679957 h 3363305"/>
                <a:gd name="connsiteX1527" fmla="*/ 1486631 w 3320377"/>
                <a:gd name="connsiteY1527" fmla="*/ 677676 h 3363305"/>
                <a:gd name="connsiteX1528" fmla="*/ 1488914 w 3320377"/>
                <a:gd name="connsiteY1528" fmla="*/ 677676 h 3363305"/>
                <a:gd name="connsiteX1529" fmla="*/ 1491198 w 3320377"/>
                <a:gd name="connsiteY1529" fmla="*/ 670830 h 3363305"/>
                <a:gd name="connsiteX1530" fmla="*/ 1491198 w 3320377"/>
                <a:gd name="connsiteY1530" fmla="*/ 668548 h 3363305"/>
                <a:gd name="connsiteX1531" fmla="*/ 1493481 w 3320377"/>
                <a:gd name="connsiteY1531" fmla="*/ 668548 h 3363305"/>
                <a:gd name="connsiteX1532" fmla="*/ 1493481 w 3320377"/>
                <a:gd name="connsiteY1532" fmla="*/ 666266 h 3363305"/>
                <a:gd name="connsiteX1533" fmla="*/ 1495765 w 3320377"/>
                <a:gd name="connsiteY1533" fmla="*/ 666266 h 3363305"/>
                <a:gd name="connsiteX1534" fmla="*/ 1498049 w 3320377"/>
                <a:gd name="connsiteY1534" fmla="*/ 666266 h 3363305"/>
                <a:gd name="connsiteX1535" fmla="*/ 1498049 w 3320377"/>
                <a:gd name="connsiteY1535" fmla="*/ 663984 h 3363305"/>
                <a:gd name="connsiteX1536" fmla="*/ 1500332 w 3320377"/>
                <a:gd name="connsiteY1536" fmla="*/ 663984 h 3363305"/>
                <a:gd name="connsiteX1537" fmla="*/ 1502616 w 3320377"/>
                <a:gd name="connsiteY1537" fmla="*/ 654857 h 3363305"/>
                <a:gd name="connsiteX1538" fmla="*/ 1504899 w 3320377"/>
                <a:gd name="connsiteY1538" fmla="*/ 650302 h 3363305"/>
                <a:gd name="connsiteX1539" fmla="*/ 1507183 w 3320377"/>
                <a:gd name="connsiteY1539" fmla="*/ 648011 h 3363305"/>
                <a:gd name="connsiteX1540" fmla="*/ 1507183 w 3320377"/>
                <a:gd name="connsiteY1540" fmla="*/ 643457 h 3363305"/>
                <a:gd name="connsiteX1541" fmla="*/ 1509467 w 3320377"/>
                <a:gd name="connsiteY1541" fmla="*/ 638893 h 3363305"/>
                <a:gd name="connsiteX1542" fmla="*/ 1514034 w 3320377"/>
                <a:gd name="connsiteY1542" fmla="*/ 634329 h 3363305"/>
                <a:gd name="connsiteX1543" fmla="*/ 1516317 w 3320377"/>
                <a:gd name="connsiteY1543" fmla="*/ 629765 h 3363305"/>
                <a:gd name="connsiteX1544" fmla="*/ 1518601 w 3320377"/>
                <a:gd name="connsiteY1544" fmla="*/ 627483 h 3363305"/>
                <a:gd name="connsiteX1545" fmla="*/ 1523168 w 3320377"/>
                <a:gd name="connsiteY1545" fmla="*/ 618356 h 3363305"/>
                <a:gd name="connsiteX1546" fmla="*/ 1523168 w 3320377"/>
                <a:gd name="connsiteY1546" fmla="*/ 616074 h 3363305"/>
                <a:gd name="connsiteX1547" fmla="*/ 1525452 w 3320377"/>
                <a:gd name="connsiteY1547" fmla="*/ 616074 h 3363305"/>
                <a:gd name="connsiteX1548" fmla="*/ 1527735 w 3320377"/>
                <a:gd name="connsiteY1548" fmla="*/ 616074 h 3363305"/>
                <a:gd name="connsiteX1549" fmla="*/ 1530019 w 3320377"/>
                <a:gd name="connsiteY1549" fmla="*/ 613792 h 3363305"/>
                <a:gd name="connsiteX1550" fmla="*/ 1532303 w 3320377"/>
                <a:gd name="connsiteY1550" fmla="*/ 613792 h 3363305"/>
                <a:gd name="connsiteX1551" fmla="*/ 1532303 w 3320377"/>
                <a:gd name="connsiteY1551" fmla="*/ 611510 h 3363305"/>
                <a:gd name="connsiteX1552" fmla="*/ 1534586 w 3320377"/>
                <a:gd name="connsiteY1552" fmla="*/ 611510 h 3363305"/>
                <a:gd name="connsiteX1553" fmla="*/ 1534586 w 3320377"/>
                <a:gd name="connsiteY1553" fmla="*/ 609228 h 3363305"/>
                <a:gd name="connsiteX1554" fmla="*/ 1534586 w 3320377"/>
                <a:gd name="connsiteY1554" fmla="*/ 606946 h 3363305"/>
                <a:gd name="connsiteX1555" fmla="*/ 1536870 w 3320377"/>
                <a:gd name="connsiteY1555" fmla="*/ 604664 h 3363305"/>
                <a:gd name="connsiteX1556" fmla="*/ 1536870 w 3320377"/>
                <a:gd name="connsiteY1556" fmla="*/ 602383 h 3363305"/>
                <a:gd name="connsiteX1557" fmla="*/ 1539153 w 3320377"/>
                <a:gd name="connsiteY1557" fmla="*/ 597819 h 3363305"/>
                <a:gd name="connsiteX1558" fmla="*/ 1541437 w 3320377"/>
                <a:gd name="connsiteY1558" fmla="*/ 595537 h 3363305"/>
                <a:gd name="connsiteX1559" fmla="*/ 1541437 w 3320377"/>
                <a:gd name="connsiteY1559" fmla="*/ 593255 h 3363305"/>
                <a:gd name="connsiteX1560" fmla="*/ 1541437 w 3320377"/>
                <a:gd name="connsiteY1560" fmla="*/ 588691 h 3363305"/>
                <a:gd name="connsiteX1561" fmla="*/ 1543721 w 3320377"/>
                <a:gd name="connsiteY1561" fmla="*/ 584127 h 3363305"/>
                <a:gd name="connsiteX1562" fmla="*/ 1543721 w 3320377"/>
                <a:gd name="connsiteY1562" fmla="*/ 579563 h 3363305"/>
                <a:gd name="connsiteX1563" fmla="*/ 1543721 w 3320377"/>
                <a:gd name="connsiteY1563" fmla="*/ 577282 h 3363305"/>
                <a:gd name="connsiteX1564" fmla="*/ 1543721 w 3320377"/>
                <a:gd name="connsiteY1564" fmla="*/ 575000 h 3363305"/>
                <a:gd name="connsiteX1565" fmla="*/ 1543721 w 3320377"/>
                <a:gd name="connsiteY1565" fmla="*/ 572718 h 3363305"/>
                <a:gd name="connsiteX1566" fmla="*/ 1543721 w 3320377"/>
                <a:gd name="connsiteY1566" fmla="*/ 570436 h 3363305"/>
                <a:gd name="connsiteX1567" fmla="*/ 1546004 w 3320377"/>
                <a:gd name="connsiteY1567" fmla="*/ 570436 h 3363305"/>
                <a:gd name="connsiteX1568" fmla="*/ 1548288 w 3320377"/>
                <a:gd name="connsiteY1568" fmla="*/ 568154 h 3363305"/>
                <a:gd name="connsiteX1569" fmla="*/ 1552855 w 3320377"/>
                <a:gd name="connsiteY1569" fmla="*/ 565872 h 3363305"/>
                <a:gd name="connsiteX1570" fmla="*/ 1552855 w 3320377"/>
                <a:gd name="connsiteY1570" fmla="*/ 563590 h 3363305"/>
                <a:gd name="connsiteX1571" fmla="*/ 1555139 w 3320377"/>
                <a:gd name="connsiteY1571" fmla="*/ 563590 h 3363305"/>
                <a:gd name="connsiteX1572" fmla="*/ 1555139 w 3320377"/>
                <a:gd name="connsiteY1572" fmla="*/ 561308 h 3363305"/>
                <a:gd name="connsiteX1573" fmla="*/ 1557422 w 3320377"/>
                <a:gd name="connsiteY1573" fmla="*/ 559027 h 3363305"/>
                <a:gd name="connsiteX1574" fmla="*/ 1557422 w 3320377"/>
                <a:gd name="connsiteY1574" fmla="*/ 556745 h 3363305"/>
                <a:gd name="connsiteX1575" fmla="*/ 1559706 w 3320377"/>
                <a:gd name="connsiteY1575" fmla="*/ 552181 h 3363305"/>
                <a:gd name="connsiteX1576" fmla="*/ 1557422 w 3320377"/>
                <a:gd name="connsiteY1576" fmla="*/ 549899 h 3363305"/>
                <a:gd name="connsiteX1577" fmla="*/ 1557422 w 3320377"/>
                <a:gd name="connsiteY1577" fmla="*/ 547617 h 3363305"/>
                <a:gd name="connsiteX1578" fmla="*/ 1555139 w 3320377"/>
                <a:gd name="connsiteY1578" fmla="*/ 547617 h 3363305"/>
                <a:gd name="connsiteX1579" fmla="*/ 1552855 w 3320377"/>
                <a:gd name="connsiteY1579" fmla="*/ 547617 h 3363305"/>
                <a:gd name="connsiteX1580" fmla="*/ 1550571 w 3320377"/>
                <a:gd name="connsiteY1580" fmla="*/ 547617 h 3363305"/>
                <a:gd name="connsiteX1581" fmla="*/ 1548288 w 3320377"/>
                <a:gd name="connsiteY1581" fmla="*/ 547617 h 3363305"/>
                <a:gd name="connsiteX1582" fmla="*/ 1546004 w 3320377"/>
                <a:gd name="connsiteY1582" fmla="*/ 545335 h 3363305"/>
                <a:gd name="connsiteX1583" fmla="*/ 1543721 w 3320377"/>
                <a:gd name="connsiteY1583" fmla="*/ 543053 h 3363305"/>
                <a:gd name="connsiteX1584" fmla="*/ 1543721 w 3320377"/>
                <a:gd name="connsiteY1584" fmla="*/ 540771 h 3363305"/>
                <a:gd name="connsiteX1585" fmla="*/ 1546004 w 3320377"/>
                <a:gd name="connsiteY1585" fmla="*/ 540771 h 3363305"/>
                <a:gd name="connsiteX1586" fmla="*/ 1548288 w 3320377"/>
                <a:gd name="connsiteY1586" fmla="*/ 533926 h 3363305"/>
                <a:gd name="connsiteX1587" fmla="*/ 1550571 w 3320377"/>
                <a:gd name="connsiteY1587" fmla="*/ 533926 h 3363305"/>
                <a:gd name="connsiteX1588" fmla="*/ 1550571 w 3320377"/>
                <a:gd name="connsiteY1588" fmla="*/ 531644 h 3363305"/>
                <a:gd name="connsiteX1589" fmla="*/ 1548288 w 3320377"/>
                <a:gd name="connsiteY1589" fmla="*/ 529362 h 3363305"/>
                <a:gd name="connsiteX1590" fmla="*/ 1546004 w 3320377"/>
                <a:gd name="connsiteY1590" fmla="*/ 524798 h 3363305"/>
                <a:gd name="connsiteX1591" fmla="*/ 1543721 w 3320377"/>
                <a:gd name="connsiteY1591" fmla="*/ 522516 h 3363305"/>
                <a:gd name="connsiteX1592" fmla="*/ 1543721 w 3320377"/>
                <a:gd name="connsiteY1592" fmla="*/ 520234 h 3363305"/>
                <a:gd name="connsiteX1593" fmla="*/ 1546004 w 3320377"/>
                <a:gd name="connsiteY1593" fmla="*/ 515670 h 3363305"/>
                <a:gd name="connsiteX1594" fmla="*/ 1548288 w 3320377"/>
                <a:gd name="connsiteY1594" fmla="*/ 515670 h 3363305"/>
                <a:gd name="connsiteX1595" fmla="*/ 1546004 w 3320377"/>
                <a:gd name="connsiteY1595" fmla="*/ 511107 h 3363305"/>
                <a:gd name="connsiteX1596" fmla="*/ 1541437 w 3320377"/>
                <a:gd name="connsiteY1596" fmla="*/ 504261 h 3363305"/>
                <a:gd name="connsiteX1597" fmla="*/ 1539153 w 3320377"/>
                <a:gd name="connsiteY1597" fmla="*/ 501979 h 3363305"/>
                <a:gd name="connsiteX1598" fmla="*/ 1539153 w 3320377"/>
                <a:gd name="connsiteY1598" fmla="*/ 499697 h 3363305"/>
                <a:gd name="connsiteX1599" fmla="*/ 1541437 w 3320377"/>
                <a:gd name="connsiteY1599" fmla="*/ 497415 h 3363305"/>
                <a:gd name="connsiteX1600" fmla="*/ 1543721 w 3320377"/>
                <a:gd name="connsiteY1600" fmla="*/ 492851 h 3363305"/>
                <a:gd name="connsiteX1601" fmla="*/ 1543721 w 3320377"/>
                <a:gd name="connsiteY1601" fmla="*/ 490570 h 3363305"/>
                <a:gd name="connsiteX1602" fmla="*/ 1543721 w 3320377"/>
                <a:gd name="connsiteY1602" fmla="*/ 488297 h 3363305"/>
                <a:gd name="connsiteX1603" fmla="*/ 1546004 w 3320377"/>
                <a:gd name="connsiteY1603" fmla="*/ 486015 h 3363305"/>
                <a:gd name="connsiteX1604" fmla="*/ 1546004 w 3320377"/>
                <a:gd name="connsiteY1604" fmla="*/ 483733 h 3363305"/>
                <a:gd name="connsiteX1605" fmla="*/ 1546004 w 3320377"/>
                <a:gd name="connsiteY1605" fmla="*/ 481451 h 3363305"/>
                <a:gd name="connsiteX1606" fmla="*/ 1546004 w 3320377"/>
                <a:gd name="connsiteY1606" fmla="*/ 479170 h 3363305"/>
                <a:gd name="connsiteX1607" fmla="*/ 1543721 w 3320377"/>
                <a:gd name="connsiteY1607" fmla="*/ 476888 h 3363305"/>
                <a:gd name="connsiteX1608" fmla="*/ 1541437 w 3320377"/>
                <a:gd name="connsiteY1608" fmla="*/ 476888 h 3363305"/>
                <a:gd name="connsiteX1609" fmla="*/ 1539153 w 3320377"/>
                <a:gd name="connsiteY1609" fmla="*/ 474606 h 3363305"/>
                <a:gd name="connsiteX1610" fmla="*/ 1534586 w 3320377"/>
                <a:gd name="connsiteY1610" fmla="*/ 470042 h 3363305"/>
                <a:gd name="connsiteX1611" fmla="*/ 1534586 w 3320377"/>
                <a:gd name="connsiteY1611" fmla="*/ 467760 h 3363305"/>
                <a:gd name="connsiteX1612" fmla="*/ 1532303 w 3320377"/>
                <a:gd name="connsiteY1612" fmla="*/ 463196 h 3363305"/>
                <a:gd name="connsiteX1613" fmla="*/ 1532303 w 3320377"/>
                <a:gd name="connsiteY1613" fmla="*/ 460915 h 3363305"/>
                <a:gd name="connsiteX1614" fmla="*/ 1532303 w 3320377"/>
                <a:gd name="connsiteY1614" fmla="*/ 458633 h 3363305"/>
                <a:gd name="connsiteX1615" fmla="*/ 1532303 w 3320377"/>
                <a:gd name="connsiteY1615" fmla="*/ 456351 h 3363305"/>
                <a:gd name="connsiteX1616" fmla="*/ 1534586 w 3320377"/>
                <a:gd name="connsiteY1616" fmla="*/ 451787 h 3363305"/>
                <a:gd name="connsiteX1617" fmla="*/ 1534586 w 3320377"/>
                <a:gd name="connsiteY1617" fmla="*/ 449505 h 3363305"/>
                <a:gd name="connsiteX1618" fmla="*/ 1534586 w 3320377"/>
                <a:gd name="connsiteY1618" fmla="*/ 447223 h 3363305"/>
                <a:gd name="connsiteX1619" fmla="*/ 1534586 w 3320377"/>
                <a:gd name="connsiteY1619" fmla="*/ 444941 h 3363305"/>
                <a:gd name="connsiteX1620" fmla="*/ 1532303 w 3320377"/>
                <a:gd name="connsiteY1620" fmla="*/ 442659 h 3363305"/>
                <a:gd name="connsiteX1621" fmla="*/ 1530019 w 3320377"/>
                <a:gd name="connsiteY1621" fmla="*/ 442659 h 3363305"/>
                <a:gd name="connsiteX1622" fmla="*/ 1530019 w 3320377"/>
                <a:gd name="connsiteY1622" fmla="*/ 440377 h 3363305"/>
                <a:gd name="connsiteX1623" fmla="*/ 1527735 w 3320377"/>
                <a:gd name="connsiteY1623" fmla="*/ 440377 h 3363305"/>
                <a:gd name="connsiteX1624" fmla="*/ 1525452 w 3320377"/>
                <a:gd name="connsiteY1624" fmla="*/ 440377 h 3363305"/>
                <a:gd name="connsiteX1625" fmla="*/ 1525452 w 3320377"/>
                <a:gd name="connsiteY1625" fmla="*/ 438095 h 3363305"/>
                <a:gd name="connsiteX1626" fmla="*/ 1525452 w 3320377"/>
                <a:gd name="connsiteY1626" fmla="*/ 435814 h 3363305"/>
                <a:gd name="connsiteX1627" fmla="*/ 1525452 w 3320377"/>
                <a:gd name="connsiteY1627" fmla="*/ 433532 h 3363305"/>
                <a:gd name="connsiteX1628" fmla="*/ 1525452 w 3320377"/>
                <a:gd name="connsiteY1628" fmla="*/ 428968 h 3363305"/>
                <a:gd name="connsiteX1629" fmla="*/ 1525452 w 3320377"/>
                <a:gd name="connsiteY1629" fmla="*/ 422122 h 3363305"/>
                <a:gd name="connsiteX1630" fmla="*/ 1525452 w 3320377"/>
                <a:gd name="connsiteY1630" fmla="*/ 419840 h 3363305"/>
                <a:gd name="connsiteX1631" fmla="*/ 1525452 w 3320377"/>
                <a:gd name="connsiteY1631" fmla="*/ 417558 h 3363305"/>
                <a:gd name="connsiteX1632" fmla="*/ 1523168 w 3320377"/>
                <a:gd name="connsiteY1632" fmla="*/ 417558 h 3363305"/>
                <a:gd name="connsiteX1633" fmla="*/ 1520885 w 3320377"/>
                <a:gd name="connsiteY1633" fmla="*/ 417558 h 3363305"/>
                <a:gd name="connsiteX1634" fmla="*/ 1514034 w 3320377"/>
                <a:gd name="connsiteY1634" fmla="*/ 426686 h 3363305"/>
                <a:gd name="connsiteX1635" fmla="*/ 1511750 w 3320377"/>
                <a:gd name="connsiteY1635" fmla="*/ 426686 h 3363305"/>
                <a:gd name="connsiteX1636" fmla="*/ 1509467 w 3320377"/>
                <a:gd name="connsiteY1636" fmla="*/ 426686 h 3363305"/>
                <a:gd name="connsiteX1637" fmla="*/ 1507183 w 3320377"/>
                <a:gd name="connsiteY1637" fmla="*/ 424404 h 3363305"/>
                <a:gd name="connsiteX1638" fmla="*/ 1509467 w 3320377"/>
                <a:gd name="connsiteY1638" fmla="*/ 417558 h 3363305"/>
                <a:gd name="connsiteX1639" fmla="*/ 1509467 w 3320377"/>
                <a:gd name="connsiteY1639" fmla="*/ 415277 h 3363305"/>
                <a:gd name="connsiteX1640" fmla="*/ 1511750 w 3320377"/>
                <a:gd name="connsiteY1640" fmla="*/ 415277 h 3363305"/>
                <a:gd name="connsiteX1641" fmla="*/ 1511750 w 3320377"/>
                <a:gd name="connsiteY1641" fmla="*/ 412995 h 3363305"/>
                <a:gd name="connsiteX1642" fmla="*/ 1514034 w 3320377"/>
                <a:gd name="connsiteY1642" fmla="*/ 410713 h 3363305"/>
                <a:gd name="connsiteX1643" fmla="*/ 1511750 w 3320377"/>
                <a:gd name="connsiteY1643" fmla="*/ 410713 h 3363305"/>
                <a:gd name="connsiteX1644" fmla="*/ 1511750 w 3320377"/>
                <a:gd name="connsiteY1644" fmla="*/ 408431 h 3363305"/>
                <a:gd name="connsiteX1645" fmla="*/ 1509467 w 3320377"/>
                <a:gd name="connsiteY1645" fmla="*/ 408431 h 3363305"/>
                <a:gd name="connsiteX1646" fmla="*/ 1507183 w 3320377"/>
                <a:gd name="connsiteY1646" fmla="*/ 406149 h 3363305"/>
                <a:gd name="connsiteX1647" fmla="*/ 1504899 w 3320377"/>
                <a:gd name="connsiteY1647" fmla="*/ 406149 h 3363305"/>
                <a:gd name="connsiteX1648" fmla="*/ 1504899 w 3320377"/>
                <a:gd name="connsiteY1648" fmla="*/ 403867 h 3363305"/>
                <a:gd name="connsiteX1649" fmla="*/ 1502616 w 3320377"/>
                <a:gd name="connsiteY1649" fmla="*/ 403867 h 3363305"/>
                <a:gd name="connsiteX1650" fmla="*/ 1502616 w 3320377"/>
                <a:gd name="connsiteY1650" fmla="*/ 401585 h 3363305"/>
                <a:gd name="connsiteX1651" fmla="*/ 1502616 w 3320377"/>
                <a:gd name="connsiteY1651" fmla="*/ 399303 h 3363305"/>
                <a:gd name="connsiteX1652" fmla="*/ 1500332 w 3320377"/>
                <a:gd name="connsiteY1652" fmla="*/ 392458 h 3363305"/>
                <a:gd name="connsiteX1653" fmla="*/ 1500332 w 3320377"/>
                <a:gd name="connsiteY1653" fmla="*/ 390176 h 3363305"/>
                <a:gd name="connsiteX1654" fmla="*/ 1498049 w 3320377"/>
                <a:gd name="connsiteY1654" fmla="*/ 387894 h 3363305"/>
                <a:gd name="connsiteX1655" fmla="*/ 1491198 w 3320377"/>
                <a:gd name="connsiteY1655" fmla="*/ 378766 h 3363305"/>
                <a:gd name="connsiteX1656" fmla="*/ 1488914 w 3320377"/>
                <a:gd name="connsiteY1656" fmla="*/ 376484 h 3363305"/>
                <a:gd name="connsiteX1657" fmla="*/ 1486631 w 3320377"/>
                <a:gd name="connsiteY1657" fmla="*/ 376484 h 3363305"/>
                <a:gd name="connsiteX1658" fmla="*/ 1484347 w 3320377"/>
                <a:gd name="connsiteY1658" fmla="*/ 374202 h 3363305"/>
                <a:gd name="connsiteX1659" fmla="*/ 1482064 w 3320377"/>
                <a:gd name="connsiteY1659" fmla="*/ 371921 h 3363305"/>
                <a:gd name="connsiteX1660" fmla="*/ 1479780 w 3320377"/>
                <a:gd name="connsiteY1660" fmla="*/ 367357 h 3363305"/>
                <a:gd name="connsiteX1661" fmla="*/ 1479780 w 3320377"/>
                <a:gd name="connsiteY1661" fmla="*/ 365075 h 3363305"/>
                <a:gd name="connsiteX1662" fmla="*/ 1484347 w 3320377"/>
                <a:gd name="connsiteY1662" fmla="*/ 355947 h 3363305"/>
                <a:gd name="connsiteX1663" fmla="*/ 1484347 w 3320377"/>
                <a:gd name="connsiteY1663" fmla="*/ 353665 h 3363305"/>
                <a:gd name="connsiteX1664" fmla="*/ 1484347 w 3320377"/>
                <a:gd name="connsiteY1664" fmla="*/ 351383 h 3363305"/>
                <a:gd name="connsiteX1665" fmla="*/ 1484347 w 3320377"/>
                <a:gd name="connsiteY1665" fmla="*/ 349102 h 3363305"/>
                <a:gd name="connsiteX1666" fmla="*/ 1482064 w 3320377"/>
                <a:gd name="connsiteY1666" fmla="*/ 349102 h 3363305"/>
                <a:gd name="connsiteX1667" fmla="*/ 1479780 w 3320377"/>
                <a:gd name="connsiteY1667" fmla="*/ 349102 h 3363305"/>
                <a:gd name="connsiteX1668" fmla="*/ 1477496 w 3320377"/>
                <a:gd name="connsiteY1668" fmla="*/ 349102 h 3363305"/>
                <a:gd name="connsiteX1669" fmla="*/ 1475213 w 3320377"/>
                <a:gd name="connsiteY1669" fmla="*/ 351383 h 3363305"/>
                <a:gd name="connsiteX1670" fmla="*/ 1472929 w 3320377"/>
                <a:gd name="connsiteY1670" fmla="*/ 351383 h 3363305"/>
                <a:gd name="connsiteX1671" fmla="*/ 1470646 w 3320377"/>
                <a:gd name="connsiteY1671" fmla="*/ 349102 h 3363305"/>
                <a:gd name="connsiteX1672" fmla="*/ 1470646 w 3320377"/>
                <a:gd name="connsiteY1672" fmla="*/ 344538 h 3363305"/>
                <a:gd name="connsiteX1673" fmla="*/ 1475213 w 3320377"/>
                <a:gd name="connsiteY1673" fmla="*/ 339974 h 3363305"/>
                <a:gd name="connsiteX1674" fmla="*/ 1477496 w 3320377"/>
                <a:gd name="connsiteY1674" fmla="*/ 339974 h 3363305"/>
                <a:gd name="connsiteX1675" fmla="*/ 1479780 w 3320377"/>
                <a:gd name="connsiteY1675" fmla="*/ 337692 h 3363305"/>
                <a:gd name="connsiteX1676" fmla="*/ 1482064 w 3320377"/>
                <a:gd name="connsiteY1676" fmla="*/ 335420 h 3363305"/>
                <a:gd name="connsiteX1677" fmla="*/ 1484347 w 3320377"/>
                <a:gd name="connsiteY1677" fmla="*/ 333128 h 3363305"/>
                <a:gd name="connsiteX1678" fmla="*/ 1484347 w 3320377"/>
                <a:gd name="connsiteY1678" fmla="*/ 330846 h 3363305"/>
                <a:gd name="connsiteX1679" fmla="*/ 1484347 w 3320377"/>
                <a:gd name="connsiteY1679" fmla="*/ 328574 h 3363305"/>
                <a:gd name="connsiteX1680" fmla="*/ 1475213 w 3320377"/>
                <a:gd name="connsiteY1680" fmla="*/ 314883 h 3363305"/>
                <a:gd name="connsiteX1681" fmla="*/ 1472929 w 3320377"/>
                <a:gd name="connsiteY1681" fmla="*/ 312601 h 3363305"/>
                <a:gd name="connsiteX1682" fmla="*/ 1466078 w 3320377"/>
                <a:gd name="connsiteY1682" fmla="*/ 308037 h 3363305"/>
                <a:gd name="connsiteX1683" fmla="*/ 1463795 w 3320377"/>
                <a:gd name="connsiteY1683" fmla="*/ 308037 h 3363305"/>
                <a:gd name="connsiteX1684" fmla="*/ 1461511 w 3320377"/>
                <a:gd name="connsiteY1684" fmla="*/ 305755 h 3363305"/>
                <a:gd name="connsiteX1685" fmla="*/ 1461511 w 3320377"/>
                <a:gd name="connsiteY1685" fmla="*/ 303473 h 3363305"/>
                <a:gd name="connsiteX1686" fmla="*/ 1461511 w 3320377"/>
                <a:gd name="connsiteY1686" fmla="*/ 301191 h 3363305"/>
                <a:gd name="connsiteX1687" fmla="*/ 1461511 w 3320377"/>
                <a:gd name="connsiteY1687" fmla="*/ 298909 h 3363305"/>
                <a:gd name="connsiteX1688" fmla="*/ 1463795 w 3320377"/>
                <a:gd name="connsiteY1688" fmla="*/ 296627 h 3363305"/>
                <a:gd name="connsiteX1689" fmla="*/ 1463795 w 3320377"/>
                <a:gd name="connsiteY1689" fmla="*/ 292064 h 3363305"/>
                <a:gd name="connsiteX1690" fmla="*/ 1463795 w 3320377"/>
                <a:gd name="connsiteY1690" fmla="*/ 285218 h 3363305"/>
                <a:gd name="connsiteX1691" fmla="*/ 1466078 w 3320377"/>
                <a:gd name="connsiteY1691" fmla="*/ 282936 h 3363305"/>
                <a:gd name="connsiteX1692" fmla="*/ 1468362 w 3320377"/>
                <a:gd name="connsiteY1692" fmla="*/ 282936 h 3363305"/>
                <a:gd name="connsiteX1693" fmla="*/ 1470646 w 3320377"/>
                <a:gd name="connsiteY1693" fmla="*/ 282936 h 3363305"/>
                <a:gd name="connsiteX1694" fmla="*/ 1472929 w 3320377"/>
                <a:gd name="connsiteY1694" fmla="*/ 282936 h 3363305"/>
                <a:gd name="connsiteX1695" fmla="*/ 1475213 w 3320377"/>
                <a:gd name="connsiteY1695" fmla="*/ 280654 h 3363305"/>
                <a:gd name="connsiteX1696" fmla="*/ 1477496 w 3320377"/>
                <a:gd name="connsiteY1696" fmla="*/ 278372 h 3363305"/>
                <a:gd name="connsiteX1697" fmla="*/ 1475213 w 3320377"/>
                <a:gd name="connsiteY1697" fmla="*/ 276090 h 3363305"/>
                <a:gd name="connsiteX1698" fmla="*/ 1475213 w 3320377"/>
                <a:gd name="connsiteY1698" fmla="*/ 273809 h 3363305"/>
                <a:gd name="connsiteX1699" fmla="*/ 1472929 w 3320377"/>
                <a:gd name="connsiteY1699" fmla="*/ 273809 h 3363305"/>
                <a:gd name="connsiteX1700" fmla="*/ 1472929 w 3320377"/>
                <a:gd name="connsiteY1700" fmla="*/ 271527 h 3363305"/>
                <a:gd name="connsiteX1701" fmla="*/ 1470646 w 3320377"/>
                <a:gd name="connsiteY1701" fmla="*/ 271527 h 3363305"/>
                <a:gd name="connsiteX1702" fmla="*/ 1470646 w 3320377"/>
                <a:gd name="connsiteY1702" fmla="*/ 273809 h 3363305"/>
                <a:gd name="connsiteX1703" fmla="*/ 1468362 w 3320377"/>
                <a:gd name="connsiteY1703" fmla="*/ 273809 h 3363305"/>
                <a:gd name="connsiteX1704" fmla="*/ 1466078 w 3320377"/>
                <a:gd name="connsiteY1704" fmla="*/ 276090 h 3363305"/>
                <a:gd name="connsiteX1705" fmla="*/ 1466078 w 3320377"/>
                <a:gd name="connsiteY1705" fmla="*/ 278372 h 3363305"/>
                <a:gd name="connsiteX1706" fmla="*/ 1463795 w 3320377"/>
                <a:gd name="connsiteY1706" fmla="*/ 278372 h 3363305"/>
                <a:gd name="connsiteX1707" fmla="*/ 1459227 w 3320377"/>
                <a:gd name="connsiteY1707" fmla="*/ 278372 h 3363305"/>
                <a:gd name="connsiteX1708" fmla="*/ 1456944 w 3320377"/>
                <a:gd name="connsiteY1708" fmla="*/ 276090 h 3363305"/>
                <a:gd name="connsiteX1709" fmla="*/ 1454660 w 3320377"/>
                <a:gd name="connsiteY1709" fmla="*/ 276090 h 3363305"/>
                <a:gd name="connsiteX1710" fmla="*/ 1454660 w 3320377"/>
                <a:gd name="connsiteY1710" fmla="*/ 273809 h 3363305"/>
                <a:gd name="connsiteX1711" fmla="*/ 1454660 w 3320377"/>
                <a:gd name="connsiteY1711" fmla="*/ 271527 h 3363305"/>
                <a:gd name="connsiteX1712" fmla="*/ 1456944 w 3320377"/>
                <a:gd name="connsiteY1712" fmla="*/ 271527 h 3363305"/>
                <a:gd name="connsiteX1713" fmla="*/ 1456944 w 3320377"/>
                <a:gd name="connsiteY1713" fmla="*/ 269245 h 3363305"/>
                <a:gd name="connsiteX1714" fmla="*/ 1459227 w 3320377"/>
                <a:gd name="connsiteY1714" fmla="*/ 269245 h 3363305"/>
                <a:gd name="connsiteX1715" fmla="*/ 1459227 w 3320377"/>
                <a:gd name="connsiteY1715" fmla="*/ 266963 h 3363305"/>
                <a:gd name="connsiteX1716" fmla="*/ 1456944 w 3320377"/>
                <a:gd name="connsiteY1716" fmla="*/ 264681 h 3363305"/>
                <a:gd name="connsiteX1717" fmla="*/ 1454660 w 3320377"/>
                <a:gd name="connsiteY1717" fmla="*/ 264681 h 3363305"/>
                <a:gd name="connsiteX1718" fmla="*/ 1452377 w 3320377"/>
                <a:gd name="connsiteY1718" fmla="*/ 266963 h 3363305"/>
                <a:gd name="connsiteX1719" fmla="*/ 1450093 w 3320377"/>
                <a:gd name="connsiteY1719" fmla="*/ 266963 h 3363305"/>
                <a:gd name="connsiteX1720" fmla="*/ 1450093 w 3320377"/>
                <a:gd name="connsiteY1720" fmla="*/ 264681 h 3363305"/>
                <a:gd name="connsiteX1721" fmla="*/ 1447810 w 3320377"/>
                <a:gd name="connsiteY1721" fmla="*/ 264681 h 3363305"/>
                <a:gd name="connsiteX1722" fmla="*/ 1447810 w 3320377"/>
                <a:gd name="connsiteY1722" fmla="*/ 262399 h 3363305"/>
                <a:gd name="connsiteX1723" fmla="*/ 1447810 w 3320377"/>
                <a:gd name="connsiteY1723" fmla="*/ 260117 h 3363305"/>
                <a:gd name="connsiteX1724" fmla="*/ 1450093 w 3320377"/>
                <a:gd name="connsiteY1724" fmla="*/ 255553 h 3363305"/>
                <a:gd name="connsiteX1725" fmla="*/ 1447810 w 3320377"/>
                <a:gd name="connsiteY1725" fmla="*/ 253271 h 3363305"/>
                <a:gd name="connsiteX1726" fmla="*/ 1443242 w 3320377"/>
                <a:gd name="connsiteY1726" fmla="*/ 250989 h 3363305"/>
                <a:gd name="connsiteX1727" fmla="*/ 1440959 w 3320377"/>
                <a:gd name="connsiteY1727" fmla="*/ 250989 h 3363305"/>
                <a:gd name="connsiteX1728" fmla="*/ 1436392 w 3320377"/>
                <a:gd name="connsiteY1728" fmla="*/ 253271 h 3363305"/>
                <a:gd name="connsiteX1729" fmla="*/ 1436392 w 3320377"/>
                <a:gd name="connsiteY1729" fmla="*/ 250989 h 3363305"/>
                <a:gd name="connsiteX1730" fmla="*/ 1434108 w 3320377"/>
                <a:gd name="connsiteY1730" fmla="*/ 250989 h 3363305"/>
                <a:gd name="connsiteX1731" fmla="*/ 1431824 w 3320377"/>
                <a:gd name="connsiteY1731" fmla="*/ 248708 h 3363305"/>
                <a:gd name="connsiteX1732" fmla="*/ 1431824 w 3320377"/>
                <a:gd name="connsiteY1732" fmla="*/ 241862 h 3363305"/>
                <a:gd name="connsiteX1733" fmla="*/ 1429541 w 3320377"/>
                <a:gd name="connsiteY1733" fmla="*/ 239580 h 3363305"/>
                <a:gd name="connsiteX1734" fmla="*/ 1424974 w 3320377"/>
                <a:gd name="connsiteY1734" fmla="*/ 235016 h 3363305"/>
                <a:gd name="connsiteX1735" fmla="*/ 1422690 w 3320377"/>
                <a:gd name="connsiteY1735" fmla="*/ 230453 h 3363305"/>
                <a:gd name="connsiteX1736" fmla="*/ 1422690 w 3320377"/>
                <a:gd name="connsiteY1736" fmla="*/ 228171 h 3363305"/>
                <a:gd name="connsiteX1737" fmla="*/ 1424974 w 3320377"/>
                <a:gd name="connsiteY1737" fmla="*/ 225889 h 3363305"/>
                <a:gd name="connsiteX1738" fmla="*/ 1424974 w 3320377"/>
                <a:gd name="connsiteY1738" fmla="*/ 223607 h 3363305"/>
                <a:gd name="connsiteX1739" fmla="*/ 1422690 w 3320377"/>
                <a:gd name="connsiteY1739" fmla="*/ 223607 h 3363305"/>
                <a:gd name="connsiteX1740" fmla="*/ 1420406 w 3320377"/>
                <a:gd name="connsiteY1740" fmla="*/ 223607 h 3363305"/>
                <a:gd name="connsiteX1741" fmla="*/ 1418123 w 3320377"/>
                <a:gd name="connsiteY1741" fmla="*/ 223607 h 3363305"/>
                <a:gd name="connsiteX1742" fmla="*/ 1415839 w 3320377"/>
                <a:gd name="connsiteY1742" fmla="*/ 223607 h 3363305"/>
                <a:gd name="connsiteX1743" fmla="*/ 1415839 w 3320377"/>
                <a:gd name="connsiteY1743" fmla="*/ 219043 h 3363305"/>
                <a:gd name="connsiteX1744" fmla="*/ 1415839 w 3320377"/>
                <a:gd name="connsiteY1744" fmla="*/ 216761 h 3363305"/>
                <a:gd name="connsiteX1745" fmla="*/ 1415839 w 3320377"/>
                <a:gd name="connsiteY1745" fmla="*/ 214479 h 3363305"/>
                <a:gd name="connsiteX1746" fmla="*/ 1418123 w 3320377"/>
                <a:gd name="connsiteY1746" fmla="*/ 214479 h 3363305"/>
                <a:gd name="connsiteX1747" fmla="*/ 1422690 w 3320377"/>
                <a:gd name="connsiteY1747" fmla="*/ 209915 h 3363305"/>
                <a:gd name="connsiteX1748" fmla="*/ 1420406 w 3320377"/>
                <a:gd name="connsiteY1748" fmla="*/ 209915 h 3363305"/>
                <a:gd name="connsiteX1749" fmla="*/ 1418123 w 3320377"/>
                <a:gd name="connsiteY1749" fmla="*/ 207633 h 3363305"/>
                <a:gd name="connsiteX1750" fmla="*/ 1415839 w 3320377"/>
                <a:gd name="connsiteY1750" fmla="*/ 205352 h 3363305"/>
                <a:gd name="connsiteX1751" fmla="*/ 1413556 w 3320377"/>
                <a:gd name="connsiteY1751" fmla="*/ 205352 h 3363305"/>
                <a:gd name="connsiteX1752" fmla="*/ 1406705 w 3320377"/>
                <a:gd name="connsiteY1752" fmla="*/ 200788 h 3363305"/>
                <a:gd name="connsiteX1753" fmla="*/ 1404421 w 3320377"/>
                <a:gd name="connsiteY1753" fmla="*/ 198506 h 3363305"/>
                <a:gd name="connsiteX1754" fmla="*/ 1402138 w 3320377"/>
                <a:gd name="connsiteY1754" fmla="*/ 196224 h 3363305"/>
                <a:gd name="connsiteX1755" fmla="*/ 1402138 w 3320377"/>
                <a:gd name="connsiteY1755" fmla="*/ 193942 h 3363305"/>
                <a:gd name="connsiteX1756" fmla="*/ 1402138 w 3320377"/>
                <a:gd name="connsiteY1756" fmla="*/ 189378 h 3363305"/>
                <a:gd name="connsiteX1757" fmla="*/ 1402138 w 3320377"/>
                <a:gd name="connsiteY1757" fmla="*/ 187096 h 3363305"/>
                <a:gd name="connsiteX1758" fmla="*/ 1402138 w 3320377"/>
                <a:gd name="connsiteY1758" fmla="*/ 184815 h 3363305"/>
                <a:gd name="connsiteX1759" fmla="*/ 1399854 w 3320377"/>
                <a:gd name="connsiteY1759" fmla="*/ 184815 h 3363305"/>
                <a:gd name="connsiteX1760" fmla="*/ 1397570 w 3320377"/>
                <a:gd name="connsiteY1760" fmla="*/ 182533 h 3363305"/>
                <a:gd name="connsiteX1761" fmla="*/ 1397570 w 3320377"/>
                <a:gd name="connsiteY1761" fmla="*/ 184815 h 3363305"/>
                <a:gd name="connsiteX1762" fmla="*/ 1395287 w 3320377"/>
                <a:gd name="connsiteY1762" fmla="*/ 184815 h 3363305"/>
                <a:gd name="connsiteX1763" fmla="*/ 1393003 w 3320377"/>
                <a:gd name="connsiteY1763" fmla="*/ 184815 h 3363305"/>
                <a:gd name="connsiteX1764" fmla="*/ 1393003 w 3320377"/>
                <a:gd name="connsiteY1764" fmla="*/ 182533 h 3363305"/>
                <a:gd name="connsiteX1765" fmla="*/ 1390720 w 3320377"/>
                <a:gd name="connsiteY1765" fmla="*/ 182533 h 3363305"/>
                <a:gd name="connsiteX1766" fmla="*/ 1388436 w 3320377"/>
                <a:gd name="connsiteY1766" fmla="*/ 180251 h 3363305"/>
                <a:gd name="connsiteX1767" fmla="*/ 1388436 w 3320377"/>
                <a:gd name="connsiteY1767" fmla="*/ 177978 h 3363305"/>
                <a:gd name="connsiteX1768" fmla="*/ 1386152 w 3320377"/>
                <a:gd name="connsiteY1768" fmla="*/ 173415 h 3363305"/>
                <a:gd name="connsiteX1769" fmla="*/ 1386152 w 3320377"/>
                <a:gd name="connsiteY1769" fmla="*/ 171133 h 3363305"/>
                <a:gd name="connsiteX1770" fmla="*/ 1388436 w 3320377"/>
                <a:gd name="connsiteY1770" fmla="*/ 168851 h 3363305"/>
                <a:gd name="connsiteX1771" fmla="*/ 1393003 w 3320377"/>
                <a:gd name="connsiteY1771" fmla="*/ 162005 h 3363305"/>
                <a:gd name="connsiteX1772" fmla="*/ 1393003 w 3320377"/>
                <a:gd name="connsiteY1772" fmla="*/ 159723 h 3363305"/>
                <a:gd name="connsiteX1773" fmla="*/ 1390720 w 3320377"/>
                <a:gd name="connsiteY1773" fmla="*/ 155159 h 3363305"/>
                <a:gd name="connsiteX1774" fmla="*/ 1388436 w 3320377"/>
                <a:gd name="connsiteY1774" fmla="*/ 155159 h 3363305"/>
                <a:gd name="connsiteX1775" fmla="*/ 1386152 w 3320377"/>
                <a:gd name="connsiteY1775" fmla="*/ 155159 h 3363305"/>
                <a:gd name="connsiteX1776" fmla="*/ 1383869 w 3320377"/>
                <a:gd name="connsiteY1776" fmla="*/ 155159 h 3363305"/>
                <a:gd name="connsiteX1777" fmla="*/ 1381585 w 3320377"/>
                <a:gd name="connsiteY1777" fmla="*/ 155159 h 3363305"/>
                <a:gd name="connsiteX1778" fmla="*/ 1379302 w 3320377"/>
                <a:gd name="connsiteY1778" fmla="*/ 155159 h 3363305"/>
                <a:gd name="connsiteX1779" fmla="*/ 1379302 w 3320377"/>
                <a:gd name="connsiteY1779" fmla="*/ 152877 h 3363305"/>
                <a:gd name="connsiteX1780" fmla="*/ 1377018 w 3320377"/>
                <a:gd name="connsiteY1780" fmla="*/ 150596 h 3363305"/>
                <a:gd name="connsiteX1781" fmla="*/ 1377018 w 3320377"/>
                <a:gd name="connsiteY1781" fmla="*/ 148314 h 3363305"/>
                <a:gd name="connsiteX1782" fmla="*/ 1377018 w 3320377"/>
                <a:gd name="connsiteY1782" fmla="*/ 146032 h 3363305"/>
                <a:gd name="connsiteX1783" fmla="*/ 1377018 w 3320377"/>
                <a:gd name="connsiteY1783" fmla="*/ 143750 h 3363305"/>
                <a:gd name="connsiteX1784" fmla="*/ 1377018 w 3320377"/>
                <a:gd name="connsiteY1784" fmla="*/ 141468 h 3363305"/>
                <a:gd name="connsiteX1785" fmla="*/ 1377018 w 3320377"/>
                <a:gd name="connsiteY1785" fmla="*/ 139186 h 3363305"/>
                <a:gd name="connsiteX1786" fmla="*/ 1374735 w 3320377"/>
                <a:gd name="connsiteY1786" fmla="*/ 136904 h 3363305"/>
                <a:gd name="connsiteX1787" fmla="*/ 1370167 w 3320377"/>
                <a:gd name="connsiteY1787" fmla="*/ 132341 h 3363305"/>
                <a:gd name="connsiteX1788" fmla="*/ 1372451 w 3320377"/>
                <a:gd name="connsiteY1788" fmla="*/ 130059 h 3363305"/>
                <a:gd name="connsiteX1789" fmla="*/ 1370167 w 3320377"/>
                <a:gd name="connsiteY1789" fmla="*/ 127777 h 3363305"/>
                <a:gd name="connsiteX1790" fmla="*/ 1367884 w 3320377"/>
                <a:gd name="connsiteY1790" fmla="*/ 123213 h 3363305"/>
                <a:gd name="connsiteX1791" fmla="*/ 1363317 w 3320377"/>
                <a:gd name="connsiteY1791" fmla="*/ 120931 h 3363305"/>
                <a:gd name="connsiteX1792" fmla="*/ 1361033 w 3320377"/>
                <a:gd name="connsiteY1792" fmla="*/ 116367 h 3363305"/>
                <a:gd name="connsiteX1793" fmla="*/ 1358749 w 3320377"/>
                <a:gd name="connsiteY1793" fmla="*/ 111803 h 3363305"/>
                <a:gd name="connsiteX1794" fmla="*/ 1358749 w 3320377"/>
                <a:gd name="connsiteY1794" fmla="*/ 109521 h 3363305"/>
                <a:gd name="connsiteX1795" fmla="*/ 1356466 w 3320377"/>
                <a:gd name="connsiteY1795" fmla="*/ 107240 h 3363305"/>
                <a:gd name="connsiteX1796" fmla="*/ 1354182 w 3320377"/>
                <a:gd name="connsiteY1796" fmla="*/ 104958 h 3363305"/>
                <a:gd name="connsiteX1797" fmla="*/ 1351898 w 3320377"/>
                <a:gd name="connsiteY1797" fmla="*/ 104958 h 3363305"/>
                <a:gd name="connsiteX1798" fmla="*/ 1347331 w 3320377"/>
                <a:gd name="connsiteY1798" fmla="*/ 104958 h 3363305"/>
                <a:gd name="connsiteX1799" fmla="*/ 1347331 w 3320377"/>
                <a:gd name="connsiteY1799" fmla="*/ 102676 h 3363305"/>
                <a:gd name="connsiteX1800" fmla="*/ 1345048 w 3320377"/>
                <a:gd name="connsiteY1800" fmla="*/ 102676 h 3363305"/>
                <a:gd name="connsiteX1801" fmla="*/ 1342764 w 3320377"/>
                <a:gd name="connsiteY1801" fmla="*/ 98112 h 3363305"/>
                <a:gd name="connsiteX1802" fmla="*/ 1340481 w 3320377"/>
                <a:gd name="connsiteY1802" fmla="*/ 98112 h 3363305"/>
                <a:gd name="connsiteX1803" fmla="*/ 1338197 w 3320377"/>
                <a:gd name="connsiteY1803" fmla="*/ 95830 h 3363305"/>
                <a:gd name="connsiteX1804" fmla="*/ 1333630 w 3320377"/>
                <a:gd name="connsiteY1804" fmla="*/ 91266 h 3363305"/>
                <a:gd name="connsiteX1805" fmla="*/ 1326779 w 3320377"/>
                <a:gd name="connsiteY1805" fmla="*/ 88984 h 3363305"/>
                <a:gd name="connsiteX1806" fmla="*/ 1324495 w 3320377"/>
                <a:gd name="connsiteY1806" fmla="*/ 86703 h 3363305"/>
                <a:gd name="connsiteX1807" fmla="*/ 1322212 w 3320377"/>
                <a:gd name="connsiteY1807" fmla="*/ 84421 h 3363305"/>
                <a:gd name="connsiteX1808" fmla="*/ 1319928 w 3320377"/>
                <a:gd name="connsiteY1808" fmla="*/ 82139 h 3363305"/>
                <a:gd name="connsiteX1809" fmla="*/ 1319928 w 3320377"/>
                <a:gd name="connsiteY1809" fmla="*/ 79857 h 3363305"/>
                <a:gd name="connsiteX1810" fmla="*/ 1319928 w 3320377"/>
                <a:gd name="connsiteY1810" fmla="*/ 77575 h 3363305"/>
                <a:gd name="connsiteX1811" fmla="*/ 1317645 w 3320377"/>
                <a:gd name="connsiteY1811" fmla="*/ 77575 h 3363305"/>
                <a:gd name="connsiteX1812" fmla="*/ 1317645 w 3320377"/>
                <a:gd name="connsiteY1812" fmla="*/ 75293 h 3363305"/>
                <a:gd name="connsiteX1813" fmla="*/ 1315361 w 3320377"/>
                <a:gd name="connsiteY1813" fmla="*/ 70729 h 3363305"/>
                <a:gd name="connsiteX1814" fmla="*/ 1310794 w 3320377"/>
                <a:gd name="connsiteY1814" fmla="*/ 66165 h 3363305"/>
                <a:gd name="connsiteX1815" fmla="*/ 1308510 w 3320377"/>
                <a:gd name="connsiteY1815" fmla="*/ 63884 h 3363305"/>
                <a:gd name="connsiteX1816" fmla="*/ 1306227 w 3320377"/>
                <a:gd name="connsiteY1816" fmla="*/ 63884 h 3363305"/>
                <a:gd name="connsiteX1817" fmla="*/ 1303943 w 3320377"/>
                <a:gd name="connsiteY1817" fmla="*/ 63884 h 3363305"/>
                <a:gd name="connsiteX1818" fmla="*/ 1301659 w 3320377"/>
                <a:gd name="connsiteY1818" fmla="*/ 61602 h 3363305"/>
                <a:gd name="connsiteX1819" fmla="*/ 1297092 w 3320377"/>
                <a:gd name="connsiteY1819" fmla="*/ 63884 h 3363305"/>
                <a:gd name="connsiteX1820" fmla="*/ 1294809 w 3320377"/>
                <a:gd name="connsiteY1820" fmla="*/ 63884 h 3363305"/>
                <a:gd name="connsiteX1821" fmla="*/ 1292525 w 3320377"/>
                <a:gd name="connsiteY1821" fmla="*/ 61602 h 3363305"/>
                <a:gd name="connsiteX1822" fmla="*/ 1290241 w 3320377"/>
                <a:gd name="connsiteY1822" fmla="*/ 57038 h 3363305"/>
                <a:gd name="connsiteX1823" fmla="*/ 1287958 w 3320377"/>
                <a:gd name="connsiteY1823" fmla="*/ 54756 h 3363305"/>
                <a:gd name="connsiteX1824" fmla="*/ 1285674 w 3320377"/>
                <a:gd name="connsiteY1824" fmla="*/ 54756 h 3363305"/>
                <a:gd name="connsiteX1825" fmla="*/ 1285674 w 3320377"/>
                <a:gd name="connsiteY1825" fmla="*/ 57038 h 3363305"/>
                <a:gd name="connsiteX1826" fmla="*/ 1283391 w 3320377"/>
                <a:gd name="connsiteY1826" fmla="*/ 57038 h 3363305"/>
                <a:gd name="connsiteX1827" fmla="*/ 1281107 w 3320377"/>
                <a:gd name="connsiteY1827" fmla="*/ 61602 h 3363305"/>
                <a:gd name="connsiteX1828" fmla="*/ 1278823 w 3320377"/>
                <a:gd name="connsiteY1828" fmla="*/ 59320 h 3363305"/>
                <a:gd name="connsiteX1829" fmla="*/ 1274256 w 3320377"/>
                <a:gd name="connsiteY1829" fmla="*/ 57038 h 3363305"/>
                <a:gd name="connsiteX1830" fmla="*/ 1271973 w 3320377"/>
                <a:gd name="connsiteY1830" fmla="*/ 52474 h 3363305"/>
                <a:gd name="connsiteX1831" fmla="*/ 1269689 w 3320377"/>
                <a:gd name="connsiteY1831" fmla="*/ 50192 h 3363305"/>
                <a:gd name="connsiteX1832" fmla="*/ 1267406 w 3320377"/>
                <a:gd name="connsiteY1832" fmla="*/ 50192 h 3363305"/>
                <a:gd name="connsiteX1833" fmla="*/ 1258271 w 3320377"/>
                <a:gd name="connsiteY1833" fmla="*/ 50192 h 3363305"/>
                <a:gd name="connsiteX1834" fmla="*/ 1255988 w 3320377"/>
                <a:gd name="connsiteY1834" fmla="*/ 47910 h 3363305"/>
                <a:gd name="connsiteX1835" fmla="*/ 1253704 w 3320377"/>
                <a:gd name="connsiteY1835" fmla="*/ 45628 h 3363305"/>
                <a:gd name="connsiteX1836" fmla="*/ 1246853 w 3320377"/>
                <a:gd name="connsiteY1836" fmla="*/ 43346 h 3363305"/>
                <a:gd name="connsiteX1837" fmla="*/ 1246853 w 3320377"/>
                <a:gd name="connsiteY1837" fmla="*/ 41065 h 3363305"/>
                <a:gd name="connsiteX1838" fmla="*/ 1244569 w 3320377"/>
                <a:gd name="connsiteY1838" fmla="*/ 38783 h 3363305"/>
                <a:gd name="connsiteX1839" fmla="*/ 1244569 w 3320377"/>
                <a:gd name="connsiteY1839" fmla="*/ 36501 h 3363305"/>
                <a:gd name="connsiteX1840" fmla="*/ 1244569 w 3320377"/>
                <a:gd name="connsiteY1840" fmla="*/ 34219 h 3363305"/>
                <a:gd name="connsiteX1841" fmla="*/ 1242286 w 3320377"/>
                <a:gd name="connsiteY1841" fmla="*/ 31937 h 3363305"/>
                <a:gd name="connsiteX1842" fmla="*/ 1242286 w 3320377"/>
                <a:gd name="connsiteY1842" fmla="*/ 29655 h 3363305"/>
                <a:gd name="connsiteX1843" fmla="*/ 1240002 w 3320377"/>
                <a:gd name="connsiteY1843" fmla="*/ 29655 h 3363305"/>
                <a:gd name="connsiteX1844" fmla="*/ 1237719 w 3320377"/>
                <a:gd name="connsiteY1844" fmla="*/ 29655 h 3363305"/>
                <a:gd name="connsiteX1845" fmla="*/ 1235435 w 3320377"/>
                <a:gd name="connsiteY1845" fmla="*/ 29655 h 3363305"/>
                <a:gd name="connsiteX1846" fmla="*/ 1235435 w 3320377"/>
                <a:gd name="connsiteY1846" fmla="*/ 27383 h 3363305"/>
                <a:gd name="connsiteX1847" fmla="*/ 1233152 w 3320377"/>
                <a:gd name="connsiteY1847" fmla="*/ 25101 h 3363305"/>
                <a:gd name="connsiteX1848" fmla="*/ 1230868 w 3320377"/>
                <a:gd name="connsiteY1848" fmla="*/ 22809 h 3363305"/>
                <a:gd name="connsiteX1849" fmla="*/ 1228584 w 3320377"/>
                <a:gd name="connsiteY1849" fmla="*/ 22809 h 3363305"/>
                <a:gd name="connsiteX1850" fmla="*/ 1228584 w 3320377"/>
                <a:gd name="connsiteY1850" fmla="*/ 20537 h 3363305"/>
                <a:gd name="connsiteX1851" fmla="*/ 1224017 w 3320377"/>
                <a:gd name="connsiteY1851" fmla="*/ 20537 h 3363305"/>
                <a:gd name="connsiteX1852" fmla="*/ 1221734 w 3320377"/>
                <a:gd name="connsiteY1852" fmla="*/ 18255 h 3363305"/>
                <a:gd name="connsiteX1853" fmla="*/ 1221734 w 3320377"/>
                <a:gd name="connsiteY1853" fmla="*/ 15973 h 3363305"/>
                <a:gd name="connsiteX1854" fmla="*/ 1219450 w 3320377"/>
                <a:gd name="connsiteY1854" fmla="*/ 13691 h 3363305"/>
                <a:gd name="connsiteX1855" fmla="*/ 1217166 w 3320377"/>
                <a:gd name="connsiteY1855" fmla="*/ 11409 h 3363305"/>
                <a:gd name="connsiteX1856" fmla="*/ 1214883 w 3320377"/>
                <a:gd name="connsiteY1856" fmla="*/ 6846 h 3363305"/>
                <a:gd name="connsiteX1857" fmla="*/ 1212599 w 3320377"/>
                <a:gd name="connsiteY1857" fmla="*/ 4564 h 3363305"/>
                <a:gd name="connsiteX1858" fmla="*/ 1208032 w 3320377"/>
                <a:gd name="connsiteY1858" fmla="*/ 0 h 3363305"/>
                <a:gd name="connsiteX1859" fmla="*/ 1208032 w 3320377"/>
                <a:gd name="connsiteY1859" fmla="*/ 4564 h 3363305"/>
                <a:gd name="connsiteX1860" fmla="*/ 1219450 w 3320377"/>
                <a:gd name="connsiteY1860" fmla="*/ 228171 h 3363305"/>
                <a:gd name="connsiteX1861" fmla="*/ 1224017 w 3320377"/>
                <a:gd name="connsiteY1861" fmla="*/ 305755 h 3363305"/>
                <a:gd name="connsiteX1862" fmla="*/ 1224017 w 3320377"/>
                <a:gd name="connsiteY1862" fmla="*/ 310319 h 3363305"/>
                <a:gd name="connsiteX1863" fmla="*/ 1224017 w 3320377"/>
                <a:gd name="connsiteY1863" fmla="*/ 317165 h 3363305"/>
                <a:gd name="connsiteX1864" fmla="*/ 1226301 w 3320377"/>
                <a:gd name="connsiteY1864" fmla="*/ 346820 h 3363305"/>
                <a:gd name="connsiteX1865" fmla="*/ 1226301 w 3320377"/>
                <a:gd name="connsiteY1865" fmla="*/ 349102 h 3363305"/>
                <a:gd name="connsiteX1866" fmla="*/ 1226301 w 3320377"/>
                <a:gd name="connsiteY1866" fmla="*/ 351383 h 3363305"/>
                <a:gd name="connsiteX1867" fmla="*/ 1228584 w 3320377"/>
                <a:gd name="connsiteY1867" fmla="*/ 399303 h 3363305"/>
                <a:gd name="connsiteX1868" fmla="*/ 1244569 w 3320377"/>
                <a:gd name="connsiteY1868" fmla="*/ 698213 h 3363305"/>
                <a:gd name="connsiteX1869" fmla="*/ 1253704 w 3320377"/>
                <a:gd name="connsiteY1869" fmla="*/ 851090 h 3363305"/>
                <a:gd name="connsiteX1870" fmla="*/ 1253704 w 3320377"/>
                <a:gd name="connsiteY1870" fmla="*/ 864781 h 3363305"/>
                <a:gd name="connsiteX1871" fmla="*/ 1265122 w 3320377"/>
                <a:gd name="connsiteY1871" fmla="*/ 1070143 h 3363305"/>
                <a:gd name="connsiteX1872" fmla="*/ 1265122 w 3320377"/>
                <a:gd name="connsiteY1872" fmla="*/ 1079270 h 3363305"/>
                <a:gd name="connsiteX1873" fmla="*/ 1267406 w 3320377"/>
                <a:gd name="connsiteY1873" fmla="*/ 1120335 h 3363305"/>
                <a:gd name="connsiteX1874" fmla="*/ 1269689 w 3320377"/>
                <a:gd name="connsiteY1874" fmla="*/ 1134026 h 3363305"/>
                <a:gd name="connsiteX1875" fmla="*/ 1276540 w 3320377"/>
                <a:gd name="connsiteY1875" fmla="*/ 1243557 h 3363305"/>
                <a:gd name="connsiteX1876" fmla="*/ 1283391 w 3320377"/>
                <a:gd name="connsiteY1876" fmla="*/ 1380462 h 3363305"/>
                <a:gd name="connsiteX1877" fmla="*/ 1287958 w 3320377"/>
                <a:gd name="connsiteY1877" fmla="*/ 1439781 h 3363305"/>
                <a:gd name="connsiteX1878" fmla="*/ 1290241 w 3320377"/>
                <a:gd name="connsiteY1878" fmla="*/ 1512802 h 3363305"/>
                <a:gd name="connsiteX1879" fmla="*/ 1287958 w 3320377"/>
                <a:gd name="connsiteY1879" fmla="*/ 1512802 h 3363305"/>
                <a:gd name="connsiteX1880" fmla="*/ 1281107 w 3320377"/>
                <a:gd name="connsiteY1880" fmla="*/ 1512802 h 3363305"/>
                <a:gd name="connsiteX1881" fmla="*/ 1278823 w 3320377"/>
                <a:gd name="connsiteY1881" fmla="*/ 1515084 h 3363305"/>
                <a:gd name="connsiteX1882" fmla="*/ 1274256 w 3320377"/>
                <a:gd name="connsiteY1882" fmla="*/ 1517366 h 3363305"/>
                <a:gd name="connsiteX1883" fmla="*/ 1271973 w 3320377"/>
                <a:gd name="connsiteY1883" fmla="*/ 1519648 h 3363305"/>
                <a:gd name="connsiteX1884" fmla="*/ 1269689 w 3320377"/>
                <a:gd name="connsiteY1884" fmla="*/ 1519648 h 3363305"/>
                <a:gd name="connsiteX1885" fmla="*/ 1267406 w 3320377"/>
                <a:gd name="connsiteY1885" fmla="*/ 1519648 h 3363305"/>
                <a:gd name="connsiteX1886" fmla="*/ 1265122 w 3320377"/>
                <a:gd name="connsiteY1886" fmla="*/ 1519648 h 3363305"/>
                <a:gd name="connsiteX1887" fmla="*/ 1265122 w 3320377"/>
                <a:gd name="connsiteY1887" fmla="*/ 1521930 h 3363305"/>
                <a:gd name="connsiteX1888" fmla="*/ 1262838 w 3320377"/>
                <a:gd name="connsiteY1888" fmla="*/ 1521930 h 3363305"/>
                <a:gd name="connsiteX1889" fmla="*/ 1260555 w 3320377"/>
                <a:gd name="connsiteY1889" fmla="*/ 1521930 h 3363305"/>
                <a:gd name="connsiteX1890" fmla="*/ 1255988 w 3320377"/>
                <a:gd name="connsiteY1890" fmla="*/ 1524211 h 3363305"/>
                <a:gd name="connsiteX1891" fmla="*/ 1253704 w 3320377"/>
                <a:gd name="connsiteY1891" fmla="*/ 1521930 h 3363305"/>
                <a:gd name="connsiteX1892" fmla="*/ 1251420 w 3320377"/>
                <a:gd name="connsiteY1892" fmla="*/ 1521930 h 3363305"/>
                <a:gd name="connsiteX1893" fmla="*/ 1249137 w 3320377"/>
                <a:gd name="connsiteY1893" fmla="*/ 1521930 h 3363305"/>
                <a:gd name="connsiteX1894" fmla="*/ 1246853 w 3320377"/>
                <a:gd name="connsiteY1894" fmla="*/ 1521930 h 3363305"/>
                <a:gd name="connsiteX1895" fmla="*/ 1246853 w 3320377"/>
                <a:gd name="connsiteY1895" fmla="*/ 1524211 h 3363305"/>
                <a:gd name="connsiteX1896" fmla="*/ 1244569 w 3320377"/>
                <a:gd name="connsiteY1896" fmla="*/ 1524211 h 3363305"/>
                <a:gd name="connsiteX1897" fmla="*/ 1244569 w 3320377"/>
                <a:gd name="connsiteY1897" fmla="*/ 1526493 h 3363305"/>
                <a:gd name="connsiteX1898" fmla="*/ 1242286 w 3320377"/>
                <a:gd name="connsiteY1898" fmla="*/ 1528775 h 3363305"/>
                <a:gd name="connsiteX1899" fmla="*/ 1237719 w 3320377"/>
                <a:gd name="connsiteY1899" fmla="*/ 1528775 h 3363305"/>
                <a:gd name="connsiteX1900" fmla="*/ 1237719 w 3320377"/>
                <a:gd name="connsiteY1900" fmla="*/ 1531057 h 3363305"/>
                <a:gd name="connsiteX1901" fmla="*/ 1235435 w 3320377"/>
                <a:gd name="connsiteY1901" fmla="*/ 1531057 h 3363305"/>
                <a:gd name="connsiteX1902" fmla="*/ 1233152 w 3320377"/>
                <a:gd name="connsiteY1902" fmla="*/ 1535621 h 3363305"/>
                <a:gd name="connsiteX1903" fmla="*/ 1235435 w 3320377"/>
                <a:gd name="connsiteY1903" fmla="*/ 1537903 h 3363305"/>
                <a:gd name="connsiteX1904" fmla="*/ 1235435 w 3320377"/>
                <a:gd name="connsiteY1904" fmla="*/ 1540185 h 3363305"/>
                <a:gd name="connsiteX1905" fmla="*/ 1233152 w 3320377"/>
                <a:gd name="connsiteY1905" fmla="*/ 1540185 h 3363305"/>
                <a:gd name="connsiteX1906" fmla="*/ 1233152 w 3320377"/>
                <a:gd name="connsiteY1906" fmla="*/ 1542467 h 3363305"/>
                <a:gd name="connsiteX1907" fmla="*/ 1230868 w 3320377"/>
                <a:gd name="connsiteY1907" fmla="*/ 1547030 h 3363305"/>
                <a:gd name="connsiteX1908" fmla="*/ 1228584 w 3320377"/>
                <a:gd name="connsiteY1908" fmla="*/ 1549312 h 3363305"/>
                <a:gd name="connsiteX1909" fmla="*/ 1224017 w 3320377"/>
                <a:gd name="connsiteY1909" fmla="*/ 1551594 h 3363305"/>
                <a:gd name="connsiteX1910" fmla="*/ 1221734 w 3320377"/>
                <a:gd name="connsiteY1910" fmla="*/ 1551594 h 3363305"/>
                <a:gd name="connsiteX1911" fmla="*/ 1219450 w 3320377"/>
                <a:gd name="connsiteY1911" fmla="*/ 1549312 h 3363305"/>
                <a:gd name="connsiteX1912" fmla="*/ 1217166 w 3320377"/>
                <a:gd name="connsiteY1912" fmla="*/ 1549312 h 3363305"/>
                <a:gd name="connsiteX1913" fmla="*/ 1214883 w 3320377"/>
                <a:gd name="connsiteY1913" fmla="*/ 1549312 h 3363305"/>
                <a:gd name="connsiteX1914" fmla="*/ 1212599 w 3320377"/>
                <a:gd name="connsiteY1914" fmla="*/ 1549312 h 3363305"/>
                <a:gd name="connsiteX1915" fmla="*/ 1210316 w 3320377"/>
                <a:gd name="connsiteY1915" fmla="*/ 1547030 h 3363305"/>
                <a:gd name="connsiteX1916" fmla="*/ 1208032 w 3320377"/>
                <a:gd name="connsiteY1916" fmla="*/ 1547030 h 3363305"/>
                <a:gd name="connsiteX1917" fmla="*/ 1208032 w 3320377"/>
                <a:gd name="connsiteY1917" fmla="*/ 1544748 h 3363305"/>
                <a:gd name="connsiteX1918" fmla="*/ 1205748 w 3320377"/>
                <a:gd name="connsiteY1918" fmla="*/ 1544748 h 3363305"/>
                <a:gd name="connsiteX1919" fmla="*/ 1203465 w 3320377"/>
                <a:gd name="connsiteY1919" fmla="*/ 1544748 h 3363305"/>
                <a:gd name="connsiteX1920" fmla="*/ 1198898 w 3320377"/>
                <a:gd name="connsiteY1920" fmla="*/ 1544748 h 3363305"/>
                <a:gd name="connsiteX1921" fmla="*/ 1198898 w 3320377"/>
                <a:gd name="connsiteY1921" fmla="*/ 1542467 h 3363305"/>
                <a:gd name="connsiteX1922" fmla="*/ 1196614 w 3320377"/>
                <a:gd name="connsiteY1922" fmla="*/ 1542467 h 3363305"/>
                <a:gd name="connsiteX1923" fmla="*/ 1196614 w 3320377"/>
                <a:gd name="connsiteY1923" fmla="*/ 1544748 h 3363305"/>
                <a:gd name="connsiteX1924" fmla="*/ 1194330 w 3320377"/>
                <a:gd name="connsiteY1924" fmla="*/ 1544748 h 3363305"/>
                <a:gd name="connsiteX1925" fmla="*/ 1189763 w 3320377"/>
                <a:gd name="connsiteY1925" fmla="*/ 1549312 h 3363305"/>
                <a:gd name="connsiteX1926" fmla="*/ 1189763 w 3320377"/>
                <a:gd name="connsiteY1926" fmla="*/ 1551594 h 3363305"/>
                <a:gd name="connsiteX1927" fmla="*/ 1187480 w 3320377"/>
                <a:gd name="connsiteY1927" fmla="*/ 1551594 h 3363305"/>
                <a:gd name="connsiteX1928" fmla="*/ 1187480 w 3320377"/>
                <a:gd name="connsiteY1928" fmla="*/ 1553876 h 3363305"/>
                <a:gd name="connsiteX1929" fmla="*/ 1185196 w 3320377"/>
                <a:gd name="connsiteY1929" fmla="*/ 1556158 h 3363305"/>
                <a:gd name="connsiteX1930" fmla="*/ 1182912 w 3320377"/>
                <a:gd name="connsiteY1930" fmla="*/ 1558440 h 3363305"/>
                <a:gd name="connsiteX1931" fmla="*/ 1180629 w 3320377"/>
                <a:gd name="connsiteY1931" fmla="*/ 1558440 h 3363305"/>
                <a:gd name="connsiteX1932" fmla="*/ 1173778 w 3320377"/>
                <a:gd name="connsiteY1932" fmla="*/ 1558440 h 3363305"/>
                <a:gd name="connsiteX1933" fmla="*/ 1173778 w 3320377"/>
                <a:gd name="connsiteY1933" fmla="*/ 1560722 h 3363305"/>
                <a:gd name="connsiteX1934" fmla="*/ 1173778 w 3320377"/>
                <a:gd name="connsiteY1934" fmla="*/ 1563004 h 3363305"/>
                <a:gd name="connsiteX1935" fmla="*/ 1171494 w 3320377"/>
                <a:gd name="connsiteY1935" fmla="*/ 1563004 h 3363305"/>
                <a:gd name="connsiteX1936" fmla="*/ 1169211 w 3320377"/>
                <a:gd name="connsiteY1936" fmla="*/ 1563004 h 3363305"/>
                <a:gd name="connsiteX1937" fmla="*/ 1166927 w 3320377"/>
                <a:gd name="connsiteY1937" fmla="*/ 1560722 h 3363305"/>
                <a:gd name="connsiteX1938" fmla="*/ 1164644 w 3320377"/>
                <a:gd name="connsiteY1938" fmla="*/ 1560722 h 3363305"/>
                <a:gd name="connsiteX1939" fmla="*/ 1162360 w 3320377"/>
                <a:gd name="connsiteY1939" fmla="*/ 1558440 h 3363305"/>
                <a:gd name="connsiteX1940" fmla="*/ 1157793 w 3320377"/>
                <a:gd name="connsiteY1940" fmla="*/ 1556158 h 3363305"/>
                <a:gd name="connsiteX1941" fmla="*/ 1155509 w 3320377"/>
                <a:gd name="connsiteY1941" fmla="*/ 1556158 h 3363305"/>
                <a:gd name="connsiteX1942" fmla="*/ 1153226 w 3320377"/>
                <a:gd name="connsiteY1942" fmla="*/ 1558440 h 3363305"/>
                <a:gd name="connsiteX1943" fmla="*/ 1150942 w 3320377"/>
                <a:gd name="connsiteY1943" fmla="*/ 1558440 h 3363305"/>
                <a:gd name="connsiteX1944" fmla="*/ 1146375 w 3320377"/>
                <a:gd name="connsiteY1944" fmla="*/ 1560722 h 3363305"/>
                <a:gd name="connsiteX1945" fmla="*/ 1144091 w 3320377"/>
                <a:gd name="connsiteY1945" fmla="*/ 1563004 h 3363305"/>
                <a:gd name="connsiteX1946" fmla="*/ 1141808 w 3320377"/>
                <a:gd name="connsiteY1946" fmla="*/ 1565286 h 3363305"/>
                <a:gd name="connsiteX1947" fmla="*/ 1139524 w 3320377"/>
                <a:gd name="connsiteY1947" fmla="*/ 1565286 h 3363305"/>
                <a:gd name="connsiteX1948" fmla="*/ 1137241 w 3320377"/>
                <a:gd name="connsiteY1948" fmla="*/ 1563004 h 3363305"/>
                <a:gd name="connsiteX1949" fmla="*/ 1137241 w 3320377"/>
                <a:gd name="connsiteY1949" fmla="*/ 1565286 h 3363305"/>
                <a:gd name="connsiteX1950" fmla="*/ 1134957 w 3320377"/>
                <a:gd name="connsiteY1950" fmla="*/ 1565286 h 3363305"/>
                <a:gd name="connsiteX1951" fmla="*/ 1132673 w 3320377"/>
                <a:gd name="connsiteY1951" fmla="*/ 1565286 h 3363305"/>
                <a:gd name="connsiteX1952" fmla="*/ 1132673 w 3320377"/>
                <a:gd name="connsiteY1952" fmla="*/ 1567567 h 3363305"/>
                <a:gd name="connsiteX1953" fmla="*/ 1130390 w 3320377"/>
                <a:gd name="connsiteY1953" fmla="*/ 1567567 h 3363305"/>
                <a:gd name="connsiteX1954" fmla="*/ 1130390 w 3320377"/>
                <a:gd name="connsiteY1954" fmla="*/ 1569849 h 3363305"/>
                <a:gd name="connsiteX1955" fmla="*/ 1128106 w 3320377"/>
                <a:gd name="connsiteY1955" fmla="*/ 1572131 h 3363305"/>
                <a:gd name="connsiteX1956" fmla="*/ 1130390 w 3320377"/>
                <a:gd name="connsiteY1956" fmla="*/ 1576695 h 3363305"/>
                <a:gd name="connsiteX1957" fmla="*/ 1128106 w 3320377"/>
                <a:gd name="connsiteY1957" fmla="*/ 1583531 h 3363305"/>
                <a:gd name="connsiteX1958" fmla="*/ 1128106 w 3320377"/>
                <a:gd name="connsiteY1958" fmla="*/ 1585813 h 3363305"/>
                <a:gd name="connsiteX1959" fmla="*/ 1128106 w 3320377"/>
                <a:gd name="connsiteY1959" fmla="*/ 1588095 h 3363305"/>
                <a:gd name="connsiteX1960" fmla="*/ 1125823 w 3320377"/>
                <a:gd name="connsiteY1960" fmla="*/ 1590377 h 3363305"/>
                <a:gd name="connsiteX1961" fmla="*/ 1123539 w 3320377"/>
                <a:gd name="connsiteY1961" fmla="*/ 1590377 h 3363305"/>
                <a:gd name="connsiteX1962" fmla="*/ 1121255 w 3320377"/>
                <a:gd name="connsiteY1962" fmla="*/ 1590377 h 3363305"/>
                <a:gd name="connsiteX1963" fmla="*/ 1121255 w 3320377"/>
                <a:gd name="connsiteY1963" fmla="*/ 1592659 h 3363305"/>
                <a:gd name="connsiteX1964" fmla="*/ 1116688 w 3320377"/>
                <a:gd name="connsiteY1964" fmla="*/ 1594941 h 3363305"/>
                <a:gd name="connsiteX1965" fmla="*/ 1114405 w 3320377"/>
                <a:gd name="connsiteY1965" fmla="*/ 1594941 h 3363305"/>
                <a:gd name="connsiteX1966" fmla="*/ 1114405 w 3320377"/>
                <a:gd name="connsiteY1966" fmla="*/ 1597223 h 3363305"/>
                <a:gd name="connsiteX1967" fmla="*/ 1114405 w 3320377"/>
                <a:gd name="connsiteY1967" fmla="*/ 1599505 h 3363305"/>
                <a:gd name="connsiteX1968" fmla="*/ 1114405 w 3320377"/>
                <a:gd name="connsiteY1968" fmla="*/ 1604068 h 3363305"/>
                <a:gd name="connsiteX1969" fmla="*/ 1114405 w 3320377"/>
                <a:gd name="connsiteY1969" fmla="*/ 1606350 h 3363305"/>
                <a:gd name="connsiteX1970" fmla="*/ 1114405 w 3320377"/>
                <a:gd name="connsiteY1970" fmla="*/ 1608632 h 3363305"/>
                <a:gd name="connsiteX1971" fmla="*/ 1114405 w 3320377"/>
                <a:gd name="connsiteY1971" fmla="*/ 1610914 h 3363305"/>
                <a:gd name="connsiteX1972" fmla="*/ 1112121 w 3320377"/>
                <a:gd name="connsiteY1972" fmla="*/ 1613196 h 3363305"/>
                <a:gd name="connsiteX1973" fmla="*/ 1112121 w 3320377"/>
                <a:gd name="connsiteY1973" fmla="*/ 1615478 h 3363305"/>
                <a:gd name="connsiteX1974" fmla="*/ 1112121 w 3320377"/>
                <a:gd name="connsiteY1974" fmla="*/ 1617760 h 3363305"/>
                <a:gd name="connsiteX1975" fmla="*/ 1112121 w 3320377"/>
                <a:gd name="connsiteY1975" fmla="*/ 1620042 h 3363305"/>
                <a:gd name="connsiteX1976" fmla="*/ 1112121 w 3320377"/>
                <a:gd name="connsiteY1976" fmla="*/ 1622323 h 3363305"/>
                <a:gd name="connsiteX1977" fmla="*/ 1112121 w 3320377"/>
                <a:gd name="connsiteY1977" fmla="*/ 1624605 h 3363305"/>
                <a:gd name="connsiteX1978" fmla="*/ 1112121 w 3320377"/>
                <a:gd name="connsiteY1978" fmla="*/ 1629169 h 3363305"/>
                <a:gd name="connsiteX1979" fmla="*/ 1109837 w 3320377"/>
                <a:gd name="connsiteY1979" fmla="*/ 1631451 h 3363305"/>
                <a:gd name="connsiteX1980" fmla="*/ 1107554 w 3320377"/>
                <a:gd name="connsiteY1980" fmla="*/ 1633733 h 3363305"/>
                <a:gd name="connsiteX1981" fmla="*/ 1105270 w 3320377"/>
                <a:gd name="connsiteY1981" fmla="*/ 1636015 h 3363305"/>
                <a:gd name="connsiteX1982" fmla="*/ 1105270 w 3320377"/>
                <a:gd name="connsiteY1982" fmla="*/ 1640579 h 3363305"/>
                <a:gd name="connsiteX1983" fmla="*/ 1102987 w 3320377"/>
                <a:gd name="connsiteY1983" fmla="*/ 1640579 h 3363305"/>
                <a:gd name="connsiteX1984" fmla="*/ 1098419 w 3320377"/>
                <a:gd name="connsiteY1984" fmla="*/ 1642861 h 3363305"/>
                <a:gd name="connsiteX1985" fmla="*/ 1096136 w 3320377"/>
                <a:gd name="connsiteY1985" fmla="*/ 1645142 h 3363305"/>
                <a:gd name="connsiteX1986" fmla="*/ 1093852 w 3320377"/>
                <a:gd name="connsiteY1986" fmla="*/ 1647424 h 3363305"/>
                <a:gd name="connsiteX1987" fmla="*/ 1091569 w 3320377"/>
                <a:gd name="connsiteY1987" fmla="*/ 1647424 h 3363305"/>
                <a:gd name="connsiteX1988" fmla="*/ 1087001 w 3320377"/>
                <a:gd name="connsiteY1988" fmla="*/ 1649706 h 3363305"/>
                <a:gd name="connsiteX1989" fmla="*/ 1084718 w 3320377"/>
                <a:gd name="connsiteY1989" fmla="*/ 1651988 h 3363305"/>
                <a:gd name="connsiteX1990" fmla="*/ 1080151 w 3320377"/>
                <a:gd name="connsiteY1990" fmla="*/ 1654270 h 3363305"/>
                <a:gd name="connsiteX1991" fmla="*/ 1075583 w 3320377"/>
                <a:gd name="connsiteY1991" fmla="*/ 1654270 h 3363305"/>
                <a:gd name="connsiteX1992" fmla="*/ 1073300 w 3320377"/>
                <a:gd name="connsiteY1992" fmla="*/ 1654270 h 3363305"/>
                <a:gd name="connsiteX1993" fmla="*/ 1073300 w 3320377"/>
                <a:gd name="connsiteY1993" fmla="*/ 1656552 h 3363305"/>
                <a:gd name="connsiteX1994" fmla="*/ 1071016 w 3320377"/>
                <a:gd name="connsiteY1994" fmla="*/ 1656552 h 3363305"/>
                <a:gd name="connsiteX1995" fmla="*/ 1066449 w 3320377"/>
                <a:gd name="connsiteY1995" fmla="*/ 1656552 h 3363305"/>
                <a:gd name="connsiteX1996" fmla="*/ 1064165 w 3320377"/>
                <a:gd name="connsiteY1996" fmla="*/ 1658834 h 3363305"/>
                <a:gd name="connsiteX1997" fmla="*/ 1061882 w 3320377"/>
                <a:gd name="connsiteY1997" fmla="*/ 1658834 h 3363305"/>
                <a:gd name="connsiteX1998" fmla="*/ 1059598 w 3320377"/>
                <a:gd name="connsiteY1998" fmla="*/ 1656552 h 3363305"/>
                <a:gd name="connsiteX1999" fmla="*/ 1057315 w 3320377"/>
                <a:gd name="connsiteY1999" fmla="*/ 1656552 h 3363305"/>
                <a:gd name="connsiteX2000" fmla="*/ 1055031 w 3320377"/>
                <a:gd name="connsiteY2000" fmla="*/ 1656552 h 3363305"/>
                <a:gd name="connsiteX2001" fmla="*/ 1052747 w 3320377"/>
                <a:gd name="connsiteY2001" fmla="*/ 1656552 h 3363305"/>
                <a:gd name="connsiteX2002" fmla="*/ 1050464 w 3320377"/>
                <a:gd name="connsiteY2002" fmla="*/ 1656552 h 3363305"/>
                <a:gd name="connsiteX2003" fmla="*/ 1048180 w 3320377"/>
                <a:gd name="connsiteY2003" fmla="*/ 1656552 h 3363305"/>
                <a:gd name="connsiteX2004" fmla="*/ 1043613 w 3320377"/>
                <a:gd name="connsiteY2004" fmla="*/ 1654270 h 3363305"/>
                <a:gd name="connsiteX2005" fmla="*/ 1041329 w 3320377"/>
                <a:gd name="connsiteY2005" fmla="*/ 1656552 h 3363305"/>
                <a:gd name="connsiteX2006" fmla="*/ 1039046 w 3320377"/>
                <a:gd name="connsiteY2006" fmla="*/ 1658834 h 3363305"/>
                <a:gd name="connsiteX2007" fmla="*/ 1036762 w 3320377"/>
                <a:gd name="connsiteY2007" fmla="*/ 1658834 h 3363305"/>
                <a:gd name="connsiteX2008" fmla="*/ 1034479 w 3320377"/>
                <a:gd name="connsiteY2008" fmla="*/ 1661116 h 3363305"/>
                <a:gd name="connsiteX2009" fmla="*/ 1032195 w 3320377"/>
                <a:gd name="connsiteY2009" fmla="*/ 1661116 h 3363305"/>
                <a:gd name="connsiteX2010" fmla="*/ 1032195 w 3320377"/>
                <a:gd name="connsiteY2010" fmla="*/ 1663398 h 3363305"/>
                <a:gd name="connsiteX2011" fmla="*/ 1032195 w 3320377"/>
                <a:gd name="connsiteY2011" fmla="*/ 1667961 h 3363305"/>
                <a:gd name="connsiteX2012" fmla="*/ 1029911 w 3320377"/>
                <a:gd name="connsiteY2012" fmla="*/ 1670243 h 3363305"/>
                <a:gd name="connsiteX2013" fmla="*/ 1027628 w 3320377"/>
                <a:gd name="connsiteY2013" fmla="*/ 1674807 h 3363305"/>
                <a:gd name="connsiteX2014" fmla="*/ 1027628 w 3320377"/>
                <a:gd name="connsiteY2014" fmla="*/ 1677089 h 3363305"/>
                <a:gd name="connsiteX2015" fmla="*/ 1025344 w 3320377"/>
                <a:gd name="connsiteY2015" fmla="*/ 1679371 h 3363305"/>
                <a:gd name="connsiteX2016" fmla="*/ 1025344 w 3320377"/>
                <a:gd name="connsiteY2016" fmla="*/ 1681653 h 3363305"/>
                <a:gd name="connsiteX2017" fmla="*/ 1023061 w 3320377"/>
                <a:gd name="connsiteY2017" fmla="*/ 1686217 h 3363305"/>
                <a:gd name="connsiteX2018" fmla="*/ 1025344 w 3320377"/>
                <a:gd name="connsiteY2018" fmla="*/ 1690780 h 3363305"/>
                <a:gd name="connsiteX2019" fmla="*/ 1025344 w 3320377"/>
                <a:gd name="connsiteY2019" fmla="*/ 1695344 h 3363305"/>
                <a:gd name="connsiteX2020" fmla="*/ 1027628 w 3320377"/>
                <a:gd name="connsiteY2020" fmla="*/ 1697626 h 3363305"/>
                <a:gd name="connsiteX2021" fmla="*/ 1027628 w 3320377"/>
                <a:gd name="connsiteY2021" fmla="*/ 1699908 h 3363305"/>
                <a:gd name="connsiteX2022" fmla="*/ 1029911 w 3320377"/>
                <a:gd name="connsiteY2022" fmla="*/ 1702190 h 3363305"/>
                <a:gd name="connsiteX2023" fmla="*/ 1029911 w 3320377"/>
                <a:gd name="connsiteY2023" fmla="*/ 1704472 h 3363305"/>
                <a:gd name="connsiteX2024" fmla="*/ 1029911 w 3320377"/>
                <a:gd name="connsiteY2024" fmla="*/ 1706754 h 3363305"/>
                <a:gd name="connsiteX2025" fmla="*/ 1032195 w 3320377"/>
                <a:gd name="connsiteY2025" fmla="*/ 1709035 h 3363305"/>
                <a:gd name="connsiteX2026" fmla="*/ 1034479 w 3320377"/>
                <a:gd name="connsiteY2026" fmla="*/ 1711318 h 3363305"/>
                <a:gd name="connsiteX2027" fmla="*/ 1036762 w 3320377"/>
                <a:gd name="connsiteY2027" fmla="*/ 1713599 h 3363305"/>
                <a:gd name="connsiteX2028" fmla="*/ 1039046 w 3320377"/>
                <a:gd name="connsiteY2028" fmla="*/ 1713599 h 3363305"/>
                <a:gd name="connsiteX2029" fmla="*/ 1041329 w 3320377"/>
                <a:gd name="connsiteY2029" fmla="*/ 1713599 h 3363305"/>
                <a:gd name="connsiteX2030" fmla="*/ 1043613 w 3320377"/>
                <a:gd name="connsiteY2030" fmla="*/ 1715881 h 3363305"/>
                <a:gd name="connsiteX2031" fmla="*/ 1045897 w 3320377"/>
                <a:gd name="connsiteY2031" fmla="*/ 1715881 h 3363305"/>
                <a:gd name="connsiteX2032" fmla="*/ 1048180 w 3320377"/>
                <a:gd name="connsiteY2032" fmla="*/ 1718163 h 3363305"/>
                <a:gd name="connsiteX2033" fmla="*/ 1048180 w 3320377"/>
                <a:gd name="connsiteY2033" fmla="*/ 1722727 h 3363305"/>
                <a:gd name="connsiteX2034" fmla="*/ 1045897 w 3320377"/>
                <a:gd name="connsiteY2034" fmla="*/ 1722727 h 3363305"/>
                <a:gd name="connsiteX2035" fmla="*/ 1045897 w 3320377"/>
                <a:gd name="connsiteY2035" fmla="*/ 1725009 h 3363305"/>
                <a:gd name="connsiteX2036" fmla="*/ 1043613 w 3320377"/>
                <a:gd name="connsiteY2036" fmla="*/ 1727291 h 3363305"/>
                <a:gd name="connsiteX2037" fmla="*/ 1041329 w 3320377"/>
                <a:gd name="connsiteY2037" fmla="*/ 1729573 h 3363305"/>
                <a:gd name="connsiteX2038" fmla="*/ 1039046 w 3320377"/>
                <a:gd name="connsiteY2038" fmla="*/ 1727291 h 3363305"/>
                <a:gd name="connsiteX2039" fmla="*/ 1036762 w 3320377"/>
                <a:gd name="connsiteY2039" fmla="*/ 1727291 h 3363305"/>
                <a:gd name="connsiteX2040" fmla="*/ 1034479 w 3320377"/>
                <a:gd name="connsiteY2040" fmla="*/ 1727291 h 3363305"/>
                <a:gd name="connsiteX2041" fmla="*/ 1032195 w 3320377"/>
                <a:gd name="connsiteY2041" fmla="*/ 1727291 h 3363305"/>
                <a:gd name="connsiteX2042" fmla="*/ 1029911 w 3320377"/>
                <a:gd name="connsiteY2042" fmla="*/ 1727291 h 3363305"/>
                <a:gd name="connsiteX2043" fmla="*/ 1027628 w 3320377"/>
                <a:gd name="connsiteY2043" fmla="*/ 1727291 h 3363305"/>
                <a:gd name="connsiteX2044" fmla="*/ 1027628 w 3320377"/>
                <a:gd name="connsiteY2044" fmla="*/ 1729573 h 3363305"/>
                <a:gd name="connsiteX2045" fmla="*/ 1025344 w 3320377"/>
                <a:gd name="connsiteY2045" fmla="*/ 1729573 h 3363305"/>
                <a:gd name="connsiteX2046" fmla="*/ 1023061 w 3320377"/>
                <a:gd name="connsiteY2046" fmla="*/ 1729573 h 3363305"/>
                <a:gd name="connsiteX2047" fmla="*/ 1023061 w 3320377"/>
                <a:gd name="connsiteY2047" fmla="*/ 1731854 h 3363305"/>
                <a:gd name="connsiteX2048" fmla="*/ 1023061 w 3320377"/>
                <a:gd name="connsiteY2048" fmla="*/ 1734127 h 3363305"/>
                <a:gd name="connsiteX2049" fmla="*/ 1023061 w 3320377"/>
                <a:gd name="connsiteY2049" fmla="*/ 1736418 h 3363305"/>
                <a:gd name="connsiteX2050" fmla="*/ 1020777 w 3320377"/>
                <a:gd name="connsiteY2050" fmla="*/ 1736418 h 3363305"/>
                <a:gd name="connsiteX2051" fmla="*/ 1020777 w 3320377"/>
                <a:gd name="connsiteY2051" fmla="*/ 1738700 h 3363305"/>
                <a:gd name="connsiteX2052" fmla="*/ 1018493 w 3320377"/>
                <a:gd name="connsiteY2052" fmla="*/ 1738700 h 3363305"/>
                <a:gd name="connsiteX2053" fmla="*/ 1013926 w 3320377"/>
                <a:gd name="connsiteY2053" fmla="*/ 1743254 h 3363305"/>
                <a:gd name="connsiteX2054" fmla="*/ 1013926 w 3320377"/>
                <a:gd name="connsiteY2054" fmla="*/ 1745536 h 3363305"/>
                <a:gd name="connsiteX2055" fmla="*/ 1011643 w 3320377"/>
                <a:gd name="connsiteY2055" fmla="*/ 1745536 h 3363305"/>
                <a:gd name="connsiteX2056" fmla="*/ 1011643 w 3320377"/>
                <a:gd name="connsiteY2056" fmla="*/ 1747818 h 3363305"/>
                <a:gd name="connsiteX2057" fmla="*/ 1009359 w 3320377"/>
                <a:gd name="connsiteY2057" fmla="*/ 1747818 h 3363305"/>
                <a:gd name="connsiteX2058" fmla="*/ 1007076 w 3320377"/>
                <a:gd name="connsiteY2058" fmla="*/ 1750100 h 3363305"/>
                <a:gd name="connsiteX2059" fmla="*/ 1004792 w 3320377"/>
                <a:gd name="connsiteY2059" fmla="*/ 1750100 h 3363305"/>
                <a:gd name="connsiteX2060" fmla="*/ 1002508 w 3320377"/>
                <a:gd name="connsiteY2060" fmla="*/ 1752382 h 3363305"/>
                <a:gd name="connsiteX2061" fmla="*/ 1000225 w 3320377"/>
                <a:gd name="connsiteY2061" fmla="*/ 1752382 h 3363305"/>
                <a:gd name="connsiteX2062" fmla="*/ 997941 w 3320377"/>
                <a:gd name="connsiteY2062" fmla="*/ 1752382 h 3363305"/>
                <a:gd name="connsiteX2063" fmla="*/ 995657 w 3320377"/>
                <a:gd name="connsiteY2063" fmla="*/ 1754664 h 3363305"/>
                <a:gd name="connsiteX2064" fmla="*/ 993374 w 3320377"/>
                <a:gd name="connsiteY2064" fmla="*/ 1754664 h 3363305"/>
                <a:gd name="connsiteX2065" fmla="*/ 991090 w 3320377"/>
                <a:gd name="connsiteY2065" fmla="*/ 1752382 h 3363305"/>
                <a:gd name="connsiteX2066" fmla="*/ 991090 w 3320377"/>
                <a:gd name="connsiteY2066" fmla="*/ 1754664 h 3363305"/>
                <a:gd name="connsiteX2067" fmla="*/ 988807 w 3320377"/>
                <a:gd name="connsiteY2067" fmla="*/ 1754664 h 3363305"/>
                <a:gd name="connsiteX2068" fmla="*/ 986523 w 3320377"/>
                <a:gd name="connsiteY2068" fmla="*/ 1754664 h 3363305"/>
                <a:gd name="connsiteX2069" fmla="*/ 986523 w 3320377"/>
                <a:gd name="connsiteY2069" fmla="*/ 1756946 h 3363305"/>
                <a:gd name="connsiteX2070" fmla="*/ 984240 w 3320377"/>
                <a:gd name="connsiteY2070" fmla="*/ 1756946 h 3363305"/>
                <a:gd name="connsiteX2071" fmla="*/ 981956 w 3320377"/>
                <a:gd name="connsiteY2071" fmla="*/ 1756946 h 3363305"/>
                <a:gd name="connsiteX2072" fmla="*/ 979672 w 3320377"/>
                <a:gd name="connsiteY2072" fmla="*/ 1756946 h 3363305"/>
                <a:gd name="connsiteX2073" fmla="*/ 977389 w 3320377"/>
                <a:gd name="connsiteY2073" fmla="*/ 1756946 h 3363305"/>
                <a:gd name="connsiteX2074" fmla="*/ 972822 w 3320377"/>
                <a:gd name="connsiteY2074" fmla="*/ 1754664 h 3363305"/>
                <a:gd name="connsiteX2075" fmla="*/ 970538 w 3320377"/>
                <a:gd name="connsiteY2075" fmla="*/ 1754664 h 3363305"/>
                <a:gd name="connsiteX2076" fmla="*/ 968254 w 3320377"/>
                <a:gd name="connsiteY2076" fmla="*/ 1754664 h 3363305"/>
                <a:gd name="connsiteX2077" fmla="*/ 965971 w 3320377"/>
                <a:gd name="connsiteY2077" fmla="*/ 1752382 h 3363305"/>
                <a:gd name="connsiteX2078" fmla="*/ 965971 w 3320377"/>
                <a:gd name="connsiteY2078" fmla="*/ 1750100 h 3363305"/>
                <a:gd name="connsiteX2079" fmla="*/ 963687 w 3320377"/>
                <a:gd name="connsiteY2079" fmla="*/ 1750100 h 3363305"/>
                <a:gd name="connsiteX2080" fmla="*/ 961404 w 3320377"/>
                <a:gd name="connsiteY2080" fmla="*/ 1747818 h 3363305"/>
                <a:gd name="connsiteX2081" fmla="*/ 961404 w 3320377"/>
                <a:gd name="connsiteY2081" fmla="*/ 1745536 h 3363305"/>
                <a:gd name="connsiteX2082" fmla="*/ 956836 w 3320377"/>
                <a:gd name="connsiteY2082" fmla="*/ 1743254 h 3363305"/>
                <a:gd name="connsiteX2083" fmla="*/ 952269 w 3320377"/>
                <a:gd name="connsiteY2083" fmla="*/ 1743254 h 3363305"/>
                <a:gd name="connsiteX2084" fmla="*/ 949984 w 3320377"/>
                <a:gd name="connsiteY2084" fmla="*/ 1743254 h 3363305"/>
                <a:gd name="connsiteX2085" fmla="*/ 947700 w 3320377"/>
                <a:gd name="connsiteY2085" fmla="*/ 1743254 h 3363305"/>
                <a:gd name="connsiteX2086" fmla="*/ 945416 w 3320377"/>
                <a:gd name="connsiteY2086" fmla="*/ 1743254 h 3363305"/>
                <a:gd name="connsiteX2087" fmla="*/ 943133 w 3320377"/>
                <a:gd name="connsiteY2087" fmla="*/ 1743254 h 3363305"/>
                <a:gd name="connsiteX2088" fmla="*/ 940850 w 3320377"/>
                <a:gd name="connsiteY2088" fmla="*/ 1740973 h 3363305"/>
                <a:gd name="connsiteX2089" fmla="*/ 940850 w 3320377"/>
                <a:gd name="connsiteY2089" fmla="*/ 1734127 h 3363305"/>
                <a:gd name="connsiteX2090" fmla="*/ 938567 w 3320377"/>
                <a:gd name="connsiteY2090" fmla="*/ 1731854 h 3363305"/>
                <a:gd name="connsiteX2091" fmla="*/ 938567 w 3320377"/>
                <a:gd name="connsiteY2091" fmla="*/ 1729573 h 3363305"/>
                <a:gd name="connsiteX2092" fmla="*/ 936282 w 3320377"/>
                <a:gd name="connsiteY2092" fmla="*/ 1727291 h 3363305"/>
                <a:gd name="connsiteX2093" fmla="*/ 933998 w 3320377"/>
                <a:gd name="connsiteY2093" fmla="*/ 1725009 h 3363305"/>
                <a:gd name="connsiteX2094" fmla="*/ 929431 w 3320377"/>
                <a:gd name="connsiteY2094" fmla="*/ 1720445 h 3363305"/>
                <a:gd name="connsiteX2095" fmla="*/ 924864 w 3320377"/>
                <a:gd name="connsiteY2095" fmla="*/ 1720445 h 3363305"/>
                <a:gd name="connsiteX2096" fmla="*/ 922581 w 3320377"/>
                <a:gd name="connsiteY2096" fmla="*/ 1718163 h 3363305"/>
                <a:gd name="connsiteX2097" fmla="*/ 920297 w 3320377"/>
                <a:gd name="connsiteY2097" fmla="*/ 1718163 h 3363305"/>
                <a:gd name="connsiteX2098" fmla="*/ 913446 w 3320377"/>
                <a:gd name="connsiteY2098" fmla="*/ 1715881 h 3363305"/>
                <a:gd name="connsiteX2099" fmla="*/ 906595 w 3320377"/>
                <a:gd name="connsiteY2099" fmla="*/ 1715881 h 3363305"/>
                <a:gd name="connsiteX2100" fmla="*/ 904312 w 3320377"/>
                <a:gd name="connsiteY2100" fmla="*/ 1715881 h 3363305"/>
                <a:gd name="connsiteX2101" fmla="*/ 899745 w 3320377"/>
                <a:gd name="connsiteY2101" fmla="*/ 1715881 h 3363305"/>
                <a:gd name="connsiteX2102" fmla="*/ 897461 w 3320377"/>
                <a:gd name="connsiteY2102" fmla="*/ 1713599 h 3363305"/>
                <a:gd name="connsiteX2103" fmla="*/ 895177 w 3320377"/>
                <a:gd name="connsiteY2103" fmla="*/ 1713599 h 3363305"/>
                <a:gd name="connsiteX2104" fmla="*/ 892894 w 3320377"/>
                <a:gd name="connsiteY2104" fmla="*/ 1713599 h 3363305"/>
                <a:gd name="connsiteX2105" fmla="*/ 890610 w 3320377"/>
                <a:gd name="connsiteY2105" fmla="*/ 1713599 h 3363305"/>
                <a:gd name="connsiteX2106" fmla="*/ 888327 w 3320377"/>
                <a:gd name="connsiteY2106" fmla="*/ 1715881 h 3363305"/>
                <a:gd name="connsiteX2107" fmla="*/ 888327 w 3320377"/>
                <a:gd name="connsiteY2107" fmla="*/ 1713599 h 3363305"/>
                <a:gd name="connsiteX2108" fmla="*/ 883759 w 3320377"/>
                <a:gd name="connsiteY2108" fmla="*/ 1713599 h 3363305"/>
                <a:gd name="connsiteX2109" fmla="*/ 881476 w 3320377"/>
                <a:gd name="connsiteY2109" fmla="*/ 1713599 h 3363305"/>
                <a:gd name="connsiteX2110" fmla="*/ 879192 w 3320377"/>
                <a:gd name="connsiteY2110" fmla="*/ 1715881 h 3363305"/>
                <a:gd name="connsiteX2111" fmla="*/ 874625 w 3320377"/>
                <a:gd name="connsiteY2111" fmla="*/ 1715881 h 3363305"/>
                <a:gd name="connsiteX2112" fmla="*/ 872341 w 3320377"/>
                <a:gd name="connsiteY2112" fmla="*/ 1713599 h 3363305"/>
                <a:gd name="connsiteX2113" fmla="*/ 870058 w 3320377"/>
                <a:gd name="connsiteY2113" fmla="*/ 1715881 h 3363305"/>
                <a:gd name="connsiteX2114" fmla="*/ 865490 w 3320377"/>
                <a:gd name="connsiteY2114" fmla="*/ 1715881 h 3363305"/>
                <a:gd name="connsiteX2115" fmla="*/ 863207 w 3320377"/>
                <a:gd name="connsiteY2115" fmla="*/ 1713599 h 3363305"/>
                <a:gd name="connsiteX2116" fmla="*/ 858640 w 3320377"/>
                <a:gd name="connsiteY2116" fmla="*/ 1713599 h 3363305"/>
                <a:gd name="connsiteX2117" fmla="*/ 856356 w 3320377"/>
                <a:gd name="connsiteY2117" fmla="*/ 1713599 h 3363305"/>
                <a:gd name="connsiteX2118" fmla="*/ 854072 w 3320377"/>
                <a:gd name="connsiteY2118" fmla="*/ 1713599 h 3363305"/>
                <a:gd name="connsiteX2119" fmla="*/ 851789 w 3320377"/>
                <a:gd name="connsiteY2119" fmla="*/ 1713599 h 3363305"/>
                <a:gd name="connsiteX2120" fmla="*/ 842654 w 3320377"/>
                <a:gd name="connsiteY2120" fmla="*/ 1711318 h 3363305"/>
                <a:gd name="connsiteX2121" fmla="*/ 840370 w 3320377"/>
                <a:gd name="connsiteY2121" fmla="*/ 1711318 h 3363305"/>
                <a:gd name="connsiteX2122" fmla="*/ 835804 w 3320377"/>
                <a:gd name="connsiteY2122" fmla="*/ 1711318 h 3363305"/>
                <a:gd name="connsiteX2123" fmla="*/ 833520 w 3320377"/>
                <a:gd name="connsiteY2123" fmla="*/ 1713599 h 3363305"/>
                <a:gd name="connsiteX2124" fmla="*/ 828952 w 3320377"/>
                <a:gd name="connsiteY2124" fmla="*/ 1715881 h 3363305"/>
                <a:gd name="connsiteX2125" fmla="*/ 826669 w 3320377"/>
                <a:gd name="connsiteY2125" fmla="*/ 1715881 h 3363305"/>
                <a:gd name="connsiteX2126" fmla="*/ 822102 w 3320377"/>
                <a:gd name="connsiteY2126" fmla="*/ 1715881 h 3363305"/>
                <a:gd name="connsiteX2127" fmla="*/ 817534 w 3320377"/>
                <a:gd name="connsiteY2127" fmla="*/ 1715881 h 3363305"/>
                <a:gd name="connsiteX2128" fmla="*/ 815251 w 3320377"/>
                <a:gd name="connsiteY2128" fmla="*/ 1718163 h 3363305"/>
                <a:gd name="connsiteX2129" fmla="*/ 810683 w 3320377"/>
                <a:gd name="connsiteY2129" fmla="*/ 1715881 h 3363305"/>
                <a:gd name="connsiteX2130" fmla="*/ 808400 w 3320377"/>
                <a:gd name="connsiteY2130" fmla="*/ 1715881 h 3363305"/>
                <a:gd name="connsiteX2131" fmla="*/ 803833 w 3320377"/>
                <a:gd name="connsiteY2131" fmla="*/ 1715881 h 3363305"/>
                <a:gd name="connsiteX2132" fmla="*/ 801549 w 3320377"/>
                <a:gd name="connsiteY2132" fmla="*/ 1718163 h 3363305"/>
                <a:gd name="connsiteX2133" fmla="*/ 799265 w 3320377"/>
                <a:gd name="connsiteY2133" fmla="*/ 1720445 h 3363305"/>
                <a:gd name="connsiteX2134" fmla="*/ 796982 w 3320377"/>
                <a:gd name="connsiteY2134" fmla="*/ 1722727 h 3363305"/>
                <a:gd name="connsiteX2135" fmla="*/ 794698 w 3320377"/>
                <a:gd name="connsiteY2135" fmla="*/ 1722727 h 3363305"/>
                <a:gd name="connsiteX2136" fmla="*/ 790131 w 3320377"/>
                <a:gd name="connsiteY2136" fmla="*/ 1725009 h 3363305"/>
                <a:gd name="connsiteX2137" fmla="*/ 780997 w 3320377"/>
                <a:gd name="connsiteY2137" fmla="*/ 1725009 h 3363305"/>
                <a:gd name="connsiteX2138" fmla="*/ 778713 w 3320377"/>
                <a:gd name="connsiteY2138" fmla="*/ 1727291 h 3363305"/>
                <a:gd name="connsiteX2139" fmla="*/ 776429 w 3320377"/>
                <a:gd name="connsiteY2139" fmla="*/ 1727291 h 3363305"/>
                <a:gd name="connsiteX2140" fmla="*/ 769579 w 3320377"/>
                <a:gd name="connsiteY2140" fmla="*/ 1729573 h 3363305"/>
                <a:gd name="connsiteX2141" fmla="*/ 765011 w 3320377"/>
                <a:gd name="connsiteY2141" fmla="*/ 1736418 h 3363305"/>
                <a:gd name="connsiteX2142" fmla="*/ 762728 w 3320377"/>
                <a:gd name="connsiteY2142" fmla="*/ 1740973 h 3363305"/>
                <a:gd name="connsiteX2143" fmla="*/ 760443 w 3320377"/>
                <a:gd name="connsiteY2143" fmla="*/ 1740973 h 3363305"/>
                <a:gd name="connsiteX2144" fmla="*/ 758161 w 3320377"/>
                <a:gd name="connsiteY2144" fmla="*/ 1740973 h 3363305"/>
                <a:gd name="connsiteX2145" fmla="*/ 753593 w 3320377"/>
                <a:gd name="connsiteY2145" fmla="*/ 1740973 h 3363305"/>
                <a:gd name="connsiteX2146" fmla="*/ 749025 w 3320377"/>
                <a:gd name="connsiteY2146" fmla="*/ 1738700 h 3363305"/>
                <a:gd name="connsiteX2147" fmla="*/ 746743 w 3320377"/>
                <a:gd name="connsiteY2147" fmla="*/ 1738700 h 3363305"/>
                <a:gd name="connsiteX2148" fmla="*/ 742175 w 3320377"/>
                <a:gd name="connsiteY2148" fmla="*/ 1740973 h 3363305"/>
                <a:gd name="connsiteX2149" fmla="*/ 739892 w 3320377"/>
                <a:gd name="connsiteY2149" fmla="*/ 1743254 h 3363305"/>
                <a:gd name="connsiteX2150" fmla="*/ 735324 w 3320377"/>
                <a:gd name="connsiteY2150" fmla="*/ 1745536 h 3363305"/>
                <a:gd name="connsiteX2151" fmla="*/ 733040 w 3320377"/>
                <a:gd name="connsiteY2151" fmla="*/ 1745536 h 3363305"/>
                <a:gd name="connsiteX2152" fmla="*/ 730757 w 3320377"/>
                <a:gd name="connsiteY2152" fmla="*/ 1745536 h 3363305"/>
                <a:gd name="connsiteX2153" fmla="*/ 728474 w 3320377"/>
                <a:gd name="connsiteY2153" fmla="*/ 1747818 h 3363305"/>
                <a:gd name="connsiteX2154" fmla="*/ 723906 w 3320377"/>
                <a:gd name="connsiteY2154" fmla="*/ 1745536 h 3363305"/>
                <a:gd name="connsiteX2155" fmla="*/ 719339 w 3320377"/>
                <a:gd name="connsiteY2155" fmla="*/ 1745536 h 3363305"/>
                <a:gd name="connsiteX2156" fmla="*/ 717056 w 3320377"/>
                <a:gd name="connsiteY2156" fmla="*/ 1745536 h 3363305"/>
                <a:gd name="connsiteX2157" fmla="*/ 712488 w 3320377"/>
                <a:gd name="connsiteY2157" fmla="*/ 1745536 h 3363305"/>
                <a:gd name="connsiteX2158" fmla="*/ 710204 w 3320377"/>
                <a:gd name="connsiteY2158" fmla="*/ 1745536 h 3363305"/>
                <a:gd name="connsiteX2159" fmla="*/ 707921 w 3320377"/>
                <a:gd name="connsiteY2159" fmla="*/ 1745536 h 3363305"/>
                <a:gd name="connsiteX2160" fmla="*/ 705637 w 3320377"/>
                <a:gd name="connsiteY2160" fmla="*/ 1740973 h 3363305"/>
                <a:gd name="connsiteX2161" fmla="*/ 703353 w 3320377"/>
                <a:gd name="connsiteY2161" fmla="*/ 1740973 h 3363305"/>
                <a:gd name="connsiteX2162" fmla="*/ 701070 w 3320377"/>
                <a:gd name="connsiteY2162" fmla="*/ 1740973 h 3363305"/>
                <a:gd name="connsiteX2163" fmla="*/ 701070 w 3320377"/>
                <a:gd name="connsiteY2163" fmla="*/ 1743254 h 3363305"/>
                <a:gd name="connsiteX2164" fmla="*/ 698786 w 3320377"/>
                <a:gd name="connsiteY2164" fmla="*/ 1743254 h 3363305"/>
                <a:gd name="connsiteX2165" fmla="*/ 698786 w 3320377"/>
                <a:gd name="connsiteY2165" fmla="*/ 1740973 h 3363305"/>
                <a:gd name="connsiteX2166" fmla="*/ 696503 w 3320377"/>
                <a:gd name="connsiteY2166" fmla="*/ 1740973 h 3363305"/>
                <a:gd name="connsiteX2167" fmla="*/ 691935 w 3320377"/>
                <a:gd name="connsiteY2167" fmla="*/ 1743254 h 3363305"/>
                <a:gd name="connsiteX2168" fmla="*/ 689652 w 3320377"/>
                <a:gd name="connsiteY2168" fmla="*/ 1743254 h 3363305"/>
                <a:gd name="connsiteX2169" fmla="*/ 685085 w 3320377"/>
                <a:gd name="connsiteY2169" fmla="*/ 1743254 h 3363305"/>
                <a:gd name="connsiteX2170" fmla="*/ 675950 w 3320377"/>
                <a:gd name="connsiteY2170" fmla="*/ 1743254 h 3363305"/>
                <a:gd name="connsiteX2171" fmla="*/ 671383 w 3320377"/>
                <a:gd name="connsiteY2171" fmla="*/ 1743254 h 3363305"/>
                <a:gd name="connsiteX2172" fmla="*/ 669099 w 3320377"/>
                <a:gd name="connsiteY2172" fmla="*/ 1743254 h 3363305"/>
                <a:gd name="connsiteX2173" fmla="*/ 669099 w 3320377"/>
                <a:gd name="connsiteY2173" fmla="*/ 1745536 h 3363305"/>
                <a:gd name="connsiteX2174" fmla="*/ 666816 w 3320377"/>
                <a:gd name="connsiteY2174" fmla="*/ 1750100 h 3363305"/>
                <a:gd name="connsiteX2175" fmla="*/ 659965 w 3320377"/>
                <a:gd name="connsiteY2175" fmla="*/ 1750100 h 3363305"/>
                <a:gd name="connsiteX2176" fmla="*/ 657681 w 3320377"/>
                <a:gd name="connsiteY2176" fmla="*/ 1750100 h 3363305"/>
                <a:gd name="connsiteX2177" fmla="*/ 655397 w 3320377"/>
                <a:gd name="connsiteY2177" fmla="*/ 1750100 h 3363305"/>
                <a:gd name="connsiteX2178" fmla="*/ 650831 w 3320377"/>
                <a:gd name="connsiteY2178" fmla="*/ 1756946 h 3363305"/>
                <a:gd name="connsiteX2179" fmla="*/ 648547 w 3320377"/>
                <a:gd name="connsiteY2179" fmla="*/ 1759228 h 3363305"/>
                <a:gd name="connsiteX2180" fmla="*/ 646263 w 3320377"/>
                <a:gd name="connsiteY2180" fmla="*/ 1759228 h 3363305"/>
                <a:gd name="connsiteX2181" fmla="*/ 643980 w 3320377"/>
                <a:gd name="connsiteY2181" fmla="*/ 1759228 h 3363305"/>
                <a:gd name="connsiteX2182" fmla="*/ 641696 w 3320377"/>
                <a:gd name="connsiteY2182" fmla="*/ 1756946 h 3363305"/>
                <a:gd name="connsiteX2183" fmla="*/ 639413 w 3320377"/>
                <a:gd name="connsiteY2183" fmla="*/ 1754664 h 3363305"/>
                <a:gd name="connsiteX2184" fmla="*/ 637129 w 3320377"/>
                <a:gd name="connsiteY2184" fmla="*/ 1754664 h 3363305"/>
                <a:gd name="connsiteX2185" fmla="*/ 634845 w 3320377"/>
                <a:gd name="connsiteY2185" fmla="*/ 1752382 h 3363305"/>
                <a:gd name="connsiteX2186" fmla="*/ 630278 w 3320377"/>
                <a:gd name="connsiteY2186" fmla="*/ 1750100 h 3363305"/>
                <a:gd name="connsiteX2187" fmla="*/ 623428 w 3320377"/>
                <a:gd name="connsiteY2187" fmla="*/ 1752382 h 3363305"/>
                <a:gd name="connsiteX2188" fmla="*/ 621144 w 3320377"/>
                <a:gd name="connsiteY2188" fmla="*/ 1752382 h 3363305"/>
                <a:gd name="connsiteX2189" fmla="*/ 618860 w 3320377"/>
                <a:gd name="connsiteY2189" fmla="*/ 1750100 h 3363305"/>
                <a:gd name="connsiteX2190" fmla="*/ 616576 w 3320377"/>
                <a:gd name="connsiteY2190" fmla="*/ 1750100 h 3363305"/>
                <a:gd name="connsiteX2191" fmla="*/ 612010 w 3320377"/>
                <a:gd name="connsiteY2191" fmla="*/ 1745536 h 3363305"/>
                <a:gd name="connsiteX2192" fmla="*/ 609726 w 3320377"/>
                <a:gd name="connsiteY2192" fmla="*/ 1745536 h 3363305"/>
                <a:gd name="connsiteX2193" fmla="*/ 605158 w 3320377"/>
                <a:gd name="connsiteY2193" fmla="*/ 1743254 h 3363305"/>
                <a:gd name="connsiteX2194" fmla="*/ 602874 w 3320377"/>
                <a:gd name="connsiteY2194" fmla="*/ 1743254 h 3363305"/>
                <a:gd name="connsiteX2195" fmla="*/ 596023 w 3320377"/>
                <a:gd name="connsiteY2195" fmla="*/ 1747818 h 3363305"/>
                <a:gd name="connsiteX2196" fmla="*/ 591456 w 3320377"/>
                <a:gd name="connsiteY2196" fmla="*/ 1747818 h 3363305"/>
                <a:gd name="connsiteX2197" fmla="*/ 591456 w 3320377"/>
                <a:gd name="connsiteY2197" fmla="*/ 1745536 h 3363305"/>
                <a:gd name="connsiteX2198" fmla="*/ 591456 w 3320377"/>
                <a:gd name="connsiteY2198" fmla="*/ 1743254 h 3363305"/>
                <a:gd name="connsiteX2199" fmla="*/ 586889 w 3320377"/>
                <a:gd name="connsiteY2199" fmla="*/ 1740973 h 3363305"/>
                <a:gd name="connsiteX2200" fmla="*/ 584605 w 3320377"/>
                <a:gd name="connsiteY2200" fmla="*/ 1736418 h 3363305"/>
                <a:gd name="connsiteX2201" fmla="*/ 584605 w 3320377"/>
                <a:gd name="connsiteY2201" fmla="*/ 1734127 h 3363305"/>
                <a:gd name="connsiteX2202" fmla="*/ 582322 w 3320377"/>
                <a:gd name="connsiteY2202" fmla="*/ 1734127 h 3363305"/>
                <a:gd name="connsiteX2203" fmla="*/ 580038 w 3320377"/>
                <a:gd name="connsiteY2203" fmla="*/ 1731854 h 3363305"/>
                <a:gd name="connsiteX2204" fmla="*/ 577755 w 3320377"/>
                <a:gd name="connsiteY2204" fmla="*/ 1731854 h 3363305"/>
                <a:gd name="connsiteX2205" fmla="*/ 577755 w 3320377"/>
                <a:gd name="connsiteY2205" fmla="*/ 1727291 h 3363305"/>
                <a:gd name="connsiteX2206" fmla="*/ 575471 w 3320377"/>
                <a:gd name="connsiteY2206" fmla="*/ 1725009 h 3363305"/>
                <a:gd name="connsiteX2207" fmla="*/ 573187 w 3320377"/>
                <a:gd name="connsiteY2207" fmla="*/ 1725009 h 3363305"/>
                <a:gd name="connsiteX2208" fmla="*/ 568620 w 3320377"/>
                <a:gd name="connsiteY2208" fmla="*/ 1720445 h 3363305"/>
                <a:gd name="connsiteX2209" fmla="*/ 566337 w 3320377"/>
                <a:gd name="connsiteY2209" fmla="*/ 1720445 h 3363305"/>
                <a:gd name="connsiteX2210" fmla="*/ 564053 w 3320377"/>
                <a:gd name="connsiteY2210" fmla="*/ 1718163 h 3363305"/>
                <a:gd name="connsiteX2211" fmla="*/ 564053 w 3320377"/>
                <a:gd name="connsiteY2211" fmla="*/ 1713599 h 3363305"/>
                <a:gd name="connsiteX2212" fmla="*/ 559486 w 3320377"/>
                <a:gd name="connsiteY2212" fmla="*/ 1711318 h 3363305"/>
                <a:gd name="connsiteX2213" fmla="*/ 557202 w 3320377"/>
                <a:gd name="connsiteY2213" fmla="*/ 1711318 h 3363305"/>
                <a:gd name="connsiteX2214" fmla="*/ 552635 w 3320377"/>
                <a:gd name="connsiteY2214" fmla="*/ 1713599 h 3363305"/>
                <a:gd name="connsiteX2215" fmla="*/ 550351 w 3320377"/>
                <a:gd name="connsiteY2215" fmla="*/ 1713599 h 3363305"/>
                <a:gd name="connsiteX2216" fmla="*/ 548068 w 3320377"/>
                <a:gd name="connsiteY2216" fmla="*/ 1713599 h 3363305"/>
                <a:gd name="connsiteX2217" fmla="*/ 548068 w 3320377"/>
                <a:gd name="connsiteY2217" fmla="*/ 1711318 h 3363305"/>
                <a:gd name="connsiteX2218" fmla="*/ 543501 w 3320377"/>
                <a:gd name="connsiteY2218" fmla="*/ 1704472 h 3363305"/>
                <a:gd name="connsiteX2219" fmla="*/ 541217 w 3320377"/>
                <a:gd name="connsiteY2219" fmla="*/ 1704472 h 3363305"/>
                <a:gd name="connsiteX2220" fmla="*/ 538933 w 3320377"/>
                <a:gd name="connsiteY2220" fmla="*/ 1704472 h 3363305"/>
                <a:gd name="connsiteX2221" fmla="*/ 538933 w 3320377"/>
                <a:gd name="connsiteY2221" fmla="*/ 1706754 h 3363305"/>
                <a:gd name="connsiteX2222" fmla="*/ 536650 w 3320377"/>
                <a:gd name="connsiteY2222" fmla="*/ 1706754 h 3363305"/>
                <a:gd name="connsiteX2223" fmla="*/ 534366 w 3320377"/>
                <a:gd name="connsiteY2223" fmla="*/ 1706754 h 3363305"/>
                <a:gd name="connsiteX2224" fmla="*/ 529799 w 3320377"/>
                <a:gd name="connsiteY2224" fmla="*/ 1704472 h 3363305"/>
                <a:gd name="connsiteX2225" fmla="*/ 527515 w 3320377"/>
                <a:gd name="connsiteY2225" fmla="*/ 1706754 h 3363305"/>
                <a:gd name="connsiteX2226" fmla="*/ 525231 w 3320377"/>
                <a:gd name="connsiteY2226" fmla="*/ 1704472 h 3363305"/>
                <a:gd name="connsiteX2227" fmla="*/ 520665 w 3320377"/>
                <a:gd name="connsiteY2227" fmla="*/ 1704472 h 3363305"/>
                <a:gd name="connsiteX2228" fmla="*/ 518381 w 3320377"/>
                <a:gd name="connsiteY2228" fmla="*/ 1706754 h 3363305"/>
                <a:gd name="connsiteX2229" fmla="*/ 513814 w 3320377"/>
                <a:gd name="connsiteY2229" fmla="*/ 1704472 h 3363305"/>
                <a:gd name="connsiteX2230" fmla="*/ 509247 w 3320377"/>
                <a:gd name="connsiteY2230" fmla="*/ 1704472 h 3363305"/>
                <a:gd name="connsiteX2231" fmla="*/ 506963 w 3320377"/>
                <a:gd name="connsiteY2231" fmla="*/ 1704472 h 3363305"/>
                <a:gd name="connsiteX2232" fmla="*/ 500112 w 3320377"/>
                <a:gd name="connsiteY2232" fmla="*/ 1704472 h 3363305"/>
                <a:gd name="connsiteX2233" fmla="*/ 495544 w 3320377"/>
                <a:gd name="connsiteY2233" fmla="*/ 1704472 h 3363305"/>
                <a:gd name="connsiteX2234" fmla="*/ 493262 w 3320377"/>
                <a:gd name="connsiteY2234" fmla="*/ 1706754 h 3363305"/>
                <a:gd name="connsiteX2235" fmla="*/ 490978 w 3320377"/>
                <a:gd name="connsiteY2235" fmla="*/ 1706754 h 3363305"/>
                <a:gd name="connsiteX2236" fmla="*/ 488693 w 3320377"/>
                <a:gd name="connsiteY2236" fmla="*/ 1704472 h 3363305"/>
                <a:gd name="connsiteX2237" fmla="*/ 479560 w 3320377"/>
                <a:gd name="connsiteY2237" fmla="*/ 1699908 h 3363305"/>
                <a:gd name="connsiteX2238" fmla="*/ 477276 w 3320377"/>
                <a:gd name="connsiteY2238" fmla="*/ 1699908 h 3363305"/>
                <a:gd name="connsiteX2239" fmla="*/ 474992 w 3320377"/>
                <a:gd name="connsiteY2239" fmla="*/ 1704472 h 3363305"/>
                <a:gd name="connsiteX2240" fmla="*/ 474992 w 3320377"/>
                <a:gd name="connsiteY2240" fmla="*/ 1706754 h 3363305"/>
                <a:gd name="connsiteX2241" fmla="*/ 472708 w 3320377"/>
                <a:gd name="connsiteY2241" fmla="*/ 1706754 h 3363305"/>
                <a:gd name="connsiteX2242" fmla="*/ 472708 w 3320377"/>
                <a:gd name="connsiteY2242" fmla="*/ 1709035 h 3363305"/>
                <a:gd name="connsiteX2243" fmla="*/ 470425 w 3320377"/>
                <a:gd name="connsiteY2243" fmla="*/ 1709035 h 3363305"/>
                <a:gd name="connsiteX2244" fmla="*/ 470425 w 3320377"/>
                <a:gd name="connsiteY2244" fmla="*/ 1706754 h 3363305"/>
                <a:gd name="connsiteX2245" fmla="*/ 468141 w 3320377"/>
                <a:gd name="connsiteY2245" fmla="*/ 1704472 h 3363305"/>
                <a:gd name="connsiteX2246" fmla="*/ 468141 w 3320377"/>
                <a:gd name="connsiteY2246" fmla="*/ 1702190 h 3363305"/>
                <a:gd name="connsiteX2247" fmla="*/ 465857 w 3320377"/>
                <a:gd name="connsiteY2247" fmla="*/ 1702190 h 3363305"/>
                <a:gd name="connsiteX2248" fmla="*/ 463575 w 3320377"/>
                <a:gd name="connsiteY2248" fmla="*/ 1702190 h 3363305"/>
                <a:gd name="connsiteX2249" fmla="*/ 461290 w 3320377"/>
                <a:gd name="connsiteY2249" fmla="*/ 1704472 h 3363305"/>
                <a:gd name="connsiteX2250" fmla="*/ 459007 w 3320377"/>
                <a:gd name="connsiteY2250" fmla="*/ 1704472 h 3363305"/>
                <a:gd name="connsiteX2251" fmla="*/ 459007 w 3320377"/>
                <a:gd name="connsiteY2251" fmla="*/ 1706754 h 3363305"/>
                <a:gd name="connsiteX2252" fmla="*/ 456723 w 3320377"/>
                <a:gd name="connsiteY2252" fmla="*/ 1706754 h 3363305"/>
                <a:gd name="connsiteX2253" fmla="*/ 456723 w 3320377"/>
                <a:gd name="connsiteY2253" fmla="*/ 1709035 h 3363305"/>
                <a:gd name="connsiteX2254" fmla="*/ 454439 w 3320377"/>
                <a:gd name="connsiteY2254" fmla="*/ 1711318 h 3363305"/>
                <a:gd name="connsiteX2255" fmla="*/ 454439 w 3320377"/>
                <a:gd name="connsiteY2255" fmla="*/ 1713599 h 3363305"/>
                <a:gd name="connsiteX2256" fmla="*/ 449872 w 3320377"/>
                <a:gd name="connsiteY2256" fmla="*/ 1713599 h 3363305"/>
                <a:gd name="connsiteX2257" fmla="*/ 445305 w 3320377"/>
                <a:gd name="connsiteY2257" fmla="*/ 1715881 h 3363305"/>
                <a:gd name="connsiteX2258" fmla="*/ 443021 w 3320377"/>
                <a:gd name="connsiteY2258" fmla="*/ 1715881 h 3363305"/>
                <a:gd name="connsiteX2259" fmla="*/ 440738 w 3320377"/>
                <a:gd name="connsiteY2259" fmla="*/ 1715881 h 3363305"/>
                <a:gd name="connsiteX2260" fmla="*/ 438454 w 3320377"/>
                <a:gd name="connsiteY2260" fmla="*/ 1713599 h 3363305"/>
                <a:gd name="connsiteX2261" fmla="*/ 433887 w 3320377"/>
                <a:gd name="connsiteY2261" fmla="*/ 1713599 h 3363305"/>
                <a:gd name="connsiteX2262" fmla="*/ 431604 w 3320377"/>
                <a:gd name="connsiteY2262" fmla="*/ 1713599 h 3363305"/>
                <a:gd name="connsiteX2263" fmla="*/ 429320 w 3320377"/>
                <a:gd name="connsiteY2263" fmla="*/ 1706754 h 3363305"/>
                <a:gd name="connsiteX2264" fmla="*/ 429320 w 3320377"/>
                <a:gd name="connsiteY2264" fmla="*/ 1704472 h 3363305"/>
                <a:gd name="connsiteX2265" fmla="*/ 429320 w 3320377"/>
                <a:gd name="connsiteY2265" fmla="*/ 1697626 h 3363305"/>
                <a:gd name="connsiteX2266" fmla="*/ 429320 w 3320377"/>
                <a:gd name="connsiteY2266" fmla="*/ 1695344 h 3363305"/>
                <a:gd name="connsiteX2267" fmla="*/ 427036 w 3320377"/>
                <a:gd name="connsiteY2267" fmla="*/ 1695344 h 3363305"/>
                <a:gd name="connsiteX2268" fmla="*/ 427036 w 3320377"/>
                <a:gd name="connsiteY2268" fmla="*/ 1693062 h 3363305"/>
                <a:gd name="connsiteX2269" fmla="*/ 427036 w 3320377"/>
                <a:gd name="connsiteY2269" fmla="*/ 1690780 h 3363305"/>
                <a:gd name="connsiteX2270" fmla="*/ 424753 w 3320377"/>
                <a:gd name="connsiteY2270" fmla="*/ 1686217 h 3363305"/>
                <a:gd name="connsiteX2271" fmla="*/ 422469 w 3320377"/>
                <a:gd name="connsiteY2271" fmla="*/ 1683935 h 3363305"/>
                <a:gd name="connsiteX2272" fmla="*/ 420186 w 3320377"/>
                <a:gd name="connsiteY2272" fmla="*/ 1683935 h 3363305"/>
                <a:gd name="connsiteX2273" fmla="*/ 420186 w 3320377"/>
                <a:gd name="connsiteY2273" fmla="*/ 1681653 h 3363305"/>
                <a:gd name="connsiteX2274" fmla="*/ 417902 w 3320377"/>
                <a:gd name="connsiteY2274" fmla="*/ 1681653 h 3363305"/>
                <a:gd name="connsiteX2275" fmla="*/ 415618 w 3320377"/>
                <a:gd name="connsiteY2275" fmla="*/ 1681653 h 3363305"/>
                <a:gd name="connsiteX2276" fmla="*/ 413335 w 3320377"/>
                <a:gd name="connsiteY2276" fmla="*/ 1681653 h 3363305"/>
                <a:gd name="connsiteX2277" fmla="*/ 411051 w 3320377"/>
                <a:gd name="connsiteY2277" fmla="*/ 1681653 h 3363305"/>
                <a:gd name="connsiteX2278" fmla="*/ 408768 w 3320377"/>
                <a:gd name="connsiteY2278" fmla="*/ 1681653 h 3363305"/>
                <a:gd name="connsiteX2279" fmla="*/ 406484 w 3320377"/>
                <a:gd name="connsiteY2279" fmla="*/ 1683935 h 3363305"/>
                <a:gd name="connsiteX2280" fmla="*/ 406484 w 3320377"/>
                <a:gd name="connsiteY2280" fmla="*/ 1686217 h 3363305"/>
                <a:gd name="connsiteX2281" fmla="*/ 404200 w 3320377"/>
                <a:gd name="connsiteY2281" fmla="*/ 1688498 h 3363305"/>
                <a:gd name="connsiteX2282" fmla="*/ 401917 w 3320377"/>
                <a:gd name="connsiteY2282" fmla="*/ 1688498 h 3363305"/>
                <a:gd name="connsiteX2283" fmla="*/ 392781 w 3320377"/>
                <a:gd name="connsiteY2283" fmla="*/ 1688498 h 3363305"/>
                <a:gd name="connsiteX2284" fmla="*/ 390498 w 3320377"/>
                <a:gd name="connsiteY2284" fmla="*/ 1688498 h 3363305"/>
                <a:gd name="connsiteX2285" fmla="*/ 383648 w 3320377"/>
                <a:gd name="connsiteY2285" fmla="*/ 1686217 h 3363305"/>
                <a:gd name="connsiteX2286" fmla="*/ 381363 w 3320377"/>
                <a:gd name="connsiteY2286" fmla="*/ 1688498 h 3363305"/>
                <a:gd name="connsiteX2287" fmla="*/ 379080 w 3320377"/>
                <a:gd name="connsiteY2287" fmla="*/ 1688498 h 3363305"/>
                <a:gd name="connsiteX2288" fmla="*/ 379080 w 3320377"/>
                <a:gd name="connsiteY2288" fmla="*/ 1690780 h 3363305"/>
                <a:gd name="connsiteX2289" fmla="*/ 379080 w 3320377"/>
                <a:gd name="connsiteY2289" fmla="*/ 1693062 h 3363305"/>
                <a:gd name="connsiteX2290" fmla="*/ 376796 w 3320377"/>
                <a:gd name="connsiteY2290" fmla="*/ 1693062 h 3363305"/>
                <a:gd name="connsiteX2291" fmla="*/ 374514 w 3320377"/>
                <a:gd name="connsiteY2291" fmla="*/ 1690780 h 3363305"/>
                <a:gd name="connsiteX2292" fmla="*/ 372230 w 3320377"/>
                <a:gd name="connsiteY2292" fmla="*/ 1695344 h 3363305"/>
                <a:gd name="connsiteX2293" fmla="*/ 365378 w 3320377"/>
                <a:gd name="connsiteY2293" fmla="*/ 1697626 h 3363305"/>
                <a:gd name="connsiteX2294" fmla="*/ 363095 w 3320377"/>
                <a:gd name="connsiteY2294" fmla="*/ 1699908 h 3363305"/>
                <a:gd name="connsiteX2295" fmla="*/ 360811 w 3320377"/>
                <a:gd name="connsiteY2295" fmla="*/ 1702190 h 3363305"/>
                <a:gd name="connsiteX2296" fmla="*/ 358527 w 3320377"/>
                <a:gd name="connsiteY2296" fmla="*/ 1699908 h 3363305"/>
                <a:gd name="connsiteX2297" fmla="*/ 356245 w 3320377"/>
                <a:gd name="connsiteY2297" fmla="*/ 1697626 h 3363305"/>
                <a:gd name="connsiteX2298" fmla="*/ 356245 w 3320377"/>
                <a:gd name="connsiteY2298" fmla="*/ 1695344 h 3363305"/>
                <a:gd name="connsiteX2299" fmla="*/ 356245 w 3320377"/>
                <a:gd name="connsiteY2299" fmla="*/ 1690780 h 3363305"/>
                <a:gd name="connsiteX2300" fmla="*/ 356245 w 3320377"/>
                <a:gd name="connsiteY2300" fmla="*/ 1688498 h 3363305"/>
                <a:gd name="connsiteX2301" fmla="*/ 356245 w 3320377"/>
                <a:gd name="connsiteY2301" fmla="*/ 1683935 h 3363305"/>
                <a:gd name="connsiteX2302" fmla="*/ 353960 w 3320377"/>
                <a:gd name="connsiteY2302" fmla="*/ 1681653 h 3363305"/>
                <a:gd name="connsiteX2303" fmla="*/ 353960 w 3320377"/>
                <a:gd name="connsiteY2303" fmla="*/ 1679371 h 3363305"/>
                <a:gd name="connsiteX2304" fmla="*/ 356245 w 3320377"/>
                <a:gd name="connsiteY2304" fmla="*/ 1679371 h 3363305"/>
                <a:gd name="connsiteX2305" fmla="*/ 356245 w 3320377"/>
                <a:gd name="connsiteY2305" fmla="*/ 1674807 h 3363305"/>
                <a:gd name="connsiteX2306" fmla="*/ 358527 w 3320377"/>
                <a:gd name="connsiteY2306" fmla="*/ 1672525 h 3363305"/>
                <a:gd name="connsiteX2307" fmla="*/ 358527 w 3320377"/>
                <a:gd name="connsiteY2307" fmla="*/ 1670243 h 3363305"/>
                <a:gd name="connsiteX2308" fmla="*/ 358527 w 3320377"/>
                <a:gd name="connsiteY2308" fmla="*/ 1667961 h 3363305"/>
                <a:gd name="connsiteX2309" fmla="*/ 358527 w 3320377"/>
                <a:gd name="connsiteY2309" fmla="*/ 1663398 h 3363305"/>
                <a:gd name="connsiteX2310" fmla="*/ 358527 w 3320377"/>
                <a:gd name="connsiteY2310" fmla="*/ 1661116 h 3363305"/>
                <a:gd name="connsiteX2311" fmla="*/ 358527 w 3320377"/>
                <a:gd name="connsiteY2311" fmla="*/ 1658834 h 3363305"/>
                <a:gd name="connsiteX2312" fmla="*/ 358527 w 3320377"/>
                <a:gd name="connsiteY2312" fmla="*/ 1656552 h 3363305"/>
                <a:gd name="connsiteX2313" fmla="*/ 358527 w 3320377"/>
                <a:gd name="connsiteY2313" fmla="*/ 1651988 h 3363305"/>
                <a:gd name="connsiteX2314" fmla="*/ 356245 w 3320377"/>
                <a:gd name="connsiteY2314" fmla="*/ 1651988 h 3363305"/>
                <a:gd name="connsiteX2315" fmla="*/ 356245 w 3320377"/>
                <a:gd name="connsiteY2315" fmla="*/ 1649706 h 3363305"/>
                <a:gd name="connsiteX2316" fmla="*/ 358527 w 3320377"/>
                <a:gd name="connsiteY2316" fmla="*/ 1645142 h 3363305"/>
                <a:gd name="connsiteX2317" fmla="*/ 358527 w 3320377"/>
                <a:gd name="connsiteY2317" fmla="*/ 1642861 h 3363305"/>
                <a:gd name="connsiteX2318" fmla="*/ 358527 w 3320377"/>
                <a:gd name="connsiteY2318" fmla="*/ 1640579 h 3363305"/>
                <a:gd name="connsiteX2319" fmla="*/ 358527 w 3320377"/>
                <a:gd name="connsiteY2319" fmla="*/ 1638297 h 3363305"/>
                <a:gd name="connsiteX2320" fmla="*/ 353960 w 3320377"/>
                <a:gd name="connsiteY2320" fmla="*/ 1636015 h 3363305"/>
                <a:gd name="connsiteX2321" fmla="*/ 351677 w 3320377"/>
                <a:gd name="connsiteY2321" fmla="*/ 1636015 h 3363305"/>
                <a:gd name="connsiteX2322" fmla="*/ 349393 w 3320377"/>
                <a:gd name="connsiteY2322" fmla="*/ 1636015 h 3363305"/>
                <a:gd name="connsiteX2323" fmla="*/ 347110 w 3320377"/>
                <a:gd name="connsiteY2323" fmla="*/ 1636015 h 3363305"/>
                <a:gd name="connsiteX2324" fmla="*/ 344826 w 3320377"/>
                <a:gd name="connsiteY2324" fmla="*/ 1638297 h 3363305"/>
                <a:gd name="connsiteX2325" fmla="*/ 342542 w 3320377"/>
                <a:gd name="connsiteY2325" fmla="*/ 1640579 h 3363305"/>
                <a:gd name="connsiteX2326" fmla="*/ 340259 w 3320377"/>
                <a:gd name="connsiteY2326" fmla="*/ 1640579 h 3363305"/>
                <a:gd name="connsiteX2327" fmla="*/ 340259 w 3320377"/>
                <a:gd name="connsiteY2327" fmla="*/ 1638297 h 3363305"/>
                <a:gd name="connsiteX2328" fmla="*/ 337975 w 3320377"/>
                <a:gd name="connsiteY2328" fmla="*/ 1638297 h 3363305"/>
                <a:gd name="connsiteX2329" fmla="*/ 337975 w 3320377"/>
                <a:gd name="connsiteY2329" fmla="*/ 1636015 h 3363305"/>
                <a:gd name="connsiteX2330" fmla="*/ 337975 w 3320377"/>
                <a:gd name="connsiteY2330" fmla="*/ 1633733 h 3363305"/>
                <a:gd name="connsiteX2331" fmla="*/ 337975 w 3320377"/>
                <a:gd name="connsiteY2331" fmla="*/ 1629169 h 3363305"/>
                <a:gd name="connsiteX2332" fmla="*/ 335692 w 3320377"/>
                <a:gd name="connsiteY2332" fmla="*/ 1626887 h 3363305"/>
                <a:gd name="connsiteX2333" fmla="*/ 335692 w 3320377"/>
                <a:gd name="connsiteY2333" fmla="*/ 1624605 h 3363305"/>
                <a:gd name="connsiteX2334" fmla="*/ 333408 w 3320377"/>
                <a:gd name="connsiteY2334" fmla="*/ 1620042 h 3363305"/>
                <a:gd name="connsiteX2335" fmla="*/ 333408 w 3320377"/>
                <a:gd name="connsiteY2335" fmla="*/ 1615478 h 3363305"/>
                <a:gd name="connsiteX2336" fmla="*/ 331124 w 3320377"/>
                <a:gd name="connsiteY2336" fmla="*/ 1615478 h 3363305"/>
                <a:gd name="connsiteX2337" fmla="*/ 328841 w 3320377"/>
                <a:gd name="connsiteY2337" fmla="*/ 1613196 h 3363305"/>
                <a:gd name="connsiteX2338" fmla="*/ 324274 w 3320377"/>
                <a:gd name="connsiteY2338" fmla="*/ 1610914 h 3363305"/>
                <a:gd name="connsiteX2339" fmla="*/ 321990 w 3320377"/>
                <a:gd name="connsiteY2339" fmla="*/ 1610914 h 3363305"/>
                <a:gd name="connsiteX2340" fmla="*/ 321990 w 3320377"/>
                <a:gd name="connsiteY2340" fmla="*/ 1608632 h 3363305"/>
                <a:gd name="connsiteX2341" fmla="*/ 321990 w 3320377"/>
                <a:gd name="connsiteY2341" fmla="*/ 1606350 h 3363305"/>
                <a:gd name="connsiteX2342" fmla="*/ 319706 w 3320377"/>
                <a:gd name="connsiteY2342" fmla="*/ 1604068 h 3363305"/>
                <a:gd name="connsiteX2343" fmla="*/ 319706 w 3320377"/>
                <a:gd name="connsiteY2343" fmla="*/ 1601786 h 3363305"/>
                <a:gd name="connsiteX2344" fmla="*/ 319706 w 3320377"/>
                <a:gd name="connsiteY2344" fmla="*/ 1594941 h 3363305"/>
                <a:gd name="connsiteX2345" fmla="*/ 319706 w 3320377"/>
                <a:gd name="connsiteY2345" fmla="*/ 1592659 h 3363305"/>
                <a:gd name="connsiteX2346" fmla="*/ 319706 w 3320377"/>
                <a:gd name="connsiteY2346" fmla="*/ 1590377 h 3363305"/>
                <a:gd name="connsiteX2347" fmla="*/ 321990 w 3320377"/>
                <a:gd name="connsiteY2347" fmla="*/ 1590377 h 3363305"/>
                <a:gd name="connsiteX2348" fmla="*/ 321990 w 3320377"/>
                <a:gd name="connsiteY2348" fmla="*/ 1588095 h 3363305"/>
                <a:gd name="connsiteX2349" fmla="*/ 321990 w 3320377"/>
                <a:gd name="connsiteY2349" fmla="*/ 1585813 h 3363305"/>
                <a:gd name="connsiteX2350" fmla="*/ 324274 w 3320377"/>
                <a:gd name="connsiteY2350" fmla="*/ 1585813 h 3363305"/>
                <a:gd name="connsiteX2351" fmla="*/ 326557 w 3320377"/>
                <a:gd name="connsiteY2351" fmla="*/ 1585813 h 3363305"/>
                <a:gd name="connsiteX2352" fmla="*/ 328841 w 3320377"/>
                <a:gd name="connsiteY2352" fmla="*/ 1585813 h 3363305"/>
                <a:gd name="connsiteX2353" fmla="*/ 331124 w 3320377"/>
                <a:gd name="connsiteY2353" fmla="*/ 1583531 h 3363305"/>
                <a:gd name="connsiteX2354" fmla="*/ 335692 w 3320377"/>
                <a:gd name="connsiteY2354" fmla="*/ 1583531 h 3363305"/>
                <a:gd name="connsiteX2355" fmla="*/ 340259 w 3320377"/>
                <a:gd name="connsiteY2355" fmla="*/ 1581259 h 3363305"/>
                <a:gd name="connsiteX2356" fmla="*/ 340259 w 3320377"/>
                <a:gd name="connsiteY2356" fmla="*/ 1576695 h 3363305"/>
                <a:gd name="connsiteX2357" fmla="*/ 342542 w 3320377"/>
                <a:gd name="connsiteY2357" fmla="*/ 1574413 h 3363305"/>
                <a:gd name="connsiteX2358" fmla="*/ 342542 w 3320377"/>
                <a:gd name="connsiteY2358" fmla="*/ 1572131 h 3363305"/>
                <a:gd name="connsiteX2359" fmla="*/ 344826 w 3320377"/>
                <a:gd name="connsiteY2359" fmla="*/ 1567567 h 3363305"/>
                <a:gd name="connsiteX2360" fmla="*/ 344826 w 3320377"/>
                <a:gd name="connsiteY2360" fmla="*/ 1563004 h 3363305"/>
                <a:gd name="connsiteX2361" fmla="*/ 344826 w 3320377"/>
                <a:gd name="connsiteY2361" fmla="*/ 1558440 h 3363305"/>
                <a:gd name="connsiteX2362" fmla="*/ 342542 w 3320377"/>
                <a:gd name="connsiteY2362" fmla="*/ 1556158 h 3363305"/>
                <a:gd name="connsiteX2363" fmla="*/ 340259 w 3320377"/>
                <a:gd name="connsiteY2363" fmla="*/ 1549312 h 3363305"/>
                <a:gd name="connsiteX2364" fmla="*/ 335692 w 3320377"/>
                <a:gd name="connsiteY2364" fmla="*/ 1544748 h 3363305"/>
                <a:gd name="connsiteX2365" fmla="*/ 331124 w 3320377"/>
                <a:gd name="connsiteY2365" fmla="*/ 1540185 h 3363305"/>
                <a:gd name="connsiteX2366" fmla="*/ 331124 w 3320377"/>
                <a:gd name="connsiteY2366" fmla="*/ 1537903 h 3363305"/>
                <a:gd name="connsiteX2367" fmla="*/ 328841 w 3320377"/>
                <a:gd name="connsiteY2367" fmla="*/ 1537903 h 3363305"/>
                <a:gd name="connsiteX2368" fmla="*/ 328841 w 3320377"/>
                <a:gd name="connsiteY2368" fmla="*/ 1535621 h 3363305"/>
                <a:gd name="connsiteX2369" fmla="*/ 328841 w 3320377"/>
                <a:gd name="connsiteY2369" fmla="*/ 1533339 h 3363305"/>
                <a:gd name="connsiteX2370" fmla="*/ 328841 w 3320377"/>
                <a:gd name="connsiteY2370" fmla="*/ 1531057 h 3363305"/>
                <a:gd name="connsiteX2371" fmla="*/ 331124 w 3320377"/>
                <a:gd name="connsiteY2371" fmla="*/ 1528775 h 3363305"/>
                <a:gd name="connsiteX2372" fmla="*/ 331124 w 3320377"/>
                <a:gd name="connsiteY2372" fmla="*/ 1526493 h 3363305"/>
                <a:gd name="connsiteX2373" fmla="*/ 328841 w 3320377"/>
                <a:gd name="connsiteY2373" fmla="*/ 1521930 h 3363305"/>
                <a:gd name="connsiteX2374" fmla="*/ 326557 w 3320377"/>
                <a:gd name="connsiteY2374" fmla="*/ 1519648 h 3363305"/>
                <a:gd name="connsiteX2375" fmla="*/ 324274 w 3320377"/>
                <a:gd name="connsiteY2375" fmla="*/ 1519648 h 3363305"/>
                <a:gd name="connsiteX2376" fmla="*/ 321990 w 3320377"/>
                <a:gd name="connsiteY2376" fmla="*/ 1517366 h 3363305"/>
                <a:gd name="connsiteX2377" fmla="*/ 321990 w 3320377"/>
                <a:gd name="connsiteY2377" fmla="*/ 1515084 h 3363305"/>
                <a:gd name="connsiteX2378" fmla="*/ 319706 w 3320377"/>
                <a:gd name="connsiteY2378" fmla="*/ 1510520 h 3363305"/>
                <a:gd name="connsiteX2379" fmla="*/ 319706 w 3320377"/>
                <a:gd name="connsiteY2379" fmla="*/ 1508238 h 3363305"/>
                <a:gd name="connsiteX2380" fmla="*/ 317423 w 3320377"/>
                <a:gd name="connsiteY2380" fmla="*/ 1505956 h 3363305"/>
                <a:gd name="connsiteX2381" fmla="*/ 315139 w 3320377"/>
                <a:gd name="connsiteY2381" fmla="*/ 1503674 h 3363305"/>
                <a:gd name="connsiteX2382" fmla="*/ 308288 w 3320377"/>
                <a:gd name="connsiteY2382" fmla="*/ 1501393 h 3363305"/>
                <a:gd name="connsiteX2383" fmla="*/ 306005 w 3320377"/>
                <a:gd name="connsiteY2383" fmla="*/ 1499111 h 3363305"/>
                <a:gd name="connsiteX2384" fmla="*/ 301438 w 3320377"/>
                <a:gd name="connsiteY2384" fmla="*/ 1499111 h 3363305"/>
                <a:gd name="connsiteX2385" fmla="*/ 296870 w 3320377"/>
                <a:gd name="connsiteY2385" fmla="*/ 1501393 h 3363305"/>
                <a:gd name="connsiteX2386" fmla="*/ 296870 w 3320377"/>
                <a:gd name="connsiteY2386" fmla="*/ 1503674 h 3363305"/>
                <a:gd name="connsiteX2387" fmla="*/ 294587 w 3320377"/>
                <a:gd name="connsiteY2387" fmla="*/ 1505956 h 3363305"/>
                <a:gd name="connsiteX2388" fmla="*/ 292303 w 3320377"/>
                <a:gd name="connsiteY2388" fmla="*/ 1508238 h 3363305"/>
                <a:gd name="connsiteX2389" fmla="*/ 290020 w 3320377"/>
                <a:gd name="connsiteY2389" fmla="*/ 1508238 h 3363305"/>
                <a:gd name="connsiteX2390" fmla="*/ 287735 w 3320377"/>
                <a:gd name="connsiteY2390" fmla="*/ 1508238 h 3363305"/>
                <a:gd name="connsiteX2391" fmla="*/ 285451 w 3320377"/>
                <a:gd name="connsiteY2391" fmla="*/ 1505956 h 3363305"/>
                <a:gd name="connsiteX2392" fmla="*/ 283169 w 3320377"/>
                <a:gd name="connsiteY2392" fmla="*/ 1505956 h 3363305"/>
                <a:gd name="connsiteX2393" fmla="*/ 280885 w 3320377"/>
                <a:gd name="connsiteY2393" fmla="*/ 1505956 h 3363305"/>
                <a:gd name="connsiteX2394" fmla="*/ 276318 w 3320377"/>
                <a:gd name="connsiteY2394" fmla="*/ 1510520 h 3363305"/>
                <a:gd name="connsiteX2395" fmla="*/ 274033 w 3320377"/>
                <a:gd name="connsiteY2395" fmla="*/ 1512802 h 3363305"/>
                <a:gd name="connsiteX2396" fmla="*/ 271750 w 3320377"/>
                <a:gd name="connsiteY2396" fmla="*/ 1512802 h 3363305"/>
                <a:gd name="connsiteX2397" fmla="*/ 269466 w 3320377"/>
                <a:gd name="connsiteY2397" fmla="*/ 1510520 h 3363305"/>
                <a:gd name="connsiteX2398" fmla="*/ 267183 w 3320377"/>
                <a:gd name="connsiteY2398" fmla="*/ 1510520 h 3363305"/>
                <a:gd name="connsiteX2399" fmla="*/ 264899 w 3320377"/>
                <a:gd name="connsiteY2399" fmla="*/ 1508238 h 3363305"/>
                <a:gd name="connsiteX2400" fmla="*/ 262616 w 3320377"/>
                <a:gd name="connsiteY2400" fmla="*/ 1505956 h 3363305"/>
                <a:gd name="connsiteX2401" fmla="*/ 260332 w 3320377"/>
                <a:gd name="connsiteY2401" fmla="*/ 1503674 h 3363305"/>
                <a:gd name="connsiteX2402" fmla="*/ 260332 w 3320377"/>
                <a:gd name="connsiteY2402" fmla="*/ 1501393 h 3363305"/>
                <a:gd name="connsiteX2403" fmla="*/ 258048 w 3320377"/>
                <a:gd name="connsiteY2403" fmla="*/ 1499111 h 3363305"/>
                <a:gd name="connsiteX2404" fmla="*/ 255766 w 3320377"/>
                <a:gd name="connsiteY2404" fmla="*/ 1499111 h 3363305"/>
                <a:gd name="connsiteX2405" fmla="*/ 255766 w 3320377"/>
                <a:gd name="connsiteY2405" fmla="*/ 1496829 h 3363305"/>
                <a:gd name="connsiteX2406" fmla="*/ 255766 w 3320377"/>
                <a:gd name="connsiteY2406" fmla="*/ 1494547 h 3363305"/>
                <a:gd name="connsiteX2407" fmla="*/ 253482 w 3320377"/>
                <a:gd name="connsiteY2407" fmla="*/ 1494547 h 3363305"/>
                <a:gd name="connsiteX2408" fmla="*/ 253482 w 3320377"/>
                <a:gd name="connsiteY2408" fmla="*/ 1492265 h 3363305"/>
                <a:gd name="connsiteX2409" fmla="*/ 253482 w 3320377"/>
                <a:gd name="connsiteY2409" fmla="*/ 1489983 h 3363305"/>
                <a:gd name="connsiteX2410" fmla="*/ 255766 w 3320377"/>
                <a:gd name="connsiteY2410" fmla="*/ 1487701 h 3363305"/>
                <a:gd name="connsiteX2411" fmla="*/ 253482 w 3320377"/>
                <a:gd name="connsiteY2411" fmla="*/ 1487701 h 3363305"/>
                <a:gd name="connsiteX2412" fmla="*/ 253482 w 3320377"/>
                <a:gd name="connsiteY2412" fmla="*/ 1485419 h 3363305"/>
                <a:gd name="connsiteX2413" fmla="*/ 253482 w 3320377"/>
                <a:gd name="connsiteY2413" fmla="*/ 1483137 h 3363305"/>
                <a:gd name="connsiteX2414" fmla="*/ 253482 w 3320377"/>
                <a:gd name="connsiteY2414" fmla="*/ 1480855 h 3363305"/>
                <a:gd name="connsiteX2415" fmla="*/ 255766 w 3320377"/>
                <a:gd name="connsiteY2415" fmla="*/ 1480855 h 3363305"/>
                <a:gd name="connsiteX2416" fmla="*/ 255766 w 3320377"/>
                <a:gd name="connsiteY2416" fmla="*/ 1476292 h 3363305"/>
                <a:gd name="connsiteX2417" fmla="*/ 255766 w 3320377"/>
                <a:gd name="connsiteY2417" fmla="*/ 1474010 h 3363305"/>
                <a:gd name="connsiteX2418" fmla="*/ 255766 w 3320377"/>
                <a:gd name="connsiteY2418" fmla="*/ 1467164 h 3363305"/>
                <a:gd name="connsiteX2419" fmla="*/ 258048 w 3320377"/>
                <a:gd name="connsiteY2419" fmla="*/ 1462600 h 3363305"/>
                <a:gd name="connsiteX2420" fmla="*/ 255766 w 3320377"/>
                <a:gd name="connsiteY2420" fmla="*/ 1460318 h 3363305"/>
                <a:gd name="connsiteX2421" fmla="*/ 255766 w 3320377"/>
                <a:gd name="connsiteY2421" fmla="*/ 1455754 h 3363305"/>
                <a:gd name="connsiteX2422" fmla="*/ 255766 w 3320377"/>
                <a:gd name="connsiteY2422" fmla="*/ 1453473 h 3363305"/>
                <a:gd name="connsiteX2423" fmla="*/ 253482 w 3320377"/>
                <a:gd name="connsiteY2423" fmla="*/ 1453473 h 3363305"/>
                <a:gd name="connsiteX2424" fmla="*/ 253482 w 3320377"/>
                <a:gd name="connsiteY2424" fmla="*/ 1451191 h 3363305"/>
                <a:gd name="connsiteX2425" fmla="*/ 251197 w 3320377"/>
                <a:gd name="connsiteY2425" fmla="*/ 1451191 h 3363305"/>
                <a:gd name="connsiteX2426" fmla="*/ 248914 w 3320377"/>
                <a:gd name="connsiteY2426" fmla="*/ 1451191 h 3363305"/>
                <a:gd name="connsiteX2427" fmla="*/ 246630 w 3320377"/>
                <a:gd name="connsiteY2427" fmla="*/ 1451191 h 3363305"/>
                <a:gd name="connsiteX2428" fmla="*/ 244347 w 3320377"/>
                <a:gd name="connsiteY2428" fmla="*/ 1451191 h 3363305"/>
                <a:gd name="connsiteX2429" fmla="*/ 237496 w 3320377"/>
                <a:gd name="connsiteY2429" fmla="*/ 1451191 h 3363305"/>
                <a:gd name="connsiteX2430" fmla="*/ 235212 w 3320377"/>
                <a:gd name="connsiteY2430" fmla="*/ 1448909 h 3363305"/>
                <a:gd name="connsiteX2431" fmla="*/ 232929 w 3320377"/>
                <a:gd name="connsiteY2431" fmla="*/ 1448909 h 3363305"/>
                <a:gd name="connsiteX2432" fmla="*/ 232929 w 3320377"/>
                <a:gd name="connsiteY2432" fmla="*/ 1446627 h 3363305"/>
                <a:gd name="connsiteX2433" fmla="*/ 230645 w 3320377"/>
                <a:gd name="connsiteY2433" fmla="*/ 1446627 h 3363305"/>
                <a:gd name="connsiteX2434" fmla="*/ 230645 w 3320377"/>
                <a:gd name="connsiteY2434" fmla="*/ 1444345 h 3363305"/>
                <a:gd name="connsiteX2435" fmla="*/ 230645 w 3320377"/>
                <a:gd name="connsiteY2435" fmla="*/ 1442063 h 3363305"/>
                <a:gd name="connsiteX2436" fmla="*/ 228362 w 3320377"/>
                <a:gd name="connsiteY2436" fmla="*/ 1439781 h 3363305"/>
                <a:gd name="connsiteX2437" fmla="*/ 228362 w 3320377"/>
                <a:gd name="connsiteY2437" fmla="*/ 1437499 h 3363305"/>
                <a:gd name="connsiteX2438" fmla="*/ 226079 w 3320377"/>
                <a:gd name="connsiteY2438" fmla="*/ 1435218 h 3363305"/>
                <a:gd name="connsiteX2439" fmla="*/ 223794 w 3320377"/>
                <a:gd name="connsiteY2439" fmla="*/ 1435218 h 3363305"/>
                <a:gd name="connsiteX2440" fmla="*/ 223794 w 3320377"/>
                <a:gd name="connsiteY2440" fmla="*/ 1432936 h 3363305"/>
                <a:gd name="connsiteX2441" fmla="*/ 221511 w 3320377"/>
                <a:gd name="connsiteY2441" fmla="*/ 1432936 h 3363305"/>
                <a:gd name="connsiteX2442" fmla="*/ 219227 w 3320377"/>
                <a:gd name="connsiteY2442" fmla="*/ 1430654 h 3363305"/>
                <a:gd name="connsiteX2443" fmla="*/ 216944 w 3320377"/>
                <a:gd name="connsiteY2443" fmla="*/ 1428372 h 3363305"/>
                <a:gd name="connsiteX2444" fmla="*/ 214660 w 3320377"/>
                <a:gd name="connsiteY2444" fmla="*/ 1428372 h 3363305"/>
                <a:gd name="connsiteX2445" fmla="*/ 212376 w 3320377"/>
                <a:gd name="connsiteY2445" fmla="*/ 1426090 h 3363305"/>
                <a:gd name="connsiteX2446" fmla="*/ 210093 w 3320377"/>
                <a:gd name="connsiteY2446" fmla="*/ 1426090 h 3363305"/>
                <a:gd name="connsiteX2447" fmla="*/ 207809 w 3320377"/>
                <a:gd name="connsiteY2447" fmla="*/ 1428372 h 3363305"/>
                <a:gd name="connsiteX2448" fmla="*/ 205526 w 3320377"/>
                <a:gd name="connsiteY2448" fmla="*/ 1430654 h 3363305"/>
                <a:gd name="connsiteX2449" fmla="*/ 203242 w 3320377"/>
                <a:gd name="connsiteY2449" fmla="*/ 1432936 h 3363305"/>
                <a:gd name="connsiteX2450" fmla="*/ 200958 w 3320377"/>
                <a:gd name="connsiteY2450" fmla="*/ 1432936 h 3363305"/>
                <a:gd name="connsiteX2451" fmla="*/ 191824 w 3320377"/>
                <a:gd name="connsiteY2451" fmla="*/ 1435218 h 3363305"/>
                <a:gd name="connsiteX2452" fmla="*/ 189540 w 3320377"/>
                <a:gd name="connsiteY2452" fmla="*/ 1435218 h 3363305"/>
                <a:gd name="connsiteX2453" fmla="*/ 189540 w 3320377"/>
                <a:gd name="connsiteY2453" fmla="*/ 1437499 h 3363305"/>
                <a:gd name="connsiteX2454" fmla="*/ 187257 w 3320377"/>
                <a:gd name="connsiteY2454" fmla="*/ 1439781 h 3363305"/>
                <a:gd name="connsiteX2455" fmla="*/ 187257 w 3320377"/>
                <a:gd name="connsiteY2455" fmla="*/ 1442063 h 3363305"/>
                <a:gd name="connsiteX2456" fmla="*/ 187257 w 3320377"/>
                <a:gd name="connsiteY2456" fmla="*/ 1444345 h 3363305"/>
                <a:gd name="connsiteX2457" fmla="*/ 184973 w 3320377"/>
                <a:gd name="connsiteY2457" fmla="*/ 1444345 h 3363305"/>
                <a:gd name="connsiteX2458" fmla="*/ 184973 w 3320377"/>
                <a:gd name="connsiteY2458" fmla="*/ 1446627 h 3363305"/>
                <a:gd name="connsiteX2459" fmla="*/ 182690 w 3320377"/>
                <a:gd name="connsiteY2459" fmla="*/ 1446627 h 3363305"/>
                <a:gd name="connsiteX2460" fmla="*/ 180405 w 3320377"/>
                <a:gd name="connsiteY2460" fmla="*/ 1444345 h 3363305"/>
                <a:gd name="connsiteX2461" fmla="*/ 178121 w 3320377"/>
                <a:gd name="connsiteY2461" fmla="*/ 1444345 h 3363305"/>
                <a:gd name="connsiteX2462" fmla="*/ 178121 w 3320377"/>
                <a:gd name="connsiteY2462" fmla="*/ 1442063 h 3363305"/>
                <a:gd name="connsiteX2463" fmla="*/ 175839 w 3320377"/>
                <a:gd name="connsiteY2463" fmla="*/ 1442063 h 3363305"/>
                <a:gd name="connsiteX2464" fmla="*/ 175839 w 3320377"/>
                <a:gd name="connsiteY2464" fmla="*/ 1439781 h 3363305"/>
                <a:gd name="connsiteX2465" fmla="*/ 173555 w 3320377"/>
                <a:gd name="connsiteY2465" fmla="*/ 1439781 h 3363305"/>
                <a:gd name="connsiteX2466" fmla="*/ 171272 w 3320377"/>
                <a:gd name="connsiteY2466" fmla="*/ 1439781 h 3363305"/>
                <a:gd name="connsiteX2467" fmla="*/ 171272 w 3320377"/>
                <a:gd name="connsiteY2467" fmla="*/ 1442063 h 3363305"/>
                <a:gd name="connsiteX2468" fmla="*/ 168988 w 3320377"/>
                <a:gd name="connsiteY2468" fmla="*/ 1444345 h 3363305"/>
                <a:gd name="connsiteX2469" fmla="*/ 168988 w 3320377"/>
                <a:gd name="connsiteY2469" fmla="*/ 1446627 h 3363305"/>
                <a:gd name="connsiteX2470" fmla="*/ 166703 w 3320377"/>
                <a:gd name="connsiteY2470" fmla="*/ 1446627 h 3363305"/>
                <a:gd name="connsiteX2471" fmla="*/ 162137 w 3320377"/>
                <a:gd name="connsiteY2471" fmla="*/ 1448909 h 3363305"/>
                <a:gd name="connsiteX2472" fmla="*/ 162137 w 3320377"/>
                <a:gd name="connsiteY2472" fmla="*/ 1446627 h 3363305"/>
                <a:gd name="connsiteX2473" fmla="*/ 159854 w 3320377"/>
                <a:gd name="connsiteY2473" fmla="*/ 1446627 h 3363305"/>
                <a:gd name="connsiteX2474" fmla="*/ 157570 w 3320377"/>
                <a:gd name="connsiteY2474" fmla="*/ 1446627 h 3363305"/>
                <a:gd name="connsiteX2475" fmla="*/ 155286 w 3320377"/>
                <a:gd name="connsiteY2475" fmla="*/ 1446627 h 3363305"/>
                <a:gd name="connsiteX2476" fmla="*/ 153002 w 3320377"/>
                <a:gd name="connsiteY2476" fmla="*/ 1446627 h 3363305"/>
                <a:gd name="connsiteX2477" fmla="*/ 150718 w 3320377"/>
                <a:gd name="connsiteY2477" fmla="*/ 1446627 h 3363305"/>
                <a:gd name="connsiteX2478" fmla="*/ 148436 w 3320377"/>
                <a:gd name="connsiteY2478" fmla="*/ 1446627 h 3363305"/>
                <a:gd name="connsiteX2479" fmla="*/ 146152 w 3320377"/>
                <a:gd name="connsiteY2479" fmla="*/ 1446627 h 3363305"/>
                <a:gd name="connsiteX2480" fmla="*/ 146152 w 3320377"/>
                <a:gd name="connsiteY2480" fmla="*/ 1448909 h 3363305"/>
                <a:gd name="connsiteX2481" fmla="*/ 146152 w 3320377"/>
                <a:gd name="connsiteY2481" fmla="*/ 1451191 h 3363305"/>
                <a:gd name="connsiteX2482" fmla="*/ 143868 w 3320377"/>
                <a:gd name="connsiteY2482" fmla="*/ 1453473 h 3363305"/>
                <a:gd name="connsiteX2483" fmla="*/ 141584 w 3320377"/>
                <a:gd name="connsiteY2483" fmla="*/ 1453473 h 3363305"/>
                <a:gd name="connsiteX2484" fmla="*/ 141584 w 3320377"/>
                <a:gd name="connsiteY2484" fmla="*/ 1458037 h 3363305"/>
                <a:gd name="connsiteX2485" fmla="*/ 139300 w 3320377"/>
                <a:gd name="connsiteY2485" fmla="*/ 1458037 h 3363305"/>
                <a:gd name="connsiteX2486" fmla="*/ 139300 w 3320377"/>
                <a:gd name="connsiteY2486" fmla="*/ 1460318 h 3363305"/>
                <a:gd name="connsiteX2487" fmla="*/ 141584 w 3320377"/>
                <a:gd name="connsiteY2487" fmla="*/ 1462600 h 3363305"/>
                <a:gd name="connsiteX2488" fmla="*/ 143868 w 3320377"/>
                <a:gd name="connsiteY2488" fmla="*/ 1464882 h 3363305"/>
                <a:gd name="connsiteX2489" fmla="*/ 143868 w 3320377"/>
                <a:gd name="connsiteY2489" fmla="*/ 1467164 h 3363305"/>
                <a:gd name="connsiteX2490" fmla="*/ 143868 w 3320377"/>
                <a:gd name="connsiteY2490" fmla="*/ 1474010 h 3363305"/>
                <a:gd name="connsiteX2491" fmla="*/ 143868 w 3320377"/>
                <a:gd name="connsiteY2491" fmla="*/ 1476292 h 3363305"/>
                <a:gd name="connsiteX2492" fmla="*/ 143868 w 3320377"/>
                <a:gd name="connsiteY2492" fmla="*/ 1478574 h 3363305"/>
                <a:gd name="connsiteX2493" fmla="*/ 143868 w 3320377"/>
                <a:gd name="connsiteY2493" fmla="*/ 1480855 h 3363305"/>
                <a:gd name="connsiteX2494" fmla="*/ 143868 w 3320377"/>
                <a:gd name="connsiteY2494" fmla="*/ 1483137 h 3363305"/>
                <a:gd name="connsiteX2495" fmla="*/ 143868 w 3320377"/>
                <a:gd name="connsiteY2495" fmla="*/ 1485419 h 3363305"/>
                <a:gd name="connsiteX2496" fmla="*/ 146152 w 3320377"/>
                <a:gd name="connsiteY2496" fmla="*/ 1487701 h 3363305"/>
                <a:gd name="connsiteX2497" fmla="*/ 146152 w 3320377"/>
                <a:gd name="connsiteY2497" fmla="*/ 1489983 h 3363305"/>
                <a:gd name="connsiteX2498" fmla="*/ 143868 w 3320377"/>
                <a:gd name="connsiteY2498" fmla="*/ 1489983 h 3363305"/>
                <a:gd name="connsiteX2499" fmla="*/ 143868 w 3320377"/>
                <a:gd name="connsiteY2499" fmla="*/ 1492265 h 3363305"/>
                <a:gd name="connsiteX2500" fmla="*/ 141584 w 3320377"/>
                <a:gd name="connsiteY2500" fmla="*/ 1492265 h 3363305"/>
                <a:gd name="connsiteX2501" fmla="*/ 141584 w 3320377"/>
                <a:gd name="connsiteY2501" fmla="*/ 1494547 h 3363305"/>
                <a:gd name="connsiteX2502" fmla="*/ 139300 w 3320377"/>
                <a:gd name="connsiteY2502" fmla="*/ 1494547 h 3363305"/>
                <a:gd name="connsiteX2503" fmla="*/ 139300 w 3320377"/>
                <a:gd name="connsiteY2503" fmla="*/ 1492265 h 3363305"/>
                <a:gd name="connsiteX2504" fmla="*/ 137018 w 3320377"/>
                <a:gd name="connsiteY2504" fmla="*/ 1492265 h 3363305"/>
                <a:gd name="connsiteX2505" fmla="*/ 134734 w 3320377"/>
                <a:gd name="connsiteY2505" fmla="*/ 1489983 h 3363305"/>
                <a:gd name="connsiteX2506" fmla="*/ 130166 w 3320377"/>
                <a:gd name="connsiteY2506" fmla="*/ 1487701 h 3363305"/>
                <a:gd name="connsiteX2507" fmla="*/ 127882 w 3320377"/>
                <a:gd name="connsiteY2507" fmla="*/ 1487701 h 3363305"/>
                <a:gd name="connsiteX2508" fmla="*/ 123315 w 3320377"/>
                <a:gd name="connsiteY2508" fmla="*/ 1489983 h 3363305"/>
                <a:gd name="connsiteX2509" fmla="*/ 123315 w 3320377"/>
                <a:gd name="connsiteY2509" fmla="*/ 1492265 h 3363305"/>
                <a:gd name="connsiteX2510" fmla="*/ 125599 w 3320377"/>
                <a:gd name="connsiteY2510" fmla="*/ 1496829 h 3363305"/>
                <a:gd name="connsiteX2511" fmla="*/ 125599 w 3320377"/>
                <a:gd name="connsiteY2511" fmla="*/ 1499111 h 3363305"/>
                <a:gd name="connsiteX2512" fmla="*/ 127882 w 3320377"/>
                <a:gd name="connsiteY2512" fmla="*/ 1499111 h 3363305"/>
                <a:gd name="connsiteX2513" fmla="*/ 130166 w 3320377"/>
                <a:gd name="connsiteY2513" fmla="*/ 1499111 h 3363305"/>
                <a:gd name="connsiteX2514" fmla="*/ 132450 w 3320377"/>
                <a:gd name="connsiteY2514" fmla="*/ 1501393 h 3363305"/>
                <a:gd name="connsiteX2515" fmla="*/ 134734 w 3320377"/>
                <a:gd name="connsiteY2515" fmla="*/ 1501393 h 3363305"/>
                <a:gd name="connsiteX2516" fmla="*/ 134734 w 3320377"/>
                <a:gd name="connsiteY2516" fmla="*/ 1503674 h 3363305"/>
                <a:gd name="connsiteX2517" fmla="*/ 134734 w 3320377"/>
                <a:gd name="connsiteY2517" fmla="*/ 1505956 h 3363305"/>
                <a:gd name="connsiteX2518" fmla="*/ 132450 w 3320377"/>
                <a:gd name="connsiteY2518" fmla="*/ 1508238 h 3363305"/>
                <a:gd name="connsiteX2519" fmla="*/ 130166 w 3320377"/>
                <a:gd name="connsiteY2519" fmla="*/ 1510520 h 3363305"/>
                <a:gd name="connsiteX2520" fmla="*/ 127882 w 3320377"/>
                <a:gd name="connsiteY2520" fmla="*/ 1510520 h 3363305"/>
                <a:gd name="connsiteX2521" fmla="*/ 123315 w 3320377"/>
                <a:gd name="connsiteY2521" fmla="*/ 1510520 h 3363305"/>
                <a:gd name="connsiteX2522" fmla="*/ 121032 w 3320377"/>
                <a:gd name="connsiteY2522" fmla="*/ 1510520 h 3363305"/>
                <a:gd name="connsiteX2523" fmla="*/ 118748 w 3320377"/>
                <a:gd name="connsiteY2523" fmla="*/ 1508238 h 3363305"/>
                <a:gd name="connsiteX2524" fmla="*/ 116464 w 3320377"/>
                <a:gd name="connsiteY2524" fmla="*/ 1510520 h 3363305"/>
                <a:gd name="connsiteX2525" fmla="*/ 116464 w 3320377"/>
                <a:gd name="connsiteY2525" fmla="*/ 1512802 h 3363305"/>
                <a:gd name="connsiteX2526" fmla="*/ 116464 w 3320377"/>
                <a:gd name="connsiteY2526" fmla="*/ 1515084 h 3363305"/>
                <a:gd name="connsiteX2527" fmla="*/ 116464 w 3320377"/>
                <a:gd name="connsiteY2527" fmla="*/ 1517366 h 3363305"/>
                <a:gd name="connsiteX2528" fmla="*/ 118748 w 3320377"/>
                <a:gd name="connsiteY2528" fmla="*/ 1517366 h 3363305"/>
                <a:gd name="connsiteX2529" fmla="*/ 121032 w 3320377"/>
                <a:gd name="connsiteY2529" fmla="*/ 1519648 h 3363305"/>
                <a:gd name="connsiteX2530" fmla="*/ 123315 w 3320377"/>
                <a:gd name="connsiteY2530" fmla="*/ 1519648 h 3363305"/>
                <a:gd name="connsiteX2531" fmla="*/ 125599 w 3320377"/>
                <a:gd name="connsiteY2531" fmla="*/ 1521930 h 3363305"/>
                <a:gd name="connsiteX2532" fmla="*/ 125599 w 3320377"/>
                <a:gd name="connsiteY2532" fmla="*/ 1528775 h 3363305"/>
                <a:gd name="connsiteX2533" fmla="*/ 125599 w 3320377"/>
                <a:gd name="connsiteY2533" fmla="*/ 1531057 h 3363305"/>
                <a:gd name="connsiteX2534" fmla="*/ 125599 w 3320377"/>
                <a:gd name="connsiteY2534" fmla="*/ 1533339 h 3363305"/>
                <a:gd name="connsiteX2535" fmla="*/ 123315 w 3320377"/>
                <a:gd name="connsiteY2535" fmla="*/ 1535621 h 3363305"/>
                <a:gd name="connsiteX2536" fmla="*/ 121032 w 3320377"/>
                <a:gd name="connsiteY2536" fmla="*/ 1535621 h 3363305"/>
                <a:gd name="connsiteX2537" fmla="*/ 118748 w 3320377"/>
                <a:gd name="connsiteY2537" fmla="*/ 1535621 h 3363305"/>
                <a:gd name="connsiteX2538" fmla="*/ 114181 w 3320377"/>
                <a:gd name="connsiteY2538" fmla="*/ 1533339 h 3363305"/>
                <a:gd name="connsiteX2539" fmla="*/ 111897 w 3320377"/>
                <a:gd name="connsiteY2539" fmla="*/ 1533339 h 3363305"/>
                <a:gd name="connsiteX2540" fmla="*/ 111897 w 3320377"/>
                <a:gd name="connsiteY2540" fmla="*/ 1531057 h 3363305"/>
                <a:gd name="connsiteX2541" fmla="*/ 109614 w 3320377"/>
                <a:gd name="connsiteY2541" fmla="*/ 1528775 h 3363305"/>
                <a:gd name="connsiteX2542" fmla="*/ 107330 w 3320377"/>
                <a:gd name="connsiteY2542" fmla="*/ 1528775 h 3363305"/>
                <a:gd name="connsiteX2543" fmla="*/ 105046 w 3320377"/>
                <a:gd name="connsiteY2543" fmla="*/ 1528775 h 3363305"/>
                <a:gd name="connsiteX2544" fmla="*/ 102763 w 3320377"/>
                <a:gd name="connsiteY2544" fmla="*/ 1531057 h 3363305"/>
                <a:gd name="connsiteX2545" fmla="*/ 100479 w 3320377"/>
                <a:gd name="connsiteY2545" fmla="*/ 1531057 h 3363305"/>
                <a:gd name="connsiteX2546" fmla="*/ 100479 w 3320377"/>
                <a:gd name="connsiteY2546" fmla="*/ 1533339 h 3363305"/>
                <a:gd name="connsiteX2547" fmla="*/ 100479 w 3320377"/>
                <a:gd name="connsiteY2547" fmla="*/ 1535621 h 3363305"/>
                <a:gd name="connsiteX2548" fmla="*/ 100479 w 3320377"/>
                <a:gd name="connsiteY2548" fmla="*/ 1540185 h 3363305"/>
                <a:gd name="connsiteX2549" fmla="*/ 100479 w 3320377"/>
                <a:gd name="connsiteY2549" fmla="*/ 1542467 h 3363305"/>
                <a:gd name="connsiteX2550" fmla="*/ 100479 w 3320377"/>
                <a:gd name="connsiteY2550" fmla="*/ 1547030 h 3363305"/>
                <a:gd name="connsiteX2551" fmla="*/ 102763 w 3320377"/>
                <a:gd name="connsiteY2551" fmla="*/ 1549312 h 3363305"/>
                <a:gd name="connsiteX2552" fmla="*/ 105046 w 3320377"/>
                <a:gd name="connsiteY2552" fmla="*/ 1551594 h 3363305"/>
                <a:gd name="connsiteX2553" fmla="*/ 107330 w 3320377"/>
                <a:gd name="connsiteY2553" fmla="*/ 1551594 h 3363305"/>
                <a:gd name="connsiteX2554" fmla="*/ 107330 w 3320377"/>
                <a:gd name="connsiteY2554" fmla="*/ 1553876 h 3363305"/>
                <a:gd name="connsiteX2555" fmla="*/ 111897 w 3320377"/>
                <a:gd name="connsiteY2555" fmla="*/ 1553876 h 3363305"/>
                <a:gd name="connsiteX2556" fmla="*/ 111897 w 3320377"/>
                <a:gd name="connsiteY2556" fmla="*/ 1558440 h 3363305"/>
                <a:gd name="connsiteX2557" fmla="*/ 114181 w 3320377"/>
                <a:gd name="connsiteY2557" fmla="*/ 1565286 h 3363305"/>
                <a:gd name="connsiteX2558" fmla="*/ 116464 w 3320377"/>
                <a:gd name="connsiteY2558" fmla="*/ 1565286 h 3363305"/>
                <a:gd name="connsiteX2559" fmla="*/ 116464 w 3320377"/>
                <a:gd name="connsiteY2559" fmla="*/ 1567567 h 3363305"/>
                <a:gd name="connsiteX2560" fmla="*/ 121032 w 3320377"/>
                <a:gd name="connsiteY2560" fmla="*/ 1569849 h 3363305"/>
                <a:gd name="connsiteX2561" fmla="*/ 121032 w 3320377"/>
                <a:gd name="connsiteY2561" fmla="*/ 1572131 h 3363305"/>
                <a:gd name="connsiteX2562" fmla="*/ 118748 w 3320377"/>
                <a:gd name="connsiteY2562" fmla="*/ 1574413 h 3363305"/>
                <a:gd name="connsiteX2563" fmla="*/ 114181 w 3320377"/>
                <a:gd name="connsiteY2563" fmla="*/ 1581259 h 3363305"/>
                <a:gd name="connsiteX2564" fmla="*/ 111897 w 3320377"/>
                <a:gd name="connsiteY2564" fmla="*/ 1583531 h 3363305"/>
                <a:gd name="connsiteX2565" fmla="*/ 109614 w 3320377"/>
                <a:gd name="connsiteY2565" fmla="*/ 1585813 h 3363305"/>
                <a:gd name="connsiteX2566" fmla="*/ 109614 w 3320377"/>
                <a:gd name="connsiteY2566" fmla="*/ 1588095 h 3363305"/>
                <a:gd name="connsiteX2567" fmla="*/ 109614 w 3320377"/>
                <a:gd name="connsiteY2567" fmla="*/ 1592659 h 3363305"/>
                <a:gd name="connsiteX2568" fmla="*/ 111897 w 3320377"/>
                <a:gd name="connsiteY2568" fmla="*/ 1599505 h 3363305"/>
                <a:gd name="connsiteX2569" fmla="*/ 114181 w 3320377"/>
                <a:gd name="connsiteY2569" fmla="*/ 1601786 h 3363305"/>
                <a:gd name="connsiteX2570" fmla="*/ 114181 w 3320377"/>
                <a:gd name="connsiteY2570" fmla="*/ 1604068 h 3363305"/>
                <a:gd name="connsiteX2571" fmla="*/ 111897 w 3320377"/>
                <a:gd name="connsiteY2571" fmla="*/ 1610914 h 3363305"/>
                <a:gd name="connsiteX2572" fmla="*/ 109614 w 3320377"/>
                <a:gd name="connsiteY2572" fmla="*/ 1610914 h 3363305"/>
                <a:gd name="connsiteX2573" fmla="*/ 107330 w 3320377"/>
                <a:gd name="connsiteY2573" fmla="*/ 1613196 h 3363305"/>
                <a:gd name="connsiteX2574" fmla="*/ 105046 w 3320377"/>
                <a:gd name="connsiteY2574" fmla="*/ 1613196 h 3363305"/>
                <a:gd name="connsiteX2575" fmla="*/ 105046 w 3320377"/>
                <a:gd name="connsiteY2575" fmla="*/ 1615478 h 3363305"/>
                <a:gd name="connsiteX2576" fmla="*/ 105046 w 3320377"/>
                <a:gd name="connsiteY2576" fmla="*/ 1617760 h 3363305"/>
                <a:gd name="connsiteX2577" fmla="*/ 102763 w 3320377"/>
                <a:gd name="connsiteY2577" fmla="*/ 1620042 h 3363305"/>
                <a:gd name="connsiteX2578" fmla="*/ 102763 w 3320377"/>
                <a:gd name="connsiteY2578" fmla="*/ 1622323 h 3363305"/>
                <a:gd name="connsiteX2579" fmla="*/ 102763 w 3320377"/>
                <a:gd name="connsiteY2579" fmla="*/ 1624605 h 3363305"/>
                <a:gd name="connsiteX2580" fmla="*/ 100479 w 3320377"/>
                <a:gd name="connsiteY2580" fmla="*/ 1626887 h 3363305"/>
                <a:gd name="connsiteX2581" fmla="*/ 98196 w 3320377"/>
                <a:gd name="connsiteY2581" fmla="*/ 1629169 h 3363305"/>
                <a:gd name="connsiteX2582" fmla="*/ 95912 w 3320377"/>
                <a:gd name="connsiteY2582" fmla="*/ 1631451 h 3363305"/>
                <a:gd name="connsiteX2583" fmla="*/ 89061 w 3320377"/>
                <a:gd name="connsiteY2583" fmla="*/ 1631451 h 3363305"/>
                <a:gd name="connsiteX2584" fmla="*/ 86777 w 3320377"/>
                <a:gd name="connsiteY2584" fmla="*/ 1631451 h 3363305"/>
                <a:gd name="connsiteX2585" fmla="*/ 86777 w 3320377"/>
                <a:gd name="connsiteY2585" fmla="*/ 1626887 h 3363305"/>
                <a:gd name="connsiteX2586" fmla="*/ 86777 w 3320377"/>
                <a:gd name="connsiteY2586" fmla="*/ 1624605 h 3363305"/>
                <a:gd name="connsiteX2587" fmla="*/ 86777 w 3320377"/>
                <a:gd name="connsiteY2587" fmla="*/ 1622323 h 3363305"/>
                <a:gd name="connsiteX2588" fmla="*/ 84494 w 3320377"/>
                <a:gd name="connsiteY2588" fmla="*/ 1620042 h 3363305"/>
                <a:gd name="connsiteX2589" fmla="*/ 82210 w 3320377"/>
                <a:gd name="connsiteY2589" fmla="*/ 1620042 h 3363305"/>
                <a:gd name="connsiteX2590" fmla="*/ 79927 w 3320377"/>
                <a:gd name="connsiteY2590" fmla="*/ 1620042 h 3363305"/>
                <a:gd name="connsiteX2591" fmla="*/ 77643 w 3320377"/>
                <a:gd name="connsiteY2591" fmla="*/ 1620042 h 3363305"/>
                <a:gd name="connsiteX2592" fmla="*/ 75360 w 3320377"/>
                <a:gd name="connsiteY2592" fmla="*/ 1622323 h 3363305"/>
                <a:gd name="connsiteX2593" fmla="*/ 73076 w 3320377"/>
                <a:gd name="connsiteY2593" fmla="*/ 1622323 h 3363305"/>
                <a:gd name="connsiteX2594" fmla="*/ 73076 w 3320377"/>
                <a:gd name="connsiteY2594" fmla="*/ 1624605 h 3363305"/>
                <a:gd name="connsiteX2595" fmla="*/ 66225 w 3320377"/>
                <a:gd name="connsiteY2595" fmla="*/ 1626887 h 3363305"/>
                <a:gd name="connsiteX2596" fmla="*/ 66225 w 3320377"/>
                <a:gd name="connsiteY2596" fmla="*/ 1629169 h 3363305"/>
                <a:gd name="connsiteX2597" fmla="*/ 63941 w 3320377"/>
                <a:gd name="connsiteY2597" fmla="*/ 1629169 h 3363305"/>
                <a:gd name="connsiteX2598" fmla="*/ 61657 w 3320377"/>
                <a:gd name="connsiteY2598" fmla="*/ 1631451 h 3363305"/>
                <a:gd name="connsiteX2599" fmla="*/ 59374 w 3320377"/>
                <a:gd name="connsiteY2599" fmla="*/ 1633733 h 3363305"/>
                <a:gd name="connsiteX2600" fmla="*/ 57090 w 3320377"/>
                <a:gd name="connsiteY2600" fmla="*/ 1636015 h 3363305"/>
                <a:gd name="connsiteX2601" fmla="*/ 57090 w 3320377"/>
                <a:gd name="connsiteY2601" fmla="*/ 1642861 h 3363305"/>
                <a:gd name="connsiteX2602" fmla="*/ 54807 w 3320377"/>
                <a:gd name="connsiteY2602" fmla="*/ 1645142 h 3363305"/>
                <a:gd name="connsiteX2603" fmla="*/ 52523 w 3320377"/>
                <a:gd name="connsiteY2603" fmla="*/ 1647424 h 3363305"/>
                <a:gd name="connsiteX2604" fmla="*/ 50239 w 3320377"/>
                <a:gd name="connsiteY2604" fmla="*/ 1647424 h 3363305"/>
                <a:gd name="connsiteX2605" fmla="*/ 50239 w 3320377"/>
                <a:gd name="connsiteY2605" fmla="*/ 1649706 h 3363305"/>
                <a:gd name="connsiteX2606" fmla="*/ 47956 w 3320377"/>
                <a:gd name="connsiteY2606" fmla="*/ 1649706 h 3363305"/>
                <a:gd name="connsiteX2607" fmla="*/ 45672 w 3320377"/>
                <a:gd name="connsiteY2607" fmla="*/ 1649706 h 3363305"/>
                <a:gd name="connsiteX2608" fmla="*/ 43389 w 3320377"/>
                <a:gd name="connsiteY2608" fmla="*/ 1651988 h 3363305"/>
                <a:gd name="connsiteX2609" fmla="*/ 38822 w 3320377"/>
                <a:gd name="connsiteY2609" fmla="*/ 1654270 h 3363305"/>
                <a:gd name="connsiteX2610" fmla="*/ 36538 w 3320377"/>
                <a:gd name="connsiteY2610" fmla="*/ 1656552 h 3363305"/>
                <a:gd name="connsiteX2611" fmla="*/ 34254 w 3320377"/>
                <a:gd name="connsiteY2611" fmla="*/ 1658834 h 3363305"/>
                <a:gd name="connsiteX2612" fmla="*/ 29687 w 3320377"/>
                <a:gd name="connsiteY2612" fmla="*/ 1661116 h 3363305"/>
                <a:gd name="connsiteX2613" fmla="*/ 29687 w 3320377"/>
                <a:gd name="connsiteY2613" fmla="*/ 1658834 h 3363305"/>
                <a:gd name="connsiteX2614" fmla="*/ 22836 w 3320377"/>
                <a:gd name="connsiteY2614" fmla="*/ 1661116 h 3363305"/>
                <a:gd name="connsiteX2615" fmla="*/ 20553 w 3320377"/>
                <a:gd name="connsiteY2615" fmla="*/ 1661116 h 3363305"/>
                <a:gd name="connsiteX2616" fmla="*/ 18269 w 3320377"/>
                <a:gd name="connsiteY2616" fmla="*/ 1661116 h 3363305"/>
                <a:gd name="connsiteX2617" fmla="*/ 15986 w 3320377"/>
                <a:gd name="connsiteY2617" fmla="*/ 1663398 h 3363305"/>
                <a:gd name="connsiteX2618" fmla="*/ 15986 w 3320377"/>
                <a:gd name="connsiteY2618" fmla="*/ 1665679 h 3363305"/>
                <a:gd name="connsiteX2619" fmla="*/ 13702 w 3320377"/>
                <a:gd name="connsiteY2619" fmla="*/ 1665679 h 3363305"/>
                <a:gd name="connsiteX2620" fmla="*/ 11418 w 3320377"/>
                <a:gd name="connsiteY2620" fmla="*/ 1670243 h 3363305"/>
                <a:gd name="connsiteX2621" fmla="*/ 9135 w 3320377"/>
                <a:gd name="connsiteY2621" fmla="*/ 1670243 h 3363305"/>
                <a:gd name="connsiteX2622" fmla="*/ 9135 w 3320377"/>
                <a:gd name="connsiteY2622" fmla="*/ 1672525 h 3363305"/>
                <a:gd name="connsiteX2623" fmla="*/ 6851 w 3320377"/>
                <a:gd name="connsiteY2623" fmla="*/ 1672525 h 3363305"/>
                <a:gd name="connsiteX2624" fmla="*/ 4568 w 3320377"/>
                <a:gd name="connsiteY2624" fmla="*/ 1679371 h 3363305"/>
                <a:gd name="connsiteX2625" fmla="*/ 2284 w 3320377"/>
                <a:gd name="connsiteY2625" fmla="*/ 1681653 h 3363305"/>
                <a:gd name="connsiteX2626" fmla="*/ 0 w 3320377"/>
                <a:gd name="connsiteY2626" fmla="*/ 1690780 h 3363305"/>
                <a:gd name="connsiteX2627" fmla="*/ 2284 w 3320377"/>
                <a:gd name="connsiteY2627" fmla="*/ 1690780 h 3363305"/>
                <a:gd name="connsiteX2628" fmla="*/ 2284 w 3320377"/>
                <a:gd name="connsiteY2628" fmla="*/ 1693062 h 3363305"/>
                <a:gd name="connsiteX2629" fmla="*/ 4568 w 3320377"/>
                <a:gd name="connsiteY2629" fmla="*/ 1695344 h 3363305"/>
                <a:gd name="connsiteX2630" fmla="*/ 6851 w 3320377"/>
                <a:gd name="connsiteY2630" fmla="*/ 1695344 h 3363305"/>
                <a:gd name="connsiteX2631" fmla="*/ 6851 w 3320377"/>
                <a:gd name="connsiteY2631" fmla="*/ 1697626 h 3363305"/>
                <a:gd name="connsiteX2632" fmla="*/ 9135 w 3320377"/>
                <a:gd name="connsiteY2632" fmla="*/ 1697626 h 3363305"/>
                <a:gd name="connsiteX2633" fmla="*/ 11418 w 3320377"/>
                <a:gd name="connsiteY2633" fmla="*/ 1697626 h 3363305"/>
                <a:gd name="connsiteX2634" fmla="*/ 11418 w 3320377"/>
                <a:gd name="connsiteY2634" fmla="*/ 1699908 h 3363305"/>
                <a:gd name="connsiteX2635" fmla="*/ 13702 w 3320377"/>
                <a:gd name="connsiteY2635" fmla="*/ 1699908 h 3363305"/>
                <a:gd name="connsiteX2636" fmla="*/ 15986 w 3320377"/>
                <a:gd name="connsiteY2636" fmla="*/ 1699908 h 3363305"/>
                <a:gd name="connsiteX2637" fmla="*/ 15986 w 3320377"/>
                <a:gd name="connsiteY2637" fmla="*/ 1702190 h 3363305"/>
                <a:gd name="connsiteX2638" fmla="*/ 18269 w 3320377"/>
                <a:gd name="connsiteY2638" fmla="*/ 1702190 h 3363305"/>
                <a:gd name="connsiteX2639" fmla="*/ 18269 w 3320377"/>
                <a:gd name="connsiteY2639" fmla="*/ 1704472 h 3363305"/>
                <a:gd name="connsiteX2640" fmla="*/ 20553 w 3320377"/>
                <a:gd name="connsiteY2640" fmla="*/ 1704472 h 3363305"/>
                <a:gd name="connsiteX2641" fmla="*/ 20553 w 3320377"/>
                <a:gd name="connsiteY2641" fmla="*/ 1706754 h 3363305"/>
                <a:gd name="connsiteX2642" fmla="*/ 22836 w 3320377"/>
                <a:gd name="connsiteY2642" fmla="*/ 1706754 h 3363305"/>
                <a:gd name="connsiteX2643" fmla="*/ 22836 w 3320377"/>
                <a:gd name="connsiteY2643" fmla="*/ 1709035 h 3363305"/>
                <a:gd name="connsiteX2644" fmla="*/ 25120 w 3320377"/>
                <a:gd name="connsiteY2644" fmla="*/ 1709035 h 3363305"/>
                <a:gd name="connsiteX2645" fmla="*/ 25120 w 3320377"/>
                <a:gd name="connsiteY2645" fmla="*/ 1711318 h 3363305"/>
                <a:gd name="connsiteX2646" fmla="*/ 27404 w 3320377"/>
                <a:gd name="connsiteY2646" fmla="*/ 1711318 h 3363305"/>
                <a:gd name="connsiteX2647" fmla="*/ 27404 w 3320377"/>
                <a:gd name="connsiteY2647" fmla="*/ 1713599 h 3363305"/>
                <a:gd name="connsiteX2648" fmla="*/ 29687 w 3320377"/>
                <a:gd name="connsiteY2648" fmla="*/ 1713599 h 3363305"/>
                <a:gd name="connsiteX2649" fmla="*/ 29687 w 3320377"/>
                <a:gd name="connsiteY2649" fmla="*/ 1715881 h 3363305"/>
                <a:gd name="connsiteX2650" fmla="*/ 31971 w 3320377"/>
                <a:gd name="connsiteY2650" fmla="*/ 1715881 h 3363305"/>
                <a:gd name="connsiteX2651" fmla="*/ 31971 w 3320377"/>
                <a:gd name="connsiteY2651" fmla="*/ 1718163 h 3363305"/>
                <a:gd name="connsiteX2652" fmla="*/ 34254 w 3320377"/>
                <a:gd name="connsiteY2652" fmla="*/ 1718163 h 3363305"/>
                <a:gd name="connsiteX2653" fmla="*/ 34254 w 3320377"/>
                <a:gd name="connsiteY2653" fmla="*/ 1720445 h 3363305"/>
                <a:gd name="connsiteX2654" fmla="*/ 34254 w 3320377"/>
                <a:gd name="connsiteY2654" fmla="*/ 1722727 h 3363305"/>
                <a:gd name="connsiteX2655" fmla="*/ 36538 w 3320377"/>
                <a:gd name="connsiteY2655" fmla="*/ 1722727 h 3363305"/>
                <a:gd name="connsiteX2656" fmla="*/ 38822 w 3320377"/>
                <a:gd name="connsiteY2656" fmla="*/ 1722727 h 3363305"/>
                <a:gd name="connsiteX2657" fmla="*/ 41105 w 3320377"/>
                <a:gd name="connsiteY2657" fmla="*/ 1722727 h 3363305"/>
                <a:gd name="connsiteX2658" fmla="*/ 43389 w 3320377"/>
                <a:gd name="connsiteY2658" fmla="*/ 1722727 h 3363305"/>
                <a:gd name="connsiteX2659" fmla="*/ 43389 w 3320377"/>
                <a:gd name="connsiteY2659" fmla="*/ 1725009 h 3363305"/>
                <a:gd name="connsiteX2660" fmla="*/ 45672 w 3320377"/>
                <a:gd name="connsiteY2660" fmla="*/ 1725009 h 3363305"/>
                <a:gd name="connsiteX2661" fmla="*/ 45672 w 3320377"/>
                <a:gd name="connsiteY2661" fmla="*/ 1727291 h 3363305"/>
                <a:gd name="connsiteX2662" fmla="*/ 47956 w 3320377"/>
                <a:gd name="connsiteY2662" fmla="*/ 1727291 h 3363305"/>
                <a:gd name="connsiteX2663" fmla="*/ 47956 w 3320377"/>
                <a:gd name="connsiteY2663" fmla="*/ 1729573 h 3363305"/>
                <a:gd name="connsiteX2664" fmla="*/ 47956 w 3320377"/>
                <a:gd name="connsiteY2664" fmla="*/ 1731854 h 3363305"/>
                <a:gd name="connsiteX2665" fmla="*/ 50239 w 3320377"/>
                <a:gd name="connsiteY2665" fmla="*/ 1731854 h 3363305"/>
                <a:gd name="connsiteX2666" fmla="*/ 50239 w 3320377"/>
                <a:gd name="connsiteY2666" fmla="*/ 1734127 h 3363305"/>
                <a:gd name="connsiteX2667" fmla="*/ 50239 w 3320377"/>
                <a:gd name="connsiteY2667" fmla="*/ 1736418 h 3363305"/>
                <a:gd name="connsiteX2668" fmla="*/ 50239 w 3320377"/>
                <a:gd name="connsiteY2668" fmla="*/ 1738700 h 3363305"/>
                <a:gd name="connsiteX2669" fmla="*/ 47956 w 3320377"/>
                <a:gd name="connsiteY2669" fmla="*/ 1738700 h 3363305"/>
                <a:gd name="connsiteX2670" fmla="*/ 47956 w 3320377"/>
                <a:gd name="connsiteY2670" fmla="*/ 1740973 h 3363305"/>
                <a:gd name="connsiteX2671" fmla="*/ 47956 w 3320377"/>
                <a:gd name="connsiteY2671" fmla="*/ 1743254 h 3363305"/>
                <a:gd name="connsiteX2672" fmla="*/ 47956 w 3320377"/>
                <a:gd name="connsiteY2672" fmla="*/ 1745536 h 3363305"/>
                <a:gd name="connsiteX2673" fmla="*/ 50239 w 3320377"/>
                <a:gd name="connsiteY2673" fmla="*/ 1745536 h 3363305"/>
                <a:gd name="connsiteX2674" fmla="*/ 50239 w 3320377"/>
                <a:gd name="connsiteY2674" fmla="*/ 1747818 h 3363305"/>
                <a:gd name="connsiteX2675" fmla="*/ 52523 w 3320377"/>
                <a:gd name="connsiteY2675" fmla="*/ 1747818 h 3363305"/>
                <a:gd name="connsiteX2676" fmla="*/ 52523 w 3320377"/>
                <a:gd name="connsiteY2676" fmla="*/ 1750100 h 3363305"/>
                <a:gd name="connsiteX2677" fmla="*/ 52523 w 3320377"/>
                <a:gd name="connsiteY2677" fmla="*/ 1752382 h 3363305"/>
                <a:gd name="connsiteX2678" fmla="*/ 52523 w 3320377"/>
                <a:gd name="connsiteY2678" fmla="*/ 1754664 h 3363305"/>
                <a:gd name="connsiteX2679" fmla="*/ 52523 w 3320377"/>
                <a:gd name="connsiteY2679" fmla="*/ 1756946 h 3363305"/>
                <a:gd name="connsiteX2680" fmla="*/ 54807 w 3320377"/>
                <a:gd name="connsiteY2680" fmla="*/ 1756946 h 3363305"/>
                <a:gd name="connsiteX2681" fmla="*/ 54807 w 3320377"/>
                <a:gd name="connsiteY2681" fmla="*/ 1759228 h 3363305"/>
                <a:gd name="connsiteX2682" fmla="*/ 57090 w 3320377"/>
                <a:gd name="connsiteY2682" fmla="*/ 1759228 h 3363305"/>
                <a:gd name="connsiteX2683" fmla="*/ 57090 w 3320377"/>
                <a:gd name="connsiteY2683" fmla="*/ 1761510 h 3363305"/>
                <a:gd name="connsiteX2684" fmla="*/ 57090 w 3320377"/>
                <a:gd name="connsiteY2684" fmla="*/ 1763791 h 3363305"/>
                <a:gd name="connsiteX2685" fmla="*/ 57090 w 3320377"/>
                <a:gd name="connsiteY2685" fmla="*/ 1766073 h 3363305"/>
                <a:gd name="connsiteX2686" fmla="*/ 57090 w 3320377"/>
                <a:gd name="connsiteY2686" fmla="*/ 1768355 h 3363305"/>
                <a:gd name="connsiteX2687" fmla="*/ 57090 w 3320377"/>
                <a:gd name="connsiteY2687" fmla="*/ 1770637 h 3363305"/>
                <a:gd name="connsiteX2688" fmla="*/ 57090 w 3320377"/>
                <a:gd name="connsiteY2688" fmla="*/ 1772919 h 3363305"/>
                <a:gd name="connsiteX2689" fmla="*/ 59374 w 3320377"/>
                <a:gd name="connsiteY2689" fmla="*/ 1772919 h 3363305"/>
                <a:gd name="connsiteX2690" fmla="*/ 61657 w 3320377"/>
                <a:gd name="connsiteY2690" fmla="*/ 1772919 h 3363305"/>
                <a:gd name="connsiteX2691" fmla="*/ 61657 w 3320377"/>
                <a:gd name="connsiteY2691" fmla="*/ 1775201 h 3363305"/>
                <a:gd name="connsiteX2692" fmla="*/ 61657 w 3320377"/>
                <a:gd name="connsiteY2692" fmla="*/ 1777483 h 3363305"/>
                <a:gd name="connsiteX2693" fmla="*/ 63941 w 3320377"/>
                <a:gd name="connsiteY2693" fmla="*/ 1777483 h 3363305"/>
                <a:gd name="connsiteX2694" fmla="*/ 63941 w 3320377"/>
                <a:gd name="connsiteY2694" fmla="*/ 1779765 h 3363305"/>
                <a:gd name="connsiteX2695" fmla="*/ 63941 w 3320377"/>
                <a:gd name="connsiteY2695" fmla="*/ 1782047 h 3363305"/>
                <a:gd name="connsiteX2696" fmla="*/ 63941 w 3320377"/>
                <a:gd name="connsiteY2696" fmla="*/ 1784329 h 3363305"/>
                <a:gd name="connsiteX2697" fmla="*/ 66225 w 3320377"/>
                <a:gd name="connsiteY2697" fmla="*/ 1784329 h 3363305"/>
                <a:gd name="connsiteX2698" fmla="*/ 66225 w 3320377"/>
                <a:gd name="connsiteY2698" fmla="*/ 1786610 h 3363305"/>
                <a:gd name="connsiteX2699" fmla="*/ 66225 w 3320377"/>
                <a:gd name="connsiteY2699" fmla="*/ 1788892 h 3363305"/>
                <a:gd name="connsiteX2700" fmla="*/ 66225 w 3320377"/>
                <a:gd name="connsiteY2700" fmla="*/ 1791174 h 3363305"/>
                <a:gd name="connsiteX2701" fmla="*/ 68509 w 3320377"/>
                <a:gd name="connsiteY2701" fmla="*/ 1791174 h 3363305"/>
                <a:gd name="connsiteX2702" fmla="*/ 68509 w 3320377"/>
                <a:gd name="connsiteY2702" fmla="*/ 1788892 h 3363305"/>
                <a:gd name="connsiteX2703" fmla="*/ 70792 w 3320377"/>
                <a:gd name="connsiteY2703" fmla="*/ 1788892 h 3363305"/>
                <a:gd name="connsiteX2704" fmla="*/ 70792 w 3320377"/>
                <a:gd name="connsiteY2704" fmla="*/ 1791174 h 3363305"/>
                <a:gd name="connsiteX2705" fmla="*/ 73076 w 3320377"/>
                <a:gd name="connsiteY2705" fmla="*/ 1791174 h 3363305"/>
                <a:gd name="connsiteX2706" fmla="*/ 73076 w 3320377"/>
                <a:gd name="connsiteY2706" fmla="*/ 1793456 h 3363305"/>
                <a:gd name="connsiteX2707" fmla="*/ 75360 w 3320377"/>
                <a:gd name="connsiteY2707" fmla="*/ 1793456 h 3363305"/>
                <a:gd name="connsiteX2708" fmla="*/ 77643 w 3320377"/>
                <a:gd name="connsiteY2708" fmla="*/ 1793456 h 3363305"/>
                <a:gd name="connsiteX2709" fmla="*/ 77643 w 3320377"/>
                <a:gd name="connsiteY2709" fmla="*/ 1795738 h 3363305"/>
                <a:gd name="connsiteX2710" fmla="*/ 79927 w 3320377"/>
                <a:gd name="connsiteY2710" fmla="*/ 1795738 h 3363305"/>
                <a:gd name="connsiteX2711" fmla="*/ 82210 w 3320377"/>
                <a:gd name="connsiteY2711" fmla="*/ 1795738 h 3363305"/>
                <a:gd name="connsiteX2712" fmla="*/ 84494 w 3320377"/>
                <a:gd name="connsiteY2712" fmla="*/ 1795738 h 3363305"/>
                <a:gd name="connsiteX2713" fmla="*/ 84494 w 3320377"/>
                <a:gd name="connsiteY2713" fmla="*/ 1798020 h 3363305"/>
                <a:gd name="connsiteX2714" fmla="*/ 86777 w 3320377"/>
                <a:gd name="connsiteY2714" fmla="*/ 1798020 h 3363305"/>
                <a:gd name="connsiteX2715" fmla="*/ 89061 w 3320377"/>
                <a:gd name="connsiteY2715" fmla="*/ 1798020 h 3363305"/>
                <a:gd name="connsiteX2716" fmla="*/ 89061 w 3320377"/>
                <a:gd name="connsiteY2716" fmla="*/ 1800302 h 3363305"/>
                <a:gd name="connsiteX2717" fmla="*/ 91345 w 3320377"/>
                <a:gd name="connsiteY2717" fmla="*/ 1800302 h 3363305"/>
                <a:gd name="connsiteX2718" fmla="*/ 91345 w 3320377"/>
                <a:gd name="connsiteY2718" fmla="*/ 1802584 h 3363305"/>
                <a:gd name="connsiteX2719" fmla="*/ 93628 w 3320377"/>
                <a:gd name="connsiteY2719" fmla="*/ 1802584 h 3363305"/>
                <a:gd name="connsiteX2720" fmla="*/ 93628 w 3320377"/>
                <a:gd name="connsiteY2720" fmla="*/ 1804866 h 3363305"/>
                <a:gd name="connsiteX2721" fmla="*/ 95912 w 3320377"/>
                <a:gd name="connsiteY2721" fmla="*/ 1804866 h 3363305"/>
                <a:gd name="connsiteX2722" fmla="*/ 95912 w 3320377"/>
                <a:gd name="connsiteY2722" fmla="*/ 1807147 h 3363305"/>
                <a:gd name="connsiteX2723" fmla="*/ 98196 w 3320377"/>
                <a:gd name="connsiteY2723" fmla="*/ 1807147 h 3363305"/>
                <a:gd name="connsiteX2724" fmla="*/ 100479 w 3320377"/>
                <a:gd name="connsiteY2724" fmla="*/ 1807147 h 3363305"/>
                <a:gd name="connsiteX2725" fmla="*/ 100479 w 3320377"/>
                <a:gd name="connsiteY2725" fmla="*/ 1809430 h 3363305"/>
                <a:gd name="connsiteX2726" fmla="*/ 100479 w 3320377"/>
                <a:gd name="connsiteY2726" fmla="*/ 1811711 h 3363305"/>
                <a:gd name="connsiteX2727" fmla="*/ 102763 w 3320377"/>
                <a:gd name="connsiteY2727" fmla="*/ 1811711 h 3363305"/>
                <a:gd name="connsiteX2728" fmla="*/ 102763 w 3320377"/>
                <a:gd name="connsiteY2728" fmla="*/ 1813993 h 3363305"/>
                <a:gd name="connsiteX2729" fmla="*/ 102763 w 3320377"/>
                <a:gd name="connsiteY2729" fmla="*/ 1816275 h 3363305"/>
                <a:gd name="connsiteX2730" fmla="*/ 102763 w 3320377"/>
                <a:gd name="connsiteY2730" fmla="*/ 1818557 h 3363305"/>
                <a:gd name="connsiteX2731" fmla="*/ 105046 w 3320377"/>
                <a:gd name="connsiteY2731" fmla="*/ 1818557 h 3363305"/>
                <a:gd name="connsiteX2732" fmla="*/ 105046 w 3320377"/>
                <a:gd name="connsiteY2732" fmla="*/ 1820839 h 3363305"/>
                <a:gd name="connsiteX2733" fmla="*/ 105046 w 3320377"/>
                <a:gd name="connsiteY2733" fmla="*/ 1823121 h 3363305"/>
                <a:gd name="connsiteX2734" fmla="*/ 107330 w 3320377"/>
                <a:gd name="connsiteY2734" fmla="*/ 1823121 h 3363305"/>
                <a:gd name="connsiteX2735" fmla="*/ 107330 w 3320377"/>
                <a:gd name="connsiteY2735" fmla="*/ 1825403 h 3363305"/>
                <a:gd name="connsiteX2736" fmla="*/ 109614 w 3320377"/>
                <a:gd name="connsiteY2736" fmla="*/ 1825403 h 3363305"/>
                <a:gd name="connsiteX2737" fmla="*/ 109614 w 3320377"/>
                <a:gd name="connsiteY2737" fmla="*/ 1827685 h 3363305"/>
                <a:gd name="connsiteX2738" fmla="*/ 111897 w 3320377"/>
                <a:gd name="connsiteY2738" fmla="*/ 1827685 h 3363305"/>
                <a:gd name="connsiteX2739" fmla="*/ 114181 w 3320377"/>
                <a:gd name="connsiteY2739" fmla="*/ 1827685 h 3363305"/>
                <a:gd name="connsiteX2740" fmla="*/ 114181 w 3320377"/>
                <a:gd name="connsiteY2740" fmla="*/ 1829966 h 3363305"/>
                <a:gd name="connsiteX2741" fmla="*/ 114181 w 3320377"/>
                <a:gd name="connsiteY2741" fmla="*/ 1832248 h 3363305"/>
                <a:gd name="connsiteX2742" fmla="*/ 114181 w 3320377"/>
                <a:gd name="connsiteY2742" fmla="*/ 1834530 h 3363305"/>
                <a:gd name="connsiteX2743" fmla="*/ 111897 w 3320377"/>
                <a:gd name="connsiteY2743" fmla="*/ 1834530 h 3363305"/>
                <a:gd name="connsiteX2744" fmla="*/ 111897 w 3320377"/>
                <a:gd name="connsiteY2744" fmla="*/ 1836812 h 3363305"/>
                <a:gd name="connsiteX2745" fmla="*/ 111897 w 3320377"/>
                <a:gd name="connsiteY2745" fmla="*/ 1839094 h 3363305"/>
                <a:gd name="connsiteX2746" fmla="*/ 114181 w 3320377"/>
                <a:gd name="connsiteY2746" fmla="*/ 1839094 h 3363305"/>
                <a:gd name="connsiteX2747" fmla="*/ 116464 w 3320377"/>
                <a:gd name="connsiteY2747" fmla="*/ 1839094 h 3363305"/>
                <a:gd name="connsiteX2748" fmla="*/ 116464 w 3320377"/>
                <a:gd name="connsiteY2748" fmla="*/ 1841376 h 3363305"/>
                <a:gd name="connsiteX2749" fmla="*/ 116464 w 3320377"/>
                <a:gd name="connsiteY2749" fmla="*/ 1843658 h 3363305"/>
                <a:gd name="connsiteX2750" fmla="*/ 118748 w 3320377"/>
                <a:gd name="connsiteY2750" fmla="*/ 1843658 h 3363305"/>
                <a:gd name="connsiteX2751" fmla="*/ 118748 w 3320377"/>
                <a:gd name="connsiteY2751" fmla="*/ 1845940 h 3363305"/>
                <a:gd name="connsiteX2752" fmla="*/ 121032 w 3320377"/>
                <a:gd name="connsiteY2752" fmla="*/ 1845940 h 3363305"/>
                <a:gd name="connsiteX2753" fmla="*/ 121032 w 3320377"/>
                <a:gd name="connsiteY2753" fmla="*/ 1848222 h 3363305"/>
                <a:gd name="connsiteX2754" fmla="*/ 121032 w 3320377"/>
                <a:gd name="connsiteY2754" fmla="*/ 1850503 h 3363305"/>
                <a:gd name="connsiteX2755" fmla="*/ 123315 w 3320377"/>
                <a:gd name="connsiteY2755" fmla="*/ 1850503 h 3363305"/>
                <a:gd name="connsiteX2756" fmla="*/ 123315 w 3320377"/>
                <a:gd name="connsiteY2756" fmla="*/ 1852786 h 3363305"/>
                <a:gd name="connsiteX2757" fmla="*/ 125599 w 3320377"/>
                <a:gd name="connsiteY2757" fmla="*/ 1852786 h 3363305"/>
                <a:gd name="connsiteX2758" fmla="*/ 125599 w 3320377"/>
                <a:gd name="connsiteY2758" fmla="*/ 1855067 h 3363305"/>
                <a:gd name="connsiteX2759" fmla="*/ 127882 w 3320377"/>
                <a:gd name="connsiteY2759" fmla="*/ 1855067 h 3363305"/>
                <a:gd name="connsiteX2760" fmla="*/ 130166 w 3320377"/>
                <a:gd name="connsiteY2760" fmla="*/ 1855067 h 3363305"/>
                <a:gd name="connsiteX2761" fmla="*/ 130166 w 3320377"/>
                <a:gd name="connsiteY2761" fmla="*/ 1857349 h 3363305"/>
                <a:gd name="connsiteX2762" fmla="*/ 132450 w 3320377"/>
                <a:gd name="connsiteY2762" fmla="*/ 1857349 h 3363305"/>
                <a:gd name="connsiteX2763" fmla="*/ 134734 w 3320377"/>
                <a:gd name="connsiteY2763" fmla="*/ 1857349 h 3363305"/>
                <a:gd name="connsiteX2764" fmla="*/ 134734 w 3320377"/>
                <a:gd name="connsiteY2764" fmla="*/ 1859631 h 3363305"/>
                <a:gd name="connsiteX2765" fmla="*/ 137018 w 3320377"/>
                <a:gd name="connsiteY2765" fmla="*/ 1859631 h 3363305"/>
                <a:gd name="connsiteX2766" fmla="*/ 139300 w 3320377"/>
                <a:gd name="connsiteY2766" fmla="*/ 1859631 h 3363305"/>
                <a:gd name="connsiteX2767" fmla="*/ 139300 w 3320377"/>
                <a:gd name="connsiteY2767" fmla="*/ 1861913 h 3363305"/>
                <a:gd name="connsiteX2768" fmla="*/ 141584 w 3320377"/>
                <a:gd name="connsiteY2768" fmla="*/ 1861913 h 3363305"/>
                <a:gd name="connsiteX2769" fmla="*/ 141584 w 3320377"/>
                <a:gd name="connsiteY2769" fmla="*/ 1864195 h 3363305"/>
                <a:gd name="connsiteX2770" fmla="*/ 143868 w 3320377"/>
                <a:gd name="connsiteY2770" fmla="*/ 1864195 h 3363305"/>
                <a:gd name="connsiteX2771" fmla="*/ 143868 w 3320377"/>
                <a:gd name="connsiteY2771" fmla="*/ 1866477 h 3363305"/>
                <a:gd name="connsiteX2772" fmla="*/ 146152 w 3320377"/>
                <a:gd name="connsiteY2772" fmla="*/ 1866477 h 3363305"/>
                <a:gd name="connsiteX2773" fmla="*/ 146152 w 3320377"/>
                <a:gd name="connsiteY2773" fmla="*/ 1868759 h 3363305"/>
                <a:gd name="connsiteX2774" fmla="*/ 148436 w 3320377"/>
                <a:gd name="connsiteY2774" fmla="*/ 1868759 h 3363305"/>
                <a:gd name="connsiteX2775" fmla="*/ 148436 w 3320377"/>
                <a:gd name="connsiteY2775" fmla="*/ 1871041 h 3363305"/>
                <a:gd name="connsiteX2776" fmla="*/ 150718 w 3320377"/>
                <a:gd name="connsiteY2776" fmla="*/ 1871041 h 3363305"/>
                <a:gd name="connsiteX2777" fmla="*/ 150718 w 3320377"/>
                <a:gd name="connsiteY2777" fmla="*/ 1873322 h 3363305"/>
                <a:gd name="connsiteX2778" fmla="*/ 153002 w 3320377"/>
                <a:gd name="connsiteY2778" fmla="*/ 1873322 h 3363305"/>
                <a:gd name="connsiteX2779" fmla="*/ 153002 w 3320377"/>
                <a:gd name="connsiteY2779" fmla="*/ 1875604 h 3363305"/>
                <a:gd name="connsiteX2780" fmla="*/ 150718 w 3320377"/>
                <a:gd name="connsiteY2780" fmla="*/ 1875604 h 3363305"/>
                <a:gd name="connsiteX2781" fmla="*/ 150718 w 3320377"/>
                <a:gd name="connsiteY2781" fmla="*/ 1877886 h 3363305"/>
                <a:gd name="connsiteX2782" fmla="*/ 153002 w 3320377"/>
                <a:gd name="connsiteY2782" fmla="*/ 1877886 h 3363305"/>
                <a:gd name="connsiteX2783" fmla="*/ 150718 w 3320377"/>
                <a:gd name="connsiteY2783" fmla="*/ 1880168 h 3363305"/>
                <a:gd name="connsiteX2784" fmla="*/ 153002 w 3320377"/>
                <a:gd name="connsiteY2784" fmla="*/ 1880168 h 3363305"/>
                <a:gd name="connsiteX2785" fmla="*/ 153002 w 3320377"/>
                <a:gd name="connsiteY2785" fmla="*/ 1882450 h 3363305"/>
                <a:gd name="connsiteX2786" fmla="*/ 155286 w 3320377"/>
                <a:gd name="connsiteY2786" fmla="*/ 1884732 h 3363305"/>
                <a:gd name="connsiteX2787" fmla="*/ 155286 w 3320377"/>
                <a:gd name="connsiteY2787" fmla="*/ 1887014 h 3363305"/>
                <a:gd name="connsiteX2788" fmla="*/ 155286 w 3320377"/>
                <a:gd name="connsiteY2788" fmla="*/ 1889296 h 3363305"/>
                <a:gd name="connsiteX2789" fmla="*/ 155286 w 3320377"/>
                <a:gd name="connsiteY2789" fmla="*/ 1891578 h 3363305"/>
                <a:gd name="connsiteX2790" fmla="*/ 157570 w 3320377"/>
                <a:gd name="connsiteY2790" fmla="*/ 1891578 h 3363305"/>
                <a:gd name="connsiteX2791" fmla="*/ 157570 w 3320377"/>
                <a:gd name="connsiteY2791" fmla="*/ 1893859 h 3363305"/>
                <a:gd name="connsiteX2792" fmla="*/ 159854 w 3320377"/>
                <a:gd name="connsiteY2792" fmla="*/ 1896132 h 3363305"/>
                <a:gd name="connsiteX2793" fmla="*/ 159854 w 3320377"/>
                <a:gd name="connsiteY2793" fmla="*/ 1898414 h 3363305"/>
                <a:gd name="connsiteX2794" fmla="*/ 162137 w 3320377"/>
                <a:gd name="connsiteY2794" fmla="*/ 1898414 h 3363305"/>
                <a:gd name="connsiteX2795" fmla="*/ 162137 w 3320377"/>
                <a:gd name="connsiteY2795" fmla="*/ 1900696 h 3363305"/>
                <a:gd name="connsiteX2796" fmla="*/ 159854 w 3320377"/>
                <a:gd name="connsiteY2796" fmla="*/ 1900696 h 3363305"/>
                <a:gd name="connsiteX2797" fmla="*/ 159854 w 3320377"/>
                <a:gd name="connsiteY2797" fmla="*/ 1902978 h 3363305"/>
                <a:gd name="connsiteX2798" fmla="*/ 159854 w 3320377"/>
                <a:gd name="connsiteY2798" fmla="*/ 1905259 h 3363305"/>
                <a:gd name="connsiteX2799" fmla="*/ 162137 w 3320377"/>
                <a:gd name="connsiteY2799" fmla="*/ 1905259 h 3363305"/>
                <a:gd name="connsiteX2800" fmla="*/ 162137 w 3320377"/>
                <a:gd name="connsiteY2800" fmla="*/ 1907542 h 3363305"/>
                <a:gd name="connsiteX2801" fmla="*/ 164420 w 3320377"/>
                <a:gd name="connsiteY2801" fmla="*/ 1907542 h 3363305"/>
                <a:gd name="connsiteX2802" fmla="*/ 164420 w 3320377"/>
                <a:gd name="connsiteY2802" fmla="*/ 1909823 h 3363305"/>
                <a:gd name="connsiteX2803" fmla="*/ 164420 w 3320377"/>
                <a:gd name="connsiteY2803" fmla="*/ 1912105 h 3363305"/>
                <a:gd name="connsiteX2804" fmla="*/ 164420 w 3320377"/>
                <a:gd name="connsiteY2804" fmla="*/ 1914387 h 3363305"/>
                <a:gd name="connsiteX2805" fmla="*/ 166703 w 3320377"/>
                <a:gd name="connsiteY2805" fmla="*/ 1914387 h 3363305"/>
                <a:gd name="connsiteX2806" fmla="*/ 166703 w 3320377"/>
                <a:gd name="connsiteY2806" fmla="*/ 1916669 h 3363305"/>
                <a:gd name="connsiteX2807" fmla="*/ 164420 w 3320377"/>
                <a:gd name="connsiteY2807" fmla="*/ 1918951 h 3363305"/>
                <a:gd name="connsiteX2808" fmla="*/ 164420 w 3320377"/>
                <a:gd name="connsiteY2808" fmla="*/ 1921233 h 3363305"/>
                <a:gd name="connsiteX2809" fmla="*/ 164420 w 3320377"/>
                <a:gd name="connsiteY2809" fmla="*/ 1923515 h 3363305"/>
                <a:gd name="connsiteX2810" fmla="*/ 166703 w 3320377"/>
                <a:gd name="connsiteY2810" fmla="*/ 1923515 h 3363305"/>
                <a:gd name="connsiteX2811" fmla="*/ 166703 w 3320377"/>
                <a:gd name="connsiteY2811" fmla="*/ 1925797 h 3363305"/>
                <a:gd name="connsiteX2812" fmla="*/ 168988 w 3320377"/>
                <a:gd name="connsiteY2812" fmla="*/ 1925797 h 3363305"/>
                <a:gd name="connsiteX2813" fmla="*/ 168988 w 3320377"/>
                <a:gd name="connsiteY2813" fmla="*/ 1928078 h 3363305"/>
                <a:gd name="connsiteX2814" fmla="*/ 168988 w 3320377"/>
                <a:gd name="connsiteY2814" fmla="*/ 1930360 h 3363305"/>
                <a:gd name="connsiteX2815" fmla="*/ 171272 w 3320377"/>
                <a:gd name="connsiteY2815" fmla="*/ 1930360 h 3363305"/>
                <a:gd name="connsiteX2816" fmla="*/ 171272 w 3320377"/>
                <a:gd name="connsiteY2816" fmla="*/ 1932642 h 3363305"/>
                <a:gd name="connsiteX2817" fmla="*/ 173555 w 3320377"/>
                <a:gd name="connsiteY2817" fmla="*/ 1932642 h 3363305"/>
                <a:gd name="connsiteX2818" fmla="*/ 173555 w 3320377"/>
                <a:gd name="connsiteY2818" fmla="*/ 1934924 h 3363305"/>
                <a:gd name="connsiteX2819" fmla="*/ 175839 w 3320377"/>
                <a:gd name="connsiteY2819" fmla="*/ 1934924 h 3363305"/>
                <a:gd name="connsiteX2820" fmla="*/ 175839 w 3320377"/>
                <a:gd name="connsiteY2820" fmla="*/ 1937206 h 3363305"/>
                <a:gd name="connsiteX2821" fmla="*/ 175839 w 3320377"/>
                <a:gd name="connsiteY2821" fmla="*/ 1939488 h 3363305"/>
                <a:gd name="connsiteX2822" fmla="*/ 178121 w 3320377"/>
                <a:gd name="connsiteY2822" fmla="*/ 1939488 h 3363305"/>
                <a:gd name="connsiteX2823" fmla="*/ 178121 w 3320377"/>
                <a:gd name="connsiteY2823" fmla="*/ 1941770 h 3363305"/>
                <a:gd name="connsiteX2824" fmla="*/ 175839 w 3320377"/>
                <a:gd name="connsiteY2824" fmla="*/ 1941770 h 3363305"/>
                <a:gd name="connsiteX2825" fmla="*/ 175839 w 3320377"/>
                <a:gd name="connsiteY2825" fmla="*/ 1944052 h 3363305"/>
                <a:gd name="connsiteX2826" fmla="*/ 178121 w 3320377"/>
                <a:gd name="connsiteY2826" fmla="*/ 1944052 h 3363305"/>
                <a:gd name="connsiteX2827" fmla="*/ 180405 w 3320377"/>
                <a:gd name="connsiteY2827" fmla="*/ 1944052 h 3363305"/>
                <a:gd name="connsiteX2828" fmla="*/ 180405 w 3320377"/>
                <a:gd name="connsiteY2828" fmla="*/ 1946334 h 3363305"/>
                <a:gd name="connsiteX2829" fmla="*/ 182690 w 3320377"/>
                <a:gd name="connsiteY2829" fmla="*/ 1946334 h 3363305"/>
                <a:gd name="connsiteX2830" fmla="*/ 182690 w 3320377"/>
                <a:gd name="connsiteY2830" fmla="*/ 1948615 h 3363305"/>
                <a:gd name="connsiteX2831" fmla="*/ 182690 w 3320377"/>
                <a:gd name="connsiteY2831" fmla="*/ 1950898 h 3363305"/>
                <a:gd name="connsiteX2832" fmla="*/ 180405 w 3320377"/>
                <a:gd name="connsiteY2832" fmla="*/ 1950898 h 3363305"/>
                <a:gd name="connsiteX2833" fmla="*/ 180405 w 3320377"/>
                <a:gd name="connsiteY2833" fmla="*/ 1953179 h 3363305"/>
                <a:gd name="connsiteX2834" fmla="*/ 182690 w 3320377"/>
                <a:gd name="connsiteY2834" fmla="*/ 1953179 h 3363305"/>
                <a:gd name="connsiteX2835" fmla="*/ 182690 w 3320377"/>
                <a:gd name="connsiteY2835" fmla="*/ 1955461 h 3363305"/>
                <a:gd name="connsiteX2836" fmla="*/ 184973 w 3320377"/>
                <a:gd name="connsiteY2836" fmla="*/ 1955461 h 3363305"/>
                <a:gd name="connsiteX2837" fmla="*/ 184973 w 3320377"/>
                <a:gd name="connsiteY2837" fmla="*/ 1957743 h 3363305"/>
                <a:gd name="connsiteX2838" fmla="*/ 184973 w 3320377"/>
                <a:gd name="connsiteY2838" fmla="*/ 1960025 h 3363305"/>
                <a:gd name="connsiteX2839" fmla="*/ 187257 w 3320377"/>
                <a:gd name="connsiteY2839" fmla="*/ 1960025 h 3363305"/>
                <a:gd name="connsiteX2840" fmla="*/ 189540 w 3320377"/>
                <a:gd name="connsiteY2840" fmla="*/ 1960025 h 3363305"/>
                <a:gd name="connsiteX2841" fmla="*/ 189540 w 3320377"/>
                <a:gd name="connsiteY2841" fmla="*/ 1962307 h 3363305"/>
                <a:gd name="connsiteX2842" fmla="*/ 189540 w 3320377"/>
                <a:gd name="connsiteY2842" fmla="*/ 1964589 h 3363305"/>
                <a:gd name="connsiteX2843" fmla="*/ 191824 w 3320377"/>
                <a:gd name="connsiteY2843" fmla="*/ 1964589 h 3363305"/>
                <a:gd name="connsiteX2844" fmla="*/ 191824 w 3320377"/>
                <a:gd name="connsiteY2844" fmla="*/ 1966871 h 3363305"/>
                <a:gd name="connsiteX2845" fmla="*/ 194108 w 3320377"/>
                <a:gd name="connsiteY2845" fmla="*/ 1966871 h 3363305"/>
                <a:gd name="connsiteX2846" fmla="*/ 194108 w 3320377"/>
                <a:gd name="connsiteY2846" fmla="*/ 1969153 h 3363305"/>
                <a:gd name="connsiteX2847" fmla="*/ 194108 w 3320377"/>
                <a:gd name="connsiteY2847" fmla="*/ 1971434 h 3363305"/>
                <a:gd name="connsiteX2848" fmla="*/ 196391 w 3320377"/>
                <a:gd name="connsiteY2848" fmla="*/ 1971434 h 3363305"/>
                <a:gd name="connsiteX2849" fmla="*/ 196391 w 3320377"/>
                <a:gd name="connsiteY2849" fmla="*/ 1973716 h 3363305"/>
                <a:gd name="connsiteX2850" fmla="*/ 198675 w 3320377"/>
                <a:gd name="connsiteY2850" fmla="*/ 1973716 h 3363305"/>
                <a:gd name="connsiteX2851" fmla="*/ 200958 w 3320377"/>
                <a:gd name="connsiteY2851" fmla="*/ 1973716 h 3363305"/>
                <a:gd name="connsiteX2852" fmla="*/ 200958 w 3320377"/>
                <a:gd name="connsiteY2852" fmla="*/ 1975998 h 3363305"/>
                <a:gd name="connsiteX2853" fmla="*/ 200958 w 3320377"/>
                <a:gd name="connsiteY2853" fmla="*/ 1978280 h 3363305"/>
                <a:gd name="connsiteX2854" fmla="*/ 203242 w 3320377"/>
                <a:gd name="connsiteY2854" fmla="*/ 1978280 h 3363305"/>
                <a:gd name="connsiteX2855" fmla="*/ 205526 w 3320377"/>
                <a:gd name="connsiteY2855" fmla="*/ 1978280 h 3363305"/>
                <a:gd name="connsiteX2856" fmla="*/ 205526 w 3320377"/>
                <a:gd name="connsiteY2856" fmla="*/ 1980562 h 3363305"/>
                <a:gd name="connsiteX2857" fmla="*/ 205526 w 3320377"/>
                <a:gd name="connsiteY2857" fmla="*/ 1982844 h 3363305"/>
                <a:gd name="connsiteX2858" fmla="*/ 207809 w 3320377"/>
                <a:gd name="connsiteY2858" fmla="*/ 1982844 h 3363305"/>
                <a:gd name="connsiteX2859" fmla="*/ 207809 w 3320377"/>
                <a:gd name="connsiteY2859" fmla="*/ 1985126 h 3363305"/>
                <a:gd name="connsiteX2860" fmla="*/ 207809 w 3320377"/>
                <a:gd name="connsiteY2860" fmla="*/ 1987408 h 3363305"/>
                <a:gd name="connsiteX2861" fmla="*/ 207809 w 3320377"/>
                <a:gd name="connsiteY2861" fmla="*/ 1989690 h 3363305"/>
                <a:gd name="connsiteX2862" fmla="*/ 207809 w 3320377"/>
                <a:gd name="connsiteY2862" fmla="*/ 1991971 h 3363305"/>
                <a:gd name="connsiteX2863" fmla="*/ 210093 w 3320377"/>
                <a:gd name="connsiteY2863" fmla="*/ 1991971 h 3363305"/>
                <a:gd name="connsiteX2864" fmla="*/ 210093 w 3320377"/>
                <a:gd name="connsiteY2864" fmla="*/ 1994254 h 3363305"/>
                <a:gd name="connsiteX2865" fmla="*/ 210093 w 3320377"/>
                <a:gd name="connsiteY2865" fmla="*/ 1996535 h 3363305"/>
                <a:gd name="connsiteX2866" fmla="*/ 210093 w 3320377"/>
                <a:gd name="connsiteY2866" fmla="*/ 1998817 h 3363305"/>
                <a:gd name="connsiteX2867" fmla="*/ 212376 w 3320377"/>
                <a:gd name="connsiteY2867" fmla="*/ 1998817 h 3363305"/>
                <a:gd name="connsiteX2868" fmla="*/ 212376 w 3320377"/>
                <a:gd name="connsiteY2868" fmla="*/ 2001099 h 3363305"/>
                <a:gd name="connsiteX2869" fmla="*/ 214660 w 3320377"/>
                <a:gd name="connsiteY2869" fmla="*/ 2001099 h 3363305"/>
                <a:gd name="connsiteX2870" fmla="*/ 214660 w 3320377"/>
                <a:gd name="connsiteY2870" fmla="*/ 2003381 h 3363305"/>
                <a:gd name="connsiteX2871" fmla="*/ 216944 w 3320377"/>
                <a:gd name="connsiteY2871" fmla="*/ 2003381 h 3363305"/>
                <a:gd name="connsiteX2872" fmla="*/ 216944 w 3320377"/>
                <a:gd name="connsiteY2872" fmla="*/ 2005663 h 3363305"/>
                <a:gd name="connsiteX2873" fmla="*/ 216944 w 3320377"/>
                <a:gd name="connsiteY2873" fmla="*/ 2007945 h 3363305"/>
                <a:gd name="connsiteX2874" fmla="*/ 219227 w 3320377"/>
                <a:gd name="connsiteY2874" fmla="*/ 2007945 h 3363305"/>
                <a:gd name="connsiteX2875" fmla="*/ 219227 w 3320377"/>
                <a:gd name="connsiteY2875" fmla="*/ 2010227 h 3363305"/>
                <a:gd name="connsiteX2876" fmla="*/ 219227 w 3320377"/>
                <a:gd name="connsiteY2876" fmla="*/ 2012509 h 3363305"/>
                <a:gd name="connsiteX2877" fmla="*/ 219227 w 3320377"/>
                <a:gd name="connsiteY2877" fmla="*/ 2014791 h 3363305"/>
                <a:gd name="connsiteX2878" fmla="*/ 221511 w 3320377"/>
                <a:gd name="connsiteY2878" fmla="*/ 2014791 h 3363305"/>
                <a:gd name="connsiteX2879" fmla="*/ 221511 w 3320377"/>
                <a:gd name="connsiteY2879" fmla="*/ 2017072 h 3363305"/>
                <a:gd name="connsiteX2880" fmla="*/ 221511 w 3320377"/>
                <a:gd name="connsiteY2880" fmla="*/ 2019354 h 3363305"/>
                <a:gd name="connsiteX2881" fmla="*/ 223794 w 3320377"/>
                <a:gd name="connsiteY2881" fmla="*/ 2021636 h 3363305"/>
                <a:gd name="connsiteX2882" fmla="*/ 223794 w 3320377"/>
                <a:gd name="connsiteY2882" fmla="*/ 2023918 h 3363305"/>
                <a:gd name="connsiteX2883" fmla="*/ 223794 w 3320377"/>
                <a:gd name="connsiteY2883" fmla="*/ 2026200 h 3363305"/>
                <a:gd name="connsiteX2884" fmla="*/ 223794 w 3320377"/>
                <a:gd name="connsiteY2884" fmla="*/ 2028482 h 3363305"/>
                <a:gd name="connsiteX2885" fmla="*/ 226079 w 3320377"/>
                <a:gd name="connsiteY2885" fmla="*/ 2028482 h 3363305"/>
                <a:gd name="connsiteX2886" fmla="*/ 226079 w 3320377"/>
                <a:gd name="connsiteY2886" fmla="*/ 2030764 h 3363305"/>
                <a:gd name="connsiteX2887" fmla="*/ 228362 w 3320377"/>
                <a:gd name="connsiteY2887" fmla="*/ 2030764 h 3363305"/>
                <a:gd name="connsiteX2888" fmla="*/ 228362 w 3320377"/>
                <a:gd name="connsiteY2888" fmla="*/ 2033046 h 3363305"/>
                <a:gd name="connsiteX2889" fmla="*/ 228362 w 3320377"/>
                <a:gd name="connsiteY2889" fmla="*/ 2035327 h 3363305"/>
                <a:gd name="connsiteX2890" fmla="*/ 228362 w 3320377"/>
                <a:gd name="connsiteY2890" fmla="*/ 2037610 h 3363305"/>
                <a:gd name="connsiteX2891" fmla="*/ 228362 w 3320377"/>
                <a:gd name="connsiteY2891" fmla="*/ 2039891 h 3363305"/>
                <a:gd name="connsiteX2892" fmla="*/ 230645 w 3320377"/>
                <a:gd name="connsiteY2892" fmla="*/ 2039891 h 3363305"/>
                <a:gd name="connsiteX2893" fmla="*/ 230645 w 3320377"/>
                <a:gd name="connsiteY2893" fmla="*/ 2042173 h 3363305"/>
                <a:gd name="connsiteX2894" fmla="*/ 230645 w 3320377"/>
                <a:gd name="connsiteY2894" fmla="*/ 2044455 h 3363305"/>
                <a:gd name="connsiteX2895" fmla="*/ 232929 w 3320377"/>
                <a:gd name="connsiteY2895" fmla="*/ 2044455 h 3363305"/>
                <a:gd name="connsiteX2896" fmla="*/ 232929 w 3320377"/>
                <a:gd name="connsiteY2896" fmla="*/ 2046737 h 3363305"/>
                <a:gd name="connsiteX2897" fmla="*/ 232929 w 3320377"/>
                <a:gd name="connsiteY2897" fmla="*/ 2049019 h 3363305"/>
                <a:gd name="connsiteX2898" fmla="*/ 232929 w 3320377"/>
                <a:gd name="connsiteY2898" fmla="*/ 2051291 h 3363305"/>
                <a:gd name="connsiteX2899" fmla="*/ 235212 w 3320377"/>
                <a:gd name="connsiteY2899" fmla="*/ 2051291 h 3363305"/>
                <a:gd name="connsiteX2900" fmla="*/ 235212 w 3320377"/>
                <a:gd name="connsiteY2900" fmla="*/ 2053573 h 3363305"/>
                <a:gd name="connsiteX2901" fmla="*/ 235212 w 3320377"/>
                <a:gd name="connsiteY2901" fmla="*/ 2055865 h 3363305"/>
                <a:gd name="connsiteX2902" fmla="*/ 237496 w 3320377"/>
                <a:gd name="connsiteY2902" fmla="*/ 2055865 h 3363305"/>
                <a:gd name="connsiteX2903" fmla="*/ 237496 w 3320377"/>
                <a:gd name="connsiteY2903" fmla="*/ 2058137 h 3363305"/>
                <a:gd name="connsiteX2904" fmla="*/ 237496 w 3320377"/>
                <a:gd name="connsiteY2904" fmla="*/ 2060419 h 3363305"/>
                <a:gd name="connsiteX2905" fmla="*/ 237496 w 3320377"/>
                <a:gd name="connsiteY2905" fmla="*/ 2062701 h 3363305"/>
                <a:gd name="connsiteX2906" fmla="*/ 235212 w 3320377"/>
                <a:gd name="connsiteY2906" fmla="*/ 2062701 h 3363305"/>
                <a:gd name="connsiteX2907" fmla="*/ 237496 w 3320377"/>
                <a:gd name="connsiteY2907" fmla="*/ 2064983 h 3363305"/>
                <a:gd name="connsiteX2908" fmla="*/ 235212 w 3320377"/>
                <a:gd name="connsiteY2908" fmla="*/ 2064983 h 3363305"/>
                <a:gd name="connsiteX2909" fmla="*/ 235212 w 3320377"/>
                <a:gd name="connsiteY2909" fmla="*/ 2067265 h 3363305"/>
                <a:gd name="connsiteX2910" fmla="*/ 237496 w 3320377"/>
                <a:gd name="connsiteY2910" fmla="*/ 2067265 h 3363305"/>
                <a:gd name="connsiteX2911" fmla="*/ 237496 w 3320377"/>
                <a:gd name="connsiteY2911" fmla="*/ 2069546 h 3363305"/>
                <a:gd name="connsiteX2912" fmla="*/ 239780 w 3320377"/>
                <a:gd name="connsiteY2912" fmla="*/ 2069546 h 3363305"/>
                <a:gd name="connsiteX2913" fmla="*/ 239780 w 3320377"/>
                <a:gd name="connsiteY2913" fmla="*/ 2071828 h 3363305"/>
                <a:gd name="connsiteX2914" fmla="*/ 242064 w 3320377"/>
                <a:gd name="connsiteY2914" fmla="*/ 2071828 h 3363305"/>
                <a:gd name="connsiteX2915" fmla="*/ 242064 w 3320377"/>
                <a:gd name="connsiteY2915" fmla="*/ 2074110 h 3363305"/>
                <a:gd name="connsiteX2916" fmla="*/ 244347 w 3320377"/>
                <a:gd name="connsiteY2916" fmla="*/ 2074110 h 3363305"/>
                <a:gd name="connsiteX2917" fmla="*/ 244347 w 3320377"/>
                <a:gd name="connsiteY2917" fmla="*/ 2076392 h 3363305"/>
                <a:gd name="connsiteX2918" fmla="*/ 244347 w 3320377"/>
                <a:gd name="connsiteY2918" fmla="*/ 2078674 h 3363305"/>
                <a:gd name="connsiteX2919" fmla="*/ 246630 w 3320377"/>
                <a:gd name="connsiteY2919" fmla="*/ 2078674 h 3363305"/>
                <a:gd name="connsiteX2920" fmla="*/ 248914 w 3320377"/>
                <a:gd name="connsiteY2920" fmla="*/ 2080956 h 3363305"/>
                <a:gd name="connsiteX2921" fmla="*/ 248914 w 3320377"/>
                <a:gd name="connsiteY2921" fmla="*/ 2083238 h 3363305"/>
                <a:gd name="connsiteX2922" fmla="*/ 251197 w 3320377"/>
                <a:gd name="connsiteY2922" fmla="*/ 2083238 h 3363305"/>
                <a:gd name="connsiteX2923" fmla="*/ 251197 w 3320377"/>
                <a:gd name="connsiteY2923" fmla="*/ 2085520 h 3363305"/>
                <a:gd name="connsiteX2924" fmla="*/ 248914 w 3320377"/>
                <a:gd name="connsiteY2924" fmla="*/ 2085520 h 3363305"/>
                <a:gd name="connsiteX2925" fmla="*/ 248914 w 3320377"/>
                <a:gd name="connsiteY2925" fmla="*/ 2087802 h 3363305"/>
                <a:gd name="connsiteX2926" fmla="*/ 251197 w 3320377"/>
                <a:gd name="connsiteY2926" fmla="*/ 2087802 h 3363305"/>
                <a:gd name="connsiteX2927" fmla="*/ 251197 w 3320377"/>
                <a:gd name="connsiteY2927" fmla="*/ 2090083 h 3363305"/>
                <a:gd name="connsiteX2928" fmla="*/ 251197 w 3320377"/>
                <a:gd name="connsiteY2928" fmla="*/ 2092366 h 3363305"/>
                <a:gd name="connsiteX2929" fmla="*/ 251197 w 3320377"/>
                <a:gd name="connsiteY2929" fmla="*/ 2094647 h 3363305"/>
                <a:gd name="connsiteX2930" fmla="*/ 251197 w 3320377"/>
                <a:gd name="connsiteY2930" fmla="*/ 2096929 h 3363305"/>
                <a:gd name="connsiteX2931" fmla="*/ 253482 w 3320377"/>
                <a:gd name="connsiteY2931" fmla="*/ 2096929 h 3363305"/>
                <a:gd name="connsiteX2932" fmla="*/ 253482 w 3320377"/>
                <a:gd name="connsiteY2932" fmla="*/ 2099211 h 3363305"/>
                <a:gd name="connsiteX2933" fmla="*/ 253482 w 3320377"/>
                <a:gd name="connsiteY2933" fmla="*/ 2101493 h 3363305"/>
                <a:gd name="connsiteX2934" fmla="*/ 255766 w 3320377"/>
                <a:gd name="connsiteY2934" fmla="*/ 2101493 h 3363305"/>
                <a:gd name="connsiteX2935" fmla="*/ 255766 w 3320377"/>
                <a:gd name="connsiteY2935" fmla="*/ 2103775 h 3363305"/>
                <a:gd name="connsiteX2936" fmla="*/ 255766 w 3320377"/>
                <a:gd name="connsiteY2936" fmla="*/ 2106057 h 3363305"/>
                <a:gd name="connsiteX2937" fmla="*/ 258048 w 3320377"/>
                <a:gd name="connsiteY2937" fmla="*/ 2106057 h 3363305"/>
                <a:gd name="connsiteX2938" fmla="*/ 258048 w 3320377"/>
                <a:gd name="connsiteY2938" fmla="*/ 2108339 h 3363305"/>
                <a:gd name="connsiteX2939" fmla="*/ 260332 w 3320377"/>
                <a:gd name="connsiteY2939" fmla="*/ 2108339 h 3363305"/>
                <a:gd name="connsiteX2940" fmla="*/ 260332 w 3320377"/>
                <a:gd name="connsiteY2940" fmla="*/ 2110621 h 3363305"/>
                <a:gd name="connsiteX2941" fmla="*/ 260332 w 3320377"/>
                <a:gd name="connsiteY2941" fmla="*/ 2112903 h 3363305"/>
                <a:gd name="connsiteX2942" fmla="*/ 260332 w 3320377"/>
                <a:gd name="connsiteY2942" fmla="*/ 2115185 h 3363305"/>
                <a:gd name="connsiteX2943" fmla="*/ 260332 w 3320377"/>
                <a:gd name="connsiteY2943" fmla="*/ 2117466 h 3363305"/>
                <a:gd name="connsiteX2944" fmla="*/ 260332 w 3320377"/>
                <a:gd name="connsiteY2944" fmla="*/ 2119748 h 3363305"/>
                <a:gd name="connsiteX2945" fmla="*/ 262616 w 3320377"/>
                <a:gd name="connsiteY2945" fmla="*/ 2119748 h 3363305"/>
                <a:gd name="connsiteX2946" fmla="*/ 262616 w 3320377"/>
                <a:gd name="connsiteY2946" fmla="*/ 2122030 h 3363305"/>
                <a:gd name="connsiteX2947" fmla="*/ 262616 w 3320377"/>
                <a:gd name="connsiteY2947" fmla="*/ 2124312 h 3363305"/>
                <a:gd name="connsiteX2948" fmla="*/ 262616 w 3320377"/>
                <a:gd name="connsiteY2948" fmla="*/ 2126594 h 3363305"/>
                <a:gd name="connsiteX2949" fmla="*/ 262616 w 3320377"/>
                <a:gd name="connsiteY2949" fmla="*/ 2128876 h 3363305"/>
                <a:gd name="connsiteX2950" fmla="*/ 262616 w 3320377"/>
                <a:gd name="connsiteY2950" fmla="*/ 2131158 h 3363305"/>
                <a:gd name="connsiteX2951" fmla="*/ 262616 w 3320377"/>
                <a:gd name="connsiteY2951" fmla="*/ 2133440 h 3363305"/>
                <a:gd name="connsiteX2952" fmla="*/ 262616 w 3320377"/>
                <a:gd name="connsiteY2952" fmla="*/ 2135722 h 3363305"/>
                <a:gd name="connsiteX2953" fmla="*/ 264899 w 3320377"/>
                <a:gd name="connsiteY2953" fmla="*/ 2135722 h 3363305"/>
                <a:gd name="connsiteX2954" fmla="*/ 264899 w 3320377"/>
                <a:gd name="connsiteY2954" fmla="*/ 2138003 h 3363305"/>
                <a:gd name="connsiteX2955" fmla="*/ 264899 w 3320377"/>
                <a:gd name="connsiteY2955" fmla="*/ 2140285 h 3363305"/>
                <a:gd name="connsiteX2956" fmla="*/ 264899 w 3320377"/>
                <a:gd name="connsiteY2956" fmla="*/ 2142567 h 3363305"/>
                <a:gd name="connsiteX2957" fmla="*/ 264899 w 3320377"/>
                <a:gd name="connsiteY2957" fmla="*/ 2144849 h 3363305"/>
                <a:gd name="connsiteX2958" fmla="*/ 267183 w 3320377"/>
                <a:gd name="connsiteY2958" fmla="*/ 2144849 h 3363305"/>
                <a:gd name="connsiteX2959" fmla="*/ 267183 w 3320377"/>
                <a:gd name="connsiteY2959" fmla="*/ 2147131 h 3363305"/>
                <a:gd name="connsiteX2960" fmla="*/ 269466 w 3320377"/>
                <a:gd name="connsiteY2960" fmla="*/ 2147131 h 3363305"/>
                <a:gd name="connsiteX2961" fmla="*/ 269466 w 3320377"/>
                <a:gd name="connsiteY2961" fmla="*/ 2149413 h 3363305"/>
                <a:gd name="connsiteX2962" fmla="*/ 269466 w 3320377"/>
                <a:gd name="connsiteY2962" fmla="*/ 2151695 h 3363305"/>
                <a:gd name="connsiteX2963" fmla="*/ 271750 w 3320377"/>
                <a:gd name="connsiteY2963" fmla="*/ 2151695 h 3363305"/>
                <a:gd name="connsiteX2964" fmla="*/ 271750 w 3320377"/>
                <a:gd name="connsiteY2964" fmla="*/ 2153977 h 3363305"/>
                <a:gd name="connsiteX2965" fmla="*/ 271750 w 3320377"/>
                <a:gd name="connsiteY2965" fmla="*/ 2156259 h 3363305"/>
                <a:gd name="connsiteX2966" fmla="*/ 271750 w 3320377"/>
                <a:gd name="connsiteY2966" fmla="*/ 2158541 h 3363305"/>
                <a:gd name="connsiteX2967" fmla="*/ 274033 w 3320377"/>
                <a:gd name="connsiteY2967" fmla="*/ 2158541 h 3363305"/>
                <a:gd name="connsiteX2968" fmla="*/ 274033 w 3320377"/>
                <a:gd name="connsiteY2968" fmla="*/ 2160822 h 3363305"/>
                <a:gd name="connsiteX2969" fmla="*/ 274033 w 3320377"/>
                <a:gd name="connsiteY2969" fmla="*/ 2163104 h 3363305"/>
                <a:gd name="connsiteX2970" fmla="*/ 271750 w 3320377"/>
                <a:gd name="connsiteY2970" fmla="*/ 2163104 h 3363305"/>
                <a:gd name="connsiteX2971" fmla="*/ 271750 w 3320377"/>
                <a:gd name="connsiteY2971" fmla="*/ 2165386 h 3363305"/>
                <a:gd name="connsiteX2972" fmla="*/ 274033 w 3320377"/>
                <a:gd name="connsiteY2972" fmla="*/ 2165386 h 3363305"/>
                <a:gd name="connsiteX2973" fmla="*/ 274033 w 3320377"/>
                <a:gd name="connsiteY2973" fmla="*/ 2167668 h 3363305"/>
                <a:gd name="connsiteX2974" fmla="*/ 274033 w 3320377"/>
                <a:gd name="connsiteY2974" fmla="*/ 2169950 h 3363305"/>
                <a:gd name="connsiteX2975" fmla="*/ 276318 w 3320377"/>
                <a:gd name="connsiteY2975" fmla="*/ 2169950 h 3363305"/>
                <a:gd name="connsiteX2976" fmla="*/ 276318 w 3320377"/>
                <a:gd name="connsiteY2976" fmla="*/ 2172232 h 3363305"/>
                <a:gd name="connsiteX2977" fmla="*/ 278602 w 3320377"/>
                <a:gd name="connsiteY2977" fmla="*/ 2172232 h 3363305"/>
                <a:gd name="connsiteX2978" fmla="*/ 278602 w 3320377"/>
                <a:gd name="connsiteY2978" fmla="*/ 2174514 h 3363305"/>
                <a:gd name="connsiteX2979" fmla="*/ 278602 w 3320377"/>
                <a:gd name="connsiteY2979" fmla="*/ 2176796 h 3363305"/>
                <a:gd name="connsiteX2980" fmla="*/ 278602 w 3320377"/>
                <a:gd name="connsiteY2980" fmla="*/ 2179078 h 3363305"/>
                <a:gd name="connsiteX2981" fmla="*/ 280885 w 3320377"/>
                <a:gd name="connsiteY2981" fmla="*/ 2179078 h 3363305"/>
                <a:gd name="connsiteX2982" fmla="*/ 280885 w 3320377"/>
                <a:gd name="connsiteY2982" fmla="*/ 2181359 h 3363305"/>
                <a:gd name="connsiteX2983" fmla="*/ 283169 w 3320377"/>
                <a:gd name="connsiteY2983" fmla="*/ 2181359 h 3363305"/>
                <a:gd name="connsiteX2984" fmla="*/ 283169 w 3320377"/>
                <a:gd name="connsiteY2984" fmla="*/ 2183641 h 3363305"/>
                <a:gd name="connsiteX2985" fmla="*/ 285451 w 3320377"/>
                <a:gd name="connsiteY2985" fmla="*/ 2183641 h 3363305"/>
                <a:gd name="connsiteX2986" fmla="*/ 285451 w 3320377"/>
                <a:gd name="connsiteY2986" fmla="*/ 2185923 h 3363305"/>
                <a:gd name="connsiteX2987" fmla="*/ 283169 w 3320377"/>
                <a:gd name="connsiteY2987" fmla="*/ 2185923 h 3363305"/>
                <a:gd name="connsiteX2988" fmla="*/ 283169 w 3320377"/>
                <a:gd name="connsiteY2988" fmla="*/ 2188205 h 3363305"/>
                <a:gd name="connsiteX2989" fmla="*/ 285451 w 3320377"/>
                <a:gd name="connsiteY2989" fmla="*/ 2188205 h 3363305"/>
                <a:gd name="connsiteX2990" fmla="*/ 285451 w 3320377"/>
                <a:gd name="connsiteY2990" fmla="*/ 2190487 h 3363305"/>
                <a:gd name="connsiteX2991" fmla="*/ 283169 w 3320377"/>
                <a:gd name="connsiteY2991" fmla="*/ 2190487 h 3363305"/>
                <a:gd name="connsiteX2992" fmla="*/ 283169 w 3320377"/>
                <a:gd name="connsiteY2992" fmla="*/ 2192769 h 3363305"/>
                <a:gd name="connsiteX2993" fmla="*/ 285451 w 3320377"/>
                <a:gd name="connsiteY2993" fmla="*/ 2192769 h 3363305"/>
                <a:gd name="connsiteX2994" fmla="*/ 285451 w 3320377"/>
                <a:gd name="connsiteY2994" fmla="*/ 2195051 h 3363305"/>
                <a:gd name="connsiteX2995" fmla="*/ 287735 w 3320377"/>
                <a:gd name="connsiteY2995" fmla="*/ 2195051 h 3363305"/>
                <a:gd name="connsiteX2996" fmla="*/ 287735 w 3320377"/>
                <a:gd name="connsiteY2996" fmla="*/ 2197333 h 3363305"/>
                <a:gd name="connsiteX2997" fmla="*/ 287735 w 3320377"/>
                <a:gd name="connsiteY2997" fmla="*/ 2199615 h 3363305"/>
                <a:gd name="connsiteX2998" fmla="*/ 287735 w 3320377"/>
                <a:gd name="connsiteY2998" fmla="*/ 2201897 h 3363305"/>
                <a:gd name="connsiteX2999" fmla="*/ 287735 w 3320377"/>
                <a:gd name="connsiteY2999" fmla="*/ 2204178 h 3363305"/>
                <a:gd name="connsiteX3000" fmla="*/ 290020 w 3320377"/>
                <a:gd name="connsiteY3000" fmla="*/ 2204178 h 3363305"/>
                <a:gd name="connsiteX3001" fmla="*/ 290020 w 3320377"/>
                <a:gd name="connsiteY3001" fmla="*/ 2206451 h 3363305"/>
                <a:gd name="connsiteX3002" fmla="*/ 292303 w 3320377"/>
                <a:gd name="connsiteY3002" fmla="*/ 2206451 h 3363305"/>
                <a:gd name="connsiteX3003" fmla="*/ 292303 w 3320377"/>
                <a:gd name="connsiteY3003" fmla="*/ 2208733 h 3363305"/>
                <a:gd name="connsiteX3004" fmla="*/ 292303 w 3320377"/>
                <a:gd name="connsiteY3004" fmla="*/ 2211015 h 3363305"/>
                <a:gd name="connsiteX3005" fmla="*/ 294587 w 3320377"/>
                <a:gd name="connsiteY3005" fmla="*/ 2211015 h 3363305"/>
                <a:gd name="connsiteX3006" fmla="*/ 294587 w 3320377"/>
                <a:gd name="connsiteY3006" fmla="*/ 2213297 h 3363305"/>
                <a:gd name="connsiteX3007" fmla="*/ 294587 w 3320377"/>
                <a:gd name="connsiteY3007" fmla="*/ 2215578 h 3363305"/>
                <a:gd name="connsiteX3008" fmla="*/ 296870 w 3320377"/>
                <a:gd name="connsiteY3008" fmla="*/ 2215578 h 3363305"/>
                <a:gd name="connsiteX3009" fmla="*/ 299154 w 3320377"/>
                <a:gd name="connsiteY3009" fmla="*/ 2215578 h 3363305"/>
                <a:gd name="connsiteX3010" fmla="*/ 299154 w 3320377"/>
                <a:gd name="connsiteY3010" fmla="*/ 2217860 h 3363305"/>
                <a:gd name="connsiteX3011" fmla="*/ 301438 w 3320377"/>
                <a:gd name="connsiteY3011" fmla="*/ 2217860 h 3363305"/>
                <a:gd name="connsiteX3012" fmla="*/ 301438 w 3320377"/>
                <a:gd name="connsiteY3012" fmla="*/ 2220142 h 3363305"/>
                <a:gd name="connsiteX3013" fmla="*/ 301438 w 3320377"/>
                <a:gd name="connsiteY3013" fmla="*/ 2222424 h 3363305"/>
                <a:gd name="connsiteX3014" fmla="*/ 303721 w 3320377"/>
                <a:gd name="connsiteY3014" fmla="*/ 2222424 h 3363305"/>
                <a:gd name="connsiteX3015" fmla="*/ 303721 w 3320377"/>
                <a:gd name="connsiteY3015" fmla="*/ 2224706 h 3363305"/>
                <a:gd name="connsiteX3016" fmla="*/ 306005 w 3320377"/>
                <a:gd name="connsiteY3016" fmla="*/ 2224706 h 3363305"/>
                <a:gd name="connsiteX3017" fmla="*/ 306005 w 3320377"/>
                <a:gd name="connsiteY3017" fmla="*/ 2226988 h 3363305"/>
                <a:gd name="connsiteX3018" fmla="*/ 306005 w 3320377"/>
                <a:gd name="connsiteY3018" fmla="*/ 2229270 h 3363305"/>
                <a:gd name="connsiteX3019" fmla="*/ 308288 w 3320377"/>
                <a:gd name="connsiteY3019" fmla="*/ 2229270 h 3363305"/>
                <a:gd name="connsiteX3020" fmla="*/ 308288 w 3320377"/>
                <a:gd name="connsiteY3020" fmla="*/ 2231552 h 3363305"/>
                <a:gd name="connsiteX3021" fmla="*/ 308288 w 3320377"/>
                <a:gd name="connsiteY3021" fmla="*/ 2233834 h 3363305"/>
                <a:gd name="connsiteX3022" fmla="*/ 308288 w 3320377"/>
                <a:gd name="connsiteY3022" fmla="*/ 2236115 h 3363305"/>
                <a:gd name="connsiteX3023" fmla="*/ 308288 w 3320377"/>
                <a:gd name="connsiteY3023" fmla="*/ 2238397 h 3363305"/>
                <a:gd name="connsiteX3024" fmla="*/ 310572 w 3320377"/>
                <a:gd name="connsiteY3024" fmla="*/ 2238397 h 3363305"/>
                <a:gd name="connsiteX3025" fmla="*/ 310572 w 3320377"/>
                <a:gd name="connsiteY3025" fmla="*/ 2240679 h 3363305"/>
                <a:gd name="connsiteX3026" fmla="*/ 308288 w 3320377"/>
                <a:gd name="connsiteY3026" fmla="*/ 2240679 h 3363305"/>
                <a:gd name="connsiteX3027" fmla="*/ 308288 w 3320377"/>
                <a:gd name="connsiteY3027" fmla="*/ 2242961 h 3363305"/>
                <a:gd name="connsiteX3028" fmla="*/ 310572 w 3320377"/>
                <a:gd name="connsiteY3028" fmla="*/ 2242961 h 3363305"/>
                <a:gd name="connsiteX3029" fmla="*/ 310572 w 3320377"/>
                <a:gd name="connsiteY3029" fmla="*/ 2245243 h 3363305"/>
                <a:gd name="connsiteX3030" fmla="*/ 310572 w 3320377"/>
                <a:gd name="connsiteY3030" fmla="*/ 2247525 h 3363305"/>
                <a:gd name="connsiteX3031" fmla="*/ 312856 w 3320377"/>
                <a:gd name="connsiteY3031" fmla="*/ 2247525 h 3363305"/>
                <a:gd name="connsiteX3032" fmla="*/ 312856 w 3320377"/>
                <a:gd name="connsiteY3032" fmla="*/ 2249807 h 3363305"/>
                <a:gd name="connsiteX3033" fmla="*/ 312856 w 3320377"/>
                <a:gd name="connsiteY3033" fmla="*/ 2252089 h 3363305"/>
                <a:gd name="connsiteX3034" fmla="*/ 315139 w 3320377"/>
                <a:gd name="connsiteY3034" fmla="*/ 2252089 h 3363305"/>
                <a:gd name="connsiteX3035" fmla="*/ 315139 w 3320377"/>
                <a:gd name="connsiteY3035" fmla="*/ 2254371 h 3363305"/>
                <a:gd name="connsiteX3036" fmla="*/ 315139 w 3320377"/>
                <a:gd name="connsiteY3036" fmla="*/ 2256653 h 3363305"/>
                <a:gd name="connsiteX3037" fmla="*/ 317423 w 3320377"/>
                <a:gd name="connsiteY3037" fmla="*/ 2256653 h 3363305"/>
                <a:gd name="connsiteX3038" fmla="*/ 317423 w 3320377"/>
                <a:gd name="connsiteY3038" fmla="*/ 2258934 h 3363305"/>
                <a:gd name="connsiteX3039" fmla="*/ 317423 w 3320377"/>
                <a:gd name="connsiteY3039" fmla="*/ 2261216 h 3363305"/>
                <a:gd name="connsiteX3040" fmla="*/ 319706 w 3320377"/>
                <a:gd name="connsiteY3040" fmla="*/ 2261216 h 3363305"/>
                <a:gd name="connsiteX3041" fmla="*/ 319706 w 3320377"/>
                <a:gd name="connsiteY3041" fmla="*/ 2263498 h 3363305"/>
                <a:gd name="connsiteX3042" fmla="*/ 317423 w 3320377"/>
                <a:gd name="connsiteY3042" fmla="*/ 2263498 h 3363305"/>
                <a:gd name="connsiteX3043" fmla="*/ 319706 w 3320377"/>
                <a:gd name="connsiteY3043" fmla="*/ 2265780 h 3363305"/>
                <a:gd name="connsiteX3044" fmla="*/ 319706 w 3320377"/>
                <a:gd name="connsiteY3044" fmla="*/ 2268062 h 3363305"/>
                <a:gd name="connsiteX3045" fmla="*/ 319706 w 3320377"/>
                <a:gd name="connsiteY3045" fmla="*/ 2270344 h 3363305"/>
                <a:gd name="connsiteX3046" fmla="*/ 321990 w 3320377"/>
                <a:gd name="connsiteY3046" fmla="*/ 2270344 h 3363305"/>
                <a:gd name="connsiteX3047" fmla="*/ 321990 w 3320377"/>
                <a:gd name="connsiteY3047" fmla="*/ 2272626 h 3363305"/>
                <a:gd name="connsiteX3048" fmla="*/ 319706 w 3320377"/>
                <a:gd name="connsiteY3048" fmla="*/ 2272626 h 3363305"/>
                <a:gd name="connsiteX3049" fmla="*/ 319706 w 3320377"/>
                <a:gd name="connsiteY3049" fmla="*/ 2274908 h 3363305"/>
                <a:gd name="connsiteX3050" fmla="*/ 321990 w 3320377"/>
                <a:gd name="connsiteY3050" fmla="*/ 2274908 h 3363305"/>
                <a:gd name="connsiteX3051" fmla="*/ 321990 w 3320377"/>
                <a:gd name="connsiteY3051" fmla="*/ 2277190 h 3363305"/>
                <a:gd name="connsiteX3052" fmla="*/ 324274 w 3320377"/>
                <a:gd name="connsiteY3052" fmla="*/ 2277190 h 3363305"/>
                <a:gd name="connsiteX3053" fmla="*/ 324274 w 3320377"/>
                <a:gd name="connsiteY3053" fmla="*/ 2279471 h 3363305"/>
                <a:gd name="connsiteX3054" fmla="*/ 324274 w 3320377"/>
                <a:gd name="connsiteY3054" fmla="*/ 2281753 h 3363305"/>
                <a:gd name="connsiteX3055" fmla="*/ 324274 w 3320377"/>
                <a:gd name="connsiteY3055" fmla="*/ 2284035 h 3363305"/>
                <a:gd name="connsiteX3056" fmla="*/ 324274 w 3320377"/>
                <a:gd name="connsiteY3056" fmla="*/ 2286317 h 3363305"/>
                <a:gd name="connsiteX3057" fmla="*/ 324274 w 3320377"/>
                <a:gd name="connsiteY3057" fmla="*/ 2288599 h 3363305"/>
                <a:gd name="connsiteX3058" fmla="*/ 326557 w 3320377"/>
                <a:gd name="connsiteY3058" fmla="*/ 2288599 h 3363305"/>
                <a:gd name="connsiteX3059" fmla="*/ 326557 w 3320377"/>
                <a:gd name="connsiteY3059" fmla="*/ 2290881 h 3363305"/>
                <a:gd name="connsiteX3060" fmla="*/ 328841 w 3320377"/>
                <a:gd name="connsiteY3060" fmla="*/ 2290881 h 3363305"/>
                <a:gd name="connsiteX3061" fmla="*/ 328841 w 3320377"/>
                <a:gd name="connsiteY3061" fmla="*/ 2293163 h 3363305"/>
                <a:gd name="connsiteX3062" fmla="*/ 328841 w 3320377"/>
                <a:gd name="connsiteY3062" fmla="*/ 2295445 h 3363305"/>
                <a:gd name="connsiteX3063" fmla="*/ 331124 w 3320377"/>
                <a:gd name="connsiteY3063" fmla="*/ 2295445 h 3363305"/>
                <a:gd name="connsiteX3064" fmla="*/ 331124 w 3320377"/>
                <a:gd name="connsiteY3064" fmla="*/ 2297727 h 3363305"/>
                <a:gd name="connsiteX3065" fmla="*/ 333408 w 3320377"/>
                <a:gd name="connsiteY3065" fmla="*/ 2297727 h 3363305"/>
                <a:gd name="connsiteX3066" fmla="*/ 333408 w 3320377"/>
                <a:gd name="connsiteY3066" fmla="*/ 2300009 h 3363305"/>
                <a:gd name="connsiteX3067" fmla="*/ 335692 w 3320377"/>
                <a:gd name="connsiteY3067" fmla="*/ 2300009 h 3363305"/>
                <a:gd name="connsiteX3068" fmla="*/ 335692 w 3320377"/>
                <a:gd name="connsiteY3068" fmla="*/ 2302290 h 3363305"/>
                <a:gd name="connsiteX3069" fmla="*/ 337975 w 3320377"/>
                <a:gd name="connsiteY3069" fmla="*/ 2302290 h 3363305"/>
                <a:gd name="connsiteX3070" fmla="*/ 337975 w 3320377"/>
                <a:gd name="connsiteY3070" fmla="*/ 2304572 h 3363305"/>
                <a:gd name="connsiteX3071" fmla="*/ 337975 w 3320377"/>
                <a:gd name="connsiteY3071" fmla="*/ 2306854 h 3363305"/>
                <a:gd name="connsiteX3072" fmla="*/ 337975 w 3320377"/>
                <a:gd name="connsiteY3072" fmla="*/ 2309136 h 3363305"/>
                <a:gd name="connsiteX3073" fmla="*/ 337975 w 3320377"/>
                <a:gd name="connsiteY3073" fmla="*/ 2311418 h 3363305"/>
                <a:gd name="connsiteX3074" fmla="*/ 337975 w 3320377"/>
                <a:gd name="connsiteY3074" fmla="*/ 2313700 h 3363305"/>
                <a:gd name="connsiteX3075" fmla="*/ 340259 w 3320377"/>
                <a:gd name="connsiteY3075" fmla="*/ 2313700 h 3363305"/>
                <a:gd name="connsiteX3076" fmla="*/ 340259 w 3320377"/>
                <a:gd name="connsiteY3076" fmla="*/ 2315982 h 3363305"/>
                <a:gd name="connsiteX3077" fmla="*/ 342542 w 3320377"/>
                <a:gd name="connsiteY3077" fmla="*/ 2315982 h 3363305"/>
                <a:gd name="connsiteX3078" fmla="*/ 342542 w 3320377"/>
                <a:gd name="connsiteY3078" fmla="*/ 2318264 h 3363305"/>
                <a:gd name="connsiteX3079" fmla="*/ 342542 w 3320377"/>
                <a:gd name="connsiteY3079" fmla="*/ 2320546 h 3363305"/>
                <a:gd name="connsiteX3080" fmla="*/ 342542 w 3320377"/>
                <a:gd name="connsiteY3080" fmla="*/ 2322827 h 3363305"/>
                <a:gd name="connsiteX3081" fmla="*/ 342542 w 3320377"/>
                <a:gd name="connsiteY3081" fmla="*/ 2325110 h 3363305"/>
                <a:gd name="connsiteX3082" fmla="*/ 344826 w 3320377"/>
                <a:gd name="connsiteY3082" fmla="*/ 2325110 h 3363305"/>
                <a:gd name="connsiteX3083" fmla="*/ 344826 w 3320377"/>
                <a:gd name="connsiteY3083" fmla="*/ 2327391 h 3363305"/>
                <a:gd name="connsiteX3084" fmla="*/ 344826 w 3320377"/>
                <a:gd name="connsiteY3084" fmla="*/ 2329673 h 3363305"/>
                <a:gd name="connsiteX3085" fmla="*/ 347110 w 3320377"/>
                <a:gd name="connsiteY3085" fmla="*/ 2329673 h 3363305"/>
                <a:gd name="connsiteX3086" fmla="*/ 347110 w 3320377"/>
                <a:gd name="connsiteY3086" fmla="*/ 2331955 h 3363305"/>
                <a:gd name="connsiteX3087" fmla="*/ 347110 w 3320377"/>
                <a:gd name="connsiteY3087" fmla="*/ 2334237 h 3363305"/>
                <a:gd name="connsiteX3088" fmla="*/ 349393 w 3320377"/>
                <a:gd name="connsiteY3088" fmla="*/ 2334237 h 3363305"/>
                <a:gd name="connsiteX3089" fmla="*/ 349393 w 3320377"/>
                <a:gd name="connsiteY3089" fmla="*/ 2336519 h 3363305"/>
                <a:gd name="connsiteX3090" fmla="*/ 351677 w 3320377"/>
                <a:gd name="connsiteY3090" fmla="*/ 2336519 h 3363305"/>
                <a:gd name="connsiteX3091" fmla="*/ 351677 w 3320377"/>
                <a:gd name="connsiteY3091" fmla="*/ 2338801 h 3363305"/>
                <a:gd name="connsiteX3092" fmla="*/ 353960 w 3320377"/>
                <a:gd name="connsiteY3092" fmla="*/ 2338801 h 3363305"/>
                <a:gd name="connsiteX3093" fmla="*/ 353960 w 3320377"/>
                <a:gd name="connsiteY3093" fmla="*/ 2341083 h 3363305"/>
                <a:gd name="connsiteX3094" fmla="*/ 353960 w 3320377"/>
                <a:gd name="connsiteY3094" fmla="*/ 2343365 h 3363305"/>
                <a:gd name="connsiteX3095" fmla="*/ 353960 w 3320377"/>
                <a:gd name="connsiteY3095" fmla="*/ 2345646 h 3363305"/>
                <a:gd name="connsiteX3096" fmla="*/ 353960 w 3320377"/>
                <a:gd name="connsiteY3096" fmla="*/ 2347928 h 3363305"/>
                <a:gd name="connsiteX3097" fmla="*/ 356245 w 3320377"/>
                <a:gd name="connsiteY3097" fmla="*/ 2347928 h 3363305"/>
                <a:gd name="connsiteX3098" fmla="*/ 356245 w 3320377"/>
                <a:gd name="connsiteY3098" fmla="*/ 2350210 h 3363305"/>
                <a:gd name="connsiteX3099" fmla="*/ 356245 w 3320377"/>
                <a:gd name="connsiteY3099" fmla="*/ 2352492 h 3363305"/>
                <a:gd name="connsiteX3100" fmla="*/ 358527 w 3320377"/>
                <a:gd name="connsiteY3100" fmla="*/ 2352492 h 3363305"/>
                <a:gd name="connsiteX3101" fmla="*/ 358527 w 3320377"/>
                <a:gd name="connsiteY3101" fmla="*/ 2354774 h 3363305"/>
                <a:gd name="connsiteX3102" fmla="*/ 358527 w 3320377"/>
                <a:gd name="connsiteY3102" fmla="*/ 2357056 h 3363305"/>
                <a:gd name="connsiteX3103" fmla="*/ 360811 w 3320377"/>
                <a:gd name="connsiteY3103" fmla="*/ 2357056 h 3363305"/>
                <a:gd name="connsiteX3104" fmla="*/ 360811 w 3320377"/>
                <a:gd name="connsiteY3104" fmla="*/ 2359338 h 3363305"/>
                <a:gd name="connsiteX3105" fmla="*/ 360811 w 3320377"/>
                <a:gd name="connsiteY3105" fmla="*/ 2361620 h 3363305"/>
                <a:gd name="connsiteX3106" fmla="*/ 358527 w 3320377"/>
                <a:gd name="connsiteY3106" fmla="*/ 2361620 h 3363305"/>
                <a:gd name="connsiteX3107" fmla="*/ 358527 w 3320377"/>
                <a:gd name="connsiteY3107" fmla="*/ 2363892 h 3363305"/>
                <a:gd name="connsiteX3108" fmla="*/ 360811 w 3320377"/>
                <a:gd name="connsiteY3108" fmla="*/ 2363892 h 3363305"/>
                <a:gd name="connsiteX3109" fmla="*/ 360811 w 3320377"/>
                <a:gd name="connsiteY3109" fmla="*/ 2366174 h 3363305"/>
                <a:gd name="connsiteX3110" fmla="*/ 360811 w 3320377"/>
                <a:gd name="connsiteY3110" fmla="*/ 2368456 h 3363305"/>
                <a:gd name="connsiteX3111" fmla="*/ 360811 w 3320377"/>
                <a:gd name="connsiteY3111" fmla="*/ 2370738 h 3363305"/>
                <a:gd name="connsiteX3112" fmla="*/ 360811 w 3320377"/>
                <a:gd name="connsiteY3112" fmla="*/ 2373020 h 3363305"/>
                <a:gd name="connsiteX3113" fmla="*/ 363095 w 3320377"/>
                <a:gd name="connsiteY3113" fmla="*/ 2373020 h 3363305"/>
                <a:gd name="connsiteX3114" fmla="*/ 363095 w 3320377"/>
                <a:gd name="connsiteY3114" fmla="*/ 2375302 h 3363305"/>
                <a:gd name="connsiteX3115" fmla="*/ 363095 w 3320377"/>
                <a:gd name="connsiteY3115" fmla="*/ 2377583 h 3363305"/>
                <a:gd name="connsiteX3116" fmla="*/ 365378 w 3320377"/>
                <a:gd name="connsiteY3116" fmla="*/ 2377583 h 3363305"/>
                <a:gd name="connsiteX3117" fmla="*/ 367662 w 3320377"/>
                <a:gd name="connsiteY3117" fmla="*/ 2377583 h 3363305"/>
                <a:gd name="connsiteX3118" fmla="*/ 367662 w 3320377"/>
                <a:gd name="connsiteY3118" fmla="*/ 2379865 h 3363305"/>
                <a:gd name="connsiteX3119" fmla="*/ 367662 w 3320377"/>
                <a:gd name="connsiteY3119" fmla="*/ 2382147 h 3363305"/>
                <a:gd name="connsiteX3120" fmla="*/ 369946 w 3320377"/>
                <a:gd name="connsiteY3120" fmla="*/ 2382147 h 3363305"/>
                <a:gd name="connsiteX3121" fmla="*/ 369946 w 3320377"/>
                <a:gd name="connsiteY3121" fmla="*/ 2384429 h 3363305"/>
                <a:gd name="connsiteX3122" fmla="*/ 369946 w 3320377"/>
                <a:gd name="connsiteY3122" fmla="*/ 2386711 h 3363305"/>
                <a:gd name="connsiteX3123" fmla="*/ 372230 w 3320377"/>
                <a:gd name="connsiteY3123" fmla="*/ 2386711 h 3363305"/>
                <a:gd name="connsiteX3124" fmla="*/ 374514 w 3320377"/>
                <a:gd name="connsiteY3124" fmla="*/ 2386711 h 3363305"/>
                <a:gd name="connsiteX3125" fmla="*/ 374514 w 3320377"/>
                <a:gd name="connsiteY3125" fmla="*/ 2388993 h 3363305"/>
                <a:gd name="connsiteX3126" fmla="*/ 376796 w 3320377"/>
                <a:gd name="connsiteY3126" fmla="*/ 2388993 h 3363305"/>
                <a:gd name="connsiteX3127" fmla="*/ 376796 w 3320377"/>
                <a:gd name="connsiteY3127" fmla="*/ 2391275 h 3363305"/>
                <a:gd name="connsiteX3128" fmla="*/ 376796 w 3320377"/>
                <a:gd name="connsiteY3128" fmla="*/ 2393557 h 3363305"/>
                <a:gd name="connsiteX3129" fmla="*/ 376796 w 3320377"/>
                <a:gd name="connsiteY3129" fmla="*/ 2395839 h 3363305"/>
                <a:gd name="connsiteX3130" fmla="*/ 379080 w 3320377"/>
                <a:gd name="connsiteY3130" fmla="*/ 2395839 h 3363305"/>
                <a:gd name="connsiteX3131" fmla="*/ 379080 w 3320377"/>
                <a:gd name="connsiteY3131" fmla="*/ 2398121 h 3363305"/>
                <a:gd name="connsiteX3132" fmla="*/ 381363 w 3320377"/>
                <a:gd name="connsiteY3132" fmla="*/ 2398121 h 3363305"/>
                <a:gd name="connsiteX3133" fmla="*/ 381363 w 3320377"/>
                <a:gd name="connsiteY3133" fmla="*/ 2400402 h 3363305"/>
                <a:gd name="connsiteX3134" fmla="*/ 381363 w 3320377"/>
                <a:gd name="connsiteY3134" fmla="*/ 2402684 h 3363305"/>
                <a:gd name="connsiteX3135" fmla="*/ 383648 w 3320377"/>
                <a:gd name="connsiteY3135" fmla="*/ 2402684 h 3363305"/>
                <a:gd name="connsiteX3136" fmla="*/ 383648 w 3320377"/>
                <a:gd name="connsiteY3136" fmla="*/ 2404966 h 3363305"/>
                <a:gd name="connsiteX3137" fmla="*/ 385932 w 3320377"/>
                <a:gd name="connsiteY3137" fmla="*/ 2404966 h 3363305"/>
                <a:gd name="connsiteX3138" fmla="*/ 385932 w 3320377"/>
                <a:gd name="connsiteY3138" fmla="*/ 2407248 h 3363305"/>
                <a:gd name="connsiteX3139" fmla="*/ 385932 w 3320377"/>
                <a:gd name="connsiteY3139" fmla="*/ 2409530 h 3363305"/>
                <a:gd name="connsiteX3140" fmla="*/ 388215 w 3320377"/>
                <a:gd name="connsiteY3140" fmla="*/ 2409530 h 3363305"/>
                <a:gd name="connsiteX3141" fmla="*/ 388215 w 3320377"/>
                <a:gd name="connsiteY3141" fmla="*/ 2411812 h 3363305"/>
                <a:gd name="connsiteX3142" fmla="*/ 390498 w 3320377"/>
                <a:gd name="connsiteY3142" fmla="*/ 2411812 h 3363305"/>
                <a:gd name="connsiteX3143" fmla="*/ 390498 w 3320377"/>
                <a:gd name="connsiteY3143" fmla="*/ 2414094 h 3363305"/>
                <a:gd name="connsiteX3144" fmla="*/ 390498 w 3320377"/>
                <a:gd name="connsiteY3144" fmla="*/ 2416376 h 3363305"/>
                <a:gd name="connsiteX3145" fmla="*/ 390498 w 3320377"/>
                <a:gd name="connsiteY3145" fmla="*/ 2418658 h 3363305"/>
                <a:gd name="connsiteX3146" fmla="*/ 392781 w 3320377"/>
                <a:gd name="connsiteY3146" fmla="*/ 2418658 h 3363305"/>
                <a:gd name="connsiteX3147" fmla="*/ 395066 w 3320377"/>
                <a:gd name="connsiteY3147" fmla="*/ 2418658 h 3363305"/>
                <a:gd name="connsiteX3148" fmla="*/ 395066 w 3320377"/>
                <a:gd name="connsiteY3148" fmla="*/ 2420939 h 3363305"/>
                <a:gd name="connsiteX3149" fmla="*/ 392781 w 3320377"/>
                <a:gd name="connsiteY3149" fmla="*/ 2420939 h 3363305"/>
                <a:gd name="connsiteX3150" fmla="*/ 392781 w 3320377"/>
                <a:gd name="connsiteY3150" fmla="*/ 2423222 h 3363305"/>
                <a:gd name="connsiteX3151" fmla="*/ 395066 w 3320377"/>
                <a:gd name="connsiteY3151" fmla="*/ 2423222 h 3363305"/>
                <a:gd name="connsiteX3152" fmla="*/ 397350 w 3320377"/>
                <a:gd name="connsiteY3152" fmla="*/ 2425503 h 3363305"/>
                <a:gd name="connsiteX3153" fmla="*/ 397350 w 3320377"/>
                <a:gd name="connsiteY3153" fmla="*/ 2427785 h 3363305"/>
                <a:gd name="connsiteX3154" fmla="*/ 397350 w 3320377"/>
                <a:gd name="connsiteY3154" fmla="*/ 2430067 h 3363305"/>
                <a:gd name="connsiteX3155" fmla="*/ 399633 w 3320377"/>
                <a:gd name="connsiteY3155" fmla="*/ 2430067 h 3363305"/>
                <a:gd name="connsiteX3156" fmla="*/ 399633 w 3320377"/>
                <a:gd name="connsiteY3156" fmla="*/ 2432349 h 3363305"/>
                <a:gd name="connsiteX3157" fmla="*/ 399633 w 3320377"/>
                <a:gd name="connsiteY3157" fmla="*/ 2434631 h 3363305"/>
                <a:gd name="connsiteX3158" fmla="*/ 401917 w 3320377"/>
                <a:gd name="connsiteY3158" fmla="*/ 2434631 h 3363305"/>
                <a:gd name="connsiteX3159" fmla="*/ 401917 w 3320377"/>
                <a:gd name="connsiteY3159" fmla="*/ 2436913 h 3363305"/>
                <a:gd name="connsiteX3160" fmla="*/ 404200 w 3320377"/>
                <a:gd name="connsiteY3160" fmla="*/ 2436913 h 3363305"/>
                <a:gd name="connsiteX3161" fmla="*/ 404200 w 3320377"/>
                <a:gd name="connsiteY3161" fmla="*/ 2439195 h 3363305"/>
                <a:gd name="connsiteX3162" fmla="*/ 406484 w 3320377"/>
                <a:gd name="connsiteY3162" fmla="*/ 2439195 h 3363305"/>
                <a:gd name="connsiteX3163" fmla="*/ 406484 w 3320377"/>
                <a:gd name="connsiteY3163" fmla="*/ 2441477 h 3363305"/>
                <a:gd name="connsiteX3164" fmla="*/ 408768 w 3320377"/>
                <a:gd name="connsiteY3164" fmla="*/ 2441477 h 3363305"/>
                <a:gd name="connsiteX3165" fmla="*/ 408768 w 3320377"/>
                <a:gd name="connsiteY3165" fmla="*/ 2443758 h 3363305"/>
                <a:gd name="connsiteX3166" fmla="*/ 411051 w 3320377"/>
                <a:gd name="connsiteY3166" fmla="*/ 2443758 h 3363305"/>
                <a:gd name="connsiteX3167" fmla="*/ 411051 w 3320377"/>
                <a:gd name="connsiteY3167" fmla="*/ 2446040 h 3363305"/>
                <a:gd name="connsiteX3168" fmla="*/ 411051 w 3320377"/>
                <a:gd name="connsiteY3168" fmla="*/ 2448322 h 3363305"/>
                <a:gd name="connsiteX3169" fmla="*/ 413335 w 3320377"/>
                <a:gd name="connsiteY3169" fmla="*/ 2448322 h 3363305"/>
                <a:gd name="connsiteX3170" fmla="*/ 413335 w 3320377"/>
                <a:gd name="connsiteY3170" fmla="*/ 2450604 h 3363305"/>
                <a:gd name="connsiteX3171" fmla="*/ 415618 w 3320377"/>
                <a:gd name="connsiteY3171" fmla="*/ 2450604 h 3363305"/>
                <a:gd name="connsiteX3172" fmla="*/ 415618 w 3320377"/>
                <a:gd name="connsiteY3172" fmla="*/ 2452886 h 3363305"/>
                <a:gd name="connsiteX3173" fmla="*/ 415618 w 3320377"/>
                <a:gd name="connsiteY3173" fmla="*/ 2455168 h 3363305"/>
                <a:gd name="connsiteX3174" fmla="*/ 417902 w 3320377"/>
                <a:gd name="connsiteY3174" fmla="*/ 2455168 h 3363305"/>
                <a:gd name="connsiteX3175" fmla="*/ 417902 w 3320377"/>
                <a:gd name="connsiteY3175" fmla="*/ 2457450 h 3363305"/>
                <a:gd name="connsiteX3176" fmla="*/ 420186 w 3320377"/>
                <a:gd name="connsiteY3176" fmla="*/ 2457450 h 3363305"/>
                <a:gd name="connsiteX3177" fmla="*/ 420186 w 3320377"/>
                <a:gd name="connsiteY3177" fmla="*/ 2459732 h 3363305"/>
                <a:gd name="connsiteX3178" fmla="*/ 420186 w 3320377"/>
                <a:gd name="connsiteY3178" fmla="*/ 2462014 h 3363305"/>
                <a:gd name="connsiteX3179" fmla="*/ 420186 w 3320377"/>
                <a:gd name="connsiteY3179" fmla="*/ 2464295 h 3363305"/>
                <a:gd name="connsiteX3180" fmla="*/ 422469 w 3320377"/>
                <a:gd name="connsiteY3180" fmla="*/ 2464295 h 3363305"/>
                <a:gd name="connsiteX3181" fmla="*/ 422469 w 3320377"/>
                <a:gd name="connsiteY3181" fmla="*/ 2466578 h 3363305"/>
                <a:gd name="connsiteX3182" fmla="*/ 424753 w 3320377"/>
                <a:gd name="connsiteY3182" fmla="*/ 2466578 h 3363305"/>
                <a:gd name="connsiteX3183" fmla="*/ 424753 w 3320377"/>
                <a:gd name="connsiteY3183" fmla="*/ 2468859 h 3363305"/>
                <a:gd name="connsiteX3184" fmla="*/ 427036 w 3320377"/>
                <a:gd name="connsiteY3184" fmla="*/ 2468859 h 3363305"/>
                <a:gd name="connsiteX3185" fmla="*/ 427036 w 3320377"/>
                <a:gd name="connsiteY3185" fmla="*/ 2471141 h 3363305"/>
                <a:gd name="connsiteX3186" fmla="*/ 429320 w 3320377"/>
                <a:gd name="connsiteY3186" fmla="*/ 2471141 h 3363305"/>
                <a:gd name="connsiteX3187" fmla="*/ 429320 w 3320377"/>
                <a:gd name="connsiteY3187" fmla="*/ 2473423 h 3363305"/>
                <a:gd name="connsiteX3188" fmla="*/ 431604 w 3320377"/>
                <a:gd name="connsiteY3188" fmla="*/ 2473423 h 3363305"/>
                <a:gd name="connsiteX3189" fmla="*/ 431604 w 3320377"/>
                <a:gd name="connsiteY3189" fmla="*/ 2475705 h 3363305"/>
                <a:gd name="connsiteX3190" fmla="*/ 431604 w 3320377"/>
                <a:gd name="connsiteY3190" fmla="*/ 2477987 h 3363305"/>
                <a:gd name="connsiteX3191" fmla="*/ 431604 w 3320377"/>
                <a:gd name="connsiteY3191" fmla="*/ 2480269 h 3363305"/>
                <a:gd name="connsiteX3192" fmla="*/ 429320 w 3320377"/>
                <a:gd name="connsiteY3192" fmla="*/ 2480269 h 3363305"/>
                <a:gd name="connsiteX3193" fmla="*/ 429320 w 3320377"/>
                <a:gd name="connsiteY3193" fmla="*/ 2482551 h 3363305"/>
                <a:gd name="connsiteX3194" fmla="*/ 429320 w 3320377"/>
                <a:gd name="connsiteY3194" fmla="*/ 2484833 h 3363305"/>
                <a:gd name="connsiteX3195" fmla="*/ 429320 w 3320377"/>
                <a:gd name="connsiteY3195" fmla="*/ 2487114 h 3363305"/>
                <a:gd name="connsiteX3196" fmla="*/ 431604 w 3320377"/>
                <a:gd name="connsiteY3196" fmla="*/ 2487114 h 3363305"/>
                <a:gd name="connsiteX3197" fmla="*/ 433887 w 3320377"/>
                <a:gd name="connsiteY3197" fmla="*/ 2487114 h 3363305"/>
                <a:gd name="connsiteX3198" fmla="*/ 433887 w 3320377"/>
                <a:gd name="connsiteY3198" fmla="*/ 2489396 h 3363305"/>
                <a:gd name="connsiteX3199" fmla="*/ 436171 w 3320377"/>
                <a:gd name="connsiteY3199" fmla="*/ 2489396 h 3363305"/>
                <a:gd name="connsiteX3200" fmla="*/ 436171 w 3320377"/>
                <a:gd name="connsiteY3200" fmla="*/ 2491678 h 3363305"/>
                <a:gd name="connsiteX3201" fmla="*/ 436171 w 3320377"/>
                <a:gd name="connsiteY3201" fmla="*/ 2493960 h 3363305"/>
                <a:gd name="connsiteX3202" fmla="*/ 438454 w 3320377"/>
                <a:gd name="connsiteY3202" fmla="*/ 2493960 h 3363305"/>
                <a:gd name="connsiteX3203" fmla="*/ 438454 w 3320377"/>
                <a:gd name="connsiteY3203" fmla="*/ 2496242 h 3363305"/>
                <a:gd name="connsiteX3204" fmla="*/ 440738 w 3320377"/>
                <a:gd name="connsiteY3204" fmla="*/ 2496242 h 3363305"/>
                <a:gd name="connsiteX3205" fmla="*/ 440738 w 3320377"/>
                <a:gd name="connsiteY3205" fmla="*/ 2498524 h 3363305"/>
                <a:gd name="connsiteX3206" fmla="*/ 440738 w 3320377"/>
                <a:gd name="connsiteY3206" fmla="*/ 2500806 h 3363305"/>
                <a:gd name="connsiteX3207" fmla="*/ 440738 w 3320377"/>
                <a:gd name="connsiteY3207" fmla="*/ 2503088 h 3363305"/>
                <a:gd name="connsiteX3208" fmla="*/ 443021 w 3320377"/>
                <a:gd name="connsiteY3208" fmla="*/ 2503088 h 3363305"/>
                <a:gd name="connsiteX3209" fmla="*/ 443021 w 3320377"/>
                <a:gd name="connsiteY3209" fmla="*/ 2505370 h 3363305"/>
                <a:gd name="connsiteX3210" fmla="*/ 445305 w 3320377"/>
                <a:gd name="connsiteY3210" fmla="*/ 2505370 h 3363305"/>
                <a:gd name="connsiteX3211" fmla="*/ 445305 w 3320377"/>
                <a:gd name="connsiteY3211" fmla="*/ 2507651 h 3363305"/>
                <a:gd name="connsiteX3212" fmla="*/ 445305 w 3320377"/>
                <a:gd name="connsiteY3212" fmla="*/ 2509934 h 3363305"/>
                <a:gd name="connsiteX3213" fmla="*/ 447589 w 3320377"/>
                <a:gd name="connsiteY3213" fmla="*/ 2509934 h 3363305"/>
                <a:gd name="connsiteX3214" fmla="*/ 447589 w 3320377"/>
                <a:gd name="connsiteY3214" fmla="*/ 2512215 h 3363305"/>
                <a:gd name="connsiteX3215" fmla="*/ 449872 w 3320377"/>
                <a:gd name="connsiteY3215" fmla="*/ 2512215 h 3363305"/>
                <a:gd name="connsiteX3216" fmla="*/ 449872 w 3320377"/>
                <a:gd name="connsiteY3216" fmla="*/ 2514497 h 3363305"/>
                <a:gd name="connsiteX3217" fmla="*/ 452156 w 3320377"/>
                <a:gd name="connsiteY3217" fmla="*/ 2514497 h 3363305"/>
                <a:gd name="connsiteX3218" fmla="*/ 452156 w 3320377"/>
                <a:gd name="connsiteY3218" fmla="*/ 2516770 h 3363305"/>
                <a:gd name="connsiteX3219" fmla="*/ 454439 w 3320377"/>
                <a:gd name="connsiteY3219" fmla="*/ 2516770 h 3363305"/>
                <a:gd name="connsiteX3220" fmla="*/ 454439 w 3320377"/>
                <a:gd name="connsiteY3220" fmla="*/ 2519051 h 3363305"/>
                <a:gd name="connsiteX3221" fmla="*/ 456723 w 3320377"/>
                <a:gd name="connsiteY3221" fmla="*/ 2519051 h 3363305"/>
                <a:gd name="connsiteX3222" fmla="*/ 456723 w 3320377"/>
                <a:gd name="connsiteY3222" fmla="*/ 2521334 h 3363305"/>
                <a:gd name="connsiteX3223" fmla="*/ 459007 w 3320377"/>
                <a:gd name="connsiteY3223" fmla="*/ 2521334 h 3363305"/>
                <a:gd name="connsiteX3224" fmla="*/ 459007 w 3320377"/>
                <a:gd name="connsiteY3224" fmla="*/ 2523615 h 3363305"/>
                <a:gd name="connsiteX3225" fmla="*/ 461290 w 3320377"/>
                <a:gd name="connsiteY3225" fmla="*/ 2523615 h 3363305"/>
                <a:gd name="connsiteX3226" fmla="*/ 461290 w 3320377"/>
                <a:gd name="connsiteY3226" fmla="*/ 2525897 h 3363305"/>
                <a:gd name="connsiteX3227" fmla="*/ 463575 w 3320377"/>
                <a:gd name="connsiteY3227" fmla="*/ 2525897 h 3363305"/>
                <a:gd name="connsiteX3228" fmla="*/ 463575 w 3320377"/>
                <a:gd name="connsiteY3228" fmla="*/ 2528179 h 3363305"/>
                <a:gd name="connsiteX3229" fmla="*/ 465857 w 3320377"/>
                <a:gd name="connsiteY3229" fmla="*/ 2528179 h 3363305"/>
                <a:gd name="connsiteX3230" fmla="*/ 465857 w 3320377"/>
                <a:gd name="connsiteY3230" fmla="*/ 2530461 h 3363305"/>
                <a:gd name="connsiteX3231" fmla="*/ 465857 w 3320377"/>
                <a:gd name="connsiteY3231" fmla="*/ 2532743 h 3363305"/>
                <a:gd name="connsiteX3232" fmla="*/ 468141 w 3320377"/>
                <a:gd name="connsiteY3232" fmla="*/ 2532743 h 3363305"/>
                <a:gd name="connsiteX3233" fmla="*/ 468141 w 3320377"/>
                <a:gd name="connsiteY3233" fmla="*/ 2535025 h 3363305"/>
                <a:gd name="connsiteX3234" fmla="*/ 468141 w 3320377"/>
                <a:gd name="connsiteY3234" fmla="*/ 2537307 h 3363305"/>
                <a:gd name="connsiteX3235" fmla="*/ 468141 w 3320377"/>
                <a:gd name="connsiteY3235" fmla="*/ 2539589 h 3363305"/>
                <a:gd name="connsiteX3236" fmla="*/ 470425 w 3320377"/>
                <a:gd name="connsiteY3236" fmla="*/ 2539589 h 3363305"/>
                <a:gd name="connsiteX3237" fmla="*/ 470425 w 3320377"/>
                <a:gd name="connsiteY3237" fmla="*/ 2541870 h 3363305"/>
                <a:gd name="connsiteX3238" fmla="*/ 470425 w 3320377"/>
                <a:gd name="connsiteY3238" fmla="*/ 2544152 h 3363305"/>
                <a:gd name="connsiteX3239" fmla="*/ 470425 w 3320377"/>
                <a:gd name="connsiteY3239" fmla="*/ 2546434 h 3363305"/>
                <a:gd name="connsiteX3240" fmla="*/ 470425 w 3320377"/>
                <a:gd name="connsiteY3240" fmla="*/ 2548716 h 3363305"/>
                <a:gd name="connsiteX3241" fmla="*/ 472708 w 3320377"/>
                <a:gd name="connsiteY3241" fmla="*/ 2548716 h 3363305"/>
                <a:gd name="connsiteX3242" fmla="*/ 472708 w 3320377"/>
                <a:gd name="connsiteY3242" fmla="*/ 2550998 h 3363305"/>
                <a:gd name="connsiteX3243" fmla="*/ 474992 w 3320377"/>
                <a:gd name="connsiteY3243" fmla="*/ 2550998 h 3363305"/>
                <a:gd name="connsiteX3244" fmla="*/ 474992 w 3320377"/>
                <a:gd name="connsiteY3244" fmla="*/ 2553280 h 3363305"/>
                <a:gd name="connsiteX3245" fmla="*/ 474992 w 3320377"/>
                <a:gd name="connsiteY3245" fmla="*/ 2555562 h 3363305"/>
                <a:gd name="connsiteX3246" fmla="*/ 477276 w 3320377"/>
                <a:gd name="connsiteY3246" fmla="*/ 2555562 h 3363305"/>
                <a:gd name="connsiteX3247" fmla="*/ 477276 w 3320377"/>
                <a:gd name="connsiteY3247" fmla="*/ 2557844 h 3363305"/>
                <a:gd name="connsiteX3248" fmla="*/ 479560 w 3320377"/>
                <a:gd name="connsiteY3248" fmla="*/ 2557844 h 3363305"/>
                <a:gd name="connsiteX3249" fmla="*/ 479560 w 3320377"/>
                <a:gd name="connsiteY3249" fmla="*/ 2560126 h 3363305"/>
                <a:gd name="connsiteX3250" fmla="*/ 479560 w 3320377"/>
                <a:gd name="connsiteY3250" fmla="*/ 2562407 h 3363305"/>
                <a:gd name="connsiteX3251" fmla="*/ 479560 w 3320377"/>
                <a:gd name="connsiteY3251" fmla="*/ 2564690 h 3363305"/>
                <a:gd name="connsiteX3252" fmla="*/ 481843 w 3320377"/>
                <a:gd name="connsiteY3252" fmla="*/ 2564690 h 3363305"/>
                <a:gd name="connsiteX3253" fmla="*/ 481843 w 3320377"/>
                <a:gd name="connsiteY3253" fmla="*/ 2566971 h 3363305"/>
                <a:gd name="connsiteX3254" fmla="*/ 484127 w 3320377"/>
                <a:gd name="connsiteY3254" fmla="*/ 2566971 h 3363305"/>
                <a:gd name="connsiteX3255" fmla="*/ 484127 w 3320377"/>
                <a:gd name="connsiteY3255" fmla="*/ 2569253 h 3363305"/>
                <a:gd name="connsiteX3256" fmla="*/ 486411 w 3320377"/>
                <a:gd name="connsiteY3256" fmla="*/ 2569253 h 3363305"/>
                <a:gd name="connsiteX3257" fmla="*/ 486411 w 3320377"/>
                <a:gd name="connsiteY3257" fmla="*/ 2571535 h 3363305"/>
                <a:gd name="connsiteX3258" fmla="*/ 486411 w 3320377"/>
                <a:gd name="connsiteY3258" fmla="*/ 2573817 h 3363305"/>
                <a:gd name="connsiteX3259" fmla="*/ 488693 w 3320377"/>
                <a:gd name="connsiteY3259" fmla="*/ 2573817 h 3363305"/>
                <a:gd name="connsiteX3260" fmla="*/ 488693 w 3320377"/>
                <a:gd name="connsiteY3260" fmla="*/ 2576099 h 3363305"/>
                <a:gd name="connsiteX3261" fmla="*/ 488693 w 3320377"/>
                <a:gd name="connsiteY3261" fmla="*/ 2578381 h 3363305"/>
                <a:gd name="connsiteX3262" fmla="*/ 488693 w 3320377"/>
                <a:gd name="connsiteY3262" fmla="*/ 2580663 h 3363305"/>
                <a:gd name="connsiteX3263" fmla="*/ 488693 w 3320377"/>
                <a:gd name="connsiteY3263" fmla="*/ 2582945 h 3363305"/>
                <a:gd name="connsiteX3264" fmla="*/ 490978 w 3320377"/>
                <a:gd name="connsiteY3264" fmla="*/ 2582945 h 3363305"/>
                <a:gd name="connsiteX3265" fmla="*/ 490978 w 3320377"/>
                <a:gd name="connsiteY3265" fmla="*/ 2585226 h 3363305"/>
                <a:gd name="connsiteX3266" fmla="*/ 493262 w 3320377"/>
                <a:gd name="connsiteY3266" fmla="*/ 2585226 h 3363305"/>
                <a:gd name="connsiteX3267" fmla="*/ 493262 w 3320377"/>
                <a:gd name="connsiteY3267" fmla="*/ 2587508 h 3363305"/>
                <a:gd name="connsiteX3268" fmla="*/ 493262 w 3320377"/>
                <a:gd name="connsiteY3268" fmla="*/ 2589790 h 3363305"/>
                <a:gd name="connsiteX3269" fmla="*/ 495544 w 3320377"/>
                <a:gd name="connsiteY3269" fmla="*/ 2589790 h 3363305"/>
                <a:gd name="connsiteX3270" fmla="*/ 495544 w 3320377"/>
                <a:gd name="connsiteY3270" fmla="*/ 2592072 h 3363305"/>
                <a:gd name="connsiteX3271" fmla="*/ 497828 w 3320377"/>
                <a:gd name="connsiteY3271" fmla="*/ 2592072 h 3363305"/>
                <a:gd name="connsiteX3272" fmla="*/ 497828 w 3320377"/>
                <a:gd name="connsiteY3272" fmla="*/ 2594354 h 3363305"/>
                <a:gd name="connsiteX3273" fmla="*/ 497828 w 3320377"/>
                <a:gd name="connsiteY3273" fmla="*/ 2596636 h 3363305"/>
                <a:gd name="connsiteX3274" fmla="*/ 497828 w 3320377"/>
                <a:gd name="connsiteY3274" fmla="*/ 2598918 h 3363305"/>
                <a:gd name="connsiteX3275" fmla="*/ 500112 w 3320377"/>
                <a:gd name="connsiteY3275" fmla="*/ 2598918 h 3363305"/>
                <a:gd name="connsiteX3276" fmla="*/ 500112 w 3320377"/>
                <a:gd name="connsiteY3276" fmla="*/ 2601200 h 3363305"/>
                <a:gd name="connsiteX3277" fmla="*/ 502396 w 3320377"/>
                <a:gd name="connsiteY3277" fmla="*/ 2601200 h 3363305"/>
                <a:gd name="connsiteX3278" fmla="*/ 502396 w 3320377"/>
                <a:gd name="connsiteY3278" fmla="*/ 2603482 h 3363305"/>
                <a:gd name="connsiteX3279" fmla="*/ 504680 w 3320377"/>
                <a:gd name="connsiteY3279" fmla="*/ 2603482 h 3363305"/>
                <a:gd name="connsiteX3280" fmla="*/ 504680 w 3320377"/>
                <a:gd name="connsiteY3280" fmla="*/ 2605763 h 3363305"/>
                <a:gd name="connsiteX3281" fmla="*/ 506963 w 3320377"/>
                <a:gd name="connsiteY3281" fmla="*/ 2605763 h 3363305"/>
                <a:gd name="connsiteX3282" fmla="*/ 506963 w 3320377"/>
                <a:gd name="connsiteY3282" fmla="*/ 2608046 h 3363305"/>
                <a:gd name="connsiteX3283" fmla="*/ 509247 w 3320377"/>
                <a:gd name="connsiteY3283" fmla="*/ 2608046 h 3363305"/>
                <a:gd name="connsiteX3284" fmla="*/ 509247 w 3320377"/>
                <a:gd name="connsiteY3284" fmla="*/ 2610327 h 3363305"/>
                <a:gd name="connsiteX3285" fmla="*/ 511529 w 3320377"/>
                <a:gd name="connsiteY3285" fmla="*/ 2610327 h 3363305"/>
                <a:gd name="connsiteX3286" fmla="*/ 511529 w 3320377"/>
                <a:gd name="connsiteY3286" fmla="*/ 2612609 h 3363305"/>
                <a:gd name="connsiteX3287" fmla="*/ 513814 w 3320377"/>
                <a:gd name="connsiteY3287" fmla="*/ 2612609 h 3363305"/>
                <a:gd name="connsiteX3288" fmla="*/ 513814 w 3320377"/>
                <a:gd name="connsiteY3288" fmla="*/ 2614891 h 3363305"/>
                <a:gd name="connsiteX3289" fmla="*/ 516098 w 3320377"/>
                <a:gd name="connsiteY3289" fmla="*/ 2614891 h 3363305"/>
                <a:gd name="connsiteX3290" fmla="*/ 516098 w 3320377"/>
                <a:gd name="connsiteY3290" fmla="*/ 2617173 h 3363305"/>
                <a:gd name="connsiteX3291" fmla="*/ 518381 w 3320377"/>
                <a:gd name="connsiteY3291" fmla="*/ 2617173 h 3363305"/>
                <a:gd name="connsiteX3292" fmla="*/ 518381 w 3320377"/>
                <a:gd name="connsiteY3292" fmla="*/ 2619455 h 3363305"/>
                <a:gd name="connsiteX3293" fmla="*/ 520665 w 3320377"/>
                <a:gd name="connsiteY3293" fmla="*/ 2619455 h 3363305"/>
                <a:gd name="connsiteX3294" fmla="*/ 520665 w 3320377"/>
                <a:gd name="connsiteY3294" fmla="*/ 2621737 h 3363305"/>
                <a:gd name="connsiteX3295" fmla="*/ 520665 w 3320377"/>
                <a:gd name="connsiteY3295" fmla="*/ 2624019 h 3363305"/>
                <a:gd name="connsiteX3296" fmla="*/ 522947 w 3320377"/>
                <a:gd name="connsiteY3296" fmla="*/ 2624019 h 3363305"/>
                <a:gd name="connsiteX3297" fmla="*/ 522947 w 3320377"/>
                <a:gd name="connsiteY3297" fmla="*/ 2626301 h 3363305"/>
                <a:gd name="connsiteX3298" fmla="*/ 522947 w 3320377"/>
                <a:gd name="connsiteY3298" fmla="*/ 2628583 h 3363305"/>
                <a:gd name="connsiteX3299" fmla="*/ 525231 w 3320377"/>
                <a:gd name="connsiteY3299" fmla="*/ 2628583 h 3363305"/>
                <a:gd name="connsiteX3300" fmla="*/ 527515 w 3320377"/>
                <a:gd name="connsiteY3300" fmla="*/ 2628583 h 3363305"/>
                <a:gd name="connsiteX3301" fmla="*/ 527515 w 3320377"/>
                <a:gd name="connsiteY3301" fmla="*/ 2630864 h 3363305"/>
                <a:gd name="connsiteX3302" fmla="*/ 527515 w 3320377"/>
                <a:gd name="connsiteY3302" fmla="*/ 2633146 h 3363305"/>
                <a:gd name="connsiteX3303" fmla="*/ 529799 w 3320377"/>
                <a:gd name="connsiteY3303" fmla="*/ 2633146 h 3363305"/>
                <a:gd name="connsiteX3304" fmla="*/ 529799 w 3320377"/>
                <a:gd name="connsiteY3304" fmla="*/ 2635428 h 3363305"/>
                <a:gd name="connsiteX3305" fmla="*/ 532083 w 3320377"/>
                <a:gd name="connsiteY3305" fmla="*/ 2635428 h 3363305"/>
                <a:gd name="connsiteX3306" fmla="*/ 532083 w 3320377"/>
                <a:gd name="connsiteY3306" fmla="*/ 2637710 h 3363305"/>
                <a:gd name="connsiteX3307" fmla="*/ 532083 w 3320377"/>
                <a:gd name="connsiteY3307" fmla="*/ 2639992 h 3363305"/>
                <a:gd name="connsiteX3308" fmla="*/ 534366 w 3320377"/>
                <a:gd name="connsiteY3308" fmla="*/ 2639992 h 3363305"/>
                <a:gd name="connsiteX3309" fmla="*/ 534366 w 3320377"/>
                <a:gd name="connsiteY3309" fmla="*/ 2642274 h 3363305"/>
                <a:gd name="connsiteX3310" fmla="*/ 534366 w 3320377"/>
                <a:gd name="connsiteY3310" fmla="*/ 2644556 h 3363305"/>
                <a:gd name="connsiteX3311" fmla="*/ 534366 w 3320377"/>
                <a:gd name="connsiteY3311" fmla="*/ 2646838 h 3363305"/>
                <a:gd name="connsiteX3312" fmla="*/ 536650 w 3320377"/>
                <a:gd name="connsiteY3312" fmla="*/ 2646838 h 3363305"/>
                <a:gd name="connsiteX3313" fmla="*/ 536650 w 3320377"/>
                <a:gd name="connsiteY3313" fmla="*/ 2649119 h 3363305"/>
                <a:gd name="connsiteX3314" fmla="*/ 536650 w 3320377"/>
                <a:gd name="connsiteY3314" fmla="*/ 2651402 h 3363305"/>
                <a:gd name="connsiteX3315" fmla="*/ 538933 w 3320377"/>
                <a:gd name="connsiteY3315" fmla="*/ 2651402 h 3363305"/>
                <a:gd name="connsiteX3316" fmla="*/ 538933 w 3320377"/>
                <a:gd name="connsiteY3316" fmla="*/ 2653683 h 3363305"/>
                <a:gd name="connsiteX3317" fmla="*/ 538933 w 3320377"/>
                <a:gd name="connsiteY3317" fmla="*/ 2655965 h 3363305"/>
                <a:gd name="connsiteX3318" fmla="*/ 541217 w 3320377"/>
                <a:gd name="connsiteY3318" fmla="*/ 2655965 h 3363305"/>
                <a:gd name="connsiteX3319" fmla="*/ 541217 w 3320377"/>
                <a:gd name="connsiteY3319" fmla="*/ 2658247 h 3363305"/>
                <a:gd name="connsiteX3320" fmla="*/ 541217 w 3320377"/>
                <a:gd name="connsiteY3320" fmla="*/ 2660529 h 3363305"/>
                <a:gd name="connsiteX3321" fmla="*/ 543501 w 3320377"/>
                <a:gd name="connsiteY3321" fmla="*/ 2660529 h 3363305"/>
                <a:gd name="connsiteX3322" fmla="*/ 543501 w 3320377"/>
                <a:gd name="connsiteY3322" fmla="*/ 2662811 h 3363305"/>
                <a:gd name="connsiteX3323" fmla="*/ 545784 w 3320377"/>
                <a:gd name="connsiteY3323" fmla="*/ 2662811 h 3363305"/>
                <a:gd name="connsiteX3324" fmla="*/ 545784 w 3320377"/>
                <a:gd name="connsiteY3324" fmla="*/ 2665093 h 3363305"/>
                <a:gd name="connsiteX3325" fmla="*/ 545784 w 3320377"/>
                <a:gd name="connsiteY3325" fmla="*/ 2667375 h 3363305"/>
                <a:gd name="connsiteX3326" fmla="*/ 548068 w 3320377"/>
                <a:gd name="connsiteY3326" fmla="*/ 2667375 h 3363305"/>
                <a:gd name="connsiteX3327" fmla="*/ 548068 w 3320377"/>
                <a:gd name="connsiteY3327" fmla="*/ 2669657 h 3363305"/>
                <a:gd name="connsiteX3328" fmla="*/ 550351 w 3320377"/>
                <a:gd name="connsiteY3328" fmla="*/ 2669657 h 3363305"/>
                <a:gd name="connsiteX3329" fmla="*/ 550351 w 3320377"/>
                <a:gd name="connsiteY3329" fmla="*/ 2671939 h 3363305"/>
                <a:gd name="connsiteX3330" fmla="*/ 550351 w 3320377"/>
                <a:gd name="connsiteY3330" fmla="*/ 2674220 h 3363305"/>
                <a:gd name="connsiteX3331" fmla="*/ 552635 w 3320377"/>
                <a:gd name="connsiteY3331" fmla="*/ 2674220 h 3363305"/>
                <a:gd name="connsiteX3332" fmla="*/ 552635 w 3320377"/>
                <a:gd name="connsiteY3332" fmla="*/ 2676493 h 3363305"/>
                <a:gd name="connsiteX3333" fmla="*/ 554919 w 3320377"/>
                <a:gd name="connsiteY3333" fmla="*/ 2676493 h 3363305"/>
                <a:gd name="connsiteX3334" fmla="*/ 554919 w 3320377"/>
                <a:gd name="connsiteY3334" fmla="*/ 2678775 h 3363305"/>
                <a:gd name="connsiteX3335" fmla="*/ 554919 w 3320377"/>
                <a:gd name="connsiteY3335" fmla="*/ 2681057 h 3363305"/>
                <a:gd name="connsiteX3336" fmla="*/ 554919 w 3320377"/>
                <a:gd name="connsiteY3336" fmla="*/ 2683338 h 3363305"/>
                <a:gd name="connsiteX3337" fmla="*/ 554919 w 3320377"/>
                <a:gd name="connsiteY3337" fmla="*/ 2685620 h 3363305"/>
                <a:gd name="connsiteX3338" fmla="*/ 557202 w 3320377"/>
                <a:gd name="connsiteY3338" fmla="*/ 2685620 h 3363305"/>
                <a:gd name="connsiteX3339" fmla="*/ 559486 w 3320377"/>
                <a:gd name="connsiteY3339" fmla="*/ 2685620 h 3363305"/>
                <a:gd name="connsiteX3340" fmla="*/ 559486 w 3320377"/>
                <a:gd name="connsiteY3340" fmla="*/ 2687902 h 3363305"/>
                <a:gd name="connsiteX3341" fmla="*/ 559486 w 3320377"/>
                <a:gd name="connsiteY3341" fmla="*/ 2690184 h 3363305"/>
                <a:gd name="connsiteX3342" fmla="*/ 559486 w 3320377"/>
                <a:gd name="connsiteY3342" fmla="*/ 2692466 h 3363305"/>
                <a:gd name="connsiteX3343" fmla="*/ 561769 w 3320377"/>
                <a:gd name="connsiteY3343" fmla="*/ 2692466 h 3363305"/>
                <a:gd name="connsiteX3344" fmla="*/ 561769 w 3320377"/>
                <a:gd name="connsiteY3344" fmla="*/ 2694748 h 3363305"/>
                <a:gd name="connsiteX3345" fmla="*/ 564053 w 3320377"/>
                <a:gd name="connsiteY3345" fmla="*/ 2694748 h 3363305"/>
                <a:gd name="connsiteX3346" fmla="*/ 566337 w 3320377"/>
                <a:gd name="connsiteY3346" fmla="*/ 2694748 h 3363305"/>
                <a:gd name="connsiteX3347" fmla="*/ 570904 w 3320377"/>
                <a:gd name="connsiteY3347" fmla="*/ 2697030 h 3363305"/>
                <a:gd name="connsiteX3348" fmla="*/ 573187 w 3320377"/>
                <a:gd name="connsiteY3348" fmla="*/ 2697030 h 3363305"/>
                <a:gd name="connsiteX3349" fmla="*/ 577755 w 3320377"/>
                <a:gd name="connsiteY3349" fmla="*/ 2699312 h 3363305"/>
                <a:gd name="connsiteX3350" fmla="*/ 580038 w 3320377"/>
                <a:gd name="connsiteY3350" fmla="*/ 2699312 h 3363305"/>
                <a:gd name="connsiteX3351" fmla="*/ 582322 w 3320377"/>
                <a:gd name="connsiteY3351" fmla="*/ 2699312 h 3363305"/>
                <a:gd name="connsiteX3352" fmla="*/ 586889 w 3320377"/>
                <a:gd name="connsiteY3352" fmla="*/ 2701594 h 3363305"/>
                <a:gd name="connsiteX3353" fmla="*/ 591456 w 3320377"/>
                <a:gd name="connsiteY3353" fmla="*/ 2703875 h 3363305"/>
                <a:gd name="connsiteX3354" fmla="*/ 589173 w 3320377"/>
                <a:gd name="connsiteY3354" fmla="*/ 2697030 h 3363305"/>
                <a:gd name="connsiteX3355" fmla="*/ 589173 w 3320377"/>
                <a:gd name="connsiteY3355" fmla="*/ 2692466 h 3363305"/>
                <a:gd name="connsiteX3356" fmla="*/ 586889 w 3320377"/>
                <a:gd name="connsiteY3356" fmla="*/ 2687902 h 3363305"/>
                <a:gd name="connsiteX3357" fmla="*/ 584605 w 3320377"/>
                <a:gd name="connsiteY3357" fmla="*/ 2683338 h 3363305"/>
                <a:gd name="connsiteX3358" fmla="*/ 582322 w 3320377"/>
                <a:gd name="connsiteY3358" fmla="*/ 2676493 h 3363305"/>
                <a:gd name="connsiteX3359" fmla="*/ 580038 w 3320377"/>
                <a:gd name="connsiteY3359" fmla="*/ 2669657 h 3363305"/>
                <a:gd name="connsiteX3360" fmla="*/ 582322 w 3320377"/>
                <a:gd name="connsiteY3360" fmla="*/ 2665093 h 3363305"/>
                <a:gd name="connsiteX3361" fmla="*/ 584605 w 3320377"/>
                <a:gd name="connsiteY3361" fmla="*/ 2662811 h 3363305"/>
                <a:gd name="connsiteX3362" fmla="*/ 586889 w 3320377"/>
                <a:gd name="connsiteY3362" fmla="*/ 2662811 h 3363305"/>
                <a:gd name="connsiteX3363" fmla="*/ 589173 w 3320377"/>
                <a:gd name="connsiteY3363" fmla="*/ 2660529 h 3363305"/>
                <a:gd name="connsiteX3364" fmla="*/ 591456 w 3320377"/>
                <a:gd name="connsiteY3364" fmla="*/ 2658247 h 3363305"/>
                <a:gd name="connsiteX3365" fmla="*/ 591456 w 3320377"/>
                <a:gd name="connsiteY3365" fmla="*/ 2655965 h 3363305"/>
                <a:gd name="connsiteX3366" fmla="*/ 593740 w 3320377"/>
                <a:gd name="connsiteY3366" fmla="*/ 2655965 h 3363305"/>
                <a:gd name="connsiteX3367" fmla="*/ 593740 w 3320377"/>
                <a:gd name="connsiteY3367" fmla="*/ 2653683 h 3363305"/>
                <a:gd name="connsiteX3368" fmla="*/ 596023 w 3320377"/>
                <a:gd name="connsiteY3368" fmla="*/ 2651402 h 3363305"/>
                <a:gd name="connsiteX3369" fmla="*/ 598308 w 3320377"/>
                <a:gd name="connsiteY3369" fmla="*/ 2649119 h 3363305"/>
                <a:gd name="connsiteX3370" fmla="*/ 600591 w 3320377"/>
                <a:gd name="connsiteY3370" fmla="*/ 2649119 h 3363305"/>
                <a:gd name="connsiteX3371" fmla="*/ 600591 w 3320377"/>
                <a:gd name="connsiteY3371" fmla="*/ 2646838 h 3363305"/>
                <a:gd name="connsiteX3372" fmla="*/ 602874 w 3320377"/>
                <a:gd name="connsiteY3372" fmla="*/ 2644556 h 3363305"/>
                <a:gd name="connsiteX3373" fmla="*/ 605158 w 3320377"/>
                <a:gd name="connsiteY3373" fmla="*/ 2644556 h 3363305"/>
                <a:gd name="connsiteX3374" fmla="*/ 607442 w 3320377"/>
                <a:gd name="connsiteY3374" fmla="*/ 2644556 h 3363305"/>
                <a:gd name="connsiteX3375" fmla="*/ 607442 w 3320377"/>
                <a:gd name="connsiteY3375" fmla="*/ 2642274 h 3363305"/>
                <a:gd name="connsiteX3376" fmla="*/ 607442 w 3320377"/>
                <a:gd name="connsiteY3376" fmla="*/ 2639992 h 3363305"/>
                <a:gd name="connsiteX3377" fmla="*/ 609726 w 3320377"/>
                <a:gd name="connsiteY3377" fmla="*/ 2639992 h 3363305"/>
                <a:gd name="connsiteX3378" fmla="*/ 609726 w 3320377"/>
                <a:gd name="connsiteY3378" fmla="*/ 2637710 h 3363305"/>
                <a:gd name="connsiteX3379" fmla="*/ 612010 w 3320377"/>
                <a:gd name="connsiteY3379" fmla="*/ 2637710 h 3363305"/>
                <a:gd name="connsiteX3380" fmla="*/ 614292 w 3320377"/>
                <a:gd name="connsiteY3380" fmla="*/ 2635428 h 3363305"/>
                <a:gd name="connsiteX3381" fmla="*/ 616576 w 3320377"/>
                <a:gd name="connsiteY3381" fmla="*/ 2633146 h 3363305"/>
                <a:gd name="connsiteX3382" fmla="*/ 618860 w 3320377"/>
                <a:gd name="connsiteY3382" fmla="*/ 2633146 h 3363305"/>
                <a:gd name="connsiteX3383" fmla="*/ 618860 w 3320377"/>
                <a:gd name="connsiteY3383" fmla="*/ 2630864 h 3363305"/>
                <a:gd name="connsiteX3384" fmla="*/ 616576 w 3320377"/>
                <a:gd name="connsiteY3384" fmla="*/ 2628583 h 3363305"/>
                <a:gd name="connsiteX3385" fmla="*/ 614292 w 3320377"/>
                <a:gd name="connsiteY3385" fmla="*/ 2626301 h 3363305"/>
                <a:gd name="connsiteX3386" fmla="*/ 612010 w 3320377"/>
                <a:gd name="connsiteY3386" fmla="*/ 2624019 h 3363305"/>
                <a:gd name="connsiteX3387" fmla="*/ 612010 w 3320377"/>
                <a:gd name="connsiteY3387" fmla="*/ 2621737 h 3363305"/>
                <a:gd name="connsiteX3388" fmla="*/ 609726 w 3320377"/>
                <a:gd name="connsiteY3388" fmla="*/ 2619455 h 3363305"/>
                <a:gd name="connsiteX3389" fmla="*/ 607442 w 3320377"/>
                <a:gd name="connsiteY3389" fmla="*/ 2617173 h 3363305"/>
                <a:gd name="connsiteX3390" fmla="*/ 605158 w 3320377"/>
                <a:gd name="connsiteY3390" fmla="*/ 2614891 h 3363305"/>
                <a:gd name="connsiteX3391" fmla="*/ 602874 w 3320377"/>
                <a:gd name="connsiteY3391" fmla="*/ 2612609 h 3363305"/>
                <a:gd name="connsiteX3392" fmla="*/ 600591 w 3320377"/>
                <a:gd name="connsiteY3392" fmla="*/ 2610327 h 3363305"/>
                <a:gd name="connsiteX3393" fmla="*/ 600591 w 3320377"/>
                <a:gd name="connsiteY3393" fmla="*/ 2608046 h 3363305"/>
                <a:gd name="connsiteX3394" fmla="*/ 598308 w 3320377"/>
                <a:gd name="connsiteY3394" fmla="*/ 2608046 h 3363305"/>
                <a:gd name="connsiteX3395" fmla="*/ 598308 w 3320377"/>
                <a:gd name="connsiteY3395" fmla="*/ 2603482 h 3363305"/>
                <a:gd name="connsiteX3396" fmla="*/ 598308 w 3320377"/>
                <a:gd name="connsiteY3396" fmla="*/ 2601200 h 3363305"/>
                <a:gd name="connsiteX3397" fmla="*/ 598308 w 3320377"/>
                <a:gd name="connsiteY3397" fmla="*/ 2598918 h 3363305"/>
                <a:gd name="connsiteX3398" fmla="*/ 598308 w 3320377"/>
                <a:gd name="connsiteY3398" fmla="*/ 2596636 h 3363305"/>
                <a:gd name="connsiteX3399" fmla="*/ 600591 w 3320377"/>
                <a:gd name="connsiteY3399" fmla="*/ 2596636 h 3363305"/>
                <a:gd name="connsiteX3400" fmla="*/ 602874 w 3320377"/>
                <a:gd name="connsiteY3400" fmla="*/ 2596636 h 3363305"/>
                <a:gd name="connsiteX3401" fmla="*/ 605158 w 3320377"/>
                <a:gd name="connsiteY3401" fmla="*/ 2596636 h 3363305"/>
                <a:gd name="connsiteX3402" fmla="*/ 607442 w 3320377"/>
                <a:gd name="connsiteY3402" fmla="*/ 2596636 h 3363305"/>
                <a:gd name="connsiteX3403" fmla="*/ 612010 w 3320377"/>
                <a:gd name="connsiteY3403" fmla="*/ 2596636 h 3363305"/>
                <a:gd name="connsiteX3404" fmla="*/ 614292 w 3320377"/>
                <a:gd name="connsiteY3404" fmla="*/ 2594354 h 3363305"/>
                <a:gd name="connsiteX3405" fmla="*/ 618860 w 3320377"/>
                <a:gd name="connsiteY3405" fmla="*/ 2592072 h 3363305"/>
                <a:gd name="connsiteX3406" fmla="*/ 623428 w 3320377"/>
                <a:gd name="connsiteY3406" fmla="*/ 2592072 h 3363305"/>
                <a:gd name="connsiteX3407" fmla="*/ 627994 w 3320377"/>
                <a:gd name="connsiteY3407" fmla="*/ 2592072 h 3363305"/>
                <a:gd name="connsiteX3408" fmla="*/ 630278 w 3320377"/>
                <a:gd name="connsiteY3408" fmla="*/ 2589790 h 3363305"/>
                <a:gd name="connsiteX3409" fmla="*/ 632562 w 3320377"/>
                <a:gd name="connsiteY3409" fmla="*/ 2589790 h 3363305"/>
                <a:gd name="connsiteX3410" fmla="*/ 634845 w 3320377"/>
                <a:gd name="connsiteY3410" fmla="*/ 2589790 h 3363305"/>
                <a:gd name="connsiteX3411" fmla="*/ 639413 w 3320377"/>
                <a:gd name="connsiteY3411" fmla="*/ 2592072 h 3363305"/>
                <a:gd name="connsiteX3412" fmla="*/ 639413 w 3320377"/>
                <a:gd name="connsiteY3412" fmla="*/ 2589790 h 3363305"/>
                <a:gd name="connsiteX3413" fmla="*/ 639413 w 3320377"/>
                <a:gd name="connsiteY3413" fmla="*/ 2587508 h 3363305"/>
                <a:gd name="connsiteX3414" fmla="*/ 639413 w 3320377"/>
                <a:gd name="connsiteY3414" fmla="*/ 2585226 h 3363305"/>
                <a:gd name="connsiteX3415" fmla="*/ 639413 w 3320377"/>
                <a:gd name="connsiteY3415" fmla="*/ 2580663 h 3363305"/>
                <a:gd name="connsiteX3416" fmla="*/ 639413 w 3320377"/>
                <a:gd name="connsiteY3416" fmla="*/ 2576099 h 3363305"/>
                <a:gd name="connsiteX3417" fmla="*/ 639413 w 3320377"/>
                <a:gd name="connsiteY3417" fmla="*/ 2571535 h 3363305"/>
                <a:gd name="connsiteX3418" fmla="*/ 637129 w 3320377"/>
                <a:gd name="connsiteY3418" fmla="*/ 2566971 h 3363305"/>
                <a:gd name="connsiteX3419" fmla="*/ 637129 w 3320377"/>
                <a:gd name="connsiteY3419" fmla="*/ 2557844 h 3363305"/>
                <a:gd name="connsiteX3420" fmla="*/ 637129 w 3320377"/>
                <a:gd name="connsiteY3420" fmla="*/ 2553280 h 3363305"/>
                <a:gd name="connsiteX3421" fmla="*/ 637129 w 3320377"/>
                <a:gd name="connsiteY3421" fmla="*/ 2550998 h 3363305"/>
                <a:gd name="connsiteX3422" fmla="*/ 637129 w 3320377"/>
                <a:gd name="connsiteY3422" fmla="*/ 2548716 h 3363305"/>
                <a:gd name="connsiteX3423" fmla="*/ 639413 w 3320377"/>
                <a:gd name="connsiteY3423" fmla="*/ 2544152 h 3363305"/>
                <a:gd name="connsiteX3424" fmla="*/ 639413 w 3320377"/>
                <a:gd name="connsiteY3424" fmla="*/ 2541870 h 3363305"/>
                <a:gd name="connsiteX3425" fmla="*/ 639413 w 3320377"/>
                <a:gd name="connsiteY3425" fmla="*/ 2539589 h 3363305"/>
                <a:gd name="connsiteX3426" fmla="*/ 641696 w 3320377"/>
                <a:gd name="connsiteY3426" fmla="*/ 2537307 h 3363305"/>
                <a:gd name="connsiteX3427" fmla="*/ 643980 w 3320377"/>
                <a:gd name="connsiteY3427" fmla="*/ 2537307 h 3363305"/>
                <a:gd name="connsiteX3428" fmla="*/ 646263 w 3320377"/>
                <a:gd name="connsiteY3428" fmla="*/ 2537307 h 3363305"/>
                <a:gd name="connsiteX3429" fmla="*/ 646263 w 3320377"/>
                <a:gd name="connsiteY3429" fmla="*/ 2535025 h 3363305"/>
                <a:gd name="connsiteX3430" fmla="*/ 648547 w 3320377"/>
                <a:gd name="connsiteY3430" fmla="*/ 2535025 h 3363305"/>
                <a:gd name="connsiteX3431" fmla="*/ 650831 w 3320377"/>
                <a:gd name="connsiteY3431" fmla="*/ 2535025 h 3363305"/>
                <a:gd name="connsiteX3432" fmla="*/ 655397 w 3320377"/>
                <a:gd name="connsiteY3432" fmla="*/ 2532743 h 3363305"/>
                <a:gd name="connsiteX3433" fmla="*/ 657681 w 3320377"/>
                <a:gd name="connsiteY3433" fmla="*/ 2530461 h 3363305"/>
                <a:gd name="connsiteX3434" fmla="*/ 666816 w 3320377"/>
                <a:gd name="connsiteY3434" fmla="*/ 2535025 h 3363305"/>
                <a:gd name="connsiteX3435" fmla="*/ 669099 w 3320377"/>
                <a:gd name="connsiteY3435" fmla="*/ 2535025 h 3363305"/>
                <a:gd name="connsiteX3436" fmla="*/ 671383 w 3320377"/>
                <a:gd name="connsiteY3436" fmla="*/ 2537307 h 3363305"/>
                <a:gd name="connsiteX3437" fmla="*/ 680517 w 3320377"/>
                <a:gd name="connsiteY3437" fmla="*/ 2544152 h 3363305"/>
                <a:gd name="connsiteX3438" fmla="*/ 689652 w 3320377"/>
                <a:gd name="connsiteY3438" fmla="*/ 2550998 h 3363305"/>
                <a:gd name="connsiteX3439" fmla="*/ 698786 w 3320377"/>
                <a:gd name="connsiteY3439" fmla="*/ 2557844 h 3363305"/>
                <a:gd name="connsiteX3440" fmla="*/ 701070 w 3320377"/>
                <a:gd name="connsiteY3440" fmla="*/ 2557844 h 3363305"/>
                <a:gd name="connsiteX3441" fmla="*/ 701070 w 3320377"/>
                <a:gd name="connsiteY3441" fmla="*/ 2555562 h 3363305"/>
                <a:gd name="connsiteX3442" fmla="*/ 703353 w 3320377"/>
                <a:gd name="connsiteY3442" fmla="*/ 2555562 h 3363305"/>
                <a:gd name="connsiteX3443" fmla="*/ 703353 w 3320377"/>
                <a:gd name="connsiteY3443" fmla="*/ 2553280 h 3363305"/>
                <a:gd name="connsiteX3444" fmla="*/ 705637 w 3320377"/>
                <a:gd name="connsiteY3444" fmla="*/ 2553280 h 3363305"/>
                <a:gd name="connsiteX3445" fmla="*/ 705637 w 3320377"/>
                <a:gd name="connsiteY3445" fmla="*/ 2550998 h 3363305"/>
                <a:gd name="connsiteX3446" fmla="*/ 707921 w 3320377"/>
                <a:gd name="connsiteY3446" fmla="*/ 2550998 h 3363305"/>
                <a:gd name="connsiteX3447" fmla="*/ 710204 w 3320377"/>
                <a:gd name="connsiteY3447" fmla="*/ 2550998 h 3363305"/>
                <a:gd name="connsiteX3448" fmla="*/ 712488 w 3320377"/>
                <a:gd name="connsiteY3448" fmla="*/ 2548716 h 3363305"/>
                <a:gd name="connsiteX3449" fmla="*/ 710204 w 3320377"/>
                <a:gd name="connsiteY3449" fmla="*/ 2548716 h 3363305"/>
                <a:gd name="connsiteX3450" fmla="*/ 710204 w 3320377"/>
                <a:gd name="connsiteY3450" fmla="*/ 2546434 h 3363305"/>
                <a:gd name="connsiteX3451" fmla="*/ 710204 w 3320377"/>
                <a:gd name="connsiteY3451" fmla="*/ 2544152 h 3363305"/>
                <a:gd name="connsiteX3452" fmla="*/ 707921 w 3320377"/>
                <a:gd name="connsiteY3452" fmla="*/ 2544152 h 3363305"/>
                <a:gd name="connsiteX3453" fmla="*/ 710204 w 3320377"/>
                <a:gd name="connsiteY3453" fmla="*/ 2541870 h 3363305"/>
                <a:gd name="connsiteX3454" fmla="*/ 712488 w 3320377"/>
                <a:gd name="connsiteY3454" fmla="*/ 2541870 h 3363305"/>
                <a:gd name="connsiteX3455" fmla="*/ 714772 w 3320377"/>
                <a:gd name="connsiteY3455" fmla="*/ 2541870 h 3363305"/>
                <a:gd name="connsiteX3456" fmla="*/ 717056 w 3320377"/>
                <a:gd name="connsiteY3456" fmla="*/ 2541870 h 3363305"/>
                <a:gd name="connsiteX3457" fmla="*/ 719339 w 3320377"/>
                <a:gd name="connsiteY3457" fmla="*/ 2544152 h 3363305"/>
                <a:gd name="connsiteX3458" fmla="*/ 721622 w 3320377"/>
                <a:gd name="connsiteY3458" fmla="*/ 2544152 h 3363305"/>
                <a:gd name="connsiteX3459" fmla="*/ 723906 w 3320377"/>
                <a:gd name="connsiteY3459" fmla="*/ 2546434 h 3363305"/>
                <a:gd name="connsiteX3460" fmla="*/ 728474 w 3320377"/>
                <a:gd name="connsiteY3460" fmla="*/ 2546434 h 3363305"/>
                <a:gd name="connsiteX3461" fmla="*/ 730757 w 3320377"/>
                <a:gd name="connsiteY3461" fmla="*/ 2544152 h 3363305"/>
                <a:gd name="connsiteX3462" fmla="*/ 733040 w 3320377"/>
                <a:gd name="connsiteY3462" fmla="*/ 2544152 h 3363305"/>
                <a:gd name="connsiteX3463" fmla="*/ 733040 w 3320377"/>
                <a:gd name="connsiteY3463" fmla="*/ 2541870 h 3363305"/>
                <a:gd name="connsiteX3464" fmla="*/ 733040 w 3320377"/>
                <a:gd name="connsiteY3464" fmla="*/ 2539589 h 3363305"/>
                <a:gd name="connsiteX3465" fmla="*/ 735324 w 3320377"/>
                <a:gd name="connsiteY3465" fmla="*/ 2539589 h 3363305"/>
                <a:gd name="connsiteX3466" fmla="*/ 735324 w 3320377"/>
                <a:gd name="connsiteY3466" fmla="*/ 2537307 h 3363305"/>
                <a:gd name="connsiteX3467" fmla="*/ 735324 w 3320377"/>
                <a:gd name="connsiteY3467" fmla="*/ 2535025 h 3363305"/>
                <a:gd name="connsiteX3468" fmla="*/ 737607 w 3320377"/>
                <a:gd name="connsiteY3468" fmla="*/ 2535025 h 3363305"/>
                <a:gd name="connsiteX3469" fmla="*/ 737607 w 3320377"/>
                <a:gd name="connsiteY3469" fmla="*/ 2530461 h 3363305"/>
                <a:gd name="connsiteX3470" fmla="*/ 739892 w 3320377"/>
                <a:gd name="connsiteY3470" fmla="*/ 2528179 h 3363305"/>
                <a:gd name="connsiteX3471" fmla="*/ 739892 w 3320377"/>
                <a:gd name="connsiteY3471" fmla="*/ 2525897 h 3363305"/>
                <a:gd name="connsiteX3472" fmla="*/ 742175 w 3320377"/>
                <a:gd name="connsiteY3472" fmla="*/ 2523615 h 3363305"/>
                <a:gd name="connsiteX3473" fmla="*/ 742175 w 3320377"/>
                <a:gd name="connsiteY3473" fmla="*/ 2521334 h 3363305"/>
                <a:gd name="connsiteX3474" fmla="*/ 744459 w 3320377"/>
                <a:gd name="connsiteY3474" fmla="*/ 2519051 h 3363305"/>
                <a:gd name="connsiteX3475" fmla="*/ 744459 w 3320377"/>
                <a:gd name="connsiteY3475" fmla="*/ 2514497 h 3363305"/>
                <a:gd name="connsiteX3476" fmla="*/ 746743 w 3320377"/>
                <a:gd name="connsiteY3476" fmla="*/ 2514497 h 3363305"/>
                <a:gd name="connsiteX3477" fmla="*/ 746743 w 3320377"/>
                <a:gd name="connsiteY3477" fmla="*/ 2512215 h 3363305"/>
                <a:gd name="connsiteX3478" fmla="*/ 746743 w 3320377"/>
                <a:gd name="connsiteY3478" fmla="*/ 2509934 h 3363305"/>
                <a:gd name="connsiteX3479" fmla="*/ 749025 w 3320377"/>
                <a:gd name="connsiteY3479" fmla="*/ 2509934 h 3363305"/>
                <a:gd name="connsiteX3480" fmla="*/ 753593 w 3320377"/>
                <a:gd name="connsiteY3480" fmla="*/ 2496242 h 3363305"/>
                <a:gd name="connsiteX3481" fmla="*/ 755877 w 3320377"/>
                <a:gd name="connsiteY3481" fmla="*/ 2493960 h 3363305"/>
                <a:gd name="connsiteX3482" fmla="*/ 758161 w 3320377"/>
                <a:gd name="connsiteY3482" fmla="*/ 2491678 h 3363305"/>
                <a:gd name="connsiteX3483" fmla="*/ 758161 w 3320377"/>
                <a:gd name="connsiteY3483" fmla="*/ 2487114 h 3363305"/>
                <a:gd name="connsiteX3484" fmla="*/ 760443 w 3320377"/>
                <a:gd name="connsiteY3484" fmla="*/ 2484833 h 3363305"/>
                <a:gd name="connsiteX3485" fmla="*/ 762728 w 3320377"/>
                <a:gd name="connsiteY3485" fmla="*/ 2480269 h 3363305"/>
                <a:gd name="connsiteX3486" fmla="*/ 765011 w 3320377"/>
                <a:gd name="connsiteY3486" fmla="*/ 2477987 h 3363305"/>
                <a:gd name="connsiteX3487" fmla="*/ 765011 w 3320377"/>
                <a:gd name="connsiteY3487" fmla="*/ 2473423 h 3363305"/>
                <a:gd name="connsiteX3488" fmla="*/ 762728 w 3320377"/>
                <a:gd name="connsiteY3488" fmla="*/ 2446040 h 3363305"/>
                <a:gd name="connsiteX3489" fmla="*/ 765011 w 3320377"/>
                <a:gd name="connsiteY3489" fmla="*/ 2441477 h 3363305"/>
                <a:gd name="connsiteX3490" fmla="*/ 767295 w 3320377"/>
                <a:gd name="connsiteY3490" fmla="*/ 2439195 h 3363305"/>
                <a:gd name="connsiteX3491" fmla="*/ 767295 w 3320377"/>
                <a:gd name="connsiteY3491" fmla="*/ 2436913 h 3363305"/>
                <a:gd name="connsiteX3492" fmla="*/ 769579 w 3320377"/>
                <a:gd name="connsiteY3492" fmla="*/ 2434631 h 3363305"/>
                <a:gd name="connsiteX3493" fmla="*/ 771862 w 3320377"/>
                <a:gd name="connsiteY3493" fmla="*/ 2430067 h 3363305"/>
                <a:gd name="connsiteX3494" fmla="*/ 771862 w 3320377"/>
                <a:gd name="connsiteY3494" fmla="*/ 2427785 h 3363305"/>
                <a:gd name="connsiteX3495" fmla="*/ 771862 w 3320377"/>
                <a:gd name="connsiteY3495" fmla="*/ 2425503 h 3363305"/>
                <a:gd name="connsiteX3496" fmla="*/ 774146 w 3320377"/>
                <a:gd name="connsiteY3496" fmla="*/ 2423222 h 3363305"/>
                <a:gd name="connsiteX3497" fmla="*/ 776429 w 3320377"/>
                <a:gd name="connsiteY3497" fmla="*/ 2420939 h 3363305"/>
                <a:gd name="connsiteX3498" fmla="*/ 776429 w 3320377"/>
                <a:gd name="connsiteY3498" fmla="*/ 2418658 h 3363305"/>
                <a:gd name="connsiteX3499" fmla="*/ 776429 w 3320377"/>
                <a:gd name="connsiteY3499" fmla="*/ 2416376 h 3363305"/>
                <a:gd name="connsiteX3500" fmla="*/ 774146 w 3320377"/>
                <a:gd name="connsiteY3500" fmla="*/ 2414094 h 3363305"/>
                <a:gd name="connsiteX3501" fmla="*/ 771862 w 3320377"/>
                <a:gd name="connsiteY3501" fmla="*/ 2411812 h 3363305"/>
                <a:gd name="connsiteX3502" fmla="*/ 771862 w 3320377"/>
                <a:gd name="connsiteY3502" fmla="*/ 2409530 h 3363305"/>
                <a:gd name="connsiteX3503" fmla="*/ 771862 w 3320377"/>
                <a:gd name="connsiteY3503" fmla="*/ 2407248 h 3363305"/>
                <a:gd name="connsiteX3504" fmla="*/ 769579 w 3320377"/>
                <a:gd name="connsiteY3504" fmla="*/ 2404966 h 3363305"/>
                <a:gd name="connsiteX3505" fmla="*/ 769579 w 3320377"/>
                <a:gd name="connsiteY3505" fmla="*/ 2402684 h 3363305"/>
                <a:gd name="connsiteX3506" fmla="*/ 767295 w 3320377"/>
                <a:gd name="connsiteY3506" fmla="*/ 2402684 h 3363305"/>
                <a:gd name="connsiteX3507" fmla="*/ 767295 w 3320377"/>
                <a:gd name="connsiteY3507" fmla="*/ 2400402 h 3363305"/>
                <a:gd name="connsiteX3508" fmla="*/ 765011 w 3320377"/>
                <a:gd name="connsiteY3508" fmla="*/ 2398121 h 3363305"/>
                <a:gd name="connsiteX3509" fmla="*/ 765011 w 3320377"/>
                <a:gd name="connsiteY3509" fmla="*/ 2395839 h 3363305"/>
                <a:gd name="connsiteX3510" fmla="*/ 765011 w 3320377"/>
                <a:gd name="connsiteY3510" fmla="*/ 2393557 h 3363305"/>
                <a:gd name="connsiteX3511" fmla="*/ 762728 w 3320377"/>
                <a:gd name="connsiteY3511" fmla="*/ 2391275 h 3363305"/>
                <a:gd name="connsiteX3512" fmla="*/ 765011 w 3320377"/>
                <a:gd name="connsiteY3512" fmla="*/ 2391275 h 3363305"/>
                <a:gd name="connsiteX3513" fmla="*/ 765011 w 3320377"/>
                <a:gd name="connsiteY3513" fmla="*/ 2393557 h 3363305"/>
                <a:gd name="connsiteX3514" fmla="*/ 767295 w 3320377"/>
                <a:gd name="connsiteY3514" fmla="*/ 2395839 h 3363305"/>
                <a:gd name="connsiteX3515" fmla="*/ 769579 w 3320377"/>
                <a:gd name="connsiteY3515" fmla="*/ 2395839 h 3363305"/>
                <a:gd name="connsiteX3516" fmla="*/ 771862 w 3320377"/>
                <a:gd name="connsiteY3516" fmla="*/ 2398121 h 3363305"/>
                <a:gd name="connsiteX3517" fmla="*/ 774146 w 3320377"/>
                <a:gd name="connsiteY3517" fmla="*/ 2400402 h 3363305"/>
                <a:gd name="connsiteX3518" fmla="*/ 776429 w 3320377"/>
                <a:gd name="connsiteY3518" fmla="*/ 2400402 h 3363305"/>
                <a:gd name="connsiteX3519" fmla="*/ 776429 w 3320377"/>
                <a:gd name="connsiteY3519" fmla="*/ 2402684 h 3363305"/>
                <a:gd name="connsiteX3520" fmla="*/ 778713 w 3320377"/>
                <a:gd name="connsiteY3520" fmla="*/ 2404966 h 3363305"/>
                <a:gd name="connsiteX3521" fmla="*/ 780997 w 3320377"/>
                <a:gd name="connsiteY3521" fmla="*/ 2407248 h 3363305"/>
                <a:gd name="connsiteX3522" fmla="*/ 783280 w 3320377"/>
                <a:gd name="connsiteY3522" fmla="*/ 2407248 h 3363305"/>
                <a:gd name="connsiteX3523" fmla="*/ 783280 w 3320377"/>
                <a:gd name="connsiteY3523" fmla="*/ 2409530 h 3363305"/>
                <a:gd name="connsiteX3524" fmla="*/ 787847 w 3320377"/>
                <a:gd name="connsiteY3524" fmla="*/ 2411812 h 3363305"/>
                <a:gd name="connsiteX3525" fmla="*/ 808400 w 3320377"/>
                <a:gd name="connsiteY3525" fmla="*/ 2436913 h 3363305"/>
                <a:gd name="connsiteX3526" fmla="*/ 810683 w 3320377"/>
                <a:gd name="connsiteY3526" fmla="*/ 2439195 h 3363305"/>
                <a:gd name="connsiteX3527" fmla="*/ 812967 w 3320377"/>
                <a:gd name="connsiteY3527" fmla="*/ 2441477 h 3363305"/>
                <a:gd name="connsiteX3528" fmla="*/ 815251 w 3320377"/>
                <a:gd name="connsiteY3528" fmla="*/ 2443758 h 3363305"/>
                <a:gd name="connsiteX3529" fmla="*/ 812967 w 3320377"/>
                <a:gd name="connsiteY3529" fmla="*/ 2439195 h 3363305"/>
                <a:gd name="connsiteX3530" fmla="*/ 810683 w 3320377"/>
                <a:gd name="connsiteY3530" fmla="*/ 2434631 h 3363305"/>
                <a:gd name="connsiteX3531" fmla="*/ 810683 w 3320377"/>
                <a:gd name="connsiteY3531" fmla="*/ 2432349 h 3363305"/>
                <a:gd name="connsiteX3532" fmla="*/ 808400 w 3320377"/>
                <a:gd name="connsiteY3532" fmla="*/ 2427785 h 3363305"/>
                <a:gd name="connsiteX3533" fmla="*/ 806116 w 3320377"/>
                <a:gd name="connsiteY3533" fmla="*/ 2425503 h 3363305"/>
                <a:gd name="connsiteX3534" fmla="*/ 806116 w 3320377"/>
                <a:gd name="connsiteY3534" fmla="*/ 2423222 h 3363305"/>
                <a:gd name="connsiteX3535" fmla="*/ 803833 w 3320377"/>
                <a:gd name="connsiteY3535" fmla="*/ 2418658 h 3363305"/>
                <a:gd name="connsiteX3536" fmla="*/ 801549 w 3320377"/>
                <a:gd name="connsiteY3536" fmla="*/ 2414094 h 3363305"/>
                <a:gd name="connsiteX3537" fmla="*/ 801549 w 3320377"/>
                <a:gd name="connsiteY3537" fmla="*/ 2411812 h 3363305"/>
                <a:gd name="connsiteX3538" fmla="*/ 801549 w 3320377"/>
                <a:gd name="connsiteY3538" fmla="*/ 2409530 h 3363305"/>
                <a:gd name="connsiteX3539" fmla="*/ 801549 w 3320377"/>
                <a:gd name="connsiteY3539" fmla="*/ 2407248 h 3363305"/>
                <a:gd name="connsiteX3540" fmla="*/ 803833 w 3320377"/>
                <a:gd name="connsiteY3540" fmla="*/ 2404966 h 3363305"/>
                <a:gd name="connsiteX3541" fmla="*/ 803833 w 3320377"/>
                <a:gd name="connsiteY3541" fmla="*/ 2402684 h 3363305"/>
                <a:gd name="connsiteX3542" fmla="*/ 803833 w 3320377"/>
                <a:gd name="connsiteY3542" fmla="*/ 2400402 h 3363305"/>
                <a:gd name="connsiteX3543" fmla="*/ 803833 w 3320377"/>
                <a:gd name="connsiteY3543" fmla="*/ 2398121 h 3363305"/>
                <a:gd name="connsiteX3544" fmla="*/ 803833 w 3320377"/>
                <a:gd name="connsiteY3544" fmla="*/ 2395839 h 3363305"/>
                <a:gd name="connsiteX3545" fmla="*/ 803833 w 3320377"/>
                <a:gd name="connsiteY3545" fmla="*/ 2393557 h 3363305"/>
                <a:gd name="connsiteX3546" fmla="*/ 803833 w 3320377"/>
                <a:gd name="connsiteY3546" fmla="*/ 2391275 h 3363305"/>
                <a:gd name="connsiteX3547" fmla="*/ 803833 w 3320377"/>
                <a:gd name="connsiteY3547" fmla="*/ 2388993 h 3363305"/>
                <a:gd name="connsiteX3548" fmla="*/ 806116 w 3320377"/>
                <a:gd name="connsiteY3548" fmla="*/ 2386711 h 3363305"/>
                <a:gd name="connsiteX3549" fmla="*/ 806116 w 3320377"/>
                <a:gd name="connsiteY3549" fmla="*/ 2384429 h 3363305"/>
                <a:gd name="connsiteX3550" fmla="*/ 806116 w 3320377"/>
                <a:gd name="connsiteY3550" fmla="*/ 2382147 h 3363305"/>
                <a:gd name="connsiteX3551" fmla="*/ 808400 w 3320377"/>
                <a:gd name="connsiteY3551" fmla="*/ 2382147 h 3363305"/>
                <a:gd name="connsiteX3552" fmla="*/ 808400 w 3320377"/>
                <a:gd name="connsiteY3552" fmla="*/ 2379865 h 3363305"/>
                <a:gd name="connsiteX3553" fmla="*/ 810683 w 3320377"/>
                <a:gd name="connsiteY3553" fmla="*/ 2379865 h 3363305"/>
                <a:gd name="connsiteX3554" fmla="*/ 812967 w 3320377"/>
                <a:gd name="connsiteY3554" fmla="*/ 2379865 h 3363305"/>
                <a:gd name="connsiteX3555" fmla="*/ 815251 w 3320377"/>
                <a:gd name="connsiteY3555" fmla="*/ 2379865 h 3363305"/>
                <a:gd name="connsiteX3556" fmla="*/ 815251 w 3320377"/>
                <a:gd name="connsiteY3556" fmla="*/ 2377583 h 3363305"/>
                <a:gd name="connsiteX3557" fmla="*/ 819818 w 3320377"/>
                <a:gd name="connsiteY3557" fmla="*/ 2377583 h 3363305"/>
                <a:gd name="connsiteX3558" fmla="*/ 822102 w 3320377"/>
                <a:gd name="connsiteY3558" fmla="*/ 2377583 h 3363305"/>
                <a:gd name="connsiteX3559" fmla="*/ 822102 w 3320377"/>
                <a:gd name="connsiteY3559" fmla="*/ 2375302 h 3363305"/>
                <a:gd name="connsiteX3560" fmla="*/ 824385 w 3320377"/>
                <a:gd name="connsiteY3560" fmla="*/ 2375302 h 3363305"/>
                <a:gd name="connsiteX3561" fmla="*/ 826669 w 3320377"/>
                <a:gd name="connsiteY3561" fmla="*/ 2375302 h 3363305"/>
                <a:gd name="connsiteX3562" fmla="*/ 828952 w 3320377"/>
                <a:gd name="connsiteY3562" fmla="*/ 2375302 h 3363305"/>
                <a:gd name="connsiteX3563" fmla="*/ 828952 w 3320377"/>
                <a:gd name="connsiteY3563" fmla="*/ 2373020 h 3363305"/>
                <a:gd name="connsiteX3564" fmla="*/ 831236 w 3320377"/>
                <a:gd name="connsiteY3564" fmla="*/ 2375302 h 3363305"/>
                <a:gd name="connsiteX3565" fmla="*/ 831236 w 3320377"/>
                <a:gd name="connsiteY3565" fmla="*/ 2377583 h 3363305"/>
                <a:gd name="connsiteX3566" fmla="*/ 833520 w 3320377"/>
                <a:gd name="connsiteY3566" fmla="*/ 2377583 h 3363305"/>
                <a:gd name="connsiteX3567" fmla="*/ 833520 w 3320377"/>
                <a:gd name="connsiteY3567" fmla="*/ 2379865 h 3363305"/>
                <a:gd name="connsiteX3568" fmla="*/ 840370 w 3320377"/>
                <a:gd name="connsiteY3568" fmla="*/ 2388993 h 3363305"/>
                <a:gd name="connsiteX3569" fmla="*/ 840370 w 3320377"/>
                <a:gd name="connsiteY3569" fmla="*/ 2391275 h 3363305"/>
                <a:gd name="connsiteX3570" fmla="*/ 844938 w 3320377"/>
                <a:gd name="connsiteY3570" fmla="*/ 2393557 h 3363305"/>
                <a:gd name="connsiteX3571" fmla="*/ 844938 w 3320377"/>
                <a:gd name="connsiteY3571" fmla="*/ 2395839 h 3363305"/>
                <a:gd name="connsiteX3572" fmla="*/ 847222 w 3320377"/>
                <a:gd name="connsiteY3572" fmla="*/ 2398121 h 3363305"/>
                <a:gd name="connsiteX3573" fmla="*/ 847222 w 3320377"/>
                <a:gd name="connsiteY3573" fmla="*/ 2400402 h 3363305"/>
                <a:gd name="connsiteX3574" fmla="*/ 849505 w 3320377"/>
                <a:gd name="connsiteY3574" fmla="*/ 2400402 h 3363305"/>
                <a:gd name="connsiteX3575" fmla="*/ 849505 w 3320377"/>
                <a:gd name="connsiteY3575" fmla="*/ 2402684 h 3363305"/>
                <a:gd name="connsiteX3576" fmla="*/ 851789 w 3320377"/>
                <a:gd name="connsiteY3576" fmla="*/ 2404966 h 3363305"/>
                <a:gd name="connsiteX3577" fmla="*/ 851789 w 3320377"/>
                <a:gd name="connsiteY3577" fmla="*/ 2407248 h 3363305"/>
                <a:gd name="connsiteX3578" fmla="*/ 854072 w 3320377"/>
                <a:gd name="connsiteY3578" fmla="*/ 2409530 h 3363305"/>
                <a:gd name="connsiteX3579" fmla="*/ 856356 w 3320377"/>
                <a:gd name="connsiteY3579" fmla="*/ 2411812 h 3363305"/>
                <a:gd name="connsiteX3580" fmla="*/ 856356 w 3320377"/>
                <a:gd name="connsiteY3580" fmla="*/ 2414094 h 3363305"/>
                <a:gd name="connsiteX3581" fmla="*/ 858640 w 3320377"/>
                <a:gd name="connsiteY3581" fmla="*/ 2416376 h 3363305"/>
                <a:gd name="connsiteX3582" fmla="*/ 858640 w 3320377"/>
                <a:gd name="connsiteY3582" fmla="*/ 2418658 h 3363305"/>
                <a:gd name="connsiteX3583" fmla="*/ 860923 w 3320377"/>
                <a:gd name="connsiteY3583" fmla="*/ 2418658 h 3363305"/>
                <a:gd name="connsiteX3584" fmla="*/ 860923 w 3320377"/>
                <a:gd name="connsiteY3584" fmla="*/ 2420939 h 3363305"/>
                <a:gd name="connsiteX3585" fmla="*/ 863207 w 3320377"/>
                <a:gd name="connsiteY3585" fmla="*/ 2423222 h 3363305"/>
                <a:gd name="connsiteX3586" fmla="*/ 867774 w 3320377"/>
                <a:gd name="connsiteY3586" fmla="*/ 2423222 h 3363305"/>
                <a:gd name="connsiteX3587" fmla="*/ 872341 w 3320377"/>
                <a:gd name="connsiteY3587" fmla="*/ 2425503 h 3363305"/>
                <a:gd name="connsiteX3588" fmla="*/ 874625 w 3320377"/>
                <a:gd name="connsiteY3588" fmla="*/ 2425503 h 3363305"/>
                <a:gd name="connsiteX3589" fmla="*/ 879192 w 3320377"/>
                <a:gd name="connsiteY3589" fmla="*/ 2425503 h 3363305"/>
                <a:gd name="connsiteX3590" fmla="*/ 883759 w 3320377"/>
                <a:gd name="connsiteY3590" fmla="*/ 2425503 h 3363305"/>
                <a:gd name="connsiteX3591" fmla="*/ 888327 w 3320377"/>
                <a:gd name="connsiteY3591" fmla="*/ 2425503 h 3363305"/>
                <a:gd name="connsiteX3592" fmla="*/ 890610 w 3320377"/>
                <a:gd name="connsiteY3592" fmla="*/ 2425503 h 3363305"/>
                <a:gd name="connsiteX3593" fmla="*/ 892894 w 3320377"/>
                <a:gd name="connsiteY3593" fmla="*/ 2425503 h 3363305"/>
                <a:gd name="connsiteX3594" fmla="*/ 895177 w 3320377"/>
                <a:gd name="connsiteY3594" fmla="*/ 2425503 h 3363305"/>
                <a:gd name="connsiteX3595" fmla="*/ 897461 w 3320377"/>
                <a:gd name="connsiteY3595" fmla="*/ 2425503 h 3363305"/>
                <a:gd name="connsiteX3596" fmla="*/ 902028 w 3320377"/>
                <a:gd name="connsiteY3596" fmla="*/ 2425503 h 3363305"/>
                <a:gd name="connsiteX3597" fmla="*/ 902028 w 3320377"/>
                <a:gd name="connsiteY3597" fmla="*/ 2427785 h 3363305"/>
                <a:gd name="connsiteX3598" fmla="*/ 904312 w 3320377"/>
                <a:gd name="connsiteY3598" fmla="*/ 2430067 h 3363305"/>
                <a:gd name="connsiteX3599" fmla="*/ 906595 w 3320377"/>
                <a:gd name="connsiteY3599" fmla="*/ 2432349 h 3363305"/>
                <a:gd name="connsiteX3600" fmla="*/ 906595 w 3320377"/>
                <a:gd name="connsiteY3600" fmla="*/ 2434631 h 3363305"/>
                <a:gd name="connsiteX3601" fmla="*/ 908879 w 3320377"/>
                <a:gd name="connsiteY3601" fmla="*/ 2436913 h 3363305"/>
                <a:gd name="connsiteX3602" fmla="*/ 911163 w 3320377"/>
                <a:gd name="connsiteY3602" fmla="*/ 2439195 h 3363305"/>
                <a:gd name="connsiteX3603" fmla="*/ 911163 w 3320377"/>
                <a:gd name="connsiteY3603" fmla="*/ 2441477 h 3363305"/>
                <a:gd name="connsiteX3604" fmla="*/ 913446 w 3320377"/>
                <a:gd name="connsiteY3604" fmla="*/ 2443758 h 3363305"/>
                <a:gd name="connsiteX3605" fmla="*/ 915730 w 3320377"/>
                <a:gd name="connsiteY3605" fmla="*/ 2446040 h 3363305"/>
                <a:gd name="connsiteX3606" fmla="*/ 915730 w 3320377"/>
                <a:gd name="connsiteY3606" fmla="*/ 2448322 h 3363305"/>
                <a:gd name="connsiteX3607" fmla="*/ 915730 w 3320377"/>
                <a:gd name="connsiteY3607" fmla="*/ 2450604 h 3363305"/>
                <a:gd name="connsiteX3608" fmla="*/ 915730 w 3320377"/>
                <a:gd name="connsiteY3608" fmla="*/ 2452886 h 3363305"/>
                <a:gd name="connsiteX3609" fmla="*/ 915730 w 3320377"/>
                <a:gd name="connsiteY3609" fmla="*/ 2455168 h 3363305"/>
                <a:gd name="connsiteX3610" fmla="*/ 915730 w 3320377"/>
                <a:gd name="connsiteY3610" fmla="*/ 2457450 h 3363305"/>
                <a:gd name="connsiteX3611" fmla="*/ 915730 w 3320377"/>
                <a:gd name="connsiteY3611" fmla="*/ 2459732 h 3363305"/>
                <a:gd name="connsiteX3612" fmla="*/ 918013 w 3320377"/>
                <a:gd name="connsiteY3612" fmla="*/ 2462014 h 3363305"/>
                <a:gd name="connsiteX3613" fmla="*/ 918013 w 3320377"/>
                <a:gd name="connsiteY3613" fmla="*/ 2464295 h 3363305"/>
                <a:gd name="connsiteX3614" fmla="*/ 918013 w 3320377"/>
                <a:gd name="connsiteY3614" fmla="*/ 2466578 h 3363305"/>
                <a:gd name="connsiteX3615" fmla="*/ 920297 w 3320377"/>
                <a:gd name="connsiteY3615" fmla="*/ 2468859 h 3363305"/>
                <a:gd name="connsiteX3616" fmla="*/ 927149 w 3320377"/>
                <a:gd name="connsiteY3616" fmla="*/ 2473423 h 3363305"/>
                <a:gd name="connsiteX3617" fmla="*/ 929431 w 3320377"/>
                <a:gd name="connsiteY3617" fmla="*/ 2475705 h 3363305"/>
                <a:gd name="connsiteX3618" fmla="*/ 931715 w 3320377"/>
                <a:gd name="connsiteY3618" fmla="*/ 2477987 h 3363305"/>
                <a:gd name="connsiteX3619" fmla="*/ 936282 w 3320377"/>
                <a:gd name="connsiteY3619" fmla="*/ 2477987 h 3363305"/>
                <a:gd name="connsiteX3620" fmla="*/ 936282 w 3320377"/>
                <a:gd name="connsiteY3620" fmla="*/ 2480269 h 3363305"/>
                <a:gd name="connsiteX3621" fmla="*/ 938567 w 3320377"/>
                <a:gd name="connsiteY3621" fmla="*/ 2480269 h 3363305"/>
                <a:gd name="connsiteX3622" fmla="*/ 940850 w 3320377"/>
                <a:gd name="connsiteY3622" fmla="*/ 2482551 h 3363305"/>
                <a:gd name="connsiteX3623" fmla="*/ 943133 w 3320377"/>
                <a:gd name="connsiteY3623" fmla="*/ 2484833 h 3363305"/>
                <a:gd name="connsiteX3624" fmla="*/ 945416 w 3320377"/>
                <a:gd name="connsiteY3624" fmla="*/ 2484833 h 3363305"/>
                <a:gd name="connsiteX3625" fmla="*/ 947700 w 3320377"/>
                <a:gd name="connsiteY3625" fmla="*/ 2484833 h 3363305"/>
                <a:gd name="connsiteX3626" fmla="*/ 947700 w 3320377"/>
                <a:gd name="connsiteY3626" fmla="*/ 2487114 h 3363305"/>
                <a:gd name="connsiteX3627" fmla="*/ 952269 w 3320377"/>
                <a:gd name="connsiteY3627" fmla="*/ 2487114 h 3363305"/>
                <a:gd name="connsiteX3628" fmla="*/ 954553 w 3320377"/>
                <a:gd name="connsiteY3628" fmla="*/ 2487114 h 3363305"/>
                <a:gd name="connsiteX3629" fmla="*/ 956836 w 3320377"/>
                <a:gd name="connsiteY3629" fmla="*/ 2489396 h 3363305"/>
                <a:gd name="connsiteX3630" fmla="*/ 959120 w 3320377"/>
                <a:gd name="connsiteY3630" fmla="*/ 2489396 h 3363305"/>
                <a:gd name="connsiteX3631" fmla="*/ 961404 w 3320377"/>
                <a:gd name="connsiteY3631" fmla="*/ 2489396 h 3363305"/>
                <a:gd name="connsiteX3632" fmla="*/ 963687 w 3320377"/>
                <a:gd name="connsiteY3632" fmla="*/ 2491678 h 3363305"/>
                <a:gd name="connsiteX3633" fmla="*/ 968254 w 3320377"/>
                <a:gd name="connsiteY3633" fmla="*/ 2491678 h 3363305"/>
                <a:gd name="connsiteX3634" fmla="*/ 972822 w 3320377"/>
                <a:gd name="connsiteY3634" fmla="*/ 2491678 h 3363305"/>
                <a:gd name="connsiteX3635" fmla="*/ 975105 w 3320377"/>
                <a:gd name="connsiteY3635" fmla="*/ 2493960 h 3363305"/>
                <a:gd name="connsiteX3636" fmla="*/ 975105 w 3320377"/>
                <a:gd name="connsiteY3636" fmla="*/ 2496242 h 3363305"/>
                <a:gd name="connsiteX3637" fmla="*/ 975105 w 3320377"/>
                <a:gd name="connsiteY3637" fmla="*/ 2498524 h 3363305"/>
                <a:gd name="connsiteX3638" fmla="*/ 977389 w 3320377"/>
                <a:gd name="connsiteY3638" fmla="*/ 2500806 h 3363305"/>
                <a:gd name="connsiteX3639" fmla="*/ 977389 w 3320377"/>
                <a:gd name="connsiteY3639" fmla="*/ 2503088 h 3363305"/>
                <a:gd name="connsiteX3640" fmla="*/ 977389 w 3320377"/>
                <a:gd name="connsiteY3640" fmla="*/ 2507651 h 3363305"/>
                <a:gd name="connsiteX3641" fmla="*/ 977389 w 3320377"/>
                <a:gd name="connsiteY3641" fmla="*/ 2514497 h 3363305"/>
                <a:gd name="connsiteX3642" fmla="*/ 979672 w 3320377"/>
                <a:gd name="connsiteY3642" fmla="*/ 2516770 h 3363305"/>
                <a:gd name="connsiteX3643" fmla="*/ 979672 w 3320377"/>
                <a:gd name="connsiteY3643" fmla="*/ 2519051 h 3363305"/>
                <a:gd name="connsiteX3644" fmla="*/ 981956 w 3320377"/>
                <a:gd name="connsiteY3644" fmla="*/ 2539589 h 3363305"/>
                <a:gd name="connsiteX3645" fmla="*/ 981956 w 3320377"/>
                <a:gd name="connsiteY3645" fmla="*/ 2541870 h 3363305"/>
                <a:gd name="connsiteX3646" fmla="*/ 981956 w 3320377"/>
                <a:gd name="connsiteY3646" fmla="*/ 2544152 h 3363305"/>
                <a:gd name="connsiteX3647" fmla="*/ 952269 w 3320377"/>
                <a:gd name="connsiteY3647" fmla="*/ 2553280 h 3363305"/>
                <a:gd name="connsiteX3648" fmla="*/ 952269 w 3320377"/>
                <a:gd name="connsiteY3648" fmla="*/ 2555562 h 3363305"/>
                <a:gd name="connsiteX3649" fmla="*/ 956836 w 3320377"/>
                <a:gd name="connsiteY3649" fmla="*/ 2557844 h 3363305"/>
                <a:gd name="connsiteX3650" fmla="*/ 961404 w 3320377"/>
                <a:gd name="connsiteY3650" fmla="*/ 2560126 h 3363305"/>
                <a:gd name="connsiteX3651" fmla="*/ 965971 w 3320377"/>
                <a:gd name="connsiteY3651" fmla="*/ 2562407 h 3363305"/>
                <a:gd name="connsiteX3652" fmla="*/ 970538 w 3320377"/>
                <a:gd name="connsiteY3652" fmla="*/ 2564690 h 3363305"/>
                <a:gd name="connsiteX3653" fmla="*/ 975105 w 3320377"/>
                <a:gd name="connsiteY3653" fmla="*/ 2566971 h 3363305"/>
                <a:gd name="connsiteX3654" fmla="*/ 979672 w 3320377"/>
                <a:gd name="connsiteY3654" fmla="*/ 2569253 h 3363305"/>
                <a:gd name="connsiteX3655" fmla="*/ 984240 w 3320377"/>
                <a:gd name="connsiteY3655" fmla="*/ 2571535 h 3363305"/>
                <a:gd name="connsiteX3656" fmla="*/ 986523 w 3320377"/>
                <a:gd name="connsiteY3656" fmla="*/ 2571535 h 3363305"/>
                <a:gd name="connsiteX3657" fmla="*/ 988807 w 3320377"/>
                <a:gd name="connsiteY3657" fmla="*/ 2573817 h 3363305"/>
                <a:gd name="connsiteX3658" fmla="*/ 993374 w 3320377"/>
                <a:gd name="connsiteY3658" fmla="*/ 2576099 h 3363305"/>
                <a:gd name="connsiteX3659" fmla="*/ 988807 w 3320377"/>
                <a:gd name="connsiteY3659" fmla="*/ 2578381 h 3363305"/>
                <a:gd name="connsiteX3660" fmla="*/ 986523 w 3320377"/>
                <a:gd name="connsiteY3660" fmla="*/ 2580663 h 3363305"/>
                <a:gd name="connsiteX3661" fmla="*/ 984240 w 3320377"/>
                <a:gd name="connsiteY3661" fmla="*/ 2582945 h 3363305"/>
                <a:gd name="connsiteX3662" fmla="*/ 979672 w 3320377"/>
                <a:gd name="connsiteY3662" fmla="*/ 2582945 h 3363305"/>
                <a:gd name="connsiteX3663" fmla="*/ 977389 w 3320377"/>
                <a:gd name="connsiteY3663" fmla="*/ 2585226 h 3363305"/>
                <a:gd name="connsiteX3664" fmla="*/ 975105 w 3320377"/>
                <a:gd name="connsiteY3664" fmla="*/ 2587508 h 3363305"/>
                <a:gd name="connsiteX3665" fmla="*/ 972822 w 3320377"/>
                <a:gd name="connsiteY3665" fmla="*/ 2587508 h 3363305"/>
                <a:gd name="connsiteX3666" fmla="*/ 968254 w 3320377"/>
                <a:gd name="connsiteY3666" fmla="*/ 2592072 h 3363305"/>
                <a:gd name="connsiteX3667" fmla="*/ 968254 w 3320377"/>
                <a:gd name="connsiteY3667" fmla="*/ 2594354 h 3363305"/>
                <a:gd name="connsiteX3668" fmla="*/ 968254 w 3320377"/>
                <a:gd name="connsiteY3668" fmla="*/ 2596636 h 3363305"/>
                <a:gd name="connsiteX3669" fmla="*/ 968254 w 3320377"/>
                <a:gd name="connsiteY3669" fmla="*/ 2598918 h 3363305"/>
                <a:gd name="connsiteX3670" fmla="*/ 968254 w 3320377"/>
                <a:gd name="connsiteY3670" fmla="*/ 2603482 h 3363305"/>
                <a:gd name="connsiteX3671" fmla="*/ 968254 w 3320377"/>
                <a:gd name="connsiteY3671" fmla="*/ 2605763 h 3363305"/>
                <a:gd name="connsiteX3672" fmla="*/ 968254 w 3320377"/>
                <a:gd name="connsiteY3672" fmla="*/ 2608046 h 3363305"/>
                <a:gd name="connsiteX3673" fmla="*/ 968254 w 3320377"/>
                <a:gd name="connsiteY3673" fmla="*/ 2612609 h 3363305"/>
                <a:gd name="connsiteX3674" fmla="*/ 968254 w 3320377"/>
                <a:gd name="connsiteY3674" fmla="*/ 2614891 h 3363305"/>
                <a:gd name="connsiteX3675" fmla="*/ 968254 w 3320377"/>
                <a:gd name="connsiteY3675" fmla="*/ 2617173 h 3363305"/>
                <a:gd name="connsiteX3676" fmla="*/ 968254 w 3320377"/>
                <a:gd name="connsiteY3676" fmla="*/ 2619455 h 3363305"/>
                <a:gd name="connsiteX3677" fmla="*/ 968254 w 3320377"/>
                <a:gd name="connsiteY3677" fmla="*/ 2621737 h 3363305"/>
                <a:gd name="connsiteX3678" fmla="*/ 970538 w 3320377"/>
                <a:gd name="connsiteY3678" fmla="*/ 2621737 h 3363305"/>
                <a:gd name="connsiteX3679" fmla="*/ 970538 w 3320377"/>
                <a:gd name="connsiteY3679" fmla="*/ 2624019 h 3363305"/>
                <a:gd name="connsiteX3680" fmla="*/ 970538 w 3320377"/>
                <a:gd name="connsiteY3680" fmla="*/ 2626301 h 3363305"/>
                <a:gd name="connsiteX3681" fmla="*/ 979672 w 3320377"/>
                <a:gd name="connsiteY3681" fmla="*/ 2637710 h 3363305"/>
                <a:gd name="connsiteX3682" fmla="*/ 981956 w 3320377"/>
                <a:gd name="connsiteY3682" fmla="*/ 2639992 h 3363305"/>
                <a:gd name="connsiteX3683" fmla="*/ 981956 w 3320377"/>
                <a:gd name="connsiteY3683" fmla="*/ 2642274 h 3363305"/>
                <a:gd name="connsiteX3684" fmla="*/ 984240 w 3320377"/>
                <a:gd name="connsiteY3684" fmla="*/ 2646838 h 3363305"/>
                <a:gd name="connsiteX3685" fmla="*/ 986523 w 3320377"/>
                <a:gd name="connsiteY3685" fmla="*/ 2651402 h 3363305"/>
                <a:gd name="connsiteX3686" fmla="*/ 986523 w 3320377"/>
                <a:gd name="connsiteY3686" fmla="*/ 2653683 h 3363305"/>
                <a:gd name="connsiteX3687" fmla="*/ 986523 w 3320377"/>
                <a:gd name="connsiteY3687" fmla="*/ 2655965 h 3363305"/>
                <a:gd name="connsiteX3688" fmla="*/ 986523 w 3320377"/>
                <a:gd name="connsiteY3688" fmla="*/ 2658247 h 3363305"/>
                <a:gd name="connsiteX3689" fmla="*/ 986523 w 3320377"/>
                <a:gd name="connsiteY3689" fmla="*/ 2660529 h 3363305"/>
                <a:gd name="connsiteX3690" fmla="*/ 986523 w 3320377"/>
                <a:gd name="connsiteY3690" fmla="*/ 2662811 h 3363305"/>
                <a:gd name="connsiteX3691" fmla="*/ 986523 w 3320377"/>
                <a:gd name="connsiteY3691" fmla="*/ 2667375 h 3363305"/>
                <a:gd name="connsiteX3692" fmla="*/ 986523 w 3320377"/>
                <a:gd name="connsiteY3692" fmla="*/ 2669657 h 3363305"/>
                <a:gd name="connsiteX3693" fmla="*/ 986523 w 3320377"/>
                <a:gd name="connsiteY3693" fmla="*/ 2671939 h 3363305"/>
                <a:gd name="connsiteX3694" fmla="*/ 988807 w 3320377"/>
                <a:gd name="connsiteY3694" fmla="*/ 2674220 h 3363305"/>
                <a:gd name="connsiteX3695" fmla="*/ 988807 w 3320377"/>
                <a:gd name="connsiteY3695" fmla="*/ 2678775 h 3363305"/>
                <a:gd name="connsiteX3696" fmla="*/ 988807 w 3320377"/>
                <a:gd name="connsiteY3696" fmla="*/ 2681057 h 3363305"/>
                <a:gd name="connsiteX3697" fmla="*/ 988807 w 3320377"/>
                <a:gd name="connsiteY3697" fmla="*/ 2683338 h 3363305"/>
                <a:gd name="connsiteX3698" fmla="*/ 988807 w 3320377"/>
                <a:gd name="connsiteY3698" fmla="*/ 2685620 h 3363305"/>
                <a:gd name="connsiteX3699" fmla="*/ 988807 w 3320377"/>
                <a:gd name="connsiteY3699" fmla="*/ 2687902 h 3363305"/>
                <a:gd name="connsiteX3700" fmla="*/ 988807 w 3320377"/>
                <a:gd name="connsiteY3700" fmla="*/ 2690184 h 3363305"/>
                <a:gd name="connsiteX3701" fmla="*/ 988807 w 3320377"/>
                <a:gd name="connsiteY3701" fmla="*/ 2692466 h 3363305"/>
                <a:gd name="connsiteX3702" fmla="*/ 988807 w 3320377"/>
                <a:gd name="connsiteY3702" fmla="*/ 2694748 h 3363305"/>
                <a:gd name="connsiteX3703" fmla="*/ 988807 w 3320377"/>
                <a:gd name="connsiteY3703" fmla="*/ 2697030 h 3363305"/>
                <a:gd name="connsiteX3704" fmla="*/ 988807 w 3320377"/>
                <a:gd name="connsiteY3704" fmla="*/ 2699312 h 3363305"/>
                <a:gd name="connsiteX3705" fmla="*/ 988807 w 3320377"/>
                <a:gd name="connsiteY3705" fmla="*/ 2701594 h 3363305"/>
                <a:gd name="connsiteX3706" fmla="*/ 991090 w 3320377"/>
                <a:gd name="connsiteY3706" fmla="*/ 2701594 h 3363305"/>
                <a:gd name="connsiteX3707" fmla="*/ 991090 w 3320377"/>
                <a:gd name="connsiteY3707" fmla="*/ 2703875 h 3363305"/>
                <a:gd name="connsiteX3708" fmla="*/ 991090 w 3320377"/>
                <a:gd name="connsiteY3708" fmla="*/ 2706158 h 3363305"/>
                <a:gd name="connsiteX3709" fmla="*/ 993374 w 3320377"/>
                <a:gd name="connsiteY3709" fmla="*/ 2706158 h 3363305"/>
                <a:gd name="connsiteX3710" fmla="*/ 993374 w 3320377"/>
                <a:gd name="connsiteY3710" fmla="*/ 2708439 h 3363305"/>
                <a:gd name="connsiteX3711" fmla="*/ 993374 w 3320377"/>
                <a:gd name="connsiteY3711" fmla="*/ 2710721 h 3363305"/>
                <a:gd name="connsiteX3712" fmla="*/ 995657 w 3320377"/>
                <a:gd name="connsiteY3712" fmla="*/ 2713003 h 3363305"/>
                <a:gd name="connsiteX3713" fmla="*/ 995657 w 3320377"/>
                <a:gd name="connsiteY3713" fmla="*/ 2715285 h 3363305"/>
                <a:gd name="connsiteX3714" fmla="*/ 997941 w 3320377"/>
                <a:gd name="connsiteY3714" fmla="*/ 2715285 h 3363305"/>
                <a:gd name="connsiteX3715" fmla="*/ 997941 w 3320377"/>
                <a:gd name="connsiteY3715" fmla="*/ 2717567 h 3363305"/>
                <a:gd name="connsiteX3716" fmla="*/ 1000225 w 3320377"/>
                <a:gd name="connsiteY3716" fmla="*/ 2717567 h 3363305"/>
                <a:gd name="connsiteX3717" fmla="*/ 1002508 w 3320377"/>
                <a:gd name="connsiteY3717" fmla="*/ 2717567 h 3363305"/>
                <a:gd name="connsiteX3718" fmla="*/ 1004792 w 3320377"/>
                <a:gd name="connsiteY3718" fmla="*/ 2719849 h 3363305"/>
                <a:gd name="connsiteX3719" fmla="*/ 1007076 w 3320377"/>
                <a:gd name="connsiteY3719" fmla="*/ 2719849 h 3363305"/>
                <a:gd name="connsiteX3720" fmla="*/ 1009359 w 3320377"/>
                <a:gd name="connsiteY3720" fmla="*/ 2722131 h 3363305"/>
                <a:gd name="connsiteX3721" fmla="*/ 1011643 w 3320377"/>
                <a:gd name="connsiteY3721" fmla="*/ 2722131 h 3363305"/>
                <a:gd name="connsiteX3722" fmla="*/ 1013926 w 3320377"/>
                <a:gd name="connsiteY3722" fmla="*/ 2724413 h 3363305"/>
                <a:gd name="connsiteX3723" fmla="*/ 1011643 w 3320377"/>
                <a:gd name="connsiteY3723" fmla="*/ 2726695 h 3363305"/>
                <a:gd name="connsiteX3724" fmla="*/ 1011643 w 3320377"/>
                <a:gd name="connsiteY3724" fmla="*/ 2728976 h 3363305"/>
                <a:gd name="connsiteX3725" fmla="*/ 1009359 w 3320377"/>
                <a:gd name="connsiteY3725" fmla="*/ 2731258 h 3363305"/>
                <a:gd name="connsiteX3726" fmla="*/ 1009359 w 3320377"/>
                <a:gd name="connsiteY3726" fmla="*/ 2733540 h 3363305"/>
                <a:gd name="connsiteX3727" fmla="*/ 1009359 w 3320377"/>
                <a:gd name="connsiteY3727" fmla="*/ 2735822 h 3363305"/>
                <a:gd name="connsiteX3728" fmla="*/ 1007076 w 3320377"/>
                <a:gd name="connsiteY3728" fmla="*/ 2738104 h 3363305"/>
                <a:gd name="connsiteX3729" fmla="*/ 1007076 w 3320377"/>
                <a:gd name="connsiteY3729" fmla="*/ 2740386 h 3363305"/>
                <a:gd name="connsiteX3730" fmla="*/ 1004792 w 3320377"/>
                <a:gd name="connsiteY3730" fmla="*/ 2742668 h 3363305"/>
                <a:gd name="connsiteX3731" fmla="*/ 1004792 w 3320377"/>
                <a:gd name="connsiteY3731" fmla="*/ 2744950 h 3363305"/>
                <a:gd name="connsiteX3732" fmla="*/ 1007076 w 3320377"/>
                <a:gd name="connsiteY3732" fmla="*/ 2744950 h 3363305"/>
                <a:gd name="connsiteX3733" fmla="*/ 1007076 w 3320377"/>
                <a:gd name="connsiteY3733" fmla="*/ 2747231 h 3363305"/>
                <a:gd name="connsiteX3734" fmla="*/ 1009359 w 3320377"/>
                <a:gd name="connsiteY3734" fmla="*/ 2747231 h 3363305"/>
                <a:gd name="connsiteX3735" fmla="*/ 1011643 w 3320377"/>
                <a:gd name="connsiteY3735" fmla="*/ 2747231 h 3363305"/>
                <a:gd name="connsiteX3736" fmla="*/ 1011643 w 3320377"/>
                <a:gd name="connsiteY3736" fmla="*/ 2749514 h 3363305"/>
                <a:gd name="connsiteX3737" fmla="*/ 1013926 w 3320377"/>
                <a:gd name="connsiteY3737" fmla="*/ 2749514 h 3363305"/>
                <a:gd name="connsiteX3738" fmla="*/ 1016210 w 3320377"/>
                <a:gd name="connsiteY3738" fmla="*/ 2749514 h 3363305"/>
                <a:gd name="connsiteX3739" fmla="*/ 1016210 w 3320377"/>
                <a:gd name="connsiteY3739" fmla="*/ 2751795 h 3363305"/>
                <a:gd name="connsiteX3740" fmla="*/ 1018493 w 3320377"/>
                <a:gd name="connsiteY3740" fmla="*/ 2751795 h 3363305"/>
                <a:gd name="connsiteX3741" fmla="*/ 1018493 w 3320377"/>
                <a:gd name="connsiteY3741" fmla="*/ 2754077 h 3363305"/>
                <a:gd name="connsiteX3742" fmla="*/ 1020777 w 3320377"/>
                <a:gd name="connsiteY3742" fmla="*/ 2754077 h 3363305"/>
                <a:gd name="connsiteX3743" fmla="*/ 1020777 w 3320377"/>
                <a:gd name="connsiteY3743" fmla="*/ 2756359 h 3363305"/>
                <a:gd name="connsiteX3744" fmla="*/ 1023061 w 3320377"/>
                <a:gd name="connsiteY3744" fmla="*/ 2756359 h 3363305"/>
                <a:gd name="connsiteX3745" fmla="*/ 1023061 w 3320377"/>
                <a:gd name="connsiteY3745" fmla="*/ 2758641 h 3363305"/>
                <a:gd name="connsiteX3746" fmla="*/ 1023061 w 3320377"/>
                <a:gd name="connsiteY3746" fmla="*/ 2760923 h 3363305"/>
                <a:gd name="connsiteX3747" fmla="*/ 1025344 w 3320377"/>
                <a:gd name="connsiteY3747" fmla="*/ 2763205 h 3363305"/>
                <a:gd name="connsiteX3748" fmla="*/ 1023061 w 3320377"/>
                <a:gd name="connsiteY3748" fmla="*/ 2763205 h 3363305"/>
                <a:gd name="connsiteX3749" fmla="*/ 1023061 w 3320377"/>
                <a:gd name="connsiteY3749" fmla="*/ 2765487 h 3363305"/>
                <a:gd name="connsiteX3750" fmla="*/ 1023061 w 3320377"/>
                <a:gd name="connsiteY3750" fmla="*/ 2767769 h 3363305"/>
                <a:gd name="connsiteX3751" fmla="*/ 1025344 w 3320377"/>
                <a:gd name="connsiteY3751" fmla="*/ 2767769 h 3363305"/>
                <a:gd name="connsiteX3752" fmla="*/ 1025344 w 3320377"/>
                <a:gd name="connsiteY3752" fmla="*/ 2770051 h 3363305"/>
                <a:gd name="connsiteX3753" fmla="*/ 1027628 w 3320377"/>
                <a:gd name="connsiteY3753" fmla="*/ 2770051 h 3363305"/>
                <a:gd name="connsiteX3754" fmla="*/ 1027628 w 3320377"/>
                <a:gd name="connsiteY3754" fmla="*/ 2772332 h 3363305"/>
                <a:gd name="connsiteX3755" fmla="*/ 1027628 w 3320377"/>
                <a:gd name="connsiteY3755" fmla="*/ 2774614 h 3363305"/>
                <a:gd name="connsiteX3756" fmla="*/ 1027628 w 3320377"/>
                <a:gd name="connsiteY3756" fmla="*/ 2776896 h 3363305"/>
                <a:gd name="connsiteX3757" fmla="*/ 1027628 w 3320377"/>
                <a:gd name="connsiteY3757" fmla="*/ 2779178 h 3363305"/>
                <a:gd name="connsiteX3758" fmla="*/ 1027628 w 3320377"/>
                <a:gd name="connsiteY3758" fmla="*/ 2781460 h 3363305"/>
                <a:gd name="connsiteX3759" fmla="*/ 1027628 w 3320377"/>
                <a:gd name="connsiteY3759" fmla="*/ 2783742 h 3363305"/>
                <a:gd name="connsiteX3760" fmla="*/ 1027628 w 3320377"/>
                <a:gd name="connsiteY3760" fmla="*/ 2786024 h 3363305"/>
                <a:gd name="connsiteX3761" fmla="*/ 1027628 w 3320377"/>
                <a:gd name="connsiteY3761" fmla="*/ 2788306 h 3363305"/>
                <a:gd name="connsiteX3762" fmla="*/ 1027628 w 3320377"/>
                <a:gd name="connsiteY3762" fmla="*/ 2790588 h 3363305"/>
                <a:gd name="connsiteX3763" fmla="*/ 1025344 w 3320377"/>
                <a:gd name="connsiteY3763" fmla="*/ 2790588 h 3363305"/>
                <a:gd name="connsiteX3764" fmla="*/ 1025344 w 3320377"/>
                <a:gd name="connsiteY3764" fmla="*/ 2792870 h 3363305"/>
                <a:gd name="connsiteX3765" fmla="*/ 1025344 w 3320377"/>
                <a:gd name="connsiteY3765" fmla="*/ 2795151 h 3363305"/>
                <a:gd name="connsiteX3766" fmla="*/ 1023061 w 3320377"/>
                <a:gd name="connsiteY3766" fmla="*/ 2795151 h 3363305"/>
                <a:gd name="connsiteX3767" fmla="*/ 1023061 w 3320377"/>
                <a:gd name="connsiteY3767" fmla="*/ 2797433 h 3363305"/>
                <a:gd name="connsiteX3768" fmla="*/ 1023061 w 3320377"/>
                <a:gd name="connsiteY3768" fmla="*/ 2799715 h 3363305"/>
                <a:gd name="connsiteX3769" fmla="*/ 1023061 w 3320377"/>
                <a:gd name="connsiteY3769" fmla="*/ 2801997 h 3363305"/>
                <a:gd name="connsiteX3770" fmla="*/ 1023061 w 3320377"/>
                <a:gd name="connsiteY3770" fmla="*/ 2804279 h 3363305"/>
                <a:gd name="connsiteX3771" fmla="*/ 1020777 w 3320377"/>
                <a:gd name="connsiteY3771" fmla="*/ 2804279 h 3363305"/>
                <a:gd name="connsiteX3772" fmla="*/ 1020777 w 3320377"/>
                <a:gd name="connsiteY3772" fmla="*/ 2806561 h 3363305"/>
                <a:gd name="connsiteX3773" fmla="*/ 1018493 w 3320377"/>
                <a:gd name="connsiteY3773" fmla="*/ 2806561 h 3363305"/>
                <a:gd name="connsiteX3774" fmla="*/ 1018493 w 3320377"/>
                <a:gd name="connsiteY3774" fmla="*/ 2808843 h 3363305"/>
                <a:gd name="connsiteX3775" fmla="*/ 1020777 w 3320377"/>
                <a:gd name="connsiteY3775" fmla="*/ 2808843 h 3363305"/>
                <a:gd name="connsiteX3776" fmla="*/ 1023061 w 3320377"/>
                <a:gd name="connsiteY3776" fmla="*/ 2808843 h 3363305"/>
                <a:gd name="connsiteX3777" fmla="*/ 1023061 w 3320377"/>
                <a:gd name="connsiteY3777" fmla="*/ 2806561 h 3363305"/>
                <a:gd name="connsiteX3778" fmla="*/ 1025344 w 3320377"/>
                <a:gd name="connsiteY3778" fmla="*/ 2806561 h 3363305"/>
                <a:gd name="connsiteX3779" fmla="*/ 1027628 w 3320377"/>
                <a:gd name="connsiteY3779" fmla="*/ 2808843 h 3363305"/>
                <a:gd name="connsiteX3780" fmla="*/ 1029911 w 3320377"/>
                <a:gd name="connsiteY3780" fmla="*/ 2808843 h 3363305"/>
                <a:gd name="connsiteX3781" fmla="*/ 1029911 w 3320377"/>
                <a:gd name="connsiteY3781" fmla="*/ 2811125 h 3363305"/>
                <a:gd name="connsiteX3782" fmla="*/ 1032195 w 3320377"/>
                <a:gd name="connsiteY3782" fmla="*/ 2811125 h 3363305"/>
                <a:gd name="connsiteX3783" fmla="*/ 1034479 w 3320377"/>
                <a:gd name="connsiteY3783" fmla="*/ 2811125 h 3363305"/>
                <a:gd name="connsiteX3784" fmla="*/ 1036762 w 3320377"/>
                <a:gd name="connsiteY3784" fmla="*/ 2811125 h 3363305"/>
                <a:gd name="connsiteX3785" fmla="*/ 1039046 w 3320377"/>
                <a:gd name="connsiteY3785" fmla="*/ 2808843 h 3363305"/>
                <a:gd name="connsiteX3786" fmla="*/ 1041329 w 3320377"/>
                <a:gd name="connsiteY3786" fmla="*/ 2808843 h 3363305"/>
                <a:gd name="connsiteX3787" fmla="*/ 1041329 w 3320377"/>
                <a:gd name="connsiteY3787" fmla="*/ 2811125 h 3363305"/>
                <a:gd name="connsiteX3788" fmla="*/ 1043613 w 3320377"/>
                <a:gd name="connsiteY3788" fmla="*/ 2811125 h 3363305"/>
                <a:gd name="connsiteX3789" fmla="*/ 1043613 w 3320377"/>
                <a:gd name="connsiteY3789" fmla="*/ 2813407 h 3363305"/>
                <a:gd name="connsiteX3790" fmla="*/ 1045897 w 3320377"/>
                <a:gd name="connsiteY3790" fmla="*/ 2813407 h 3363305"/>
                <a:gd name="connsiteX3791" fmla="*/ 1045897 w 3320377"/>
                <a:gd name="connsiteY3791" fmla="*/ 2815688 h 3363305"/>
                <a:gd name="connsiteX3792" fmla="*/ 1043613 w 3320377"/>
                <a:gd name="connsiteY3792" fmla="*/ 2815688 h 3363305"/>
                <a:gd name="connsiteX3793" fmla="*/ 1043613 w 3320377"/>
                <a:gd name="connsiteY3793" fmla="*/ 2817970 h 3363305"/>
                <a:gd name="connsiteX3794" fmla="*/ 1041329 w 3320377"/>
                <a:gd name="connsiteY3794" fmla="*/ 2820252 h 3363305"/>
                <a:gd name="connsiteX3795" fmla="*/ 1041329 w 3320377"/>
                <a:gd name="connsiteY3795" fmla="*/ 2822534 h 3363305"/>
                <a:gd name="connsiteX3796" fmla="*/ 1041329 w 3320377"/>
                <a:gd name="connsiteY3796" fmla="*/ 2824816 h 3363305"/>
                <a:gd name="connsiteX3797" fmla="*/ 1039046 w 3320377"/>
                <a:gd name="connsiteY3797" fmla="*/ 2824816 h 3363305"/>
                <a:gd name="connsiteX3798" fmla="*/ 1039046 w 3320377"/>
                <a:gd name="connsiteY3798" fmla="*/ 2827088 h 3363305"/>
                <a:gd name="connsiteX3799" fmla="*/ 1036762 w 3320377"/>
                <a:gd name="connsiteY3799" fmla="*/ 2829370 h 3363305"/>
                <a:gd name="connsiteX3800" fmla="*/ 1036762 w 3320377"/>
                <a:gd name="connsiteY3800" fmla="*/ 2831652 h 3363305"/>
                <a:gd name="connsiteX3801" fmla="*/ 1036762 w 3320377"/>
                <a:gd name="connsiteY3801" fmla="*/ 2833934 h 3363305"/>
                <a:gd name="connsiteX3802" fmla="*/ 1039046 w 3320377"/>
                <a:gd name="connsiteY3802" fmla="*/ 2833934 h 3363305"/>
                <a:gd name="connsiteX3803" fmla="*/ 1041329 w 3320377"/>
                <a:gd name="connsiteY3803" fmla="*/ 2833934 h 3363305"/>
                <a:gd name="connsiteX3804" fmla="*/ 1041329 w 3320377"/>
                <a:gd name="connsiteY3804" fmla="*/ 2831652 h 3363305"/>
                <a:gd name="connsiteX3805" fmla="*/ 1043613 w 3320377"/>
                <a:gd name="connsiteY3805" fmla="*/ 2831652 h 3363305"/>
                <a:gd name="connsiteX3806" fmla="*/ 1045897 w 3320377"/>
                <a:gd name="connsiteY3806" fmla="*/ 2831652 h 3363305"/>
                <a:gd name="connsiteX3807" fmla="*/ 1048180 w 3320377"/>
                <a:gd name="connsiteY3807" fmla="*/ 2831652 h 3363305"/>
                <a:gd name="connsiteX3808" fmla="*/ 1048180 w 3320377"/>
                <a:gd name="connsiteY3808" fmla="*/ 2833934 h 3363305"/>
                <a:gd name="connsiteX3809" fmla="*/ 1048180 w 3320377"/>
                <a:gd name="connsiteY3809" fmla="*/ 2836216 h 3363305"/>
                <a:gd name="connsiteX3810" fmla="*/ 1050464 w 3320377"/>
                <a:gd name="connsiteY3810" fmla="*/ 2838498 h 3363305"/>
                <a:gd name="connsiteX3811" fmla="*/ 1050464 w 3320377"/>
                <a:gd name="connsiteY3811" fmla="*/ 2840780 h 3363305"/>
                <a:gd name="connsiteX3812" fmla="*/ 1050464 w 3320377"/>
                <a:gd name="connsiteY3812" fmla="*/ 2843062 h 3363305"/>
                <a:gd name="connsiteX3813" fmla="*/ 1048180 w 3320377"/>
                <a:gd name="connsiteY3813" fmla="*/ 2843062 h 3363305"/>
                <a:gd name="connsiteX3814" fmla="*/ 1048180 w 3320377"/>
                <a:gd name="connsiteY3814" fmla="*/ 2845343 h 3363305"/>
                <a:gd name="connsiteX3815" fmla="*/ 1048180 w 3320377"/>
                <a:gd name="connsiteY3815" fmla="*/ 2847626 h 3363305"/>
                <a:gd name="connsiteX3816" fmla="*/ 1045897 w 3320377"/>
                <a:gd name="connsiteY3816" fmla="*/ 2847626 h 3363305"/>
                <a:gd name="connsiteX3817" fmla="*/ 1045897 w 3320377"/>
                <a:gd name="connsiteY3817" fmla="*/ 2849907 h 3363305"/>
                <a:gd name="connsiteX3818" fmla="*/ 1045897 w 3320377"/>
                <a:gd name="connsiteY3818" fmla="*/ 2852189 h 3363305"/>
                <a:gd name="connsiteX3819" fmla="*/ 1043613 w 3320377"/>
                <a:gd name="connsiteY3819" fmla="*/ 2852189 h 3363305"/>
                <a:gd name="connsiteX3820" fmla="*/ 1043613 w 3320377"/>
                <a:gd name="connsiteY3820" fmla="*/ 2854471 h 3363305"/>
                <a:gd name="connsiteX3821" fmla="*/ 1045897 w 3320377"/>
                <a:gd name="connsiteY3821" fmla="*/ 2856753 h 3363305"/>
                <a:gd name="connsiteX3822" fmla="*/ 1045897 w 3320377"/>
                <a:gd name="connsiteY3822" fmla="*/ 2859035 h 3363305"/>
                <a:gd name="connsiteX3823" fmla="*/ 1048180 w 3320377"/>
                <a:gd name="connsiteY3823" fmla="*/ 2861317 h 3363305"/>
                <a:gd name="connsiteX3824" fmla="*/ 1048180 w 3320377"/>
                <a:gd name="connsiteY3824" fmla="*/ 2863599 h 3363305"/>
                <a:gd name="connsiteX3825" fmla="*/ 1048180 w 3320377"/>
                <a:gd name="connsiteY3825" fmla="*/ 2865881 h 3363305"/>
                <a:gd name="connsiteX3826" fmla="*/ 1045897 w 3320377"/>
                <a:gd name="connsiteY3826" fmla="*/ 2865881 h 3363305"/>
                <a:gd name="connsiteX3827" fmla="*/ 1045897 w 3320377"/>
                <a:gd name="connsiteY3827" fmla="*/ 2868163 h 3363305"/>
                <a:gd name="connsiteX3828" fmla="*/ 1045897 w 3320377"/>
                <a:gd name="connsiteY3828" fmla="*/ 2870444 h 3363305"/>
                <a:gd name="connsiteX3829" fmla="*/ 1041329 w 3320377"/>
                <a:gd name="connsiteY3829" fmla="*/ 2872726 h 3363305"/>
                <a:gd name="connsiteX3830" fmla="*/ 1039046 w 3320377"/>
                <a:gd name="connsiteY3830" fmla="*/ 2872726 h 3363305"/>
                <a:gd name="connsiteX3831" fmla="*/ 1041329 w 3320377"/>
                <a:gd name="connsiteY3831" fmla="*/ 2879572 h 3363305"/>
                <a:gd name="connsiteX3832" fmla="*/ 1045897 w 3320377"/>
                <a:gd name="connsiteY3832" fmla="*/ 2886418 h 3363305"/>
                <a:gd name="connsiteX3833" fmla="*/ 1045897 w 3320377"/>
                <a:gd name="connsiteY3833" fmla="*/ 2888700 h 3363305"/>
                <a:gd name="connsiteX3834" fmla="*/ 1048180 w 3320377"/>
                <a:gd name="connsiteY3834" fmla="*/ 2890982 h 3363305"/>
                <a:gd name="connsiteX3835" fmla="*/ 1050464 w 3320377"/>
                <a:gd name="connsiteY3835" fmla="*/ 2897827 h 3363305"/>
                <a:gd name="connsiteX3836" fmla="*/ 1052747 w 3320377"/>
                <a:gd name="connsiteY3836" fmla="*/ 2900109 h 3363305"/>
                <a:gd name="connsiteX3837" fmla="*/ 1055031 w 3320377"/>
                <a:gd name="connsiteY3837" fmla="*/ 2902391 h 3363305"/>
                <a:gd name="connsiteX3838" fmla="*/ 1057315 w 3320377"/>
                <a:gd name="connsiteY3838" fmla="*/ 2904673 h 3363305"/>
                <a:gd name="connsiteX3839" fmla="*/ 1055031 w 3320377"/>
                <a:gd name="connsiteY3839" fmla="*/ 2909237 h 3363305"/>
                <a:gd name="connsiteX3840" fmla="*/ 1052747 w 3320377"/>
                <a:gd name="connsiteY3840" fmla="*/ 2909237 h 3363305"/>
                <a:gd name="connsiteX3841" fmla="*/ 1050464 w 3320377"/>
                <a:gd name="connsiteY3841" fmla="*/ 2909237 h 3363305"/>
                <a:gd name="connsiteX3842" fmla="*/ 1048180 w 3320377"/>
                <a:gd name="connsiteY3842" fmla="*/ 2909237 h 3363305"/>
                <a:gd name="connsiteX3843" fmla="*/ 1048180 w 3320377"/>
                <a:gd name="connsiteY3843" fmla="*/ 2911519 h 3363305"/>
                <a:gd name="connsiteX3844" fmla="*/ 1045897 w 3320377"/>
                <a:gd name="connsiteY3844" fmla="*/ 2911519 h 3363305"/>
                <a:gd name="connsiteX3845" fmla="*/ 1045897 w 3320377"/>
                <a:gd name="connsiteY3845" fmla="*/ 2913800 h 3363305"/>
                <a:gd name="connsiteX3846" fmla="*/ 1048180 w 3320377"/>
                <a:gd name="connsiteY3846" fmla="*/ 2913800 h 3363305"/>
                <a:gd name="connsiteX3847" fmla="*/ 1048180 w 3320377"/>
                <a:gd name="connsiteY3847" fmla="*/ 2916082 h 3363305"/>
                <a:gd name="connsiteX3848" fmla="*/ 1045897 w 3320377"/>
                <a:gd name="connsiteY3848" fmla="*/ 2916082 h 3363305"/>
                <a:gd name="connsiteX3849" fmla="*/ 1045897 w 3320377"/>
                <a:gd name="connsiteY3849" fmla="*/ 2918364 h 3363305"/>
                <a:gd name="connsiteX3850" fmla="*/ 1048180 w 3320377"/>
                <a:gd name="connsiteY3850" fmla="*/ 2918364 h 3363305"/>
                <a:gd name="connsiteX3851" fmla="*/ 1050464 w 3320377"/>
                <a:gd name="connsiteY3851" fmla="*/ 2918364 h 3363305"/>
                <a:gd name="connsiteX3852" fmla="*/ 1050464 w 3320377"/>
                <a:gd name="connsiteY3852" fmla="*/ 2920646 h 3363305"/>
                <a:gd name="connsiteX3853" fmla="*/ 1052747 w 3320377"/>
                <a:gd name="connsiteY3853" fmla="*/ 2920646 h 3363305"/>
                <a:gd name="connsiteX3854" fmla="*/ 1055031 w 3320377"/>
                <a:gd name="connsiteY3854" fmla="*/ 2920646 h 3363305"/>
                <a:gd name="connsiteX3855" fmla="*/ 1055031 w 3320377"/>
                <a:gd name="connsiteY3855" fmla="*/ 2922928 h 3363305"/>
                <a:gd name="connsiteX3856" fmla="*/ 1052747 w 3320377"/>
                <a:gd name="connsiteY3856" fmla="*/ 2922928 h 3363305"/>
                <a:gd name="connsiteX3857" fmla="*/ 1052747 w 3320377"/>
                <a:gd name="connsiteY3857" fmla="*/ 2925210 h 3363305"/>
                <a:gd name="connsiteX3858" fmla="*/ 1052747 w 3320377"/>
                <a:gd name="connsiteY3858" fmla="*/ 2927492 h 3363305"/>
                <a:gd name="connsiteX3859" fmla="*/ 1050464 w 3320377"/>
                <a:gd name="connsiteY3859" fmla="*/ 2927492 h 3363305"/>
                <a:gd name="connsiteX3860" fmla="*/ 1050464 w 3320377"/>
                <a:gd name="connsiteY3860" fmla="*/ 2929774 h 3363305"/>
                <a:gd name="connsiteX3861" fmla="*/ 1048180 w 3320377"/>
                <a:gd name="connsiteY3861" fmla="*/ 2929774 h 3363305"/>
                <a:gd name="connsiteX3862" fmla="*/ 1045897 w 3320377"/>
                <a:gd name="connsiteY3862" fmla="*/ 2929774 h 3363305"/>
                <a:gd name="connsiteX3863" fmla="*/ 1045897 w 3320377"/>
                <a:gd name="connsiteY3863" fmla="*/ 2932056 h 3363305"/>
                <a:gd name="connsiteX3864" fmla="*/ 1043613 w 3320377"/>
                <a:gd name="connsiteY3864" fmla="*/ 2932056 h 3363305"/>
                <a:gd name="connsiteX3865" fmla="*/ 1043613 w 3320377"/>
                <a:gd name="connsiteY3865" fmla="*/ 2934338 h 3363305"/>
                <a:gd name="connsiteX3866" fmla="*/ 1043613 w 3320377"/>
                <a:gd name="connsiteY3866" fmla="*/ 2936619 h 3363305"/>
                <a:gd name="connsiteX3867" fmla="*/ 1041329 w 3320377"/>
                <a:gd name="connsiteY3867" fmla="*/ 2938901 h 3363305"/>
                <a:gd name="connsiteX3868" fmla="*/ 1039046 w 3320377"/>
                <a:gd name="connsiteY3868" fmla="*/ 2938901 h 3363305"/>
                <a:gd name="connsiteX3869" fmla="*/ 1036762 w 3320377"/>
                <a:gd name="connsiteY3869" fmla="*/ 2938901 h 3363305"/>
                <a:gd name="connsiteX3870" fmla="*/ 1036762 w 3320377"/>
                <a:gd name="connsiteY3870" fmla="*/ 2941183 h 3363305"/>
                <a:gd name="connsiteX3871" fmla="*/ 1036762 w 3320377"/>
                <a:gd name="connsiteY3871" fmla="*/ 2943465 h 3363305"/>
                <a:gd name="connsiteX3872" fmla="*/ 1034479 w 3320377"/>
                <a:gd name="connsiteY3872" fmla="*/ 2943465 h 3363305"/>
                <a:gd name="connsiteX3873" fmla="*/ 1034479 w 3320377"/>
                <a:gd name="connsiteY3873" fmla="*/ 2945747 h 3363305"/>
                <a:gd name="connsiteX3874" fmla="*/ 1036762 w 3320377"/>
                <a:gd name="connsiteY3874" fmla="*/ 2945747 h 3363305"/>
                <a:gd name="connsiteX3875" fmla="*/ 1036762 w 3320377"/>
                <a:gd name="connsiteY3875" fmla="*/ 2948029 h 3363305"/>
                <a:gd name="connsiteX3876" fmla="*/ 1036762 w 3320377"/>
                <a:gd name="connsiteY3876" fmla="*/ 2950311 h 3363305"/>
                <a:gd name="connsiteX3877" fmla="*/ 1039046 w 3320377"/>
                <a:gd name="connsiteY3877" fmla="*/ 2950311 h 3363305"/>
                <a:gd name="connsiteX3878" fmla="*/ 1039046 w 3320377"/>
                <a:gd name="connsiteY3878" fmla="*/ 2952593 h 3363305"/>
                <a:gd name="connsiteX3879" fmla="*/ 1036762 w 3320377"/>
                <a:gd name="connsiteY3879" fmla="*/ 2952593 h 3363305"/>
                <a:gd name="connsiteX3880" fmla="*/ 1036762 w 3320377"/>
                <a:gd name="connsiteY3880" fmla="*/ 2954875 h 3363305"/>
                <a:gd name="connsiteX3881" fmla="*/ 1036762 w 3320377"/>
                <a:gd name="connsiteY3881" fmla="*/ 2957156 h 3363305"/>
                <a:gd name="connsiteX3882" fmla="*/ 1036762 w 3320377"/>
                <a:gd name="connsiteY3882" fmla="*/ 2959438 h 3363305"/>
                <a:gd name="connsiteX3883" fmla="*/ 1039046 w 3320377"/>
                <a:gd name="connsiteY3883" fmla="*/ 2959438 h 3363305"/>
                <a:gd name="connsiteX3884" fmla="*/ 1041329 w 3320377"/>
                <a:gd name="connsiteY3884" fmla="*/ 2959438 h 3363305"/>
                <a:gd name="connsiteX3885" fmla="*/ 1043613 w 3320377"/>
                <a:gd name="connsiteY3885" fmla="*/ 2959438 h 3363305"/>
                <a:gd name="connsiteX3886" fmla="*/ 1045897 w 3320377"/>
                <a:gd name="connsiteY3886" fmla="*/ 2959438 h 3363305"/>
                <a:gd name="connsiteX3887" fmla="*/ 1048180 w 3320377"/>
                <a:gd name="connsiteY3887" fmla="*/ 2959438 h 3363305"/>
                <a:gd name="connsiteX3888" fmla="*/ 1050464 w 3320377"/>
                <a:gd name="connsiteY3888" fmla="*/ 2959438 h 3363305"/>
                <a:gd name="connsiteX3889" fmla="*/ 1050464 w 3320377"/>
                <a:gd name="connsiteY3889" fmla="*/ 2961720 h 3363305"/>
                <a:gd name="connsiteX3890" fmla="*/ 1052747 w 3320377"/>
                <a:gd name="connsiteY3890" fmla="*/ 2961720 h 3363305"/>
                <a:gd name="connsiteX3891" fmla="*/ 1055031 w 3320377"/>
                <a:gd name="connsiteY3891" fmla="*/ 2961720 h 3363305"/>
                <a:gd name="connsiteX3892" fmla="*/ 1057315 w 3320377"/>
                <a:gd name="connsiteY3892" fmla="*/ 2961720 h 3363305"/>
                <a:gd name="connsiteX3893" fmla="*/ 1057315 w 3320377"/>
                <a:gd name="connsiteY3893" fmla="*/ 2964002 h 3363305"/>
                <a:gd name="connsiteX3894" fmla="*/ 1059598 w 3320377"/>
                <a:gd name="connsiteY3894" fmla="*/ 2964002 h 3363305"/>
                <a:gd name="connsiteX3895" fmla="*/ 1061882 w 3320377"/>
                <a:gd name="connsiteY3895" fmla="*/ 2964002 h 3363305"/>
                <a:gd name="connsiteX3896" fmla="*/ 1064165 w 3320377"/>
                <a:gd name="connsiteY3896" fmla="*/ 2964002 h 3363305"/>
                <a:gd name="connsiteX3897" fmla="*/ 1064165 w 3320377"/>
                <a:gd name="connsiteY3897" fmla="*/ 2966284 h 3363305"/>
                <a:gd name="connsiteX3898" fmla="*/ 1066449 w 3320377"/>
                <a:gd name="connsiteY3898" fmla="*/ 2966284 h 3363305"/>
                <a:gd name="connsiteX3899" fmla="*/ 1068733 w 3320377"/>
                <a:gd name="connsiteY3899" fmla="*/ 2966284 h 3363305"/>
                <a:gd name="connsiteX3900" fmla="*/ 1068733 w 3320377"/>
                <a:gd name="connsiteY3900" fmla="*/ 2968566 h 3363305"/>
                <a:gd name="connsiteX3901" fmla="*/ 1071016 w 3320377"/>
                <a:gd name="connsiteY3901" fmla="*/ 2968566 h 3363305"/>
                <a:gd name="connsiteX3902" fmla="*/ 1073300 w 3320377"/>
                <a:gd name="connsiteY3902" fmla="*/ 2968566 h 3363305"/>
                <a:gd name="connsiteX3903" fmla="*/ 1075583 w 3320377"/>
                <a:gd name="connsiteY3903" fmla="*/ 2968566 h 3363305"/>
                <a:gd name="connsiteX3904" fmla="*/ 1077867 w 3320377"/>
                <a:gd name="connsiteY3904" fmla="*/ 2968566 h 3363305"/>
                <a:gd name="connsiteX3905" fmla="*/ 1080151 w 3320377"/>
                <a:gd name="connsiteY3905" fmla="*/ 2968566 h 3363305"/>
                <a:gd name="connsiteX3906" fmla="*/ 1080151 w 3320377"/>
                <a:gd name="connsiteY3906" fmla="*/ 2966284 h 3363305"/>
                <a:gd name="connsiteX3907" fmla="*/ 1082434 w 3320377"/>
                <a:gd name="connsiteY3907" fmla="*/ 2966284 h 3363305"/>
                <a:gd name="connsiteX3908" fmla="*/ 1082434 w 3320377"/>
                <a:gd name="connsiteY3908" fmla="*/ 2964002 h 3363305"/>
                <a:gd name="connsiteX3909" fmla="*/ 1084718 w 3320377"/>
                <a:gd name="connsiteY3909" fmla="*/ 2964002 h 3363305"/>
                <a:gd name="connsiteX3910" fmla="*/ 1084718 w 3320377"/>
                <a:gd name="connsiteY3910" fmla="*/ 2966284 h 3363305"/>
                <a:gd name="connsiteX3911" fmla="*/ 1087001 w 3320377"/>
                <a:gd name="connsiteY3911" fmla="*/ 2966284 h 3363305"/>
                <a:gd name="connsiteX3912" fmla="*/ 1087001 w 3320377"/>
                <a:gd name="connsiteY3912" fmla="*/ 2968566 h 3363305"/>
                <a:gd name="connsiteX3913" fmla="*/ 1089285 w 3320377"/>
                <a:gd name="connsiteY3913" fmla="*/ 2968566 h 3363305"/>
                <a:gd name="connsiteX3914" fmla="*/ 1091569 w 3320377"/>
                <a:gd name="connsiteY3914" fmla="*/ 2968566 h 3363305"/>
                <a:gd name="connsiteX3915" fmla="*/ 1093852 w 3320377"/>
                <a:gd name="connsiteY3915" fmla="*/ 2966284 h 3363305"/>
                <a:gd name="connsiteX3916" fmla="*/ 1096136 w 3320377"/>
                <a:gd name="connsiteY3916" fmla="*/ 2966284 h 3363305"/>
                <a:gd name="connsiteX3917" fmla="*/ 1098419 w 3320377"/>
                <a:gd name="connsiteY3917" fmla="*/ 2966284 h 3363305"/>
                <a:gd name="connsiteX3918" fmla="*/ 1100703 w 3320377"/>
                <a:gd name="connsiteY3918" fmla="*/ 2970848 h 3363305"/>
                <a:gd name="connsiteX3919" fmla="*/ 1100703 w 3320377"/>
                <a:gd name="connsiteY3919" fmla="*/ 2975412 h 3363305"/>
                <a:gd name="connsiteX3920" fmla="*/ 1100703 w 3320377"/>
                <a:gd name="connsiteY3920" fmla="*/ 2977694 h 3363305"/>
                <a:gd name="connsiteX3921" fmla="*/ 1102987 w 3320377"/>
                <a:gd name="connsiteY3921" fmla="*/ 2979975 h 3363305"/>
                <a:gd name="connsiteX3922" fmla="*/ 1102987 w 3320377"/>
                <a:gd name="connsiteY3922" fmla="*/ 2982257 h 3363305"/>
                <a:gd name="connsiteX3923" fmla="*/ 1105270 w 3320377"/>
                <a:gd name="connsiteY3923" fmla="*/ 2979975 h 3363305"/>
                <a:gd name="connsiteX3924" fmla="*/ 1107554 w 3320377"/>
                <a:gd name="connsiteY3924" fmla="*/ 2977694 h 3363305"/>
                <a:gd name="connsiteX3925" fmla="*/ 1107554 w 3320377"/>
                <a:gd name="connsiteY3925" fmla="*/ 2975412 h 3363305"/>
                <a:gd name="connsiteX3926" fmla="*/ 1109837 w 3320377"/>
                <a:gd name="connsiteY3926" fmla="*/ 2973130 h 3363305"/>
                <a:gd name="connsiteX3927" fmla="*/ 1112121 w 3320377"/>
                <a:gd name="connsiteY3927" fmla="*/ 2970848 h 3363305"/>
                <a:gd name="connsiteX3928" fmla="*/ 1114405 w 3320377"/>
                <a:gd name="connsiteY3928" fmla="*/ 2968566 h 3363305"/>
                <a:gd name="connsiteX3929" fmla="*/ 1114405 w 3320377"/>
                <a:gd name="connsiteY3929" fmla="*/ 2966284 h 3363305"/>
                <a:gd name="connsiteX3930" fmla="*/ 1116688 w 3320377"/>
                <a:gd name="connsiteY3930" fmla="*/ 2964002 h 3363305"/>
                <a:gd name="connsiteX3931" fmla="*/ 1118972 w 3320377"/>
                <a:gd name="connsiteY3931" fmla="*/ 2961720 h 3363305"/>
                <a:gd name="connsiteX3932" fmla="*/ 1121255 w 3320377"/>
                <a:gd name="connsiteY3932" fmla="*/ 2959438 h 3363305"/>
                <a:gd name="connsiteX3933" fmla="*/ 1121255 w 3320377"/>
                <a:gd name="connsiteY3933" fmla="*/ 2954875 h 3363305"/>
                <a:gd name="connsiteX3934" fmla="*/ 1123539 w 3320377"/>
                <a:gd name="connsiteY3934" fmla="*/ 2954875 h 3363305"/>
                <a:gd name="connsiteX3935" fmla="*/ 1128106 w 3320377"/>
                <a:gd name="connsiteY3935" fmla="*/ 2948029 h 3363305"/>
                <a:gd name="connsiteX3936" fmla="*/ 1128106 w 3320377"/>
                <a:gd name="connsiteY3936" fmla="*/ 2952593 h 3363305"/>
                <a:gd name="connsiteX3937" fmla="*/ 1128106 w 3320377"/>
                <a:gd name="connsiteY3937" fmla="*/ 2957156 h 3363305"/>
                <a:gd name="connsiteX3938" fmla="*/ 1128106 w 3320377"/>
                <a:gd name="connsiteY3938" fmla="*/ 2961720 h 3363305"/>
                <a:gd name="connsiteX3939" fmla="*/ 1128106 w 3320377"/>
                <a:gd name="connsiteY3939" fmla="*/ 2966284 h 3363305"/>
                <a:gd name="connsiteX3940" fmla="*/ 1125823 w 3320377"/>
                <a:gd name="connsiteY3940" fmla="*/ 2970848 h 3363305"/>
                <a:gd name="connsiteX3941" fmla="*/ 1125823 w 3320377"/>
                <a:gd name="connsiteY3941" fmla="*/ 2977694 h 3363305"/>
                <a:gd name="connsiteX3942" fmla="*/ 1123539 w 3320377"/>
                <a:gd name="connsiteY3942" fmla="*/ 2979975 h 3363305"/>
                <a:gd name="connsiteX3943" fmla="*/ 1123539 w 3320377"/>
                <a:gd name="connsiteY3943" fmla="*/ 2986821 h 3363305"/>
                <a:gd name="connsiteX3944" fmla="*/ 1123539 w 3320377"/>
                <a:gd name="connsiteY3944" fmla="*/ 2989094 h 3363305"/>
                <a:gd name="connsiteX3945" fmla="*/ 1125823 w 3320377"/>
                <a:gd name="connsiteY3945" fmla="*/ 2991375 h 3363305"/>
                <a:gd name="connsiteX3946" fmla="*/ 1128106 w 3320377"/>
                <a:gd name="connsiteY3946" fmla="*/ 2993657 h 3363305"/>
                <a:gd name="connsiteX3947" fmla="*/ 1130390 w 3320377"/>
                <a:gd name="connsiteY3947" fmla="*/ 2991375 h 3363305"/>
                <a:gd name="connsiteX3948" fmla="*/ 1130390 w 3320377"/>
                <a:gd name="connsiteY3948" fmla="*/ 2989094 h 3363305"/>
                <a:gd name="connsiteX3949" fmla="*/ 1134957 w 3320377"/>
                <a:gd name="connsiteY3949" fmla="*/ 2989094 h 3363305"/>
                <a:gd name="connsiteX3950" fmla="*/ 1141808 w 3320377"/>
                <a:gd name="connsiteY3950" fmla="*/ 2993657 h 3363305"/>
                <a:gd name="connsiteX3951" fmla="*/ 1144091 w 3320377"/>
                <a:gd name="connsiteY3951" fmla="*/ 2995939 h 3363305"/>
                <a:gd name="connsiteX3952" fmla="*/ 1144091 w 3320377"/>
                <a:gd name="connsiteY3952" fmla="*/ 2998221 h 3363305"/>
                <a:gd name="connsiteX3953" fmla="*/ 1146375 w 3320377"/>
                <a:gd name="connsiteY3953" fmla="*/ 3002785 h 3363305"/>
                <a:gd name="connsiteX3954" fmla="*/ 1146375 w 3320377"/>
                <a:gd name="connsiteY3954" fmla="*/ 3007349 h 3363305"/>
                <a:gd name="connsiteX3955" fmla="*/ 1148658 w 3320377"/>
                <a:gd name="connsiteY3955" fmla="*/ 3007349 h 3363305"/>
                <a:gd name="connsiteX3956" fmla="*/ 1150942 w 3320377"/>
                <a:gd name="connsiteY3956" fmla="*/ 3009631 h 3363305"/>
                <a:gd name="connsiteX3957" fmla="*/ 1153226 w 3320377"/>
                <a:gd name="connsiteY3957" fmla="*/ 3011913 h 3363305"/>
                <a:gd name="connsiteX3958" fmla="*/ 1155509 w 3320377"/>
                <a:gd name="connsiteY3958" fmla="*/ 3011913 h 3363305"/>
                <a:gd name="connsiteX3959" fmla="*/ 1155509 w 3320377"/>
                <a:gd name="connsiteY3959" fmla="*/ 3014194 h 3363305"/>
                <a:gd name="connsiteX3960" fmla="*/ 1157793 w 3320377"/>
                <a:gd name="connsiteY3960" fmla="*/ 3014194 h 3363305"/>
                <a:gd name="connsiteX3961" fmla="*/ 1157793 w 3320377"/>
                <a:gd name="connsiteY3961" fmla="*/ 3016476 h 3363305"/>
                <a:gd name="connsiteX3962" fmla="*/ 1160076 w 3320377"/>
                <a:gd name="connsiteY3962" fmla="*/ 3018758 h 3363305"/>
                <a:gd name="connsiteX3963" fmla="*/ 1162360 w 3320377"/>
                <a:gd name="connsiteY3963" fmla="*/ 3018758 h 3363305"/>
                <a:gd name="connsiteX3964" fmla="*/ 1162360 w 3320377"/>
                <a:gd name="connsiteY3964" fmla="*/ 3016476 h 3363305"/>
                <a:gd name="connsiteX3965" fmla="*/ 1164644 w 3320377"/>
                <a:gd name="connsiteY3965" fmla="*/ 3016476 h 3363305"/>
                <a:gd name="connsiteX3966" fmla="*/ 1166927 w 3320377"/>
                <a:gd name="connsiteY3966" fmla="*/ 3014194 h 3363305"/>
                <a:gd name="connsiteX3967" fmla="*/ 1166927 w 3320377"/>
                <a:gd name="connsiteY3967" fmla="*/ 3011913 h 3363305"/>
                <a:gd name="connsiteX3968" fmla="*/ 1169211 w 3320377"/>
                <a:gd name="connsiteY3968" fmla="*/ 3007349 h 3363305"/>
                <a:gd name="connsiteX3969" fmla="*/ 1171494 w 3320377"/>
                <a:gd name="connsiteY3969" fmla="*/ 3007349 h 3363305"/>
                <a:gd name="connsiteX3970" fmla="*/ 1173778 w 3320377"/>
                <a:gd name="connsiteY3970" fmla="*/ 3007349 h 3363305"/>
                <a:gd name="connsiteX3971" fmla="*/ 1178345 w 3320377"/>
                <a:gd name="connsiteY3971" fmla="*/ 3009631 h 3363305"/>
                <a:gd name="connsiteX3972" fmla="*/ 1178345 w 3320377"/>
                <a:gd name="connsiteY3972" fmla="*/ 3011913 h 3363305"/>
                <a:gd name="connsiteX3973" fmla="*/ 1180629 w 3320377"/>
                <a:gd name="connsiteY3973" fmla="*/ 3011913 h 3363305"/>
                <a:gd name="connsiteX3974" fmla="*/ 1185196 w 3320377"/>
                <a:gd name="connsiteY3974" fmla="*/ 3014194 h 3363305"/>
                <a:gd name="connsiteX3975" fmla="*/ 1185196 w 3320377"/>
                <a:gd name="connsiteY3975" fmla="*/ 3016476 h 3363305"/>
                <a:gd name="connsiteX3976" fmla="*/ 1187480 w 3320377"/>
                <a:gd name="connsiteY3976" fmla="*/ 3018758 h 3363305"/>
                <a:gd name="connsiteX3977" fmla="*/ 1189763 w 3320377"/>
                <a:gd name="connsiteY3977" fmla="*/ 3018758 h 3363305"/>
                <a:gd name="connsiteX3978" fmla="*/ 1189763 w 3320377"/>
                <a:gd name="connsiteY3978" fmla="*/ 3021040 h 3363305"/>
                <a:gd name="connsiteX3979" fmla="*/ 1192047 w 3320377"/>
                <a:gd name="connsiteY3979" fmla="*/ 3021040 h 3363305"/>
                <a:gd name="connsiteX3980" fmla="*/ 1194330 w 3320377"/>
                <a:gd name="connsiteY3980" fmla="*/ 3025604 h 3363305"/>
                <a:gd name="connsiteX3981" fmla="*/ 1196614 w 3320377"/>
                <a:gd name="connsiteY3981" fmla="*/ 3027886 h 3363305"/>
                <a:gd name="connsiteX3982" fmla="*/ 1198898 w 3320377"/>
                <a:gd name="connsiteY3982" fmla="*/ 3027886 h 3363305"/>
                <a:gd name="connsiteX3983" fmla="*/ 1201181 w 3320377"/>
                <a:gd name="connsiteY3983" fmla="*/ 3027886 h 3363305"/>
                <a:gd name="connsiteX3984" fmla="*/ 1203465 w 3320377"/>
                <a:gd name="connsiteY3984" fmla="*/ 3027886 h 3363305"/>
                <a:gd name="connsiteX3985" fmla="*/ 1203465 w 3320377"/>
                <a:gd name="connsiteY3985" fmla="*/ 3030168 h 3363305"/>
                <a:gd name="connsiteX3986" fmla="*/ 1203465 w 3320377"/>
                <a:gd name="connsiteY3986" fmla="*/ 3032450 h 3363305"/>
                <a:gd name="connsiteX3987" fmla="*/ 1203465 w 3320377"/>
                <a:gd name="connsiteY3987" fmla="*/ 3034731 h 3363305"/>
                <a:gd name="connsiteX3988" fmla="*/ 1205748 w 3320377"/>
                <a:gd name="connsiteY3988" fmla="*/ 3034731 h 3363305"/>
                <a:gd name="connsiteX3989" fmla="*/ 1203465 w 3320377"/>
                <a:gd name="connsiteY3989" fmla="*/ 3043859 h 3363305"/>
                <a:gd name="connsiteX3990" fmla="*/ 1205748 w 3320377"/>
                <a:gd name="connsiteY3990" fmla="*/ 3048423 h 3363305"/>
                <a:gd name="connsiteX3991" fmla="*/ 1210316 w 3320377"/>
                <a:gd name="connsiteY3991" fmla="*/ 3037013 h 3363305"/>
                <a:gd name="connsiteX3992" fmla="*/ 1212599 w 3320377"/>
                <a:gd name="connsiteY3992" fmla="*/ 3032450 h 3363305"/>
                <a:gd name="connsiteX3993" fmla="*/ 1212599 w 3320377"/>
                <a:gd name="connsiteY3993" fmla="*/ 3037013 h 3363305"/>
                <a:gd name="connsiteX3994" fmla="*/ 1214883 w 3320377"/>
                <a:gd name="connsiteY3994" fmla="*/ 3043859 h 3363305"/>
                <a:gd name="connsiteX3995" fmla="*/ 1214883 w 3320377"/>
                <a:gd name="connsiteY3995" fmla="*/ 3046141 h 3363305"/>
                <a:gd name="connsiteX3996" fmla="*/ 1212599 w 3320377"/>
                <a:gd name="connsiteY3996" fmla="*/ 3048423 h 3363305"/>
                <a:gd name="connsiteX3997" fmla="*/ 1212599 w 3320377"/>
                <a:gd name="connsiteY3997" fmla="*/ 3050705 h 3363305"/>
                <a:gd name="connsiteX3998" fmla="*/ 1208032 w 3320377"/>
                <a:gd name="connsiteY3998" fmla="*/ 3050705 h 3363305"/>
                <a:gd name="connsiteX3999" fmla="*/ 1205748 w 3320377"/>
                <a:gd name="connsiteY3999" fmla="*/ 3052987 h 3363305"/>
                <a:gd name="connsiteX4000" fmla="*/ 1203465 w 3320377"/>
                <a:gd name="connsiteY4000" fmla="*/ 3057550 h 3363305"/>
                <a:gd name="connsiteX4001" fmla="*/ 1201181 w 3320377"/>
                <a:gd name="connsiteY4001" fmla="*/ 3057550 h 3363305"/>
                <a:gd name="connsiteX4002" fmla="*/ 1203465 w 3320377"/>
                <a:gd name="connsiteY4002" fmla="*/ 3059832 h 3363305"/>
                <a:gd name="connsiteX4003" fmla="*/ 1205748 w 3320377"/>
                <a:gd name="connsiteY4003" fmla="*/ 3064396 h 3363305"/>
                <a:gd name="connsiteX4004" fmla="*/ 1212599 w 3320377"/>
                <a:gd name="connsiteY4004" fmla="*/ 3071242 h 3363305"/>
                <a:gd name="connsiteX4005" fmla="*/ 1210316 w 3320377"/>
                <a:gd name="connsiteY4005" fmla="*/ 3075806 h 3363305"/>
                <a:gd name="connsiteX4006" fmla="*/ 1210316 w 3320377"/>
                <a:gd name="connsiteY4006" fmla="*/ 3080369 h 3363305"/>
                <a:gd name="connsiteX4007" fmla="*/ 1212599 w 3320377"/>
                <a:gd name="connsiteY4007" fmla="*/ 3082651 h 3363305"/>
                <a:gd name="connsiteX4008" fmla="*/ 1210316 w 3320377"/>
                <a:gd name="connsiteY4008" fmla="*/ 3082651 h 3363305"/>
                <a:gd name="connsiteX4009" fmla="*/ 1210316 w 3320377"/>
                <a:gd name="connsiteY4009" fmla="*/ 3084933 h 3363305"/>
                <a:gd name="connsiteX4010" fmla="*/ 1212599 w 3320377"/>
                <a:gd name="connsiteY4010" fmla="*/ 3084933 h 3363305"/>
                <a:gd name="connsiteX4011" fmla="*/ 1212599 w 3320377"/>
                <a:gd name="connsiteY4011" fmla="*/ 3087215 h 3363305"/>
                <a:gd name="connsiteX4012" fmla="*/ 1210316 w 3320377"/>
                <a:gd name="connsiteY4012" fmla="*/ 3089497 h 3363305"/>
                <a:gd name="connsiteX4013" fmla="*/ 1210316 w 3320377"/>
                <a:gd name="connsiteY4013" fmla="*/ 3091779 h 3363305"/>
                <a:gd name="connsiteX4014" fmla="*/ 1208032 w 3320377"/>
                <a:gd name="connsiteY4014" fmla="*/ 3091779 h 3363305"/>
                <a:gd name="connsiteX4015" fmla="*/ 1208032 w 3320377"/>
                <a:gd name="connsiteY4015" fmla="*/ 3094061 h 3363305"/>
                <a:gd name="connsiteX4016" fmla="*/ 1208032 w 3320377"/>
                <a:gd name="connsiteY4016" fmla="*/ 3096343 h 3363305"/>
                <a:gd name="connsiteX4017" fmla="*/ 1208032 w 3320377"/>
                <a:gd name="connsiteY4017" fmla="*/ 3098625 h 3363305"/>
                <a:gd name="connsiteX4018" fmla="*/ 1210316 w 3320377"/>
                <a:gd name="connsiteY4018" fmla="*/ 3098625 h 3363305"/>
                <a:gd name="connsiteX4019" fmla="*/ 1212599 w 3320377"/>
                <a:gd name="connsiteY4019" fmla="*/ 3098625 h 3363305"/>
                <a:gd name="connsiteX4020" fmla="*/ 1210316 w 3320377"/>
                <a:gd name="connsiteY4020" fmla="*/ 3100907 h 3363305"/>
                <a:gd name="connsiteX4021" fmla="*/ 1208032 w 3320377"/>
                <a:gd name="connsiteY4021" fmla="*/ 3103188 h 3363305"/>
                <a:gd name="connsiteX4022" fmla="*/ 1201181 w 3320377"/>
                <a:gd name="connsiteY4022" fmla="*/ 3107752 h 3363305"/>
                <a:gd name="connsiteX4023" fmla="*/ 1198898 w 3320377"/>
                <a:gd name="connsiteY4023" fmla="*/ 3107752 h 3363305"/>
                <a:gd name="connsiteX4024" fmla="*/ 1189763 w 3320377"/>
                <a:gd name="connsiteY4024" fmla="*/ 3114598 h 3363305"/>
                <a:gd name="connsiteX4025" fmla="*/ 1182912 w 3320377"/>
                <a:gd name="connsiteY4025" fmla="*/ 3119162 h 3363305"/>
                <a:gd name="connsiteX4026" fmla="*/ 1182912 w 3320377"/>
                <a:gd name="connsiteY4026" fmla="*/ 3121443 h 3363305"/>
                <a:gd name="connsiteX4027" fmla="*/ 1185196 w 3320377"/>
                <a:gd name="connsiteY4027" fmla="*/ 3126007 h 3363305"/>
                <a:gd name="connsiteX4028" fmla="*/ 1189763 w 3320377"/>
                <a:gd name="connsiteY4028" fmla="*/ 3139689 h 3363305"/>
                <a:gd name="connsiteX4029" fmla="*/ 1189763 w 3320377"/>
                <a:gd name="connsiteY4029" fmla="*/ 3144253 h 3363305"/>
                <a:gd name="connsiteX4030" fmla="*/ 1192047 w 3320377"/>
                <a:gd name="connsiteY4030" fmla="*/ 3146535 h 3363305"/>
                <a:gd name="connsiteX4031" fmla="*/ 1192047 w 3320377"/>
                <a:gd name="connsiteY4031" fmla="*/ 3148817 h 3363305"/>
                <a:gd name="connsiteX4032" fmla="*/ 1194330 w 3320377"/>
                <a:gd name="connsiteY4032" fmla="*/ 3151099 h 3363305"/>
                <a:gd name="connsiteX4033" fmla="*/ 1194330 w 3320377"/>
                <a:gd name="connsiteY4033" fmla="*/ 3153381 h 3363305"/>
                <a:gd name="connsiteX4034" fmla="*/ 1196614 w 3320377"/>
                <a:gd name="connsiteY4034" fmla="*/ 3155662 h 3363305"/>
                <a:gd name="connsiteX4035" fmla="*/ 1196614 w 3320377"/>
                <a:gd name="connsiteY4035" fmla="*/ 3157944 h 3363305"/>
                <a:gd name="connsiteX4036" fmla="*/ 1198898 w 3320377"/>
                <a:gd name="connsiteY4036" fmla="*/ 3157944 h 3363305"/>
                <a:gd name="connsiteX4037" fmla="*/ 1198898 w 3320377"/>
                <a:gd name="connsiteY4037" fmla="*/ 3160226 h 3363305"/>
                <a:gd name="connsiteX4038" fmla="*/ 1201181 w 3320377"/>
                <a:gd name="connsiteY4038" fmla="*/ 3162508 h 3363305"/>
                <a:gd name="connsiteX4039" fmla="*/ 1203465 w 3320377"/>
                <a:gd name="connsiteY4039" fmla="*/ 3164790 h 3363305"/>
                <a:gd name="connsiteX4040" fmla="*/ 1203465 w 3320377"/>
                <a:gd name="connsiteY4040" fmla="*/ 3167072 h 3363305"/>
                <a:gd name="connsiteX4041" fmla="*/ 1205748 w 3320377"/>
                <a:gd name="connsiteY4041" fmla="*/ 3167072 h 3363305"/>
                <a:gd name="connsiteX4042" fmla="*/ 1205748 w 3320377"/>
                <a:gd name="connsiteY4042" fmla="*/ 3169354 h 3363305"/>
                <a:gd name="connsiteX4043" fmla="*/ 1205748 w 3320377"/>
                <a:gd name="connsiteY4043" fmla="*/ 3171636 h 3363305"/>
                <a:gd name="connsiteX4044" fmla="*/ 1208032 w 3320377"/>
                <a:gd name="connsiteY4044" fmla="*/ 3171636 h 3363305"/>
                <a:gd name="connsiteX4045" fmla="*/ 1208032 w 3320377"/>
                <a:gd name="connsiteY4045" fmla="*/ 3173918 h 3363305"/>
                <a:gd name="connsiteX4046" fmla="*/ 1208032 w 3320377"/>
                <a:gd name="connsiteY4046" fmla="*/ 3176199 h 3363305"/>
                <a:gd name="connsiteX4047" fmla="*/ 1210316 w 3320377"/>
                <a:gd name="connsiteY4047" fmla="*/ 3176199 h 3363305"/>
                <a:gd name="connsiteX4048" fmla="*/ 1210316 w 3320377"/>
                <a:gd name="connsiteY4048" fmla="*/ 3178482 h 3363305"/>
                <a:gd name="connsiteX4049" fmla="*/ 1212599 w 3320377"/>
                <a:gd name="connsiteY4049" fmla="*/ 3178482 h 3363305"/>
                <a:gd name="connsiteX4050" fmla="*/ 1212599 w 3320377"/>
                <a:gd name="connsiteY4050" fmla="*/ 3180763 h 3363305"/>
                <a:gd name="connsiteX4051" fmla="*/ 1212599 w 3320377"/>
                <a:gd name="connsiteY4051" fmla="*/ 3183045 h 3363305"/>
                <a:gd name="connsiteX4052" fmla="*/ 1214883 w 3320377"/>
                <a:gd name="connsiteY4052" fmla="*/ 3183045 h 3363305"/>
                <a:gd name="connsiteX4053" fmla="*/ 1214883 w 3320377"/>
                <a:gd name="connsiteY4053" fmla="*/ 3185327 h 3363305"/>
                <a:gd name="connsiteX4054" fmla="*/ 1214883 w 3320377"/>
                <a:gd name="connsiteY4054" fmla="*/ 3187609 h 3363305"/>
                <a:gd name="connsiteX4055" fmla="*/ 1217166 w 3320377"/>
                <a:gd name="connsiteY4055" fmla="*/ 3189891 h 3363305"/>
                <a:gd name="connsiteX4056" fmla="*/ 1217166 w 3320377"/>
                <a:gd name="connsiteY4056" fmla="*/ 3192173 h 3363305"/>
                <a:gd name="connsiteX4057" fmla="*/ 1219450 w 3320377"/>
                <a:gd name="connsiteY4057" fmla="*/ 3192173 h 3363305"/>
                <a:gd name="connsiteX4058" fmla="*/ 1221734 w 3320377"/>
                <a:gd name="connsiteY4058" fmla="*/ 3192173 h 3363305"/>
                <a:gd name="connsiteX4059" fmla="*/ 1224017 w 3320377"/>
                <a:gd name="connsiteY4059" fmla="*/ 3192173 h 3363305"/>
                <a:gd name="connsiteX4060" fmla="*/ 1224017 w 3320377"/>
                <a:gd name="connsiteY4060" fmla="*/ 3194455 h 3363305"/>
                <a:gd name="connsiteX4061" fmla="*/ 1224017 w 3320377"/>
                <a:gd name="connsiteY4061" fmla="*/ 3196737 h 3363305"/>
                <a:gd name="connsiteX4062" fmla="*/ 1226301 w 3320377"/>
                <a:gd name="connsiteY4062" fmla="*/ 3196737 h 3363305"/>
                <a:gd name="connsiteX4063" fmla="*/ 1219450 w 3320377"/>
                <a:gd name="connsiteY4063" fmla="*/ 3203582 h 3363305"/>
                <a:gd name="connsiteX4064" fmla="*/ 1219450 w 3320377"/>
                <a:gd name="connsiteY4064" fmla="*/ 3219555 h 3363305"/>
                <a:gd name="connsiteX4065" fmla="*/ 1217166 w 3320377"/>
                <a:gd name="connsiteY4065" fmla="*/ 3230965 h 3363305"/>
                <a:gd name="connsiteX4066" fmla="*/ 1219450 w 3320377"/>
                <a:gd name="connsiteY4066" fmla="*/ 3237811 h 3363305"/>
                <a:gd name="connsiteX4067" fmla="*/ 1224017 w 3320377"/>
                <a:gd name="connsiteY4067" fmla="*/ 3249220 h 3363305"/>
                <a:gd name="connsiteX4068" fmla="*/ 1230868 w 3320377"/>
                <a:gd name="connsiteY4068" fmla="*/ 3262911 h 3363305"/>
                <a:gd name="connsiteX4069" fmla="*/ 1235435 w 3320377"/>
                <a:gd name="connsiteY4069" fmla="*/ 3274321 h 3363305"/>
                <a:gd name="connsiteX4070" fmla="*/ 1237719 w 3320377"/>
                <a:gd name="connsiteY4070" fmla="*/ 3272039 h 3363305"/>
                <a:gd name="connsiteX4071" fmla="*/ 1242286 w 3320377"/>
                <a:gd name="connsiteY4071" fmla="*/ 3269757 h 3363305"/>
                <a:gd name="connsiteX4072" fmla="*/ 1244569 w 3320377"/>
                <a:gd name="connsiteY4072" fmla="*/ 3269757 h 3363305"/>
                <a:gd name="connsiteX4073" fmla="*/ 1246853 w 3320377"/>
                <a:gd name="connsiteY4073" fmla="*/ 3267475 h 3363305"/>
                <a:gd name="connsiteX4074" fmla="*/ 1249137 w 3320377"/>
                <a:gd name="connsiteY4074" fmla="*/ 3265194 h 3363305"/>
                <a:gd name="connsiteX4075" fmla="*/ 1251420 w 3320377"/>
                <a:gd name="connsiteY4075" fmla="*/ 3265194 h 3363305"/>
                <a:gd name="connsiteX4076" fmla="*/ 1253704 w 3320377"/>
                <a:gd name="connsiteY4076" fmla="*/ 3262911 h 3363305"/>
                <a:gd name="connsiteX4077" fmla="*/ 1255988 w 3320377"/>
                <a:gd name="connsiteY4077" fmla="*/ 3262911 h 3363305"/>
                <a:gd name="connsiteX4078" fmla="*/ 1255988 w 3320377"/>
                <a:gd name="connsiteY4078" fmla="*/ 3260630 h 3363305"/>
                <a:gd name="connsiteX4079" fmla="*/ 1258271 w 3320377"/>
                <a:gd name="connsiteY4079" fmla="*/ 3260630 h 3363305"/>
                <a:gd name="connsiteX4080" fmla="*/ 1258271 w 3320377"/>
                <a:gd name="connsiteY4080" fmla="*/ 3258348 h 3363305"/>
                <a:gd name="connsiteX4081" fmla="*/ 1260555 w 3320377"/>
                <a:gd name="connsiteY4081" fmla="*/ 3256066 h 3363305"/>
                <a:gd name="connsiteX4082" fmla="*/ 1260555 w 3320377"/>
                <a:gd name="connsiteY4082" fmla="*/ 3253784 h 3363305"/>
                <a:gd name="connsiteX4083" fmla="*/ 1260555 w 3320377"/>
                <a:gd name="connsiteY4083" fmla="*/ 3251502 h 3363305"/>
                <a:gd name="connsiteX4084" fmla="*/ 1260555 w 3320377"/>
                <a:gd name="connsiteY4084" fmla="*/ 3244656 h 3363305"/>
                <a:gd name="connsiteX4085" fmla="*/ 1260555 w 3320377"/>
                <a:gd name="connsiteY4085" fmla="*/ 3242375 h 3363305"/>
                <a:gd name="connsiteX4086" fmla="*/ 1260555 w 3320377"/>
                <a:gd name="connsiteY4086" fmla="*/ 3240093 h 3363305"/>
                <a:gd name="connsiteX4087" fmla="*/ 1262838 w 3320377"/>
                <a:gd name="connsiteY4087" fmla="*/ 3237811 h 3363305"/>
                <a:gd name="connsiteX4088" fmla="*/ 1262838 w 3320377"/>
                <a:gd name="connsiteY4088" fmla="*/ 3233247 h 3363305"/>
                <a:gd name="connsiteX4089" fmla="*/ 1262838 w 3320377"/>
                <a:gd name="connsiteY4089" fmla="*/ 3230965 h 3363305"/>
                <a:gd name="connsiteX4090" fmla="*/ 1262838 w 3320377"/>
                <a:gd name="connsiteY4090" fmla="*/ 3228683 h 3363305"/>
                <a:gd name="connsiteX4091" fmla="*/ 1260555 w 3320377"/>
                <a:gd name="connsiteY4091" fmla="*/ 3226401 h 3363305"/>
                <a:gd name="connsiteX4092" fmla="*/ 1260555 w 3320377"/>
                <a:gd name="connsiteY4092" fmla="*/ 3221838 h 3363305"/>
                <a:gd name="connsiteX4093" fmla="*/ 1260555 w 3320377"/>
                <a:gd name="connsiteY4093" fmla="*/ 3219555 h 3363305"/>
                <a:gd name="connsiteX4094" fmla="*/ 1260555 w 3320377"/>
                <a:gd name="connsiteY4094" fmla="*/ 3214992 h 3363305"/>
                <a:gd name="connsiteX4095" fmla="*/ 1262838 w 3320377"/>
                <a:gd name="connsiteY4095" fmla="*/ 3212710 h 3363305"/>
                <a:gd name="connsiteX4096" fmla="*/ 1262838 w 3320377"/>
                <a:gd name="connsiteY4096" fmla="*/ 3210428 h 3363305"/>
                <a:gd name="connsiteX4097" fmla="*/ 1262838 w 3320377"/>
                <a:gd name="connsiteY4097" fmla="*/ 3208146 h 3363305"/>
                <a:gd name="connsiteX4098" fmla="*/ 1265122 w 3320377"/>
                <a:gd name="connsiteY4098" fmla="*/ 3203582 h 3363305"/>
                <a:gd name="connsiteX4099" fmla="*/ 1265122 w 3320377"/>
                <a:gd name="connsiteY4099" fmla="*/ 3201300 h 3363305"/>
                <a:gd name="connsiteX4100" fmla="*/ 1265122 w 3320377"/>
                <a:gd name="connsiteY4100" fmla="*/ 3196737 h 3363305"/>
                <a:gd name="connsiteX4101" fmla="*/ 1262838 w 3320377"/>
                <a:gd name="connsiteY4101" fmla="*/ 3192173 h 3363305"/>
                <a:gd name="connsiteX4102" fmla="*/ 1262838 w 3320377"/>
                <a:gd name="connsiteY4102" fmla="*/ 3187609 h 3363305"/>
                <a:gd name="connsiteX4103" fmla="*/ 1265122 w 3320377"/>
                <a:gd name="connsiteY4103" fmla="*/ 3185327 h 3363305"/>
                <a:gd name="connsiteX4104" fmla="*/ 1267406 w 3320377"/>
                <a:gd name="connsiteY4104" fmla="*/ 3183045 h 3363305"/>
                <a:gd name="connsiteX4105" fmla="*/ 1267406 w 3320377"/>
                <a:gd name="connsiteY4105" fmla="*/ 3180763 h 3363305"/>
                <a:gd name="connsiteX4106" fmla="*/ 1269689 w 3320377"/>
                <a:gd name="connsiteY4106" fmla="*/ 3180763 h 3363305"/>
                <a:gd name="connsiteX4107" fmla="*/ 1269689 w 3320377"/>
                <a:gd name="connsiteY4107" fmla="*/ 3178482 h 3363305"/>
                <a:gd name="connsiteX4108" fmla="*/ 1271973 w 3320377"/>
                <a:gd name="connsiteY4108" fmla="*/ 3176199 h 3363305"/>
                <a:gd name="connsiteX4109" fmla="*/ 1274256 w 3320377"/>
                <a:gd name="connsiteY4109" fmla="*/ 3173918 h 3363305"/>
                <a:gd name="connsiteX4110" fmla="*/ 1278823 w 3320377"/>
                <a:gd name="connsiteY4110" fmla="*/ 3180763 h 3363305"/>
                <a:gd name="connsiteX4111" fmla="*/ 1283391 w 3320377"/>
                <a:gd name="connsiteY4111" fmla="*/ 3183045 h 3363305"/>
                <a:gd name="connsiteX4112" fmla="*/ 1285674 w 3320377"/>
                <a:gd name="connsiteY4112" fmla="*/ 3183045 h 3363305"/>
                <a:gd name="connsiteX4113" fmla="*/ 1287958 w 3320377"/>
                <a:gd name="connsiteY4113" fmla="*/ 3180763 h 3363305"/>
                <a:gd name="connsiteX4114" fmla="*/ 1290241 w 3320377"/>
                <a:gd name="connsiteY4114" fmla="*/ 3180763 h 3363305"/>
                <a:gd name="connsiteX4115" fmla="*/ 1292525 w 3320377"/>
                <a:gd name="connsiteY4115" fmla="*/ 3178482 h 3363305"/>
                <a:gd name="connsiteX4116" fmla="*/ 1294809 w 3320377"/>
                <a:gd name="connsiteY4116" fmla="*/ 3176199 h 3363305"/>
                <a:gd name="connsiteX4117" fmla="*/ 1297092 w 3320377"/>
                <a:gd name="connsiteY4117" fmla="*/ 3173918 h 3363305"/>
                <a:gd name="connsiteX4118" fmla="*/ 1299376 w 3320377"/>
                <a:gd name="connsiteY4118" fmla="*/ 3173918 h 3363305"/>
                <a:gd name="connsiteX4119" fmla="*/ 1297092 w 3320377"/>
                <a:gd name="connsiteY4119" fmla="*/ 3171636 h 3363305"/>
                <a:gd name="connsiteX4120" fmla="*/ 1294809 w 3320377"/>
                <a:gd name="connsiteY4120" fmla="*/ 3169354 h 3363305"/>
                <a:gd name="connsiteX4121" fmla="*/ 1292525 w 3320377"/>
                <a:gd name="connsiteY4121" fmla="*/ 3167072 h 3363305"/>
                <a:gd name="connsiteX4122" fmla="*/ 1290241 w 3320377"/>
                <a:gd name="connsiteY4122" fmla="*/ 3164790 h 3363305"/>
                <a:gd name="connsiteX4123" fmla="*/ 1299376 w 3320377"/>
                <a:gd name="connsiteY4123" fmla="*/ 3160226 h 3363305"/>
                <a:gd name="connsiteX4124" fmla="*/ 1299376 w 3320377"/>
                <a:gd name="connsiteY4124" fmla="*/ 3155662 h 3363305"/>
                <a:gd name="connsiteX4125" fmla="*/ 1299376 w 3320377"/>
                <a:gd name="connsiteY4125" fmla="*/ 3151099 h 3363305"/>
                <a:gd name="connsiteX4126" fmla="*/ 1310794 w 3320377"/>
                <a:gd name="connsiteY4126" fmla="*/ 3160226 h 3363305"/>
                <a:gd name="connsiteX4127" fmla="*/ 1315361 w 3320377"/>
                <a:gd name="connsiteY4127" fmla="*/ 3157944 h 3363305"/>
                <a:gd name="connsiteX4128" fmla="*/ 1317645 w 3320377"/>
                <a:gd name="connsiteY4128" fmla="*/ 3155662 h 3363305"/>
                <a:gd name="connsiteX4129" fmla="*/ 1319928 w 3320377"/>
                <a:gd name="connsiteY4129" fmla="*/ 3155662 h 3363305"/>
                <a:gd name="connsiteX4130" fmla="*/ 1322212 w 3320377"/>
                <a:gd name="connsiteY4130" fmla="*/ 3153381 h 3363305"/>
                <a:gd name="connsiteX4131" fmla="*/ 1324495 w 3320377"/>
                <a:gd name="connsiteY4131" fmla="*/ 3153381 h 3363305"/>
                <a:gd name="connsiteX4132" fmla="*/ 1324495 w 3320377"/>
                <a:gd name="connsiteY4132" fmla="*/ 3151099 h 3363305"/>
                <a:gd name="connsiteX4133" fmla="*/ 1324495 w 3320377"/>
                <a:gd name="connsiteY4133" fmla="*/ 3148817 h 3363305"/>
                <a:gd name="connsiteX4134" fmla="*/ 1324495 w 3320377"/>
                <a:gd name="connsiteY4134" fmla="*/ 3146535 h 3363305"/>
                <a:gd name="connsiteX4135" fmla="*/ 1326779 w 3320377"/>
                <a:gd name="connsiteY4135" fmla="*/ 3144253 h 3363305"/>
                <a:gd name="connsiteX4136" fmla="*/ 1326779 w 3320377"/>
                <a:gd name="connsiteY4136" fmla="*/ 3141971 h 3363305"/>
                <a:gd name="connsiteX4137" fmla="*/ 1326779 w 3320377"/>
                <a:gd name="connsiteY4137" fmla="*/ 3139689 h 3363305"/>
                <a:gd name="connsiteX4138" fmla="*/ 1329063 w 3320377"/>
                <a:gd name="connsiteY4138" fmla="*/ 3137417 h 3363305"/>
                <a:gd name="connsiteX4139" fmla="*/ 1329063 w 3320377"/>
                <a:gd name="connsiteY4139" fmla="*/ 3139689 h 3363305"/>
                <a:gd name="connsiteX4140" fmla="*/ 1333630 w 3320377"/>
                <a:gd name="connsiteY4140" fmla="*/ 3139689 h 3363305"/>
                <a:gd name="connsiteX4141" fmla="*/ 1335913 w 3320377"/>
                <a:gd name="connsiteY4141" fmla="*/ 3139689 h 3363305"/>
                <a:gd name="connsiteX4142" fmla="*/ 1338197 w 3320377"/>
                <a:gd name="connsiteY4142" fmla="*/ 3139689 h 3363305"/>
                <a:gd name="connsiteX4143" fmla="*/ 1340481 w 3320377"/>
                <a:gd name="connsiteY4143" fmla="*/ 3141971 h 3363305"/>
                <a:gd name="connsiteX4144" fmla="*/ 1342764 w 3320377"/>
                <a:gd name="connsiteY4144" fmla="*/ 3141971 h 3363305"/>
                <a:gd name="connsiteX4145" fmla="*/ 1345048 w 3320377"/>
                <a:gd name="connsiteY4145" fmla="*/ 3144253 h 3363305"/>
                <a:gd name="connsiteX4146" fmla="*/ 1347331 w 3320377"/>
                <a:gd name="connsiteY4146" fmla="*/ 3146535 h 3363305"/>
                <a:gd name="connsiteX4147" fmla="*/ 1349615 w 3320377"/>
                <a:gd name="connsiteY4147" fmla="*/ 3146535 h 3363305"/>
                <a:gd name="connsiteX4148" fmla="*/ 1354182 w 3320377"/>
                <a:gd name="connsiteY4148" fmla="*/ 3144253 h 3363305"/>
                <a:gd name="connsiteX4149" fmla="*/ 1356466 w 3320377"/>
                <a:gd name="connsiteY4149" fmla="*/ 3144253 h 3363305"/>
                <a:gd name="connsiteX4150" fmla="*/ 1361033 w 3320377"/>
                <a:gd name="connsiteY4150" fmla="*/ 3144253 h 3363305"/>
                <a:gd name="connsiteX4151" fmla="*/ 1363317 w 3320377"/>
                <a:gd name="connsiteY4151" fmla="*/ 3144253 h 3363305"/>
                <a:gd name="connsiteX4152" fmla="*/ 1365600 w 3320377"/>
                <a:gd name="connsiteY4152" fmla="*/ 3144253 h 3363305"/>
                <a:gd name="connsiteX4153" fmla="*/ 1370167 w 3320377"/>
                <a:gd name="connsiteY4153" fmla="*/ 3141971 h 3363305"/>
                <a:gd name="connsiteX4154" fmla="*/ 1379302 w 3320377"/>
                <a:gd name="connsiteY4154" fmla="*/ 3130571 h 3363305"/>
                <a:gd name="connsiteX4155" fmla="*/ 1381585 w 3320377"/>
                <a:gd name="connsiteY4155" fmla="*/ 3130571 h 3363305"/>
                <a:gd name="connsiteX4156" fmla="*/ 1383869 w 3320377"/>
                <a:gd name="connsiteY4156" fmla="*/ 3128289 h 3363305"/>
                <a:gd name="connsiteX4157" fmla="*/ 1388436 w 3320377"/>
                <a:gd name="connsiteY4157" fmla="*/ 3126007 h 3363305"/>
                <a:gd name="connsiteX4158" fmla="*/ 1390720 w 3320377"/>
                <a:gd name="connsiteY4158" fmla="*/ 3123725 h 3363305"/>
                <a:gd name="connsiteX4159" fmla="*/ 1393003 w 3320377"/>
                <a:gd name="connsiteY4159" fmla="*/ 3121443 h 3363305"/>
                <a:gd name="connsiteX4160" fmla="*/ 1395287 w 3320377"/>
                <a:gd name="connsiteY4160" fmla="*/ 3119162 h 3363305"/>
                <a:gd name="connsiteX4161" fmla="*/ 1395287 w 3320377"/>
                <a:gd name="connsiteY4161" fmla="*/ 3116880 h 3363305"/>
                <a:gd name="connsiteX4162" fmla="*/ 1397570 w 3320377"/>
                <a:gd name="connsiteY4162" fmla="*/ 3114598 h 3363305"/>
                <a:gd name="connsiteX4163" fmla="*/ 1399854 w 3320377"/>
                <a:gd name="connsiteY4163" fmla="*/ 3112316 h 3363305"/>
                <a:gd name="connsiteX4164" fmla="*/ 1399854 w 3320377"/>
                <a:gd name="connsiteY4164" fmla="*/ 3110034 h 3363305"/>
                <a:gd name="connsiteX4165" fmla="*/ 1402138 w 3320377"/>
                <a:gd name="connsiteY4165" fmla="*/ 3107752 h 3363305"/>
                <a:gd name="connsiteX4166" fmla="*/ 1404421 w 3320377"/>
                <a:gd name="connsiteY4166" fmla="*/ 3107752 h 3363305"/>
                <a:gd name="connsiteX4167" fmla="*/ 1404421 w 3320377"/>
                <a:gd name="connsiteY4167" fmla="*/ 3105470 h 3363305"/>
                <a:gd name="connsiteX4168" fmla="*/ 1404421 w 3320377"/>
                <a:gd name="connsiteY4168" fmla="*/ 3103188 h 3363305"/>
                <a:gd name="connsiteX4169" fmla="*/ 1404421 w 3320377"/>
                <a:gd name="connsiteY4169" fmla="*/ 3100907 h 3363305"/>
                <a:gd name="connsiteX4170" fmla="*/ 1406705 w 3320377"/>
                <a:gd name="connsiteY4170" fmla="*/ 3098625 h 3363305"/>
                <a:gd name="connsiteX4171" fmla="*/ 1406705 w 3320377"/>
                <a:gd name="connsiteY4171" fmla="*/ 3087215 h 3363305"/>
                <a:gd name="connsiteX4172" fmla="*/ 1408988 w 3320377"/>
                <a:gd name="connsiteY4172" fmla="*/ 3087215 h 3363305"/>
                <a:gd name="connsiteX4173" fmla="*/ 1411272 w 3320377"/>
                <a:gd name="connsiteY4173" fmla="*/ 3087215 h 3363305"/>
                <a:gd name="connsiteX4174" fmla="*/ 1413556 w 3320377"/>
                <a:gd name="connsiteY4174" fmla="*/ 3087215 h 3363305"/>
                <a:gd name="connsiteX4175" fmla="*/ 1418123 w 3320377"/>
                <a:gd name="connsiteY4175" fmla="*/ 3087215 h 3363305"/>
                <a:gd name="connsiteX4176" fmla="*/ 1418123 w 3320377"/>
                <a:gd name="connsiteY4176" fmla="*/ 3084933 h 3363305"/>
                <a:gd name="connsiteX4177" fmla="*/ 1420406 w 3320377"/>
                <a:gd name="connsiteY4177" fmla="*/ 3087215 h 3363305"/>
                <a:gd name="connsiteX4178" fmla="*/ 1422690 w 3320377"/>
                <a:gd name="connsiteY4178" fmla="*/ 3087215 h 3363305"/>
                <a:gd name="connsiteX4179" fmla="*/ 1422690 w 3320377"/>
                <a:gd name="connsiteY4179" fmla="*/ 3084933 h 3363305"/>
                <a:gd name="connsiteX4180" fmla="*/ 1422690 w 3320377"/>
                <a:gd name="connsiteY4180" fmla="*/ 3082651 h 3363305"/>
                <a:gd name="connsiteX4181" fmla="*/ 1424974 w 3320377"/>
                <a:gd name="connsiteY4181" fmla="*/ 3082651 h 3363305"/>
                <a:gd name="connsiteX4182" fmla="*/ 1424974 w 3320377"/>
                <a:gd name="connsiteY4182" fmla="*/ 3080369 h 3363305"/>
                <a:gd name="connsiteX4183" fmla="*/ 1427257 w 3320377"/>
                <a:gd name="connsiteY4183" fmla="*/ 3078087 h 3363305"/>
                <a:gd name="connsiteX4184" fmla="*/ 1427257 w 3320377"/>
                <a:gd name="connsiteY4184" fmla="*/ 3075806 h 3363305"/>
                <a:gd name="connsiteX4185" fmla="*/ 1427257 w 3320377"/>
                <a:gd name="connsiteY4185" fmla="*/ 3073524 h 3363305"/>
                <a:gd name="connsiteX4186" fmla="*/ 1427257 w 3320377"/>
                <a:gd name="connsiteY4186" fmla="*/ 3071242 h 3363305"/>
                <a:gd name="connsiteX4187" fmla="*/ 1427257 w 3320377"/>
                <a:gd name="connsiteY4187" fmla="*/ 3068960 h 3363305"/>
                <a:gd name="connsiteX4188" fmla="*/ 1429541 w 3320377"/>
                <a:gd name="connsiteY4188" fmla="*/ 3068960 h 3363305"/>
                <a:gd name="connsiteX4189" fmla="*/ 1431824 w 3320377"/>
                <a:gd name="connsiteY4189" fmla="*/ 3066678 h 3363305"/>
                <a:gd name="connsiteX4190" fmla="*/ 1431824 w 3320377"/>
                <a:gd name="connsiteY4190" fmla="*/ 3064396 h 3363305"/>
                <a:gd name="connsiteX4191" fmla="*/ 1434108 w 3320377"/>
                <a:gd name="connsiteY4191" fmla="*/ 3062114 h 3363305"/>
                <a:gd name="connsiteX4192" fmla="*/ 1436392 w 3320377"/>
                <a:gd name="connsiteY4192" fmla="*/ 3059832 h 3363305"/>
                <a:gd name="connsiteX4193" fmla="*/ 1438675 w 3320377"/>
                <a:gd name="connsiteY4193" fmla="*/ 3059832 h 3363305"/>
                <a:gd name="connsiteX4194" fmla="*/ 1440959 w 3320377"/>
                <a:gd name="connsiteY4194" fmla="*/ 3059832 h 3363305"/>
                <a:gd name="connsiteX4195" fmla="*/ 1443242 w 3320377"/>
                <a:gd name="connsiteY4195" fmla="*/ 3057550 h 3363305"/>
                <a:gd name="connsiteX4196" fmla="*/ 1445526 w 3320377"/>
                <a:gd name="connsiteY4196" fmla="*/ 3057550 h 3363305"/>
                <a:gd name="connsiteX4197" fmla="*/ 1450093 w 3320377"/>
                <a:gd name="connsiteY4197" fmla="*/ 3057550 h 3363305"/>
                <a:gd name="connsiteX4198" fmla="*/ 1450093 w 3320377"/>
                <a:gd name="connsiteY4198" fmla="*/ 3059832 h 3363305"/>
                <a:gd name="connsiteX4199" fmla="*/ 1450093 w 3320377"/>
                <a:gd name="connsiteY4199" fmla="*/ 3062114 h 3363305"/>
                <a:gd name="connsiteX4200" fmla="*/ 1450093 w 3320377"/>
                <a:gd name="connsiteY4200" fmla="*/ 3064396 h 3363305"/>
                <a:gd name="connsiteX4201" fmla="*/ 1447810 w 3320377"/>
                <a:gd name="connsiteY4201" fmla="*/ 3066678 h 3363305"/>
                <a:gd name="connsiteX4202" fmla="*/ 1447810 w 3320377"/>
                <a:gd name="connsiteY4202" fmla="*/ 3068960 h 3363305"/>
                <a:gd name="connsiteX4203" fmla="*/ 1447810 w 3320377"/>
                <a:gd name="connsiteY4203" fmla="*/ 3071242 h 3363305"/>
                <a:gd name="connsiteX4204" fmla="*/ 1447810 w 3320377"/>
                <a:gd name="connsiteY4204" fmla="*/ 3073524 h 3363305"/>
                <a:gd name="connsiteX4205" fmla="*/ 1445526 w 3320377"/>
                <a:gd name="connsiteY4205" fmla="*/ 3075806 h 3363305"/>
                <a:gd name="connsiteX4206" fmla="*/ 1447810 w 3320377"/>
                <a:gd name="connsiteY4206" fmla="*/ 3075806 h 3363305"/>
                <a:gd name="connsiteX4207" fmla="*/ 1450093 w 3320377"/>
                <a:gd name="connsiteY4207" fmla="*/ 3075806 h 3363305"/>
                <a:gd name="connsiteX4208" fmla="*/ 1452377 w 3320377"/>
                <a:gd name="connsiteY4208" fmla="*/ 3075806 h 3363305"/>
                <a:gd name="connsiteX4209" fmla="*/ 1459227 w 3320377"/>
                <a:gd name="connsiteY4209" fmla="*/ 3073524 h 3363305"/>
                <a:gd name="connsiteX4210" fmla="*/ 1461511 w 3320377"/>
                <a:gd name="connsiteY4210" fmla="*/ 3073524 h 3363305"/>
                <a:gd name="connsiteX4211" fmla="*/ 1463795 w 3320377"/>
                <a:gd name="connsiteY4211" fmla="*/ 3073524 h 3363305"/>
                <a:gd name="connsiteX4212" fmla="*/ 1466078 w 3320377"/>
                <a:gd name="connsiteY4212" fmla="*/ 3073524 h 3363305"/>
                <a:gd name="connsiteX4213" fmla="*/ 1468362 w 3320377"/>
                <a:gd name="connsiteY4213" fmla="*/ 3073524 h 3363305"/>
                <a:gd name="connsiteX4214" fmla="*/ 1470646 w 3320377"/>
                <a:gd name="connsiteY4214" fmla="*/ 3073524 h 3363305"/>
                <a:gd name="connsiteX4215" fmla="*/ 1472929 w 3320377"/>
                <a:gd name="connsiteY4215" fmla="*/ 3073524 h 3363305"/>
                <a:gd name="connsiteX4216" fmla="*/ 1472929 w 3320377"/>
                <a:gd name="connsiteY4216" fmla="*/ 3075806 h 3363305"/>
                <a:gd name="connsiteX4217" fmla="*/ 1472929 w 3320377"/>
                <a:gd name="connsiteY4217" fmla="*/ 3080369 h 3363305"/>
                <a:gd name="connsiteX4218" fmla="*/ 1475213 w 3320377"/>
                <a:gd name="connsiteY4218" fmla="*/ 3082651 h 3363305"/>
                <a:gd name="connsiteX4219" fmla="*/ 1475213 w 3320377"/>
                <a:gd name="connsiteY4219" fmla="*/ 3084933 h 3363305"/>
                <a:gd name="connsiteX4220" fmla="*/ 1475213 w 3320377"/>
                <a:gd name="connsiteY4220" fmla="*/ 3089497 h 3363305"/>
                <a:gd name="connsiteX4221" fmla="*/ 1477496 w 3320377"/>
                <a:gd name="connsiteY4221" fmla="*/ 3094061 h 3363305"/>
                <a:gd name="connsiteX4222" fmla="*/ 1477496 w 3320377"/>
                <a:gd name="connsiteY4222" fmla="*/ 3098625 h 3363305"/>
                <a:gd name="connsiteX4223" fmla="*/ 1479780 w 3320377"/>
                <a:gd name="connsiteY4223" fmla="*/ 3107752 h 3363305"/>
                <a:gd name="connsiteX4224" fmla="*/ 1477496 w 3320377"/>
                <a:gd name="connsiteY4224" fmla="*/ 3107752 h 3363305"/>
                <a:gd name="connsiteX4225" fmla="*/ 1475213 w 3320377"/>
                <a:gd name="connsiteY4225" fmla="*/ 3107752 h 3363305"/>
                <a:gd name="connsiteX4226" fmla="*/ 1472929 w 3320377"/>
                <a:gd name="connsiteY4226" fmla="*/ 3107752 h 3363305"/>
                <a:gd name="connsiteX4227" fmla="*/ 1470646 w 3320377"/>
                <a:gd name="connsiteY4227" fmla="*/ 3105470 h 3363305"/>
                <a:gd name="connsiteX4228" fmla="*/ 1468362 w 3320377"/>
                <a:gd name="connsiteY4228" fmla="*/ 3105470 h 3363305"/>
                <a:gd name="connsiteX4229" fmla="*/ 1466078 w 3320377"/>
                <a:gd name="connsiteY4229" fmla="*/ 3105470 h 3363305"/>
                <a:gd name="connsiteX4230" fmla="*/ 1461511 w 3320377"/>
                <a:gd name="connsiteY4230" fmla="*/ 3112316 h 3363305"/>
                <a:gd name="connsiteX4231" fmla="*/ 1452377 w 3320377"/>
                <a:gd name="connsiteY4231" fmla="*/ 3121443 h 3363305"/>
                <a:gd name="connsiteX4232" fmla="*/ 1447810 w 3320377"/>
                <a:gd name="connsiteY4232" fmla="*/ 3126007 h 3363305"/>
                <a:gd name="connsiteX4233" fmla="*/ 1452377 w 3320377"/>
                <a:gd name="connsiteY4233" fmla="*/ 3139689 h 3363305"/>
                <a:gd name="connsiteX4234" fmla="*/ 1450093 w 3320377"/>
                <a:gd name="connsiteY4234" fmla="*/ 3141971 h 3363305"/>
                <a:gd name="connsiteX4235" fmla="*/ 1445526 w 3320377"/>
                <a:gd name="connsiteY4235" fmla="*/ 3146535 h 3363305"/>
                <a:gd name="connsiteX4236" fmla="*/ 1440959 w 3320377"/>
                <a:gd name="connsiteY4236" fmla="*/ 3155662 h 3363305"/>
                <a:gd name="connsiteX4237" fmla="*/ 1438675 w 3320377"/>
                <a:gd name="connsiteY4237" fmla="*/ 3155662 h 3363305"/>
                <a:gd name="connsiteX4238" fmla="*/ 1436392 w 3320377"/>
                <a:gd name="connsiteY4238" fmla="*/ 3153381 h 3363305"/>
                <a:gd name="connsiteX4239" fmla="*/ 1434108 w 3320377"/>
                <a:gd name="connsiteY4239" fmla="*/ 3153381 h 3363305"/>
                <a:gd name="connsiteX4240" fmla="*/ 1427257 w 3320377"/>
                <a:gd name="connsiteY4240" fmla="*/ 3151099 h 3363305"/>
                <a:gd name="connsiteX4241" fmla="*/ 1420406 w 3320377"/>
                <a:gd name="connsiteY4241" fmla="*/ 3148817 h 3363305"/>
                <a:gd name="connsiteX4242" fmla="*/ 1420406 w 3320377"/>
                <a:gd name="connsiteY4242" fmla="*/ 3151099 h 3363305"/>
                <a:gd name="connsiteX4243" fmla="*/ 1422690 w 3320377"/>
                <a:gd name="connsiteY4243" fmla="*/ 3153381 h 3363305"/>
                <a:gd name="connsiteX4244" fmla="*/ 1422690 w 3320377"/>
                <a:gd name="connsiteY4244" fmla="*/ 3155662 h 3363305"/>
                <a:gd name="connsiteX4245" fmla="*/ 1422690 w 3320377"/>
                <a:gd name="connsiteY4245" fmla="*/ 3157944 h 3363305"/>
                <a:gd name="connsiteX4246" fmla="*/ 1424974 w 3320377"/>
                <a:gd name="connsiteY4246" fmla="*/ 3162508 h 3363305"/>
                <a:gd name="connsiteX4247" fmla="*/ 1424974 w 3320377"/>
                <a:gd name="connsiteY4247" fmla="*/ 3164790 h 3363305"/>
                <a:gd name="connsiteX4248" fmla="*/ 1424974 w 3320377"/>
                <a:gd name="connsiteY4248" fmla="*/ 3167072 h 3363305"/>
                <a:gd name="connsiteX4249" fmla="*/ 1427257 w 3320377"/>
                <a:gd name="connsiteY4249" fmla="*/ 3171636 h 3363305"/>
                <a:gd name="connsiteX4250" fmla="*/ 1427257 w 3320377"/>
                <a:gd name="connsiteY4250" fmla="*/ 3173918 h 3363305"/>
                <a:gd name="connsiteX4251" fmla="*/ 1427257 w 3320377"/>
                <a:gd name="connsiteY4251" fmla="*/ 3176199 h 3363305"/>
                <a:gd name="connsiteX4252" fmla="*/ 1429541 w 3320377"/>
                <a:gd name="connsiteY4252" fmla="*/ 3180763 h 3363305"/>
                <a:gd name="connsiteX4253" fmla="*/ 1429541 w 3320377"/>
                <a:gd name="connsiteY4253" fmla="*/ 3183045 h 3363305"/>
                <a:gd name="connsiteX4254" fmla="*/ 1429541 w 3320377"/>
                <a:gd name="connsiteY4254" fmla="*/ 3185327 h 3363305"/>
                <a:gd name="connsiteX4255" fmla="*/ 1429541 w 3320377"/>
                <a:gd name="connsiteY4255" fmla="*/ 3187609 h 3363305"/>
                <a:gd name="connsiteX4256" fmla="*/ 1429541 w 3320377"/>
                <a:gd name="connsiteY4256" fmla="*/ 3189891 h 3363305"/>
                <a:gd name="connsiteX4257" fmla="*/ 1429541 w 3320377"/>
                <a:gd name="connsiteY4257" fmla="*/ 3192173 h 3363305"/>
                <a:gd name="connsiteX4258" fmla="*/ 1431824 w 3320377"/>
                <a:gd name="connsiteY4258" fmla="*/ 3194455 h 3363305"/>
                <a:gd name="connsiteX4259" fmla="*/ 1431824 w 3320377"/>
                <a:gd name="connsiteY4259" fmla="*/ 3196737 h 3363305"/>
                <a:gd name="connsiteX4260" fmla="*/ 1434108 w 3320377"/>
                <a:gd name="connsiteY4260" fmla="*/ 3196737 h 3363305"/>
                <a:gd name="connsiteX4261" fmla="*/ 1434108 w 3320377"/>
                <a:gd name="connsiteY4261" fmla="*/ 3199018 h 3363305"/>
                <a:gd name="connsiteX4262" fmla="*/ 1434108 w 3320377"/>
                <a:gd name="connsiteY4262" fmla="*/ 3201300 h 3363305"/>
                <a:gd name="connsiteX4263" fmla="*/ 1436392 w 3320377"/>
                <a:gd name="connsiteY4263" fmla="*/ 3203582 h 3363305"/>
                <a:gd name="connsiteX4264" fmla="*/ 1436392 w 3320377"/>
                <a:gd name="connsiteY4264" fmla="*/ 3205864 h 3363305"/>
                <a:gd name="connsiteX4265" fmla="*/ 1438675 w 3320377"/>
                <a:gd name="connsiteY4265" fmla="*/ 3208146 h 3363305"/>
                <a:gd name="connsiteX4266" fmla="*/ 1438675 w 3320377"/>
                <a:gd name="connsiteY4266" fmla="*/ 3210428 h 3363305"/>
                <a:gd name="connsiteX4267" fmla="*/ 1440959 w 3320377"/>
                <a:gd name="connsiteY4267" fmla="*/ 3212710 h 3363305"/>
                <a:gd name="connsiteX4268" fmla="*/ 1438675 w 3320377"/>
                <a:gd name="connsiteY4268" fmla="*/ 3212710 h 3363305"/>
                <a:gd name="connsiteX4269" fmla="*/ 1438675 w 3320377"/>
                <a:gd name="connsiteY4269" fmla="*/ 3214992 h 3363305"/>
                <a:gd name="connsiteX4270" fmla="*/ 1438675 w 3320377"/>
                <a:gd name="connsiteY4270" fmla="*/ 3217274 h 3363305"/>
                <a:gd name="connsiteX4271" fmla="*/ 1438675 w 3320377"/>
                <a:gd name="connsiteY4271" fmla="*/ 3219555 h 3363305"/>
                <a:gd name="connsiteX4272" fmla="*/ 1438675 w 3320377"/>
                <a:gd name="connsiteY4272" fmla="*/ 3221838 h 3363305"/>
                <a:gd name="connsiteX4273" fmla="*/ 1440959 w 3320377"/>
                <a:gd name="connsiteY4273" fmla="*/ 3221838 h 3363305"/>
                <a:gd name="connsiteX4274" fmla="*/ 1440959 w 3320377"/>
                <a:gd name="connsiteY4274" fmla="*/ 3224119 h 3363305"/>
                <a:gd name="connsiteX4275" fmla="*/ 1443242 w 3320377"/>
                <a:gd name="connsiteY4275" fmla="*/ 3228683 h 3363305"/>
                <a:gd name="connsiteX4276" fmla="*/ 1443242 w 3320377"/>
                <a:gd name="connsiteY4276" fmla="*/ 3230965 h 3363305"/>
                <a:gd name="connsiteX4277" fmla="*/ 1445526 w 3320377"/>
                <a:gd name="connsiteY4277" fmla="*/ 3233247 h 3363305"/>
                <a:gd name="connsiteX4278" fmla="*/ 1445526 w 3320377"/>
                <a:gd name="connsiteY4278" fmla="*/ 3235529 h 3363305"/>
                <a:gd name="connsiteX4279" fmla="*/ 1447810 w 3320377"/>
                <a:gd name="connsiteY4279" fmla="*/ 3237811 h 3363305"/>
                <a:gd name="connsiteX4280" fmla="*/ 1447810 w 3320377"/>
                <a:gd name="connsiteY4280" fmla="*/ 3240093 h 3363305"/>
                <a:gd name="connsiteX4281" fmla="*/ 1447810 w 3320377"/>
                <a:gd name="connsiteY4281" fmla="*/ 3242375 h 3363305"/>
                <a:gd name="connsiteX4282" fmla="*/ 1447810 w 3320377"/>
                <a:gd name="connsiteY4282" fmla="*/ 3244656 h 3363305"/>
                <a:gd name="connsiteX4283" fmla="*/ 1447810 w 3320377"/>
                <a:gd name="connsiteY4283" fmla="*/ 3246938 h 3363305"/>
                <a:gd name="connsiteX4284" fmla="*/ 1450093 w 3320377"/>
                <a:gd name="connsiteY4284" fmla="*/ 3249220 h 3363305"/>
                <a:gd name="connsiteX4285" fmla="*/ 1452377 w 3320377"/>
                <a:gd name="connsiteY4285" fmla="*/ 3249220 h 3363305"/>
                <a:gd name="connsiteX4286" fmla="*/ 1454660 w 3320377"/>
                <a:gd name="connsiteY4286" fmla="*/ 3251502 h 3363305"/>
                <a:gd name="connsiteX4287" fmla="*/ 1456944 w 3320377"/>
                <a:gd name="connsiteY4287" fmla="*/ 3253784 h 3363305"/>
                <a:gd name="connsiteX4288" fmla="*/ 1459227 w 3320377"/>
                <a:gd name="connsiteY4288" fmla="*/ 3253784 h 3363305"/>
                <a:gd name="connsiteX4289" fmla="*/ 1461511 w 3320377"/>
                <a:gd name="connsiteY4289" fmla="*/ 3256066 h 3363305"/>
                <a:gd name="connsiteX4290" fmla="*/ 1463795 w 3320377"/>
                <a:gd name="connsiteY4290" fmla="*/ 3256066 h 3363305"/>
                <a:gd name="connsiteX4291" fmla="*/ 1463795 w 3320377"/>
                <a:gd name="connsiteY4291" fmla="*/ 3258348 h 3363305"/>
                <a:gd name="connsiteX4292" fmla="*/ 1466078 w 3320377"/>
                <a:gd name="connsiteY4292" fmla="*/ 3260630 h 3363305"/>
                <a:gd name="connsiteX4293" fmla="*/ 1468362 w 3320377"/>
                <a:gd name="connsiteY4293" fmla="*/ 3262911 h 3363305"/>
                <a:gd name="connsiteX4294" fmla="*/ 1468362 w 3320377"/>
                <a:gd name="connsiteY4294" fmla="*/ 3265194 h 3363305"/>
                <a:gd name="connsiteX4295" fmla="*/ 1468362 w 3320377"/>
                <a:gd name="connsiteY4295" fmla="*/ 3267475 h 3363305"/>
                <a:gd name="connsiteX4296" fmla="*/ 1468362 w 3320377"/>
                <a:gd name="connsiteY4296" fmla="*/ 3269757 h 3363305"/>
                <a:gd name="connsiteX4297" fmla="*/ 1468362 w 3320377"/>
                <a:gd name="connsiteY4297" fmla="*/ 3272039 h 3363305"/>
                <a:gd name="connsiteX4298" fmla="*/ 1468362 w 3320377"/>
                <a:gd name="connsiteY4298" fmla="*/ 3274321 h 3363305"/>
                <a:gd name="connsiteX4299" fmla="*/ 1468362 w 3320377"/>
                <a:gd name="connsiteY4299" fmla="*/ 3276603 h 3363305"/>
                <a:gd name="connsiteX4300" fmla="*/ 1468362 w 3320377"/>
                <a:gd name="connsiteY4300" fmla="*/ 3278885 h 3363305"/>
                <a:gd name="connsiteX4301" fmla="*/ 1468362 w 3320377"/>
                <a:gd name="connsiteY4301" fmla="*/ 3281167 h 3363305"/>
                <a:gd name="connsiteX4302" fmla="*/ 1468362 w 3320377"/>
                <a:gd name="connsiteY4302" fmla="*/ 3283449 h 3363305"/>
                <a:gd name="connsiteX4303" fmla="*/ 1468362 w 3320377"/>
                <a:gd name="connsiteY4303" fmla="*/ 3285731 h 3363305"/>
                <a:gd name="connsiteX4304" fmla="*/ 1468362 w 3320377"/>
                <a:gd name="connsiteY4304" fmla="*/ 3288012 h 3363305"/>
                <a:gd name="connsiteX4305" fmla="*/ 1468362 w 3320377"/>
                <a:gd name="connsiteY4305" fmla="*/ 3290294 h 3363305"/>
                <a:gd name="connsiteX4306" fmla="*/ 1468362 w 3320377"/>
                <a:gd name="connsiteY4306" fmla="*/ 3292576 h 3363305"/>
                <a:gd name="connsiteX4307" fmla="*/ 1470646 w 3320377"/>
                <a:gd name="connsiteY4307" fmla="*/ 3294858 h 3363305"/>
                <a:gd name="connsiteX4308" fmla="*/ 1472929 w 3320377"/>
                <a:gd name="connsiteY4308" fmla="*/ 3297130 h 3363305"/>
                <a:gd name="connsiteX4309" fmla="*/ 1475213 w 3320377"/>
                <a:gd name="connsiteY4309" fmla="*/ 3299412 h 3363305"/>
                <a:gd name="connsiteX4310" fmla="*/ 1477496 w 3320377"/>
                <a:gd name="connsiteY4310" fmla="*/ 3301694 h 3363305"/>
                <a:gd name="connsiteX4311" fmla="*/ 1479780 w 3320377"/>
                <a:gd name="connsiteY4311" fmla="*/ 3303976 h 3363305"/>
                <a:gd name="connsiteX4312" fmla="*/ 1482064 w 3320377"/>
                <a:gd name="connsiteY4312" fmla="*/ 3303976 h 3363305"/>
                <a:gd name="connsiteX4313" fmla="*/ 1484347 w 3320377"/>
                <a:gd name="connsiteY4313" fmla="*/ 3306258 h 3363305"/>
                <a:gd name="connsiteX4314" fmla="*/ 1486631 w 3320377"/>
                <a:gd name="connsiteY4314" fmla="*/ 3306258 h 3363305"/>
                <a:gd name="connsiteX4315" fmla="*/ 1488914 w 3320377"/>
                <a:gd name="connsiteY4315" fmla="*/ 3306258 h 3363305"/>
                <a:gd name="connsiteX4316" fmla="*/ 1488914 w 3320377"/>
                <a:gd name="connsiteY4316" fmla="*/ 3308540 h 3363305"/>
                <a:gd name="connsiteX4317" fmla="*/ 1491198 w 3320377"/>
                <a:gd name="connsiteY4317" fmla="*/ 3308540 h 3363305"/>
                <a:gd name="connsiteX4318" fmla="*/ 1493481 w 3320377"/>
                <a:gd name="connsiteY4318" fmla="*/ 3308540 h 3363305"/>
                <a:gd name="connsiteX4319" fmla="*/ 1495765 w 3320377"/>
                <a:gd name="connsiteY4319" fmla="*/ 3308540 h 3363305"/>
                <a:gd name="connsiteX4320" fmla="*/ 1498049 w 3320377"/>
                <a:gd name="connsiteY4320" fmla="*/ 3308540 h 3363305"/>
                <a:gd name="connsiteX4321" fmla="*/ 1500332 w 3320377"/>
                <a:gd name="connsiteY4321" fmla="*/ 3310822 h 3363305"/>
                <a:gd name="connsiteX4322" fmla="*/ 1502616 w 3320377"/>
                <a:gd name="connsiteY4322" fmla="*/ 3310822 h 3363305"/>
                <a:gd name="connsiteX4323" fmla="*/ 1504899 w 3320377"/>
                <a:gd name="connsiteY4323" fmla="*/ 3310822 h 3363305"/>
                <a:gd name="connsiteX4324" fmla="*/ 1507183 w 3320377"/>
                <a:gd name="connsiteY4324" fmla="*/ 3310822 h 3363305"/>
                <a:gd name="connsiteX4325" fmla="*/ 1509467 w 3320377"/>
                <a:gd name="connsiteY4325" fmla="*/ 3310822 h 3363305"/>
                <a:gd name="connsiteX4326" fmla="*/ 1509467 w 3320377"/>
                <a:gd name="connsiteY4326" fmla="*/ 3313104 h 3363305"/>
                <a:gd name="connsiteX4327" fmla="*/ 1511750 w 3320377"/>
                <a:gd name="connsiteY4327" fmla="*/ 3313104 h 3363305"/>
                <a:gd name="connsiteX4328" fmla="*/ 1514034 w 3320377"/>
                <a:gd name="connsiteY4328" fmla="*/ 3317667 h 3363305"/>
                <a:gd name="connsiteX4329" fmla="*/ 1516317 w 3320377"/>
                <a:gd name="connsiteY4329" fmla="*/ 3319950 h 3363305"/>
                <a:gd name="connsiteX4330" fmla="*/ 1516317 w 3320377"/>
                <a:gd name="connsiteY4330" fmla="*/ 3322231 h 3363305"/>
                <a:gd name="connsiteX4331" fmla="*/ 1518601 w 3320377"/>
                <a:gd name="connsiteY4331" fmla="*/ 3322231 h 3363305"/>
                <a:gd name="connsiteX4332" fmla="*/ 1518601 w 3320377"/>
                <a:gd name="connsiteY4332" fmla="*/ 3324513 h 3363305"/>
                <a:gd name="connsiteX4333" fmla="*/ 1520885 w 3320377"/>
                <a:gd name="connsiteY4333" fmla="*/ 3326795 h 3363305"/>
                <a:gd name="connsiteX4334" fmla="*/ 1520885 w 3320377"/>
                <a:gd name="connsiteY4334" fmla="*/ 3329077 h 3363305"/>
                <a:gd name="connsiteX4335" fmla="*/ 1523168 w 3320377"/>
                <a:gd name="connsiteY4335" fmla="*/ 3329077 h 3363305"/>
                <a:gd name="connsiteX4336" fmla="*/ 1523168 w 3320377"/>
                <a:gd name="connsiteY4336" fmla="*/ 3331359 h 3363305"/>
                <a:gd name="connsiteX4337" fmla="*/ 1525452 w 3320377"/>
                <a:gd name="connsiteY4337" fmla="*/ 3331359 h 3363305"/>
                <a:gd name="connsiteX4338" fmla="*/ 1527735 w 3320377"/>
                <a:gd name="connsiteY4338" fmla="*/ 3331359 h 3363305"/>
                <a:gd name="connsiteX4339" fmla="*/ 1527735 w 3320377"/>
                <a:gd name="connsiteY4339" fmla="*/ 3333641 h 3363305"/>
                <a:gd name="connsiteX4340" fmla="*/ 1530019 w 3320377"/>
                <a:gd name="connsiteY4340" fmla="*/ 3333641 h 3363305"/>
                <a:gd name="connsiteX4341" fmla="*/ 1530019 w 3320377"/>
                <a:gd name="connsiteY4341" fmla="*/ 3335923 h 3363305"/>
                <a:gd name="connsiteX4342" fmla="*/ 1532303 w 3320377"/>
                <a:gd name="connsiteY4342" fmla="*/ 3338205 h 3363305"/>
                <a:gd name="connsiteX4343" fmla="*/ 1532303 w 3320377"/>
                <a:gd name="connsiteY4343" fmla="*/ 3340487 h 3363305"/>
                <a:gd name="connsiteX4344" fmla="*/ 1532303 w 3320377"/>
                <a:gd name="connsiteY4344" fmla="*/ 3342768 h 3363305"/>
                <a:gd name="connsiteX4345" fmla="*/ 1532303 w 3320377"/>
                <a:gd name="connsiteY4345" fmla="*/ 3345050 h 3363305"/>
                <a:gd name="connsiteX4346" fmla="*/ 1532303 w 3320377"/>
                <a:gd name="connsiteY4346" fmla="*/ 3347332 h 3363305"/>
                <a:gd name="connsiteX4347" fmla="*/ 1532303 w 3320377"/>
                <a:gd name="connsiteY4347" fmla="*/ 3349614 h 3363305"/>
                <a:gd name="connsiteX4348" fmla="*/ 1532303 w 3320377"/>
                <a:gd name="connsiteY4348" fmla="*/ 3351896 h 3363305"/>
                <a:gd name="connsiteX4349" fmla="*/ 1534586 w 3320377"/>
                <a:gd name="connsiteY4349" fmla="*/ 3351896 h 3363305"/>
                <a:gd name="connsiteX4350" fmla="*/ 1536870 w 3320377"/>
                <a:gd name="connsiteY4350" fmla="*/ 3349614 h 3363305"/>
                <a:gd name="connsiteX4351" fmla="*/ 1539153 w 3320377"/>
                <a:gd name="connsiteY4351" fmla="*/ 3349614 h 3363305"/>
                <a:gd name="connsiteX4352" fmla="*/ 1541437 w 3320377"/>
                <a:gd name="connsiteY4352" fmla="*/ 3349614 h 3363305"/>
                <a:gd name="connsiteX4353" fmla="*/ 1541437 w 3320377"/>
                <a:gd name="connsiteY4353" fmla="*/ 3351896 h 3363305"/>
                <a:gd name="connsiteX4354" fmla="*/ 1543721 w 3320377"/>
                <a:gd name="connsiteY4354" fmla="*/ 3351896 h 3363305"/>
                <a:gd name="connsiteX4355" fmla="*/ 1546004 w 3320377"/>
                <a:gd name="connsiteY4355" fmla="*/ 3354178 h 3363305"/>
                <a:gd name="connsiteX4356" fmla="*/ 1548288 w 3320377"/>
                <a:gd name="connsiteY4356" fmla="*/ 3354178 h 3363305"/>
                <a:gd name="connsiteX4357" fmla="*/ 1548288 w 3320377"/>
                <a:gd name="connsiteY4357" fmla="*/ 3356460 h 3363305"/>
                <a:gd name="connsiteX4358" fmla="*/ 1550571 w 3320377"/>
                <a:gd name="connsiteY4358" fmla="*/ 3356460 h 3363305"/>
                <a:gd name="connsiteX4359" fmla="*/ 1552855 w 3320377"/>
                <a:gd name="connsiteY4359" fmla="*/ 3358742 h 3363305"/>
                <a:gd name="connsiteX4360" fmla="*/ 1555139 w 3320377"/>
                <a:gd name="connsiteY4360" fmla="*/ 3358742 h 3363305"/>
                <a:gd name="connsiteX4361" fmla="*/ 1555139 w 3320377"/>
                <a:gd name="connsiteY4361" fmla="*/ 3361023 h 3363305"/>
                <a:gd name="connsiteX4362" fmla="*/ 1559706 w 3320377"/>
                <a:gd name="connsiteY4362" fmla="*/ 3361023 h 3363305"/>
                <a:gd name="connsiteX4363" fmla="*/ 1559706 w 3320377"/>
                <a:gd name="connsiteY4363" fmla="*/ 3363306 h 3363305"/>
                <a:gd name="connsiteX4364" fmla="*/ 1568840 w 3320377"/>
                <a:gd name="connsiteY4364" fmla="*/ 3363306 h 3363305"/>
                <a:gd name="connsiteX4365" fmla="*/ 1571124 w 3320377"/>
                <a:gd name="connsiteY4365" fmla="*/ 3363306 h 3363305"/>
                <a:gd name="connsiteX4366" fmla="*/ 1580258 w 3320377"/>
                <a:gd name="connsiteY4366" fmla="*/ 3363306 h 3363305"/>
                <a:gd name="connsiteX4367" fmla="*/ 1584825 w 3320377"/>
                <a:gd name="connsiteY4367" fmla="*/ 3358742 h 3363305"/>
                <a:gd name="connsiteX4368" fmla="*/ 1584825 w 3320377"/>
                <a:gd name="connsiteY4368" fmla="*/ 3356460 h 3363305"/>
                <a:gd name="connsiteX4369" fmla="*/ 1587109 w 3320377"/>
                <a:gd name="connsiteY4369" fmla="*/ 3356460 h 3363305"/>
                <a:gd name="connsiteX4370" fmla="*/ 1587109 w 3320377"/>
                <a:gd name="connsiteY4370" fmla="*/ 3354178 h 3363305"/>
                <a:gd name="connsiteX4371" fmla="*/ 1591676 w 3320377"/>
                <a:gd name="connsiteY4371" fmla="*/ 3349614 h 3363305"/>
                <a:gd name="connsiteX4372" fmla="*/ 1591676 w 3320377"/>
                <a:gd name="connsiteY4372" fmla="*/ 3347332 h 3363305"/>
                <a:gd name="connsiteX4373" fmla="*/ 1593960 w 3320377"/>
                <a:gd name="connsiteY4373" fmla="*/ 3345050 h 3363305"/>
                <a:gd name="connsiteX4374" fmla="*/ 1596243 w 3320377"/>
                <a:gd name="connsiteY4374" fmla="*/ 3342768 h 3363305"/>
                <a:gd name="connsiteX4375" fmla="*/ 1598527 w 3320377"/>
                <a:gd name="connsiteY4375" fmla="*/ 3340487 h 3363305"/>
                <a:gd name="connsiteX4376" fmla="*/ 1600810 w 3320377"/>
                <a:gd name="connsiteY4376" fmla="*/ 3338205 h 3363305"/>
                <a:gd name="connsiteX4377" fmla="*/ 1600810 w 3320377"/>
                <a:gd name="connsiteY4377" fmla="*/ 3335923 h 3363305"/>
                <a:gd name="connsiteX4378" fmla="*/ 1603094 w 3320377"/>
                <a:gd name="connsiteY4378" fmla="*/ 3338205 h 3363305"/>
                <a:gd name="connsiteX4379" fmla="*/ 1603094 w 3320377"/>
                <a:gd name="connsiteY4379" fmla="*/ 3340487 h 3363305"/>
                <a:gd name="connsiteX4380" fmla="*/ 1607661 w 3320377"/>
                <a:gd name="connsiteY4380" fmla="*/ 3345050 h 3363305"/>
                <a:gd name="connsiteX4381" fmla="*/ 1607661 w 3320377"/>
                <a:gd name="connsiteY4381" fmla="*/ 3347332 h 3363305"/>
                <a:gd name="connsiteX4382" fmla="*/ 1609945 w 3320377"/>
                <a:gd name="connsiteY4382" fmla="*/ 3349614 h 3363305"/>
                <a:gd name="connsiteX4383" fmla="*/ 1612228 w 3320377"/>
                <a:gd name="connsiteY4383" fmla="*/ 3351896 h 3363305"/>
                <a:gd name="connsiteX4384" fmla="*/ 1612228 w 3320377"/>
                <a:gd name="connsiteY4384" fmla="*/ 3354178 h 3363305"/>
                <a:gd name="connsiteX4385" fmla="*/ 1612228 w 3320377"/>
                <a:gd name="connsiteY4385" fmla="*/ 3356460 h 3363305"/>
                <a:gd name="connsiteX4386" fmla="*/ 1612228 w 3320377"/>
                <a:gd name="connsiteY4386" fmla="*/ 3358742 h 3363305"/>
                <a:gd name="connsiteX4387" fmla="*/ 1612228 w 3320377"/>
                <a:gd name="connsiteY4387" fmla="*/ 3361023 h 3363305"/>
                <a:gd name="connsiteX4388" fmla="*/ 1614512 w 3320377"/>
                <a:gd name="connsiteY4388" fmla="*/ 3361023 h 3363305"/>
                <a:gd name="connsiteX4389" fmla="*/ 1616796 w 3320377"/>
                <a:gd name="connsiteY4389" fmla="*/ 3361023 h 3363305"/>
                <a:gd name="connsiteX4390" fmla="*/ 1619079 w 3320377"/>
                <a:gd name="connsiteY4390" fmla="*/ 3361023 h 3363305"/>
                <a:gd name="connsiteX4391" fmla="*/ 1621363 w 3320377"/>
                <a:gd name="connsiteY4391" fmla="*/ 3361023 h 3363305"/>
                <a:gd name="connsiteX4392" fmla="*/ 1623647 w 3320377"/>
                <a:gd name="connsiteY4392" fmla="*/ 3361023 h 3363305"/>
                <a:gd name="connsiteX4393" fmla="*/ 1625930 w 3320377"/>
                <a:gd name="connsiteY4393" fmla="*/ 3361023 h 3363305"/>
                <a:gd name="connsiteX4394" fmla="*/ 1625930 w 3320377"/>
                <a:gd name="connsiteY4394" fmla="*/ 3358742 h 3363305"/>
                <a:gd name="connsiteX4395" fmla="*/ 1628214 w 3320377"/>
                <a:gd name="connsiteY4395" fmla="*/ 3358742 h 3363305"/>
                <a:gd name="connsiteX4396" fmla="*/ 1630497 w 3320377"/>
                <a:gd name="connsiteY4396" fmla="*/ 3358742 h 3363305"/>
                <a:gd name="connsiteX4397" fmla="*/ 1630497 w 3320377"/>
                <a:gd name="connsiteY4397" fmla="*/ 3356460 h 3363305"/>
                <a:gd name="connsiteX4398" fmla="*/ 1632781 w 3320377"/>
                <a:gd name="connsiteY4398" fmla="*/ 3356460 h 3363305"/>
                <a:gd name="connsiteX4399" fmla="*/ 1632781 w 3320377"/>
                <a:gd name="connsiteY4399" fmla="*/ 3354178 h 3363305"/>
                <a:gd name="connsiteX4400" fmla="*/ 1635064 w 3320377"/>
                <a:gd name="connsiteY4400" fmla="*/ 3356460 h 3363305"/>
                <a:gd name="connsiteX4401" fmla="*/ 1639632 w 3320377"/>
                <a:gd name="connsiteY4401" fmla="*/ 3356460 h 3363305"/>
                <a:gd name="connsiteX4402" fmla="*/ 1641915 w 3320377"/>
                <a:gd name="connsiteY4402" fmla="*/ 3356460 h 3363305"/>
                <a:gd name="connsiteX4403" fmla="*/ 1644199 w 3320377"/>
                <a:gd name="connsiteY4403" fmla="*/ 3356460 h 3363305"/>
                <a:gd name="connsiteX4404" fmla="*/ 1646482 w 3320377"/>
                <a:gd name="connsiteY4404" fmla="*/ 3356460 h 3363305"/>
                <a:gd name="connsiteX4405" fmla="*/ 1648766 w 3320377"/>
                <a:gd name="connsiteY4405" fmla="*/ 3356460 h 3363305"/>
                <a:gd name="connsiteX4406" fmla="*/ 1653333 w 3320377"/>
                <a:gd name="connsiteY4406" fmla="*/ 3358742 h 3363305"/>
                <a:gd name="connsiteX4407" fmla="*/ 1655617 w 3320377"/>
                <a:gd name="connsiteY4407" fmla="*/ 3358742 h 3363305"/>
                <a:gd name="connsiteX4408" fmla="*/ 1657900 w 3320377"/>
                <a:gd name="connsiteY4408" fmla="*/ 3358742 h 3363305"/>
                <a:gd name="connsiteX4409" fmla="*/ 1660193 w 3320377"/>
                <a:gd name="connsiteY4409" fmla="*/ 3358742 h 3363305"/>
                <a:gd name="connsiteX4410" fmla="*/ 1662468 w 3320377"/>
                <a:gd name="connsiteY4410" fmla="*/ 3358742 h 3363305"/>
                <a:gd name="connsiteX4411" fmla="*/ 1662468 w 3320377"/>
                <a:gd name="connsiteY4411" fmla="*/ 3356460 h 3363305"/>
                <a:gd name="connsiteX4412" fmla="*/ 1662468 w 3320377"/>
                <a:gd name="connsiteY4412" fmla="*/ 3354178 h 3363305"/>
                <a:gd name="connsiteX4413" fmla="*/ 1664751 w 3320377"/>
                <a:gd name="connsiteY4413" fmla="*/ 3351896 h 3363305"/>
                <a:gd name="connsiteX4414" fmla="*/ 1664751 w 3320377"/>
                <a:gd name="connsiteY4414" fmla="*/ 3349614 h 3363305"/>
                <a:gd name="connsiteX4415" fmla="*/ 1664751 w 3320377"/>
                <a:gd name="connsiteY4415" fmla="*/ 3347332 h 3363305"/>
                <a:gd name="connsiteX4416" fmla="*/ 1664751 w 3320377"/>
                <a:gd name="connsiteY4416" fmla="*/ 3345050 h 3363305"/>
                <a:gd name="connsiteX4417" fmla="*/ 1667035 w 3320377"/>
                <a:gd name="connsiteY4417" fmla="*/ 3345050 h 3363305"/>
                <a:gd name="connsiteX4418" fmla="*/ 1669318 w 3320377"/>
                <a:gd name="connsiteY4418" fmla="*/ 3342768 h 3363305"/>
                <a:gd name="connsiteX4419" fmla="*/ 1671602 w 3320377"/>
                <a:gd name="connsiteY4419" fmla="*/ 3342768 h 3363305"/>
                <a:gd name="connsiteX4420" fmla="*/ 1673895 w 3320377"/>
                <a:gd name="connsiteY4420" fmla="*/ 3342768 h 3363305"/>
                <a:gd name="connsiteX4421" fmla="*/ 1676169 w 3320377"/>
                <a:gd name="connsiteY4421" fmla="*/ 3340487 h 3363305"/>
                <a:gd name="connsiteX4422" fmla="*/ 1678453 w 3320377"/>
                <a:gd name="connsiteY4422" fmla="*/ 3338205 h 3363305"/>
                <a:gd name="connsiteX4423" fmla="*/ 1680746 w 3320377"/>
                <a:gd name="connsiteY4423" fmla="*/ 3338205 h 3363305"/>
                <a:gd name="connsiteX4424" fmla="*/ 1683020 w 3320377"/>
                <a:gd name="connsiteY4424" fmla="*/ 3338205 h 3363305"/>
                <a:gd name="connsiteX4425" fmla="*/ 1683020 w 3320377"/>
                <a:gd name="connsiteY4425" fmla="*/ 3335923 h 3363305"/>
                <a:gd name="connsiteX4426" fmla="*/ 1689880 w 3320377"/>
                <a:gd name="connsiteY4426" fmla="*/ 3319950 h 3363305"/>
                <a:gd name="connsiteX4427" fmla="*/ 1692154 w 3320377"/>
                <a:gd name="connsiteY4427" fmla="*/ 3308540 h 3363305"/>
                <a:gd name="connsiteX4428" fmla="*/ 1694447 w 3320377"/>
                <a:gd name="connsiteY4428" fmla="*/ 3306258 h 3363305"/>
                <a:gd name="connsiteX4429" fmla="*/ 1694447 w 3320377"/>
                <a:gd name="connsiteY4429" fmla="*/ 3303976 h 3363305"/>
                <a:gd name="connsiteX4430" fmla="*/ 1694447 w 3320377"/>
                <a:gd name="connsiteY4430" fmla="*/ 3301694 h 3363305"/>
                <a:gd name="connsiteX4431" fmla="*/ 1694447 w 3320377"/>
                <a:gd name="connsiteY4431" fmla="*/ 3299412 h 3363305"/>
                <a:gd name="connsiteX4432" fmla="*/ 1692154 w 3320377"/>
                <a:gd name="connsiteY4432" fmla="*/ 3297130 h 3363305"/>
                <a:gd name="connsiteX4433" fmla="*/ 1692154 w 3320377"/>
                <a:gd name="connsiteY4433" fmla="*/ 3294858 h 3363305"/>
                <a:gd name="connsiteX4434" fmla="*/ 1692154 w 3320377"/>
                <a:gd name="connsiteY4434" fmla="*/ 3292576 h 3363305"/>
                <a:gd name="connsiteX4435" fmla="*/ 1692154 w 3320377"/>
                <a:gd name="connsiteY4435" fmla="*/ 3290294 h 3363305"/>
                <a:gd name="connsiteX4436" fmla="*/ 1689880 w 3320377"/>
                <a:gd name="connsiteY4436" fmla="*/ 3288012 h 3363305"/>
                <a:gd name="connsiteX4437" fmla="*/ 1689880 w 3320377"/>
                <a:gd name="connsiteY4437" fmla="*/ 3285731 h 3363305"/>
                <a:gd name="connsiteX4438" fmla="*/ 1687597 w 3320377"/>
                <a:gd name="connsiteY4438" fmla="*/ 3285731 h 3363305"/>
                <a:gd name="connsiteX4439" fmla="*/ 1687597 w 3320377"/>
                <a:gd name="connsiteY4439" fmla="*/ 3283449 h 3363305"/>
                <a:gd name="connsiteX4440" fmla="*/ 1685313 w 3320377"/>
                <a:gd name="connsiteY4440" fmla="*/ 3283449 h 3363305"/>
                <a:gd name="connsiteX4441" fmla="*/ 1685313 w 3320377"/>
                <a:gd name="connsiteY4441" fmla="*/ 3281167 h 3363305"/>
                <a:gd name="connsiteX4442" fmla="*/ 1685313 w 3320377"/>
                <a:gd name="connsiteY4442" fmla="*/ 3278885 h 3363305"/>
                <a:gd name="connsiteX4443" fmla="*/ 1683020 w 3320377"/>
                <a:gd name="connsiteY4443" fmla="*/ 3278885 h 3363305"/>
                <a:gd name="connsiteX4444" fmla="*/ 1683020 w 3320377"/>
                <a:gd name="connsiteY4444" fmla="*/ 3276603 h 3363305"/>
                <a:gd name="connsiteX4445" fmla="*/ 1680746 w 3320377"/>
                <a:gd name="connsiteY4445" fmla="*/ 3276603 h 3363305"/>
                <a:gd name="connsiteX4446" fmla="*/ 1680746 w 3320377"/>
                <a:gd name="connsiteY4446" fmla="*/ 3274321 h 3363305"/>
                <a:gd name="connsiteX4447" fmla="*/ 1678453 w 3320377"/>
                <a:gd name="connsiteY4447" fmla="*/ 3272039 h 3363305"/>
                <a:gd name="connsiteX4448" fmla="*/ 1678453 w 3320377"/>
                <a:gd name="connsiteY4448" fmla="*/ 3269757 h 3363305"/>
                <a:gd name="connsiteX4449" fmla="*/ 1678453 w 3320377"/>
                <a:gd name="connsiteY4449" fmla="*/ 3267475 h 3363305"/>
                <a:gd name="connsiteX4450" fmla="*/ 1676169 w 3320377"/>
                <a:gd name="connsiteY4450" fmla="*/ 3267475 h 3363305"/>
                <a:gd name="connsiteX4451" fmla="*/ 1676169 w 3320377"/>
                <a:gd name="connsiteY4451" fmla="*/ 3265194 h 3363305"/>
                <a:gd name="connsiteX4452" fmla="*/ 1676169 w 3320377"/>
                <a:gd name="connsiteY4452" fmla="*/ 3262911 h 3363305"/>
                <a:gd name="connsiteX4453" fmla="*/ 1676169 w 3320377"/>
                <a:gd name="connsiteY4453" fmla="*/ 3260630 h 3363305"/>
                <a:gd name="connsiteX4454" fmla="*/ 1678453 w 3320377"/>
                <a:gd name="connsiteY4454" fmla="*/ 3260630 h 3363305"/>
                <a:gd name="connsiteX4455" fmla="*/ 1685313 w 3320377"/>
                <a:gd name="connsiteY4455" fmla="*/ 3256066 h 3363305"/>
                <a:gd name="connsiteX4456" fmla="*/ 1687597 w 3320377"/>
                <a:gd name="connsiteY4456" fmla="*/ 3253784 h 3363305"/>
                <a:gd name="connsiteX4457" fmla="*/ 1689880 w 3320377"/>
                <a:gd name="connsiteY4457" fmla="*/ 3251502 h 3363305"/>
                <a:gd name="connsiteX4458" fmla="*/ 1689880 w 3320377"/>
                <a:gd name="connsiteY4458" fmla="*/ 3246938 h 3363305"/>
                <a:gd name="connsiteX4459" fmla="*/ 1692154 w 3320377"/>
                <a:gd name="connsiteY4459" fmla="*/ 3246938 h 3363305"/>
                <a:gd name="connsiteX4460" fmla="*/ 1692154 w 3320377"/>
                <a:gd name="connsiteY4460" fmla="*/ 3244656 h 3363305"/>
                <a:gd name="connsiteX4461" fmla="*/ 1694447 w 3320377"/>
                <a:gd name="connsiteY4461" fmla="*/ 3242375 h 3363305"/>
                <a:gd name="connsiteX4462" fmla="*/ 1694447 w 3320377"/>
                <a:gd name="connsiteY4462" fmla="*/ 3240093 h 3363305"/>
                <a:gd name="connsiteX4463" fmla="*/ 1696722 w 3320377"/>
                <a:gd name="connsiteY4463" fmla="*/ 3240093 h 3363305"/>
                <a:gd name="connsiteX4464" fmla="*/ 1703582 w 3320377"/>
                <a:gd name="connsiteY4464" fmla="*/ 3237811 h 3363305"/>
                <a:gd name="connsiteX4465" fmla="*/ 1705856 w 3320377"/>
                <a:gd name="connsiteY4465" fmla="*/ 3237811 h 3363305"/>
                <a:gd name="connsiteX4466" fmla="*/ 1708149 w 3320377"/>
                <a:gd name="connsiteY4466" fmla="*/ 3235529 h 3363305"/>
                <a:gd name="connsiteX4467" fmla="*/ 1710433 w 3320377"/>
                <a:gd name="connsiteY4467" fmla="*/ 3235529 h 3363305"/>
                <a:gd name="connsiteX4468" fmla="*/ 1712716 w 3320377"/>
                <a:gd name="connsiteY4468" fmla="*/ 3235529 h 3363305"/>
                <a:gd name="connsiteX4469" fmla="*/ 1717283 w 3320377"/>
                <a:gd name="connsiteY4469" fmla="*/ 3233247 h 3363305"/>
                <a:gd name="connsiteX4470" fmla="*/ 1719557 w 3320377"/>
                <a:gd name="connsiteY4470" fmla="*/ 3233247 h 3363305"/>
                <a:gd name="connsiteX4471" fmla="*/ 1724134 w 3320377"/>
                <a:gd name="connsiteY4471" fmla="*/ 3230965 h 3363305"/>
                <a:gd name="connsiteX4472" fmla="*/ 1726418 w 3320377"/>
                <a:gd name="connsiteY4472" fmla="*/ 3230965 h 3363305"/>
                <a:gd name="connsiteX4473" fmla="*/ 1728701 w 3320377"/>
                <a:gd name="connsiteY4473" fmla="*/ 3230965 h 3363305"/>
                <a:gd name="connsiteX4474" fmla="*/ 1733269 w 3320377"/>
                <a:gd name="connsiteY4474" fmla="*/ 3228683 h 3363305"/>
                <a:gd name="connsiteX4475" fmla="*/ 1735552 w 3320377"/>
                <a:gd name="connsiteY4475" fmla="*/ 3228683 h 3363305"/>
                <a:gd name="connsiteX4476" fmla="*/ 1737836 w 3320377"/>
                <a:gd name="connsiteY4476" fmla="*/ 3228683 h 3363305"/>
                <a:gd name="connsiteX4477" fmla="*/ 1740119 w 3320377"/>
                <a:gd name="connsiteY4477" fmla="*/ 3228683 h 3363305"/>
                <a:gd name="connsiteX4478" fmla="*/ 1742403 w 3320377"/>
                <a:gd name="connsiteY4478" fmla="*/ 3228683 h 3363305"/>
                <a:gd name="connsiteX4479" fmla="*/ 1744687 w 3320377"/>
                <a:gd name="connsiteY4479" fmla="*/ 3228683 h 3363305"/>
                <a:gd name="connsiteX4480" fmla="*/ 1749254 w 3320377"/>
                <a:gd name="connsiteY4480" fmla="*/ 3228683 h 3363305"/>
                <a:gd name="connsiteX4481" fmla="*/ 1751537 w 3320377"/>
                <a:gd name="connsiteY4481" fmla="*/ 3230965 h 3363305"/>
                <a:gd name="connsiteX4482" fmla="*/ 1756105 w 3320377"/>
                <a:gd name="connsiteY4482" fmla="*/ 3230965 h 3363305"/>
                <a:gd name="connsiteX4483" fmla="*/ 1760672 w 3320377"/>
                <a:gd name="connsiteY4483" fmla="*/ 3230965 h 3363305"/>
                <a:gd name="connsiteX4484" fmla="*/ 1762955 w 3320377"/>
                <a:gd name="connsiteY4484" fmla="*/ 3230965 h 3363305"/>
                <a:gd name="connsiteX4485" fmla="*/ 1765239 w 3320377"/>
                <a:gd name="connsiteY4485" fmla="*/ 3230965 h 3363305"/>
                <a:gd name="connsiteX4486" fmla="*/ 1767522 w 3320377"/>
                <a:gd name="connsiteY4486" fmla="*/ 3233247 h 3363305"/>
                <a:gd name="connsiteX4487" fmla="*/ 1769806 w 3320377"/>
                <a:gd name="connsiteY4487" fmla="*/ 3233247 h 3363305"/>
                <a:gd name="connsiteX4488" fmla="*/ 1772090 w 3320377"/>
                <a:gd name="connsiteY4488" fmla="*/ 3233247 h 3363305"/>
                <a:gd name="connsiteX4489" fmla="*/ 1774373 w 3320377"/>
                <a:gd name="connsiteY4489" fmla="*/ 3233247 h 3363305"/>
                <a:gd name="connsiteX4490" fmla="*/ 1776657 w 3320377"/>
                <a:gd name="connsiteY4490" fmla="*/ 3233247 h 3363305"/>
                <a:gd name="connsiteX4491" fmla="*/ 1776657 w 3320377"/>
                <a:gd name="connsiteY4491" fmla="*/ 3230965 h 3363305"/>
                <a:gd name="connsiteX4492" fmla="*/ 1781224 w 3320377"/>
                <a:gd name="connsiteY4492" fmla="*/ 3230965 h 3363305"/>
                <a:gd name="connsiteX4493" fmla="*/ 1783508 w 3320377"/>
                <a:gd name="connsiteY4493" fmla="*/ 3230965 h 3363305"/>
                <a:gd name="connsiteX4494" fmla="*/ 1783508 w 3320377"/>
                <a:gd name="connsiteY4494" fmla="*/ 3228683 h 3363305"/>
                <a:gd name="connsiteX4495" fmla="*/ 1785791 w 3320377"/>
                <a:gd name="connsiteY4495" fmla="*/ 3228683 h 3363305"/>
                <a:gd name="connsiteX4496" fmla="*/ 1788075 w 3320377"/>
                <a:gd name="connsiteY4496" fmla="*/ 3228683 h 3363305"/>
                <a:gd name="connsiteX4497" fmla="*/ 1790359 w 3320377"/>
                <a:gd name="connsiteY4497" fmla="*/ 3226401 h 3363305"/>
                <a:gd name="connsiteX4498" fmla="*/ 1792642 w 3320377"/>
                <a:gd name="connsiteY4498" fmla="*/ 3226401 h 3363305"/>
                <a:gd name="connsiteX4499" fmla="*/ 1794926 w 3320377"/>
                <a:gd name="connsiteY4499" fmla="*/ 3224119 h 3363305"/>
                <a:gd name="connsiteX4500" fmla="*/ 1797209 w 3320377"/>
                <a:gd name="connsiteY4500" fmla="*/ 3221838 h 3363305"/>
                <a:gd name="connsiteX4501" fmla="*/ 1799493 w 3320377"/>
                <a:gd name="connsiteY4501" fmla="*/ 3221838 h 3363305"/>
                <a:gd name="connsiteX4502" fmla="*/ 1801777 w 3320377"/>
                <a:gd name="connsiteY4502" fmla="*/ 3219555 h 3363305"/>
                <a:gd name="connsiteX4503" fmla="*/ 1801777 w 3320377"/>
                <a:gd name="connsiteY4503" fmla="*/ 3217274 h 3363305"/>
                <a:gd name="connsiteX4504" fmla="*/ 1799493 w 3320377"/>
                <a:gd name="connsiteY4504" fmla="*/ 3212710 h 3363305"/>
                <a:gd name="connsiteX4505" fmla="*/ 1797209 w 3320377"/>
                <a:gd name="connsiteY4505" fmla="*/ 3210428 h 3363305"/>
                <a:gd name="connsiteX4506" fmla="*/ 1797209 w 3320377"/>
                <a:gd name="connsiteY4506" fmla="*/ 3205864 h 3363305"/>
                <a:gd name="connsiteX4507" fmla="*/ 1794926 w 3320377"/>
                <a:gd name="connsiteY4507" fmla="*/ 3205864 h 3363305"/>
                <a:gd name="connsiteX4508" fmla="*/ 1794926 w 3320377"/>
                <a:gd name="connsiteY4508" fmla="*/ 3203582 h 3363305"/>
                <a:gd name="connsiteX4509" fmla="*/ 1797209 w 3320377"/>
                <a:gd name="connsiteY4509" fmla="*/ 3201300 h 3363305"/>
                <a:gd name="connsiteX4510" fmla="*/ 1797209 w 3320377"/>
                <a:gd name="connsiteY4510" fmla="*/ 3199018 h 3363305"/>
                <a:gd name="connsiteX4511" fmla="*/ 1797209 w 3320377"/>
                <a:gd name="connsiteY4511" fmla="*/ 3196737 h 3363305"/>
                <a:gd name="connsiteX4512" fmla="*/ 1799493 w 3320377"/>
                <a:gd name="connsiteY4512" fmla="*/ 3194455 h 3363305"/>
                <a:gd name="connsiteX4513" fmla="*/ 1801777 w 3320377"/>
                <a:gd name="connsiteY4513" fmla="*/ 3192173 h 3363305"/>
                <a:gd name="connsiteX4514" fmla="*/ 1801777 w 3320377"/>
                <a:gd name="connsiteY4514" fmla="*/ 3189891 h 3363305"/>
                <a:gd name="connsiteX4515" fmla="*/ 1804060 w 3320377"/>
                <a:gd name="connsiteY4515" fmla="*/ 3183045 h 3363305"/>
                <a:gd name="connsiteX4516" fmla="*/ 1804060 w 3320377"/>
                <a:gd name="connsiteY4516" fmla="*/ 3180763 h 3363305"/>
                <a:gd name="connsiteX4517" fmla="*/ 1806344 w 3320377"/>
                <a:gd name="connsiteY4517" fmla="*/ 3178482 h 3363305"/>
                <a:gd name="connsiteX4518" fmla="*/ 1806344 w 3320377"/>
                <a:gd name="connsiteY4518" fmla="*/ 3176199 h 3363305"/>
                <a:gd name="connsiteX4519" fmla="*/ 1806344 w 3320377"/>
                <a:gd name="connsiteY4519" fmla="*/ 3173918 h 3363305"/>
                <a:gd name="connsiteX4520" fmla="*/ 1808627 w 3320377"/>
                <a:gd name="connsiteY4520" fmla="*/ 3171636 h 3363305"/>
                <a:gd name="connsiteX4521" fmla="*/ 1808627 w 3320377"/>
                <a:gd name="connsiteY4521" fmla="*/ 3169354 h 3363305"/>
                <a:gd name="connsiteX4522" fmla="*/ 1810911 w 3320377"/>
                <a:gd name="connsiteY4522" fmla="*/ 3167072 h 3363305"/>
                <a:gd name="connsiteX4523" fmla="*/ 1813194 w 3320377"/>
                <a:gd name="connsiteY4523" fmla="*/ 3167072 h 3363305"/>
                <a:gd name="connsiteX4524" fmla="*/ 1822329 w 3320377"/>
                <a:gd name="connsiteY4524" fmla="*/ 3153381 h 3363305"/>
                <a:gd name="connsiteX4525" fmla="*/ 1824612 w 3320377"/>
                <a:gd name="connsiteY4525" fmla="*/ 3151099 h 3363305"/>
                <a:gd name="connsiteX4526" fmla="*/ 1826896 w 3320377"/>
                <a:gd name="connsiteY4526" fmla="*/ 3148817 h 3363305"/>
                <a:gd name="connsiteX4527" fmla="*/ 1829180 w 3320377"/>
                <a:gd name="connsiteY4527" fmla="*/ 3148817 h 3363305"/>
                <a:gd name="connsiteX4528" fmla="*/ 1831463 w 3320377"/>
                <a:gd name="connsiteY4528" fmla="*/ 3146535 h 3363305"/>
                <a:gd name="connsiteX4529" fmla="*/ 1833747 w 3320377"/>
                <a:gd name="connsiteY4529" fmla="*/ 3146535 h 3363305"/>
                <a:gd name="connsiteX4530" fmla="*/ 1836031 w 3320377"/>
                <a:gd name="connsiteY4530" fmla="*/ 3146535 h 3363305"/>
                <a:gd name="connsiteX4531" fmla="*/ 1836031 w 3320377"/>
                <a:gd name="connsiteY4531" fmla="*/ 3144253 h 3363305"/>
                <a:gd name="connsiteX4532" fmla="*/ 1838314 w 3320377"/>
                <a:gd name="connsiteY4532" fmla="*/ 3144253 h 3363305"/>
                <a:gd name="connsiteX4533" fmla="*/ 1840598 w 3320377"/>
                <a:gd name="connsiteY4533" fmla="*/ 3141971 h 3363305"/>
                <a:gd name="connsiteX4534" fmla="*/ 1840598 w 3320377"/>
                <a:gd name="connsiteY4534" fmla="*/ 3139689 h 3363305"/>
                <a:gd name="connsiteX4535" fmla="*/ 1842881 w 3320377"/>
                <a:gd name="connsiteY4535" fmla="*/ 3139689 h 3363305"/>
                <a:gd name="connsiteX4536" fmla="*/ 1842881 w 3320377"/>
                <a:gd name="connsiteY4536" fmla="*/ 3137417 h 3363305"/>
                <a:gd name="connsiteX4537" fmla="*/ 1845165 w 3320377"/>
                <a:gd name="connsiteY4537" fmla="*/ 3132853 h 3363305"/>
                <a:gd name="connsiteX4538" fmla="*/ 1845165 w 3320377"/>
                <a:gd name="connsiteY4538" fmla="*/ 3130571 h 3363305"/>
                <a:gd name="connsiteX4539" fmla="*/ 1847448 w 3320377"/>
                <a:gd name="connsiteY4539" fmla="*/ 3128289 h 3363305"/>
                <a:gd name="connsiteX4540" fmla="*/ 1847448 w 3320377"/>
                <a:gd name="connsiteY4540" fmla="*/ 3126007 h 3363305"/>
                <a:gd name="connsiteX4541" fmla="*/ 1847448 w 3320377"/>
                <a:gd name="connsiteY4541" fmla="*/ 3123725 h 3363305"/>
                <a:gd name="connsiteX4542" fmla="*/ 1847448 w 3320377"/>
                <a:gd name="connsiteY4542" fmla="*/ 3121443 h 3363305"/>
                <a:gd name="connsiteX4543" fmla="*/ 1847448 w 3320377"/>
                <a:gd name="connsiteY4543" fmla="*/ 3119162 h 3363305"/>
                <a:gd name="connsiteX4544" fmla="*/ 1847448 w 3320377"/>
                <a:gd name="connsiteY4544" fmla="*/ 3116880 h 3363305"/>
                <a:gd name="connsiteX4545" fmla="*/ 1847448 w 3320377"/>
                <a:gd name="connsiteY4545" fmla="*/ 3114598 h 3363305"/>
                <a:gd name="connsiteX4546" fmla="*/ 1849732 w 3320377"/>
                <a:gd name="connsiteY4546" fmla="*/ 3114598 h 3363305"/>
                <a:gd name="connsiteX4547" fmla="*/ 1852016 w 3320377"/>
                <a:gd name="connsiteY4547" fmla="*/ 3114598 h 3363305"/>
                <a:gd name="connsiteX4548" fmla="*/ 1854299 w 3320377"/>
                <a:gd name="connsiteY4548" fmla="*/ 3114598 h 3363305"/>
                <a:gd name="connsiteX4549" fmla="*/ 1854299 w 3320377"/>
                <a:gd name="connsiteY4549" fmla="*/ 3116880 h 3363305"/>
                <a:gd name="connsiteX4550" fmla="*/ 1856583 w 3320377"/>
                <a:gd name="connsiteY4550" fmla="*/ 3116880 h 3363305"/>
                <a:gd name="connsiteX4551" fmla="*/ 1861150 w 3320377"/>
                <a:gd name="connsiteY4551" fmla="*/ 3116880 h 3363305"/>
                <a:gd name="connsiteX4552" fmla="*/ 1863434 w 3320377"/>
                <a:gd name="connsiteY4552" fmla="*/ 3119162 h 3363305"/>
                <a:gd name="connsiteX4553" fmla="*/ 1865717 w 3320377"/>
                <a:gd name="connsiteY4553" fmla="*/ 3119162 h 3363305"/>
                <a:gd name="connsiteX4554" fmla="*/ 1868001 w 3320377"/>
                <a:gd name="connsiteY4554" fmla="*/ 3116880 h 3363305"/>
                <a:gd name="connsiteX4555" fmla="*/ 1870284 w 3320377"/>
                <a:gd name="connsiteY4555" fmla="*/ 3116880 h 3363305"/>
                <a:gd name="connsiteX4556" fmla="*/ 1872568 w 3320377"/>
                <a:gd name="connsiteY4556" fmla="*/ 3114598 h 3363305"/>
                <a:gd name="connsiteX4557" fmla="*/ 1874852 w 3320377"/>
                <a:gd name="connsiteY4557" fmla="*/ 3114598 h 3363305"/>
                <a:gd name="connsiteX4558" fmla="*/ 1877135 w 3320377"/>
                <a:gd name="connsiteY4558" fmla="*/ 3112316 h 3363305"/>
                <a:gd name="connsiteX4559" fmla="*/ 1881702 w 3320377"/>
                <a:gd name="connsiteY4559" fmla="*/ 3110034 h 3363305"/>
                <a:gd name="connsiteX4560" fmla="*/ 1883986 w 3320377"/>
                <a:gd name="connsiteY4560" fmla="*/ 3107752 h 3363305"/>
                <a:gd name="connsiteX4561" fmla="*/ 1893120 w 3320377"/>
                <a:gd name="connsiteY4561" fmla="*/ 3110034 h 3363305"/>
                <a:gd name="connsiteX4562" fmla="*/ 1893120 w 3320377"/>
                <a:gd name="connsiteY4562" fmla="*/ 3107752 h 3363305"/>
                <a:gd name="connsiteX4563" fmla="*/ 1895404 w 3320377"/>
                <a:gd name="connsiteY4563" fmla="*/ 3105470 h 3363305"/>
                <a:gd name="connsiteX4564" fmla="*/ 1895404 w 3320377"/>
                <a:gd name="connsiteY4564" fmla="*/ 3103188 h 3363305"/>
                <a:gd name="connsiteX4565" fmla="*/ 1897688 w 3320377"/>
                <a:gd name="connsiteY4565" fmla="*/ 3100907 h 3363305"/>
                <a:gd name="connsiteX4566" fmla="*/ 1899971 w 3320377"/>
                <a:gd name="connsiteY4566" fmla="*/ 3098625 h 3363305"/>
                <a:gd name="connsiteX4567" fmla="*/ 1902255 w 3320377"/>
                <a:gd name="connsiteY4567" fmla="*/ 3096343 h 3363305"/>
                <a:gd name="connsiteX4568" fmla="*/ 1904538 w 3320377"/>
                <a:gd name="connsiteY4568" fmla="*/ 3094061 h 3363305"/>
                <a:gd name="connsiteX4569" fmla="*/ 1906822 w 3320377"/>
                <a:gd name="connsiteY4569" fmla="*/ 3091779 h 3363305"/>
                <a:gd name="connsiteX4570" fmla="*/ 1909106 w 3320377"/>
                <a:gd name="connsiteY4570" fmla="*/ 3091779 h 3363305"/>
                <a:gd name="connsiteX4571" fmla="*/ 1915956 w 3320377"/>
                <a:gd name="connsiteY4571" fmla="*/ 3091779 h 3363305"/>
                <a:gd name="connsiteX4572" fmla="*/ 1922807 w 3320377"/>
                <a:gd name="connsiteY4572" fmla="*/ 3094061 h 3363305"/>
                <a:gd name="connsiteX4573" fmla="*/ 1934225 w 3320377"/>
                <a:gd name="connsiteY4573" fmla="*/ 3089497 h 3363305"/>
                <a:gd name="connsiteX4574" fmla="*/ 1934225 w 3320377"/>
                <a:gd name="connsiteY4574" fmla="*/ 3087215 h 3363305"/>
                <a:gd name="connsiteX4575" fmla="*/ 1936509 w 3320377"/>
                <a:gd name="connsiteY4575" fmla="*/ 3084933 h 3363305"/>
                <a:gd name="connsiteX4576" fmla="*/ 1936509 w 3320377"/>
                <a:gd name="connsiteY4576" fmla="*/ 3082651 h 3363305"/>
                <a:gd name="connsiteX4577" fmla="*/ 1934225 w 3320377"/>
                <a:gd name="connsiteY4577" fmla="*/ 3078087 h 3363305"/>
                <a:gd name="connsiteX4578" fmla="*/ 1931942 w 3320377"/>
                <a:gd name="connsiteY4578" fmla="*/ 3075806 h 3363305"/>
                <a:gd name="connsiteX4579" fmla="*/ 1931942 w 3320377"/>
                <a:gd name="connsiteY4579" fmla="*/ 3073524 h 3363305"/>
                <a:gd name="connsiteX4580" fmla="*/ 1931942 w 3320377"/>
                <a:gd name="connsiteY4580" fmla="*/ 3071242 h 3363305"/>
                <a:gd name="connsiteX4581" fmla="*/ 1929658 w 3320377"/>
                <a:gd name="connsiteY4581" fmla="*/ 3068960 h 3363305"/>
                <a:gd name="connsiteX4582" fmla="*/ 1929658 w 3320377"/>
                <a:gd name="connsiteY4582" fmla="*/ 3066678 h 3363305"/>
                <a:gd name="connsiteX4583" fmla="*/ 1929658 w 3320377"/>
                <a:gd name="connsiteY4583" fmla="*/ 3064396 h 3363305"/>
                <a:gd name="connsiteX4584" fmla="*/ 1929658 w 3320377"/>
                <a:gd name="connsiteY4584" fmla="*/ 3062114 h 3363305"/>
                <a:gd name="connsiteX4585" fmla="*/ 1929658 w 3320377"/>
                <a:gd name="connsiteY4585" fmla="*/ 3059832 h 3363305"/>
                <a:gd name="connsiteX4586" fmla="*/ 1927374 w 3320377"/>
                <a:gd name="connsiteY4586" fmla="*/ 3059832 h 3363305"/>
                <a:gd name="connsiteX4587" fmla="*/ 1927374 w 3320377"/>
                <a:gd name="connsiteY4587" fmla="*/ 3057550 h 3363305"/>
                <a:gd name="connsiteX4588" fmla="*/ 1927374 w 3320377"/>
                <a:gd name="connsiteY4588" fmla="*/ 3055269 h 3363305"/>
                <a:gd name="connsiteX4589" fmla="*/ 1927374 w 3320377"/>
                <a:gd name="connsiteY4589" fmla="*/ 3052987 h 3363305"/>
                <a:gd name="connsiteX4590" fmla="*/ 1927374 w 3320377"/>
                <a:gd name="connsiteY4590" fmla="*/ 3050705 h 3363305"/>
                <a:gd name="connsiteX4591" fmla="*/ 1925091 w 3320377"/>
                <a:gd name="connsiteY4591" fmla="*/ 3048423 h 3363305"/>
                <a:gd name="connsiteX4592" fmla="*/ 1927374 w 3320377"/>
                <a:gd name="connsiteY4592" fmla="*/ 3048423 h 3363305"/>
                <a:gd name="connsiteX4593" fmla="*/ 1929658 w 3320377"/>
                <a:gd name="connsiteY4593" fmla="*/ 3048423 h 3363305"/>
                <a:gd name="connsiteX4594" fmla="*/ 1931942 w 3320377"/>
                <a:gd name="connsiteY4594" fmla="*/ 3048423 h 3363305"/>
                <a:gd name="connsiteX4595" fmla="*/ 1934225 w 3320377"/>
                <a:gd name="connsiteY4595" fmla="*/ 3046141 h 3363305"/>
                <a:gd name="connsiteX4596" fmla="*/ 1936509 w 3320377"/>
                <a:gd name="connsiteY4596" fmla="*/ 3046141 h 3363305"/>
                <a:gd name="connsiteX4597" fmla="*/ 1938792 w 3320377"/>
                <a:gd name="connsiteY4597" fmla="*/ 3046141 h 3363305"/>
                <a:gd name="connsiteX4598" fmla="*/ 1941076 w 3320377"/>
                <a:gd name="connsiteY4598" fmla="*/ 3043859 h 3363305"/>
                <a:gd name="connsiteX4599" fmla="*/ 1943360 w 3320377"/>
                <a:gd name="connsiteY4599" fmla="*/ 3043859 h 3363305"/>
                <a:gd name="connsiteX4600" fmla="*/ 1945643 w 3320377"/>
                <a:gd name="connsiteY4600" fmla="*/ 3043859 h 3363305"/>
                <a:gd name="connsiteX4601" fmla="*/ 1945643 w 3320377"/>
                <a:gd name="connsiteY4601" fmla="*/ 3041577 h 3363305"/>
                <a:gd name="connsiteX4602" fmla="*/ 1947927 w 3320377"/>
                <a:gd name="connsiteY4602" fmla="*/ 3041577 h 3363305"/>
                <a:gd name="connsiteX4603" fmla="*/ 1950210 w 3320377"/>
                <a:gd name="connsiteY4603" fmla="*/ 3039295 h 3363305"/>
                <a:gd name="connsiteX4604" fmla="*/ 1952494 w 3320377"/>
                <a:gd name="connsiteY4604" fmla="*/ 3039295 h 3363305"/>
                <a:gd name="connsiteX4605" fmla="*/ 1954777 w 3320377"/>
                <a:gd name="connsiteY4605" fmla="*/ 3039295 h 3363305"/>
                <a:gd name="connsiteX4606" fmla="*/ 1957061 w 3320377"/>
                <a:gd name="connsiteY4606" fmla="*/ 3039295 h 3363305"/>
                <a:gd name="connsiteX4607" fmla="*/ 1959345 w 3320377"/>
                <a:gd name="connsiteY4607" fmla="*/ 3039295 h 3363305"/>
                <a:gd name="connsiteX4608" fmla="*/ 1961628 w 3320377"/>
                <a:gd name="connsiteY4608" fmla="*/ 3039295 h 3363305"/>
                <a:gd name="connsiteX4609" fmla="*/ 1963912 w 3320377"/>
                <a:gd name="connsiteY4609" fmla="*/ 3039295 h 3363305"/>
                <a:gd name="connsiteX4610" fmla="*/ 1966195 w 3320377"/>
                <a:gd name="connsiteY4610" fmla="*/ 3041577 h 3363305"/>
                <a:gd name="connsiteX4611" fmla="*/ 1968479 w 3320377"/>
                <a:gd name="connsiteY4611" fmla="*/ 3043859 h 3363305"/>
                <a:gd name="connsiteX4612" fmla="*/ 1970763 w 3320377"/>
                <a:gd name="connsiteY4612" fmla="*/ 3046141 h 3363305"/>
                <a:gd name="connsiteX4613" fmla="*/ 1970763 w 3320377"/>
                <a:gd name="connsiteY4613" fmla="*/ 3048423 h 3363305"/>
                <a:gd name="connsiteX4614" fmla="*/ 1973046 w 3320377"/>
                <a:gd name="connsiteY4614" fmla="*/ 3050705 h 3363305"/>
                <a:gd name="connsiteX4615" fmla="*/ 1975330 w 3320377"/>
                <a:gd name="connsiteY4615" fmla="*/ 3052987 h 3363305"/>
                <a:gd name="connsiteX4616" fmla="*/ 1977613 w 3320377"/>
                <a:gd name="connsiteY4616" fmla="*/ 3052987 h 3363305"/>
                <a:gd name="connsiteX4617" fmla="*/ 1979897 w 3320377"/>
                <a:gd name="connsiteY4617" fmla="*/ 3052987 h 3363305"/>
                <a:gd name="connsiteX4618" fmla="*/ 1982181 w 3320377"/>
                <a:gd name="connsiteY4618" fmla="*/ 3052987 h 3363305"/>
                <a:gd name="connsiteX4619" fmla="*/ 1982181 w 3320377"/>
                <a:gd name="connsiteY4619" fmla="*/ 3050705 h 3363305"/>
                <a:gd name="connsiteX4620" fmla="*/ 1984464 w 3320377"/>
                <a:gd name="connsiteY4620" fmla="*/ 3048423 h 3363305"/>
                <a:gd name="connsiteX4621" fmla="*/ 1986748 w 3320377"/>
                <a:gd name="connsiteY4621" fmla="*/ 3043859 h 3363305"/>
                <a:gd name="connsiteX4622" fmla="*/ 1989031 w 3320377"/>
                <a:gd name="connsiteY4622" fmla="*/ 3043859 h 3363305"/>
                <a:gd name="connsiteX4623" fmla="*/ 1991315 w 3320377"/>
                <a:gd name="connsiteY4623" fmla="*/ 3039295 h 3363305"/>
                <a:gd name="connsiteX4624" fmla="*/ 1995882 w 3320377"/>
                <a:gd name="connsiteY4624" fmla="*/ 3034731 h 3363305"/>
                <a:gd name="connsiteX4625" fmla="*/ 1995882 w 3320377"/>
                <a:gd name="connsiteY4625" fmla="*/ 3037013 h 3363305"/>
                <a:gd name="connsiteX4626" fmla="*/ 1998166 w 3320377"/>
                <a:gd name="connsiteY4626" fmla="*/ 3039295 h 3363305"/>
                <a:gd name="connsiteX4627" fmla="*/ 2000449 w 3320377"/>
                <a:gd name="connsiteY4627" fmla="*/ 3043859 h 3363305"/>
                <a:gd name="connsiteX4628" fmla="*/ 2005017 w 3320377"/>
                <a:gd name="connsiteY4628" fmla="*/ 3043859 h 3363305"/>
                <a:gd name="connsiteX4629" fmla="*/ 2009584 w 3320377"/>
                <a:gd name="connsiteY4629" fmla="*/ 3043859 h 3363305"/>
                <a:gd name="connsiteX4630" fmla="*/ 2007300 w 3320377"/>
                <a:gd name="connsiteY4630" fmla="*/ 3048423 h 3363305"/>
                <a:gd name="connsiteX4631" fmla="*/ 2011867 w 3320377"/>
                <a:gd name="connsiteY4631" fmla="*/ 3052987 h 3363305"/>
                <a:gd name="connsiteX4632" fmla="*/ 2014151 w 3320377"/>
                <a:gd name="connsiteY4632" fmla="*/ 3055269 h 3363305"/>
                <a:gd name="connsiteX4633" fmla="*/ 2016435 w 3320377"/>
                <a:gd name="connsiteY4633" fmla="*/ 3055269 h 3363305"/>
                <a:gd name="connsiteX4634" fmla="*/ 2018718 w 3320377"/>
                <a:gd name="connsiteY4634" fmla="*/ 3055269 h 3363305"/>
                <a:gd name="connsiteX4635" fmla="*/ 2021002 w 3320377"/>
                <a:gd name="connsiteY4635" fmla="*/ 3055269 h 3363305"/>
                <a:gd name="connsiteX4636" fmla="*/ 2021002 w 3320377"/>
                <a:gd name="connsiteY4636" fmla="*/ 3057550 h 3363305"/>
                <a:gd name="connsiteX4637" fmla="*/ 2023285 w 3320377"/>
                <a:gd name="connsiteY4637" fmla="*/ 3057550 h 3363305"/>
                <a:gd name="connsiteX4638" fmla="*/ 2025569 w 3320377"/>
                <a:gd name="connsiteY4638" fmla="*/ 3057550 h 3363305"/>
                <a:gd name="connsiteX4639" fmla="*/ 2027852 w 3320377"/>
                <a:gd name="connsiteY4639" fmla="*/ 3057550 h 3363305"/>
                <a:gd name="connsiteX4640" fmla="*/ 2030136 w 3320377"/>
                <a:gd name="connsiteY4640" fmla="*/ 3059832 h 3363305"/>
                <a:gd name="connsiteX4641" fmla="*/ 2034703 w 3320377"/>
                <a:gd name="connsiteY4641" fmla="*/ 3059832 h 3363305"/>
                <a:gd name="connsiteX4642" fmla="*/ 2034703 w 3320377"/>
                <a:gd name="connsiteY4642" fmla="*/ 3062114 h 3363305"/>
                <a:gd name="connsiteX4643" fmla="*/ 2036987 w 3320377"/>
                <a:gd name="connsiteY4643" fmla="*/ 3062114 h 3363305"/>
                <a:gd name="connsiteX4644" fmla="*/ 2039271 w 3320377"/>
                <a:gd name="connsiteY4644" fmla="*/ 3062114 h 3363305"/>
                <a:gd name="connsiteX4645" fmla="*/ 2041554 w 3320377"/>
                <a:gd name="connsiteY4645" fmla="*/ 3062114 h 3363305"/>
                <a:gd name="connsiteX4646" fmla="*/ 2043838 w 3320377"/>
                <a:gd name="connsiteY4646" fmla="*/ 3062114 h 3363305"/>
                <a:gd name="connsiteX4647" fmla="*/ 2046121 w 3320377"/>
                <a:gd name="connsiteY4647" fmla="*/ 3062114 h 3363305"/>
                <a:gd name="connsiteX4648" fmla="*/ 2048405 w 3320377"/>
                <a:gd name="connsiteY4648" fmla="*/ 3062114 h 3363305"/>
                <a:gd name="connsiteX4649" fmla="*/ 2050689 w 3320377"/>
                <a:gd name="connsiteY4649" fmla="*/ 3059832 h 3363305"/>
                <a:gd name="connsiteX4650" fmla="*/ 2052972 w 3320377"/>
                <a:gd name="connsiteY4650" fmla="*/ 3059832 h 3363305"/>
                <a:gd name="connsiteX4651" fmla="*/ 2055256 w 3320377"/>
                <a:gd name="connsiteY4651" fmla="*/ 3059832 h 3363305"/>
                <a:gd name="connsiteX4652" fmla="*/ 2055256 w 3320377"/>
                <a:gd name="connsiteY4652" fmla="*/ 3057550 h 3363305"/>
                <a:gd name="connsiteX4653" fmla="*/ 2055256 w 3320377"/>
                <a:gd name="connsiteY4653" fmla="*/ 3055269 h 3363305"/>
                <a:gd name="connsiteX4654" fmla="*/ 2055256 w 3320377"/>
                <a:gd name="connsiteY4654" fmla="*/ 3052987 h 3363305"/>
                <a:gd name="connsiteX4655" fmla="*/ 2057539 w 3320377"/>
                <a:gd name="connsiteY4655" fmla="*/ 3052987 h 3363305"/>
                <a:gd name="connsiteX4656" fmla="*/ 2059823 w 3320377"/>
                <a:gd name="connsiteY4656" fmla="*/ 3052987 h 3363305"/>
                <a:gd name="connsiteX4657" fmla="*/ 2059823 w 3320377"/>
                <a:gd name="connsiteY4657" fmla="*/ 3055269 h 3363305"/>
                <a:gd name="connsiteX4658" fmla="*/ 2062106 w 3320377"/>
                <a:gd name="connsiteY4658" fmla="*/ 3055269 h 3363305"/>
                <a:gd name="connsiteX4659" fmla="*/ 2062106 w 3320377"/>
                <a:gd name="connsiteY4659" fmla="*/ 3052987 h 3363305"/>
                <a:gd name="connsiteX4660" fmla="*/ 2064390 w 3320377"/>
                <a:gd name="connsiteY4660" fmla="*/ 3052987 h 3363305"/>
                <a:gd name="connsiteX4661" fmla="*/ 2064390 w 3320377"/>
                <a:gd name="connsiteY4661" fmla="*/ 3050705 h 3363305"/>
                <a:gd name="connsiteX4662" fmla="*/ 2064390 w 3320377"/>
                <a:gd name="connsiteY4662" fmla="*/ 3048423 h 3363305"/>
                <a:gd name="connsiteX4663" fmla="*/ 2064390 w 3320377"/>
                <a:gd name="connsiteY4663" fmla="*/ 3046141 h 3363305"/>
                <a:gd name="connsiteX4664" fmla="*/ 2064390 w 3320377"/>
                <a:gd name="connsiteY4664" fmla="*/ 3043859 h 3363305"/>
                <a:gd name="connsiteX4665" fmla="*/ 2064390 w 3320377"/>
                <a:gd name="connsiteY4665" fmla="*/ 3041577 h 3363305"/>
                <a:gd name="connsiteX4666" fmla="*/ 2066674 w 3320377"/>
                <a:gd name="connsiteY4666" fmla="*/ 3041577 h 3363305"/>
                <a:gd name="connsiteX4667" fmla="*/ 2066674 w 3320377"/>
                <a:gd name="connsiteY4667" fmla="*/ 3039295 h 3363305"/>
                <a:gd name="connsiteX4668" fmla="*/ 2068957 w 3320377"/>
                <a:gd name="connsiteY4668" fmla="*/ 3039295 h 3363305"/>
                <a:gd name="connsiteX4669" fmla="*/ 2073524 w 3320377"/>
                <a:gd name="connsiteY4669" fmla="*/ 3037013 h 3363305"/>
                <a:gd name="connsiteX4670" fmla="*/ 2075808 w 3320377"/>
                <a:gd name="connsiteY4670" fmla="*/ 3037013 h 3363305"/>
                <a:gd name="connsiteX4671" fmla="*/ 2078092 w 3320377"/>
                <a:gd name="connsiteY4671" fmla="*/ 3037013 h 3363305"/>
                <a:gd name="connsiteX4672" fmla="*/ 2078092 w 3320377"/>
                <a:gd name="connsiteY4672" fmla="*/ 3034731 h 3363305"/>
                <a:gd name="connsiteX4673" fmla="*/ 2080375 w 3320377"/>
                <a:gd name="connsiteY4673" fmla="*/ 3034731 h 3363305"/>
                <a:gd name="connsiteX4674" fmla="*/ 2082659 w 3320377"/>
                <a:gd name="connsiteY4674" fmla="*/ 3032450 h 3363305"/>
                <a:gd name="connsiteX4675" fmla="*/ 2084942 w 3320377"/>
                <a:gd name="connsiteY4675" fmla="*/ 3032450 h 3363305"/>
                <a:gd name="connsiteX4676" fmla="*/ 2084942 w 3320377"/>
                <a:gd name="connsiteY4676" fmla="*/ 3030168 h 3363305"/>
                <a:gd name="connsiteX4677" fmla="*/ 2087226 w 3320377"/>
                <a:gd name="connsiteY4677" fmla="*/ 3030168 h 3363305"/>
                <a:gd name="connsiteX4678" fmla="*/ 2087226 w 3320377"/>
                <a:gd name="connsiteY4678" fmla="*/ 3027886 h 3363305"/>
                <a:gd name="connsiteX4679" fmla="*/ 2087226 w 3320377"/>
                <a:gd name="connsiteY4679" fmla="*/ 3025604 h 3363305"/>
                <a:gd name="connsiteX4680" fmla="*/ 2087226 w 3320377"/>
                <a:gd name="connsiteY4680" fmla="*/ 3023322 h 3363305"/>
                <a:gd name="connsiteX4681" fmla="*/ 2089510 w 3320377"/>
                <a:gd name="connsiteY4681" fmla="*/ 3023322 h 3363305"/>
                <a:gd name="connsiteX4682" fmla="*/ 2089510 w 3320377"/>
                <a:gd name="connsiteY4682" fmla="*/ 3021040 h 3363305"/>
                <a:gd name="connsiteX4683" fmla="*/ 2089510 w 3320377"/>
                <a:gd name="connsiteY4683" fmla="*/ 3018758 h 3363305"/>
                <a:gd name="connsiteX4684" fmla="*/ 2089510 w 3320377"/>
                <a:gd name="connsiteY4684" fmla="*/ 3016476 h 3363305"/>
                <a:gd name="connsiteX4685" fmla="*/ 2089510 w 3320377"/>
                <a:gd name="connsiteY4685" fmla="*/ 3014194 h 3363305"/>
                <a:gd name="connsiteX4686" fmla="*/ 2089510 w 3320377"/>
                <a:gd name="connsiteY4686" fmla="*/ 3009631 h 3363305"/>
                <a:gd name="connsiteX4687" fmla="*/ 2089510 w 3320377"/>
                <a:gd name="connsiteY4687" fmla="*/ 3007349 h 3363305"/>
                <a:gd name="connsiteX4688" fmla="*/ 2089510 w 3320377"/>
                <a:gd name="connsiteY4688" fmla="*/ 3005067 h 3363305"/>
                <a:gd name="connsiteX4689" fmla="*/ 2091793 w 3320377"/>
                <a:gd name="connsiteY4689" fmla="*/ 3000503 h 3363305"/>
                <a:gd name="connsiteX4690" fmla="*/ 2091793 w 3320377"/>
                <a:gd name="connsiteY4690" fmla="*/ 2998221 h 3363305"/>
                <a:gd name="connsiteX4691" fmla="*/ 2091793 w 3320377"/>
                <a:gd name="connsiteY4691" fmla="*/ 2995939 h 3363305"/>
                <a:gd name="connsiteX4692" fmla="*/ 2091793 w 3320377"/>
                <a:gd name="connsiteY4692" fmla="*/ 2993657 h 3363305"/>
                <a:gd name="connsiteX4693" fmla="*/ 2096360 w 3320377"/>
                <a:gd name="connsiteY4693" fmla="*/ 2991375 h 3363305"/>
                <a:gd name="connsiteX4694" fmla="*/ 2098644 w 3320377"/>
                <a:gd name="connsiteY4694" fmla="*/ 2986821 h 3363305"/>
                <a:gd name="connsiteX4695" fmla="*/ 2103211 w 3320377"/>
                <a:gd name="connsiteY4695" fmla="*/ 2984539 h 3363305"/>
                <a:gd name="connsiteX4696" fmla="*/ 2107778 w 3320377"/>
                <a:gd name="connsiteY4696" fmla="*/ 2982257 h 3363305"/>
                <a:gd name="connsiteX4697" fmla="*/ 2110062 w 3320377"/>
                <a:gd name="connsiteY4697" fmla="*/ 2979975 h 3363305"/>
                <a:gd name="connsiteX4698" fmla="*/ 2110062 w 3320377"/>
                <a:gd name="connsiteY4698" fmla="*/ 2982257 h 3363305"/>
                <a:gd name="connsiteX4699" fmla="*/ 2112346 w 3320377"/>
                <a:gd name="connsiteY4699" fmla="*/ 2984539 h 3363305"/>
                <a:gd name="connsiteX4700" fmla="*/ 2112346 w 3320377"/>
                <a:gd name="connsiteY4700" fmla="*/ 2989094 h 3363305"/>
                <a:gd name="connsiteX4701" fmla="*/ 2114629 w 3320377"/>
                <a:gd name="connsiteY4701" fmla="*/ 2995939 h 3363305"/>
                <a:gd name="connsiteX4702" fmla="*/ 2116913 w 3320377"/>
                <a:gd name="connsiteY4702" fmla="*/ 2998221 h 3363305"/>
                <a:gd name="connsiteX4703" fmla="*/ 2116913 w 3320377"/>
                <a:gd name="connsiteY4703" fmla="*/ 3002785 h 3363305"/>
                <a:gd name="connsiteX4704" fmla="*/ 2119196 w 3320377"/>
                <a:gd name="connsiteY4704" fmla="*/ 3005067 h 3363305"/>
                <a:gd name="connsiteX4705" fmla="*/ 2119196 w 3320377"/>
                <a:gd name="connsiteY4705" fmla="*/ 3002785 h 3363305"/>
                <a:gd name="connsiteX4706" fmla="*/ 2121480 w 3320377"/>
                <a:gd name="connsiteY4706" fmla="*/ 2998221 h 3363305"/>
                <a:gd name="connsiteX4707" fmla="*/ 2121480 w 3320377"/>
                <a:gd name="connsiteY4707" fmla="*/ 2995939 h 3363305"/>
                <a:gd name="connsiteX4708" fmla="*/ 2121480 w 3320377"/>
                <a:gd name="connsiteY4708" fmla="*/ 2993657 h 3363305"/>
                <a:gd name="connsiteX4709" fmla="*/ 2123764 w 3320377"/>
                <a:gd name="connsiteY4709" fmla="*/ 2989094 h 3363305"/>
                <a:gd name="connsiteX4710" fmla="*/ 2123764 w 3320377"/>
                <a:gd name="connsiteY4710" fmla="*/ 2986821 h 3363305"/>
                <a:gd name="connsiteX4711" fmla="*/ 2126047 w 3320377"/>
                <a:gd name="connsiteY4711" fmla="*/ 2982257 h 3363305"/>
                <a:gd name="connsiteX4712" fmla="*/ 2126047 w 3320377"/>
                <a:gd name="connsiteY4712" fmla="*/ 2979975 h 3363305"/>
                <a:gd name="connsiteX4713" fmla="*/ 2128331 w 3320377"/>
                <a:gd name="connsiteY4713" fmla="*/ 2975412 h 3363305"/>
                <a:gd name="connsiteX4714" fmla="*/ 2130614 w 3320377"/>
                <a:gd name="connsiteY4714" fmla="*/ 2973130 h 3363305"/>
                <a:gd name="connsiteX4715" fmla="*/ 2132898 w 3320377"/>
                <a:gd name="connsiteY4715" fmla="*/ 2970848 h 3363305"/>
                <a:gd name="connsiteX4716" fmla="*/ 2130614 w 3320377"/>
                <a:gd name="connsiteY4716" fmla="*/ 2970848 h 3363305"/>
                <a:gd name="connsiteX4717" fmla="*/ 2128331 w 3320377"/>
                <a:gd name="connsiteY4717" fmla="*/ 2968566 h 3363305"/>
                <a:gd name="connsiteX4718" fmla="*/ 2126047 w 3320377"/>
                <a:gd name="connsiteY4718" fmla="*/ 2968566 h 3363305"/>
                <a:gd name="connsiteX4719" fmla="*/ 2121480 w 3320377"/>
                <a:gd name="connsiteY4719" fmla="*/ 2966284 h 3363305"/>
                <a:gd name="connsiteX4720" fmla="*/ 2116913 w 3320377"/>
                <a:gd name="connsiteY4720" fmla="*/ 2964002 h 3363305"/>
                <a:gd name="connsiteX4721" fmla="*/ 2116913 w 3320377"/>
                <a:gd name="connsiteY4721" fmla="*/ 2961720 h 3363305"/>
                <a:gd name="connsiteX4722" fmla="*/ 2112346 w 3320377"/>
                <a:gd name="connsiteY4722" fmla="*/ 2957156 h 3363305"/>
                <a:gd name="connsiteX4723" fmla="*/ 2112346 w 3320377"/>
                <a:gd name="connsiteY4723" fmla="*/ 2954875 h 3363305"/>
                <a:gd name="connsiteX4724" fmla="*/ 2110062 w 3320377"/>
                <a:gd name="connsiteY4724" fmla="*/ 2952593 h 3363305"/>
                <a:gd name="connsiteX4725" fmla="*/ 2112346 w 3320377"/>
                <a:gd name="connsiteY4725" fmla="*/ 2952593 h 3363305"/>
                <a:gd name="connsiteX4726" fmla="*/ 2112346 w 3320377"/>
                <a:gd name="connsiteY4726" fmla="*/ 2950311 h 3363305"/>
                <a:gd name="connsiteX4727" fmla="*/ 2114629 w 3320377"/>
                <a:gd name="connsiteY4727" fmla="*/ 2948029 h 3363305"/>
                <a:gd name="connsiteX4728" fmla="*/ 2116913 w 3320377"/>
                <a:gd name="connsiteY4728" fmla="*/ 2945747 h 3363305"/>
                <a:gd name="connsiteX4729" fmla="*/ 2116913 w 3320377"/>
                <a:gd name="connsiteY4729" fmla="*/ 2943465 h 3363305"/>
                <a:gd name="connsiteX4730" fmla="*/ 2116913 w 3320377"/>
                <a:gd name="connsiteY4730" fmla="*/ 2938901 h 3363305"/>
                <a:gd name="connsiteX4731" fmla="*/ 2114629 w 3320377"/>
                <a:gd name="connsiteY4731" fmla="*/ 2936619 h 3363305"/>
                <a:gd name="connsiteX4732" fmla="*/ 2114629 w 3320377"/>
                <a:gd name="connsiteY4732" fmla="*/ 2934338 h 3363305"/>
                <a:gd name="connsiteX4733" fmla="*/ 2114629 w 3320377"/>
                <a:gd name="connsiteY4733" fmla="*/ 2932056 h 3363305"/>
                <a:gd name="connsiteX4734" fmla="*/ 2112346 w 3320377"/>
                <a:gd name="connsiteY4734" fmla="*/ 2932056 h 3363305"/>
                <a:gd name="connsiteX4735" fmla="*/ 2112346 w 3320377"/>
                <a:gd name="connsiteY4735" fmla="*/ 2929774 h 3363305"/>
                <a:gd name="connsiteX4736" fmla="*/ 2112346 w 3320377"/>
                <a:gd name="connsiteY4736" fmla="*/ 2927492 h 3363305"/>
                <a:gd name="connsiteX4737" fmla="*/ 2110062 w 3320377"/>
                <a:gd name="connsiteY4737" fmla="*/ 2925210 h 3363305"/>
                <a:gd name="connsiteX4738" fmla="*/ 2107778 w 3320377"/>
                <a:gd name="connsiteY4738" fmla="*/ 2920646 h 3363305"/>
                <a:gd name="connsiteX4739" fmla="*/ 2110062 w 3320377"/>
                <a:gd name="connsiteY4739" fmla="*/ 2918364 h 3363305"/>
                <a:gd name="connsiteX4740" fmla="*/ 2116913 w 3320377"/>
                <a:gd name="connsiteY4740" fmla="*/ 2916082 h 3363305"/>
                <a:gd name="connsiteX4741" fmla="*/ 2116913 w 3320377"/>
                <a:gd name="connsiteY4741" fmla="*/ 2913800 h 3363305"/>
                <a:gd name="connsiteX4742" fmla="*/ 2116913 w 3320377"/>
                <a:gd name="connsiteY4742" fmla="*/ 2911519 h 3363305"/>
                <a:gd name="connsiteX4743" fmla="*/ 2116913 w 3320377"/>
                <a:gd name="connsiteY4743" fmla="*/ 2904673 h 3363305"/>
                <a:gd name="connsiteX4744" fmla="*/ 2116913 w 3320377"/>
                <a:gd name="connsiteY4744" fmla="*/ 2902391 h 3363305"/>
                <a:gd name="connsiteX4745" fmla="*/ 2116913 w 3320377"/>
                <a:gd name="connsiteY4745" fmla="*/ 2900109 h 3363305"/>
                <a:gd name="connsiteX4746" fmla="*/ 2114629 w 3320377"/>
                <a:gd name="connsiteY4746" fmla="*/ 2900109 h 3363305"/>
                <a:gd name="connsiteX4747" fmla="*/ 2114629 w 3320377"/>
                <a:gd name="connsiteY4747" fmla="*/ 2897827 h 3363305"/>
                <a:gd name="connsiteX4748" fmla="*/ 2112346 w 3320377"/>
                <a:gd name="connsiteY4748" fmla="*/ 2897827 h 3363305"/>
                <a:gd name="connsiteX4749" fmla="*/ 2112346 w 3320377"/>
                <a:gd name="connsiteY4749" fmla="*/ 2895545 h 3363305"/>
                <a:gd name="connsiteX4750" fmla="*/ 2112346 w 3320377"/>
                <a:gd name="connsiteY4750" fmla="*/ 2893263 h 3363305"/>
                <a:gd name="connsiteX4751" fmla="*/ 2112346 w 3320377"/>
                <a:gd name="connsiteY4751" fmla="*/ 2890982 h 3363305"/>
                <a:gd name="connsiteX4752" fmla="*/ 2110062 w 3320377"/>
                <a:gd name="connsiteY4752" fmla="*/ 2890982 h 3363305"/>
                <a:gd name="connsiteX4753" fmla="*/ 2110062 w 3320377"/>
                <a:gd name="connsiteY4753" fmla="*/ 2888700 h 3363305"/>
                <a:gd name="connsiteX4754" fmla="*/ 2110062 w 3320377"/>
                <a:gd name="connsiteY4754" fmla="*/ 2886418 h 3363305"/>
                <a:gd name="connsiteX4755" fmla="*/ 2112346 w 3320377"/>
                <a:gd name="connsiteY4755" fmla="*/ 2886418 h 3363305"/>
                <a:gd name="connsiteX4756" fmla="*/ 2114629 w 3320377"/>
                <a:gd name="connsiteY4756" fmla="*/ 2886418 h 3363305"/>
                <a:gd name="connsiteX4757" fmla="*/ 2116913 w 3320377"/>
                <a:gd name="connsiteY4757" fmla="*/ 2886418 h 3363305"/>
                <a:gd name="connsiteX4758" fmla="*/ 2121480 w 3320377"/>
                <a:gd name="connsiteY4758" fmla="*/ 2888700 h 3363305"/>
                <a:gd name="connsiteX4759" fmla="*/ 2123764 w 3320377"/>
                <a:gd name="connsiteY4759" fmla="*/ 2890982 h 3363305"/>
                <a:gd name="connsiteX4760" fmla="*/ 2126047 w 3320377"/>
                <a:gd name="connsiteY4760" fmla="*/ 2893263 h 3363305"/>
                <a:gd name="connsiteX4761" fmla="*/ 2126047 w 3320377"/>
                <a:gd name="connsiteY4761" fmla="*/ 2895545 h 3363305"/>
                <a:gd name="connsiteX4762" fmla="*/ 2128331 w 3320377"/>
                <a:gd name="connsiteY4762" fmla="*/ 2897827 h 3363305"/>
                <a:gd name="connsiteX4763" fmla="*/ 2130614 w 3320377"/>
                <a:gd name="connsiteY4763" fmla="*/ 2897827 h 3363305"/>
                <a:gd name="connsiteX4764" fmla="*/ 2132898 w 3320377"/>
                <a:gd name="connsiteY4764" fmla="*/ 2897827 h 3363305"/>
                <a:gd name="connsiteX4765" fmla="*/ 2135182 w 3320377"/>
                <a:gd name="connsiteY4765" fmla="*/ 2897827 h 3363305"/>
                <a:gd name="connsiteX4766" fmla="*/ 2137465 w 3320377"/>
                <a:gd name="connsiteY4766" fmla="*/ 2900109 h 3363305"/>
                <a:gd name="connsiteX4767" fmla="*/ 2139749 w 3320377"/>
                <a:gd name="connsiteY4767" fmla="*/ 2900109 h 3363305"/>
                <a:gd name="connsiteX4768" fmla="*/ 2139749 w 3320377"/>
                <a:gd name="connsiteY4768" fmla="*/ 2897827 h 3363305"/>
                <a:gd name="connsiteX4769" fmla="*/ 2142032 w 3320377"/>
                <a:gd name="connsiteY4769" fmla="*/ 2893263 h 3363305"/>
                <a:gd name="connsiteX4770" fmla="*/ 2142032 w 3320377"/>
                <a:gd name="connsiteY4770" fmla="*/ 2890982 h 3363305"/>
                <a:gd name="connsiteX4771" fmla="*/ 2142032 w 3320377"/>
                <a:gd name="connsiteY4771" fmla="*/ 2888700 h 3363305"/>
                <a:gd name="connsiteX4772" fmla="*/ 2142032 w 3320377"/>
                <a:gd name="connsiteY4772" fmla="*/ 2884136 h 3363305"/>
                <a:gd name="connsiteX4773" fmla="*/ 2142032 w 3320377"/>
                <a:gd name="connsiteY4773" fmla="*/ 2881854 h 3363305"/>
                <a:gd name="connsiteX4774" fmla="*/ 2142032 w 3320377"/>
                <a:gd name="connsiteY4774" fmla="*/ 2879572 h 3363305"/>
                <a:gd name="connsiteX4775" fmla="*/ 2142032 w 3320377"/>
                <a:gd name="connsiteY4775" fmla="*/ 2875008 h 3363305"/>
                <a:gd name="connsiteX4776" fmla="*/ 2142032 w 3320377"/>
                <a:gd name="connsiteY4776" fmla="*/ 2872726 h 3363305"/>
                <a:gd name="connsiteX4777" fmla="*/ 2142032 w 3320377"/>
                <a:gd name="connsiteY4777" fmla="*/ 2870444 h 3363305"/>
                <a:gd name="connsiteX4778" fmla="*/ 2142032 w 3320377"/>
                <a:gd name="connsiteY4778" fmla="*/ 2868163 h 3363305"/>
                <a:gd name="connsiteX4779" fmla="*/ 2139749 w 3320377"/>
                <a:gd name="connsiteY4779" fmla="*/ 2868163 h 3363305"/>
                <a:gd name="connsiteX4780" fmla="*/ 2137465 w 3320377"/>
                <a:gd name="connsiteY4780" fmla="*/ 2868163 h 3363305"/>
                <a:gd name="connsiteX4781" fmla="*/ 2137465 w 3320377"/>
                <a:gd name="connsiteY4781" fmla="*/ 2865881 h 3363305"/>
                <a:gd name="connsiteX4782" fmla="*/ 2142032 w 3320377"/>
                <a:gd name="connsiteY4782" fmla="*/ 2863599 h 3363305"/>
                <a:gd name="connsiteX4783" fmla="*/ 2144316 w 3320377"/>
                <a:gd name="connsiteY4783" fmla="*/ 2861317 h 3363305"/>
                <a:gd name="connsiteX4784" fmla="*/ 2148883 w 3320377"/>
                <a:gd name="connsiteY4784" fmla="*/ 2859035 h 3363305"/>
                <a:gd name="connsiteX4785" fmla="*/ 2151167 w 3320377"/>
                <a:gd name="connsiteY4785" fmla="*/ 2859035 h 3363305"/>
                <a:gd name="connsiteX4786" fmla="*/ 2153450 w 3320377"/>
                <a:gd name="connsiteY4786" fmla="*/ 2856753 h 3363305"/>
                <a:gd name="connsiteX4787" fmla="*/ 2151167 w 3320377"/>
                <a:gd name="connsiteY4787" fmla="*/ 2852189 h 3363305"/>
                <a:gd name="connsiteX4788" fmla="*/ 2151167 w 3320377"/>
                <a:gd name="connsiteY4788" fmla="*/ 2847626 h 3363305"/>
                <a:gd name="connsiteX4789" fmla="*/ 2151167 w 3320377"/>
                <a:gd name="connsiteY4789" fmla="*/ 2845343 h 3363305"/>
                <a:gd name="connsiteX4790" fmla="*/ 2155734 w 3320377"/>
                <a:gd name="connsiteY4790" fmla="*/ 2833934 h 3363305"/>
                <a:gd name="connsiteX4791" fmla="*/ 2162585 w 3320377"/>
                <a:gd name="connsiteY4791" fmla="*/ 2820252 h 3363305"/>
                <a:gd name="connsiteX4792" fmla="*/ 2164868 w 3320377"/>
                <a:gd name="connsiteY4792" fmla="*/ 2804279 h 3363305"/>
                <a:gd name="connsiteX4793" fmla="*/ 2169436 w 3320377"/>
                <a:gd name="connsiteY4793" fmla="*/ 2804279 h 3363305"/>
                <a:gd name="connsiteX4794" fmla="*/ 2171719 w 3320377"/>
                <a:gd name="connsiteY4794" fmla="*/ 2774614 h 3363305"/>
                <a:gd name="connsiteX4795" fmla="*/ 2178570 w 3320377"/>
                <a:gd name="connsiteY4795" fmla="*/ 2772332 h 3363305"/>
                <a:gd name="connsiteX4796" fmla="*/ 2180854 w 3320377"/>
                <a:gd name="connsiteY4796" fmla="*/ 2772332 h 3363305"/>
                <a:gd name="connsiteX4797" fmla="*/ 2185421 w 3320377"/>
                <a:gd name="connsiteY4797" fmla="*/ 2770051 h 3363305"/>
                <a:gd name="connsiteX4798" fmla="*/ 2199122 w 3320377"/>
                <a:gd name="connsiteY4798" fmla="*/ 2776896 h 3363305"/>
                <a:gd name="connsiteX4799" fmla="*/ 2201406 w 3320377"/>
                <a:gd name="connsiteY4799" fmla="*/ 2779178 h 3363305"/>
                <a:gd name="connsiteX4800" fmla="*/ 2226525 w 3320377"/>
                <a:gd name="connsiteY4800" fmla="*/ 2788306 h 3363305"/>
                <a:gd name="connsiteX4801" fmla="*/ 2228809 w 3320377"/>
                <a:gd name="connsiteY4801" fmla="*/ 2790588 h 3363305"/>
                <a:gd name="connsiteX4802" fmla="*/ 2251645 w 3320377"/>
                <a:gd name="connsiteY4802" fmla="*/ 2801997 h 3363305"/>
                <a:gd name="connsiteX4803" fmla="*/ 2251645 w 3320377"/>
                <a:gd name="connsiteY4803" fmla="*/ 2804279 h 3363305"/>
                <a:gd name="connsiteX4804" fmla="*/ 2253929 w 3320377"/>
                <a:gd name="connsiteY4804" fmla="*/ 2804279 h 3363305"/>
                <a:gd name="connsiteX4805" fmla="*/ 2258496 w 3320377"/>
                <a:gd name="connsiteY4805" fmla="*/ 2804279 h 3363305"/>
                <a:gd name="connsiteX4806" fmla="*/ 2260779 w 3320377"/>
                <a:gd name="connsiteY4806" fmla="*/ 2804279 h 3363305"/>
                <a:gd name="connsiteX4807" fmla="*/ 2265347 w 3320377"/>
                <a:gd name="connsiteY4807" fmla="*/ 2804279 h 3363305"/>
                <a:gd name="connsiteX4808" fmla="*/ 2269914 w 3320377"/>
                <a:gd name="connsiteY4808" fmla="*/ 2804279 h 3363305"/>
                <a:gd name="connsiteX4809" fmla="*/ 2272197 w 3320377"/>
                <a:gd name="connsiteY4809" fmla="*/ 2804279 h 3363305"/>
                <a:gd name="connsiteX4810" fmla="*/ 2274481 w 3320377"/>
                <a:gd name="connsiteY4810" fmla="*/ 2804279 h 3363305"/>
                <a:gd name="connsiteX4811" fmla="*/ 2276765 w 3320377"/>
                <a:gd name="connsiteY4811" fmla="*/ 2806561 h 3363305"/>
                <a:gd name="connsiteX4812" fmla="*/ 2276765 w 3320377"/>
                <a:gd name="connsiteY4812" fmla="*/ 2808843 h 3363305"/>
                <a:gd name="connsiteX4813" fmla="*/ 2276765 w 3320377"/>
                <a:gd name="connsiteY4813" fmla="*/ 2811125 h 3363305"/>
                <a:gd name="connsiteX4814" fmla="*/ 2276765 w 3320377"/>
                <a:gd name="connsiteY4814" fmla="*/ 2813407 h 3363305"/>
                <a:gd name="connsiteX4815" fmla="*/ 2276765 w 3320377"/>
                <a:gd name="connsiteY4815" fmla="*/ 2815688 h 3363305"/>
                <a:gd name="connsiteX4816" fmla="*/ 2276765 w 3320377"/>
                <a:gd name="connsiteY4816" fmla="*/ 2820252 h 3363305"/>
                <a:gd name="connsiteX4817" fmla="*/ 2297317 w 3320377"/>
                <a:gd name="connsiteY4817" fmla="*/ 2824816 h 3363305"/>
                <a:gd name="connsiteX4818" fmla="*/ 2292750 w 3320377"/>
                <a:gd name="connsiteY4818" fmla="*/ 2829370 h 3363305"/>
                <a:gd name="connsiteX4819" fmla="*/ 2288183 w 3320377"/>
                <a:gd name="connsiteY4819" fmla="*/ 2843062 h 3363305"/>
                <a:gd name="connsiteX4820" fmla="*/ 2283615 w 3320377"/>
                <a:gd name="connsiteY4820" fmla="*/ 2856753 h 3363305"/>
                <a:gd name="connsiteX4821" fmla="*/ 2288183 w 3320377"/>
                <a:gd name="connsiteY4821" fmla="*/ 2861317 h 3363305"/>
                <a:gd name="connsiteX4822" fmla="*/ 2295033 w 3320377"/>
                <a:gd name="connsiteY4822" fmla="*/ 2863599 h 3363305"/>
                <a:gd name="connsiteX4823" fmla="*/ 2297317 w 3320377"/>
                <a:gd name="connsiteY4823" fmla="*/ 2863599 h 3363305"/>
                <a:gd name="connsiteX4824" fmla="*/ 2299601 w 3320377"/>
                <a:gd name="connsiteY4824" fmla="*/ 2863599 h 3363305"/>
                <a:gd name="connsiteX4825" fmla="*/ 2301884 w 3320377"/>
                <a:gd name="connsiteY4825" fmla="*/ 2863599 h 3363305"/>
                <a:gd name="connsiteX4826" fmla="*/ 2301884 w 3320377"/>
                <a:gd name="connsiteY4826" fmla="*/ 2861317 h 3363305"/>
                <a:gd name="connsiteX4827" fmla="*/ 2304168 w 3320377"/>
                <a:gd name="connsiteY4827" fmla="*/ 2861317 h 3363305"/>
                <a:gd name="connsiteX4828" fmla="*/ 2306451 w 3320377"/>
                <a:gd name="connsiteY4828" fmla="*/ 2861317 h 3363305"/>
                <a:gd name="connsiteX4829" fmla="*/ 2308735 w 3320377"/>
                <a:gd name="connsiteY4829" fmla="*/ 2861317 h 3363305"/>
                <a:gd name="connsiteX4830" fmla="*/ 2308735 w 3320377"/>
                <a:gd name="connsiteY4830" fmla="*/ 2863599 h 3363305"/>
                <a:gd name="connsiteX4831" fmla="*/ 2311019 w 3320377"/>
                <a:gd name="connsiteY4831" fmla="*/ 2863599 h 3363305"/>
                <a:gd name="connsiteX4832" fmla="*/ 2313302 w 3320377"/>
                <a:gd name="connsiteY4832" fmla="*/ 2861317 h 3363305"/>
                <a:gd name="connsiteX4833" fmla="*/ 2315586 w 3320377"/>
                <a:gd name="connsiteY4833" fmla="*/ 2861317 h 3363305"/>
                <a:gd name="connsiteX4834" fmla="*/ 2317869 w 3320377"/>
                <a:gd name="connsiteY4834" fmla="*/ 2861317 h 3363305"/>
                <a:gd name="connsiteX4835" fmla="*/ 2329287 w 3320377"/>
                <a:gd name="connsiteY4835" fmla="*/ 2856753 h 3363305"/>
                <a:gd name="connsiteX4836" fmla="*/ 2338422 w 3320377"/>
                <a:gd name="connsiteY4836" fmla="*/ 2852189 h 3363305"/>
                <a:gd name="connsiteX4837" fmla="*/ 2347556 w 3320377"/>
                <a:gd name="connsiteY4837" fmla="*/ 2863599 h 3363305"/>
                <a:gd name="connsiteX4838" fmla="*/ 2354407 w 3320377"/>
                <a:gd name="connsiteY4838" fmla="*/ 2875008 h 3363305"/>
                <a:gd name="connsiteX4839" fmla="*/ 2370392 w 3320377"/>
                <a:gd name="connsiteY4839" fmla="*/ 2868163 h 3363305"/>
                <a:gd name="connsiteX4840" fmla="*/ 2381810 w 3320377"/>
                <a:gd name="connsiteY4840" fmla="*/ 2859035 h 3363305"/>
                <a:gd name="connsiteX4841" fmla="*/ 2384094 w 3320377"/>
                <a:gd name="connsiteY4841" fmla="*/ 2865881 h 3363305"/>
                <a:gd name="connsiteX4842" fmla="*/ 2388661 w 3320377"/>
                <a:gd name="connsiteY4842" fmla="*/ 2877290 h 3363305"/>
                <a:gd name="connsiteX4843" fmla="*/ 2397795 w 3320377"/>
                <a:gd name="connsiteY4843" fmla="*/ 2881854 h 3363305"/>
                <a:gd name="connsiteX4844" fmla="*/ 2416064 w 3320377"/>
                <a:gd name="connsiteY4844" fmla="*/ 2877290 h 3363305"/>
                <a:gd name="connsiteX4845" fmla="*/ 2425198 w 3320377"/>
                <a:gd name="connsiteY4845" fmla="*/ 2875008 h 3363305"/>
                <a:gd name="connsiteX4846" fmla="*/ 2434333 w 3320377"/>
                <a:gd name="connsiteY4846" fmla="*/ 2877290 h 3363305"/>
                <a:gd name="connsiteX4847" fmla="*/ 2445751 w 3320377"/>
                <a:gd name="connsiteY4847" fmla="*/ 2881854 h 3363305"/>
                <a:gd name="connsiteX4848" fmla="*/ 2448034 w 3320377"/>
                <a:gd name="connsiteY4848" fmla="*/ 2881854 h 3363305"/>
                <a:gd name="connsiteX4849" fmla="*/ 2457169 w 3320377"/>
                <a:gd name="connsiteY4849" fmla="*/ 2886418 h 3363305"/>
                <a:gd name="connsiteX4850" fmla="*/ 2454885 w 3320377"/>
                <a:gd name="connsiteY4850" fmla="*/ 2888700 h 3363305"/>
                <a:gd name="connsiteX4851" fmla="*/ 2454885 w 3320377"/>
                <a:gd name="connsiteY4851" fmla="*/ 2890982 h 3363305"/>
                <a:gd name="connsiteX4852" fmla="*/ 2452601 w 3320377"/>
                <a:gd name="connsiteY4852" fmla="*/ 2893263 h 3363305"/>
                <a:gd name="connsiteX4853" fmla="*/ 2452601 w 3320377"/>
                <a:gd name="connsiteY4853" fmla="*/ 2895545 h 3363305"/>
                <a:gd name="connsiteX4854" fmla="*/ 2452601 w 3320377"/>
                <a:gd name="connsiteY4854" fmla="*/ 2902391 h 3363305"/>
                <a:gd name="connsiteX4855" fmla="*/ 2452601 w 3320377"/>
                <a:gd name="connsiteY4855" fmla="*/ 2906955 h 3363305"/>
                <a:gd name="connsiteX4856" fmla="*/ 2454885 w 3320377"/>
                <a:gd name="connsiteY4856" fmla="*/ 2911519 h 3363305"/>
                <a:gd name="connsiteX4857" fmla="*/ 2459452 w 3320377"/>
                <a:gd name="connsiteY4857" fmla="*/ 2911519 h 3363305"/>
                <a:gd name="connsiteX4858" fmla="*/ 2459452 w 3320377"/>
                <a:gd name="connsiteY4858" fmla="*/ 2913800 h 3363305"/>
                <a:gd name="connsiteX4859" fmla="*/ 2464020 w 3320377"/>
                <a:gd name="connsiteY4859" fmla="*/ 2918364 h 3363305"/>
                <a:gd name="connsiteX4860" fmla="*/ 2468587 w 3320377"/>
                <a:gd name="connsiteY4860" fmla="*/ 2920646 h 3363305"/>
                <a:gd name="connsiteX4861" fmla="*/ 2470870 w 3320377"/>
                <a:gd name="connsiteY4861" fmla="*/ 2913800 h 3363305"/>
                <a:gd name="connsiteX4862" fmla="*/ 2475437 w 3320377"/>
                <a:gd name="connsiteY4862" fmla="*/ 2913800 h 3363305"/>
                <a:gd name="connsiteX4863" fmla="*/ 2477721 w 3320377"/>
                <a:gd name="connsiteY4863" fmla="*/ 2913800 h 3363305"/>
                <a:gd name="connsiteX4864" fmla="*/ 2482288 w 3320377"/>
                <a:gd name="connsiteY4864" fmla="*/ 2909237 h 3363305"/>
                <a:gd name="connsiteX4865" fmla="*/ 2484572 w 3320377"/>
                <a:gd name="connsiteY4865" fmla="*/ 2906955 h 3363305"/>
                <a:gd name="connsiteX4866" fmla="*/ 2486855 w 3320377"/>
                <a:gd name="connsiteY4866" fmla="*/ 2904673 h 3363305"/>
                <a:gd name="connsiteX4867" fmla="*/ 2489139 w 3320377"/>
                <a:gd name="connsiteY4867" fmla="*/ 2902391 h 3363305"/>
                <a:gd name="connsiteX4868" fmla="*/ 2493706 w 3320377"/>
                <a:gd name="connsiteY4868" fmla="*/ 2895545 h 3363305"/>
                <a:gd name="connsiteX4869" fmla="*/ 2500557 w 3320377"/>
                <a:gd name="connsiteY4869" fmla="*/ 2890982 h 3363305"/>
                <a:gd name="connsiteX4870" fmla="*/ 2514259 w 3320377"/>
                <a:gd name="connsiteY4870" fmla="*/ 2877290 h 3363305"/>
                <a:gd name="connsiteX4871" fmla="*/ 2511975 w 3320377"/>
                <a:gd name="connsiteY4871" fmla="*/ 2875008 h 3363305"/>
                <a:gd name="connsiteX4872" fmla="*/ 2511975 w 3320377"/>
                <a:gd name="connsiteY4872" fmla="*/ 2872726 h 3363305"/>
                <a:gd name="connsiteX4873" fmla="*/ 2511975 w 3320377"/>
                <a:gd name="connsiteY4873" fmla="*/ 2870444 h 3363305"/>
                <a:gd name="connsiteX4874" fmla="*/ 2511975 w 3320377"/>
                <a:gd name="connsiteY4874" fmla="*/ 2868163 h 3363305"/>
                <a:gd name="connsiteX4875" fmla="*/ 2514259 w 3320377"/>
                <a:gd name="connsiteY4875" fmla="*/ 2865881 h 3363305"/>
                <a:gd name="connsiteX4876" fmla="*/ 2516542 w 3320377"/>
                <a:gd name="connsiteY4876" fmla="*/ 2863599 h 3363305"/>
                <a:gd name="connsiteX4877" fmla="*/ 2516542 w 3320377"/>
                <a:gd name="connsiteY4877" fmla="*/ 2861317 h 3363305"/>
                <a:gd name="connsiteX4878" fmla="*/ 2518826 w 3320377"/>
                <a:gd name="connsiteY4878" fmla="*/ 2861317 h 3363305"/>
                <a:gd name="connsiteX4879" fmla="*/ 2518826 w 3320377"/>
                <a:gd name="connsiteY4879" fmla="*/ 2859035 h 3363305"/>
                <a:gd name="connsiteX4880" fmla="*/ 2521109 w 3320377"/>
                <a:gd name="connsiteY4880" fmla="*/ 2856753 h 3363305"/>
                <a:gd name="connsiteX4881" fmla="*/ 2523393 w 3320377"/>
                <a:gd name="connsiteY4881" fmla="*/ 2854471 h 3363305"/>
                <a:gd name="connsiteX4882" fmla="*/ 2523393 w 3320377"/>
                <a:gd name="connsiteY4882" fmla="*/ 2852189 h 3363305"/>
                <a:gd name="connsiteX4883" fmla="*/ 2523393 w 3320377"/>
                <a:gd name="connsiteY4883" fmla="*/ 2845343 h 3363305"/>
                <a:gd name="connsiteX4884" fmla="*/ 2523393 w 3320377"/>
                <a:gd name="connsiteY4884" fmla="*/ 2840780 h 3363305"/>
                <a:gd name="connsiteX4885" fmla="*/ 2523393 w 3320377"/>
                <a:gd name="connsiteY4885" fmla="*/ 2838498 h 3363305"/>
                <a:gd name="connsiteX4886" fmla="*/ 2525676 w 3320377"/>
                <a:gd name="connsiteY4886" fmla="*/ 2836216 h 3363305"/>
                <a:gd name="connsiteX4887" fmla="*/ 2527960 w 3320377"/>
                <a:gd name="connsiteY4887" fmla="*/ 2831652 h 3363305"/>
                <a:gd name="connsiteX4888" fmla="*/ 2527960 w 3320377"/>
                <a:gd name="connsiteY4888" fmla="*/ 2829370 h 3363305"/>
                <a:gd name="connsiteX4889" fmla="*/ 2530244 w 3320377"/>
                <a:gd name="connsiteY4889" fmla="*/ 2827088 h 3363305"/>
                <a:gd name="connsiteX4890" fmla="*/ 2532527 w 3320377"/>
                <a:gd name="connsiteY4890" fmla="*/ 2822534 h 3363305"/>
                <a:gd name="connsiteX4891" fmla="*/ 2534811 w 3320377"/>
                <a:gd name="connsiteY4891" fmla="*/ 2820252 h 3363305"/>
                <a:gd name="connsiteX4892" fmla="*/ 2537095 w 3320377"/>
                <a:gd name="connsiteY4892" fmla="*/ 2817970 h 3363305"/>
                <a:gd name="connsiteX4893" fmla="*/ 2550796 w 3320377"/>
                <a:gd name="connsiteY4893" fmla="*/ 2808843 h 3363305"/>
                <a:gd name="connsiteX4894" fmla="*/ 2553080 w 3320377"/>
                <a:gd name="connsiteY4894" fmla="*/ 2808843 h 3363305"/>
                <a:gd name="connsiteX4895" fmla="*/ 2555363 w 3320377"/>
                <a:gd name="connsiteY4895" fmla="*/ 2808843 h 3363305"/>
                <a:gd name="connsiteX4896" fmla="*/ 2557647 w 3320377"/>
                <a:gd name="connsiteY4896" fmla="*/ 2808843 h 3363305"/>
                <a:gd name="connsiteX4897" fmla="*/ 2559930 w 3320377"/>
                <a:gd name="connsiteY4897" fmla="*/ 2808843 h 3363305"/>
                <a:gd name="connsiteX4898" fmla="*/ 2562214 w 3320377"/>
                <a:gd name="connsiteY4898" fmla="*/ 2808843 h 3363305"/>
                <a:gd name="connsiteX4899" fmla="*/ 2564498 w 3320377"/>
                <a:gd name="connsiteY4899" fmla="*/ 2808843 h 3363305"/>
                <a:gd name="connsiteX4900" fmla="*/ 2566781 w 3320377"/>
                <a:gd name="connsiteY4900" fmla="*/ 2811125 h 3363305"/>
                <a:gd name="connsiteX4901" fmla="*/ 2566781 w 3320377"/>
                <a:gd name="connsiteY4901" fmla="*/ 2808843 h 3363305"/>
                <a:gd name="connsiteX4902" fmla="*/ 2569065 w 3320377"/>
                <a:gd name="connsiteY4902" fmla="*/ 2808843 h 3363305"/>
                <a:gd name="connsiteX4903" fmla="*/ 2573632 w 3320377"/>
                <a:gd name="connsiteY4903" fmla="*/ 2808843 h 3363305"/>
                <a:gd name="connsiteX4904" fmla="*/ 2571349 w 3320377"/>
                <a:gd name="connsiteY4904" fmla="*/ 2806561 h 3363305"/>
                <a:gd name="connsiteX4905" fmla="*/ 2571349 w 3320377"/>
                <a:gd name="connsiteY4905" fmla="*/ 2804279 h 3363305"/>
                <a:gd name="connsiteX4906" fmla="*/ 2571349 w 3320377"/>
                <a:gd name="connsiteY4906" fmla="*/ 2801997 h 3363305"/>
                <a:gd name="connsiteX4907" fmla="*/ 2573632 w 3320377"/>
                <a:gd name="connsiteY4907" fmla="*/ 2799715 h 3363305"/>
                <a:gd name="connsiteX4908" fmla="*/ 2575916 w 3320377"/>
                <a:gd name="connsiteY4908" fmla="*/ 2792870 h 3363305"/>
                <a:gd name="connsiteX4909" fmla="*/ 2578199 w 3320377"/>
                <a:gd name="connsiteY4909" fmla="*/ 2795151 h 3363305"/>
                <a:gd name="connsiteX4910" fmla="*/ 2589617 w 3320377"/>
                <a:gd name="connsiteY4910" fmla="*/ 2799715 h 3363305"/>
                <a:gd name="connsiteX4911" fmla="*/ 2605603 w 3320377"/>
                <a:gd name="connsiteY4911" fmla="*/ 2804279 h 3363305"/>
                <a:gd name="connsiteX4912" fmla="*/ 2614737 w 3320377"/>
                <a:gd name="connsiteY4912" fmla="*/ 2804279 h 3363305"/>
                <a:gd name="connsiteX4913" fmla="*/ 2617020 w 3320377"/>
                <a:gd name="connsiteY4913" fmla="*/ 2799715 h 3363305"/>
                <a:gd name="connsiteX4914" fmla="*/ 2619304 w 3320377"/>
                <a:gd name="connsiteY4914" fmla="*/ 2799715 h 3363305"/>
                <a:gd name="connsiteX4915" fmla="*/ 2633005 w 3320377"/>
                <a:gd name="connsiteY4915" fmla="*/ 2797433 h 3363305"/>
                <a:gd name="connsiteX4916" fmla="*/ 2633005 w 3320377"/>
                <a:gd name="connsiteY4916" fmla="*/ 2795151 h 3363305"/>
                <a:gd name="connsiteX4917" fmla="*/ 2633005 w 3320377"/>
                <a:gd name="connsiteY4917" fmla="*/ 2792870 h 3363305"/>
                <a:gd name="connsiteX4918" fmla="*/ 2635289 w 3320377"/>
                <a:gd name="connsiteY4918" fmla="*/ 2792870 h 3363305"/>
                <a:gd name="connsiteX4919" fmla="*/ 2639856 w 3320377"/>
                <a:gd name="connsiteY4919" fmla="*/ 2786024 h 3363305"/>
                <a:gd name="connsiteX4920" fmla="*/ 2644424 w 3320377"/>
                <a:gd name="connsiteY4920" fmla="*/ 2781460 h 3363305"/>
                <a:gd name="connsiteX4921" fmla="*/ 2646707 w 3320377"/>
                <a:gd name="connsiteY4921" fmla="*/ 2781460 h 3363305"/>
                <a:gd name="connsiteX4922" fmla="*/ 2653558 w 3320377"/>
                <a:gd name="connsiteY4922" fmla="*/ 2783742 h 3363305"/>
                <a:gd name="connsiteX4923" fmla="*/ 2658125 w 3320377"/>
                <a:gd name="connsiteY4923" fmla="*/ 2783742 h 3363305"/>
                <a:gd name="connsiteX4924" fmla="*/ 2662692 w 3320377"/>
                <a:gd name="connsiteY4924" fmla="*/ 2783742 h 3363305"/>
                <a:gd name="connsiteX4925" fmla="*/ 2662692 w 3320377"/>
                <a:gd name="connsiteY4925" fmla="*/ 2781460 h 3363305"/>
                <a:gd name="connsiteX4926" fmla="*/ 2667259 w 3320377"/>
                <a:gd name="connsiteY4926" fmla="*/ 2781460 h 3363305"/>
                <a:gd name="connsiteX4927" fmla="*/ 2671827 w 3320377"/>
                <a:gd name="connsiteY4927" fmla="*/ 2779178 h 3363305"/>
                <a:gd name="connsiteX4928" fmla="*/ 2678678 w 3320377"/>
                <a:gd name="connsiteY4928" fmla="*/ 2779178 h 3363305"/>
                <a:gd name="connsiteX4929" fmla="*/ 2680961 w 3320377"/>
                <a:gd name="connsiteY4929" fmla="*/ 2779178 h 3363305"/>
                <a:gd name="connsiteX4930" fmla="*/ 2687812 w 3320377"/>
                <a:gd name="connsiteY4930" fmla="*/ 2781460 h 3363305"/>
                <a:gd name="connsiteX4931" fmla="*/ 2696946 w 3320377"/>
                <a:gd name="connsiteY4931" fmla="*/ 2797433 h 3363305"/>
                <a:gd name="connsiteX4932" fmla="*/ 2703797 w 3320377"/>
                <a:gd name="connsiteY4932" fmla="*/ 2797433 h 3363305"/>
                <a:gd name="connsiteX4933" fmla="*/ 2710648 w 3320377"/>
                <a:gd name="connsiteY4933" fmla="*/ 2801997 h 3363305"/>
                <a:gd name="connsiteX4934" fmla="*/ 2712932 w 3320377"/>
                <a:gd name="connsiteY4934" fmla="*/ 2801997 h 3363305"/>
                <a:gd name="connsiteX4935" fmla="*/ 2717499 w 3320377"/>
                <a:gd name="connsiteY4935" fmla="*/ 2804279 h 3363305"/>
                <a:gd name="connsiteX4936" fmla="*/ 2722066 w 3320377"/>
                <a:gd name="connsiteY4936" fmla="*/ 2804279 h 3363305"/>
                <a:gd name="connsiteX4937" fmla="*/ 2726633 w 3320377"/>
                <a:gd name="connsiteY4937" fmla="*/ 2804279 h 3363305"/>
                <a:gd name="connsiteX4938" fmla="*/ 2726633 w 3320377"/>
                <a:gd name="connsiteY4938" fmla="*/ 2808843 h 3363305"/>
                <a:gd name="connsiteX4939" fmla="*/ 2728917 w 3320377"/>
                <a:gd name="connsiteY4939" fmla="*/ 2811125 h 3363305"/>
                <a:gd name="connsiteX4940" fmla="*/ 2715215 w 3320377"/>
                <a:gd name="connsiteY4940" fmla="*/ 2824816 h 3363305"/>
                <a:gd name="connsiteX4941" fmla="*/ 2724349 w 3320377"/>
                <a:gd name="connsiteY4941" fmla="*/ 2827088 h 3363305"/>
                <a:gd name="connsiteX4942" fmla="*/ 2722066 w 3320377"/>
                <a:gd name="connsiteY4942" fmla="*/ 2831652 h 3363305"/>
                <a:gd name="connsiteX4943" fmla="*/ 2726633 w 3320377"/>
                <a:gd name="connsiteY4943" fmla="*/ 2833934 h 3363305"/>
                <a:gd name="connsiteX4944" fmla="*/ 2740335 w 3320377"/>
                <a:gd name="connsiteY4944" fmla="*/ 2854471 h 3363305"/>
                <a:gd name="connsiteX4945" fmla="*/ 2742618 w 3320377"/>
                <a:gd name="connsiteY4945" fmla="*/ 2854471 h 3363305"/>
                <a:gd name="connsiteX4946" fmla="*/ 2744902 w 3320377"/>
                <a:gd name="connsiteY4946" fmla="*/ 2854471 h 3363305"/>
                <a:gd name="connsiteX4947" fmla="*/ 2747185 w 3320377"/>
                <a:gd name="connsiteY4947" fmla="*/ 2854471 h 3363305"/>
                <a:gd name="connsiteX4948" fmla="*/ 2747185 w 3320377"/>
                <a:gd name="connsiteY4948" fmla="*/ 2852189 h 3363305"/>
                <a:gd name="connsiteX4949" fmla="*/ 2749469 w 3320377"/>
                <a:gd name="connsiteY4949" fmla="*/ 2852189 h 3363305"/>
                <a:gd name="connsiteX4950" fmla="*/ 2751753 w 3320377"/>
                <a:gd name="connsiteY4950" fmla="*/ 2849907 h 3363305"/>
                <a:gd name="connsiteX4951" fmla="*/ 2754036 w 3320377"/>
                <a:gd name="connsiteY4951" fmla="*/ 2847626 h 3363305"/>
                <a:gd name="connsiteX4952" fmla="*/ 2754036 w 3320377"/>
                <a:gd name="connsiteY4952" fmla="*/ 2845343 h 3363305"/>
                <a:gd name="connsiteX4953" fmla="*/ 2754036 w 3320377"/>
                <a:gd name="connsiteY4953" fmla="*/ 2840780 h 3363305"/>
                <a:gd name="connsiteX4954" fmla="*/ 2754036 w 3320377"/>
                <a:gd name="connsiteY4954" fmla="*/ 2838498 h 3363305"/>
                <a:gd name="connsiteX4955" fmla="*/ 2754036 w 3320377"/>
                <a:gd name="connsiteY4955" fmla="*/ 2836216 h 3363305"/>
                <a:gd name="connsiteX4956" fmla="*/ 2756320 w 3320377"/>
                <a:gd name="connsiteY4956" fmla="*/ 2833934 h 3363305"/>
                <a:gd name="connsiteX4957" fmla="*/ 2758603 w 3320377"/>
                <a:gd name="connsiteY4957" fmla="*/ 2833934 h 3363305"/>
                <a:gd name="connsiteX4958" fmla="*/ 2760887 w 3320377"/>
                <a:gd name="connsiteY4958" fmla="*/ 2831652 h 3363305"/>
                <a:gd name="connsiteX4959" fmla="*/ 2763171 w 3320377"/>
                <a:gd name="connsiteY4959" fmla="*/ 2829370 h 3363305"/>
                <a:gd name="connsiteX4960" fmla="*/ 2765454 w 3320377"/>
                <a:gd name="connsiteY4960" fmla="*/ 2827088 h 3363305"/>
                <a:gd name="connsiteX4961" fmla="*/ 2765454 w 3320377"/>
                <a:gd name="connsiteY4961" fmla="*/ 2824816 h 3363305"/>
                <a:gd name="connsiteX4962" fmla="*/ 2765454 w 3320377"/>
                <a:gd name="connsiteY4962" fmla="*/ 2817970 h 3363305"/>
                <a:gd name="connsiteX4963" fmla="*/ 2770021 w 3320377"/>
                <a:gd name="connsiteY4963" fmla="*/ 2804279 h 3363305"/>
                <a:gd name="connsiteX4964" fmla="*/ 2767738 w 3320377"/>
                <a:gd name="connsiteY4964" fmla="*/ 2801997 h 3363305"/>
                <a:gd name="connsiteX4965" fmla="*/ 2770021 w 3320377"/>
                <a:gd name="connsiteY4965" fmla="*/ 2799715 h 3363305"/>
                <a:gd name="connsiteX4966" fmla="*/ 2779165 w 3320377"/>
                <a:gd name="connsiteY4966" fmla="*/ 2799715 h 3363305"/>
                <a:gd name="connsiteX4967" fmla="*/ 2786007 w 3320377"/>
                <a:gd name="connsiteY4967" fmla="*/ 2799715 h 3363305"/>
                <a:gd name="connsiteX4968" fmla="*/ 2797425 w 3320377"/>
                <a:gd name="connsiteY4968" fmla="*/ 2799715 h 3363305"/>
                <a:gd name="connsiteX4969" fmla="*/ 2792867 w 3320377"/>
                <a:gd name="connsiteY4969" fmla="*/ 2806561 h 3363305"/>
                <a:gd name="connsiteX4970" fmla="*/ 2792867 w 3320377"/>
                <a:gd name="connsiteY4970" fmla="*/ 2808843 h 3363305"/>
                <a:gd name="connsiteX4971" fmla="*/ 2795150 w 3320377"/>
                <a:gd name="connsiteY4971" fmla="*/ 2820252 h 3363305"/>
                <a:gd name="connsiteX4972" fmla="*/ 2797425 w 3320377"/>
                <a:gd name="connsiteY4972" fmla="*/ 2824816 h 3363305"/>
                <a:gd name="connsiteX4973" fmla="*/ 2801992 w 3320377"/>
                <a:gd name="connsiteY4973" fmla="*/ 2827088 h 3363305"/>
                <a:gd name="connsiteX4974" fmla="*/ 2808852 w 3320377"/>
                <a:gd name="connsiteY4974" fmla="*/ 2840780 h 3363305"/>
                <a:gd name="connsiteX4975" fmla="*/ 2815703 w 3320377"/>
                <a:gd name="connsiteY4975" fmla="*/ 2836216 h 3363305"/>
                <a:gd name="connsiteX4976" fmla="*/ 2817977 w 3320377"/>
                <a:gd name="connsiteY4976" fmla="*/ 2833934 h 3363305"/>
                <a:gd name="connsiteX4977" fmla="*/ 2820261 w 3320377"/>
                <a:gd name="connsiteY4977" fmla="*/ 2833934 h 3363305"/>
                <a:gd name="connsiteX4978" fmla="*/ 2822554 w 3320377"/>
                <a:gd name="connsiteY4978" fmla="*/ 2833934 h 3363305"/>
                <a:gd name="connsiteX4979" fmla="*/ 2827111 w 3320377"/>
                <a:gd name="connsiteY4979" fmla="*/ 2833934 h 3363305"/>
                <a:gd name="connsiteX4980" fmla="*/ 2833971 w 3320377"/>
                <a:gd name="connsiteY4980" fmla="*/ 2831652 h 3363305"/>
                <a:gd name="connsiteX4981" fmla="*/ 2836255 w 3320377"/>
                <a:gd name="connsiteY4981" fmla="*/ 2831652 h 3363305"/>
                <a:gd name="connsiteX4982" fmla="*/ 2833971 w 3320377"/>
                <a:gd name="connsiteY4982" fmla="*/ 2822534 h 3363305"/>
                <a:gd name="connsiteX4983" fmla="*/ 2836255 w 3320377"/>
                <a:gd name="connsiteY4983" fmla="*/ 2817970 h 3363305"/>
                <a:gd name="connsiteX4984" fmla="*/ 2838539 w 3320377"/>
                <a:gd name="connsiteY4984" fmla="*/ 2813407 h 3363305"/>
                <a:gd name="connsiteX4985" fmla="*/ 2854524 w 3320377"/>
                <a:gd name="connsiteY4985" fmla="*/ 2813407 h 3363305"/>
                <a:gd name="connsiteX4986" fmla="*/ 2861375 w 3320377"/>
                <a:gd name="connsiteY4986" fmla="*/ 2815688 h 3363305"/>
                <a:gd name="connsiteX4987" fmla="*/ 2863658 w 3320377"/>
                <a:gd name="connsiteY4987" fmla="*/ 2815688 h 3363305"/>
                <a:gd name="connsiteX4988" fmla="*/ 2865942 w 3320377"/>
                <a:gd name="connsiteY4988" fmla="*/ 2815688 h 3363305"/>
                <a:gd name="connsiteX4989" fmla="*/ 2868225 w 3320377"/>
                <a:gd name="connsiteY4989" fmla="*/ 2817970 h 3363305"/>
                <a:gd name="connsiteX4990" fmla="*/ 2870509 w 3320377"/>
                <a:gd name="connsiteY4990" fmla="*/ 2820252 h 3363305"/>
                <a:gd name="connsiteX4991" fmla="*/ 2872793 w 3320377"/>
                <a:gd name="connsiteY4991" fmla="*/ 2820252 h 3363305"/>
                <a:gd name="connsiteX4992" fmla="*/ 2877360 w 3320377"/>
                <a:gd name="connsiteY4992" fmla="*/ 2822534 h 3363305"/>
                <a:gd name="connsiteX4993" fmla="*/ 2877360 w 3320377"/>
                <a:gd name="connsiteY4993" fmla="*/ 2817970 h 3363305"/>
                <a:gd name="connsiteX4994" fmla="*/ 2879644 w 3320377"/>
                <a:gd name="connsiteY4994" fmla="*/ 2820252 h 3363305"/>
                <a:gd name="connsiteX4995" fmla="*/ 2881927 w 3320377"/>
                <a:gd name="connsiteY4995" fmla="*/ 2822534 h 3363305"/>
                <a:gd name="connsiteX4996" fmla="*/ 2886494 w 3320377"/>
                <a:gd name="connsiteY4996" fmla="*/ 2820252 h 3363305"/>
                <a:gd name="connsiteX4997" fmla="*/ 2886494 w 3320377"/>
                <a:gd name="connsiteY4997" fmla="*/ 2817970 h 3363305"/>
                <a:gd name="connsiteX4998" fmla="*/ 2888778 w 3320377"/>
                <a:gd name="connsiteY4998" fmla="*/ 2817970 h 3363305"/>
                <a:gd name="connsiteX4999" fmla="*/ 2891061 w 3320377"/>
                <a:gd name="connsiteY4999" fmla="*/ 2817970 h 3363305"/>
                <a:gd name="connsiteX5000" fmla="*/ 2891061 w 3320377"/>
                <a:gd name="connsiteY5000" fmla="*/ 2815688 h 3363305"/>
                <a:gd name="connsiteX5001" fmla="*/ 2893345 w 3320377"/>
                <a:gd name="connsiteY5001" fmla="*/ 2815688 h 3363305"/>
                <a:gd name="connsiteX5002" fmla="*/ 2895629 w 3320377"/>
                <a:gd name="connsiteY5002" fmla="*/ 2813407 h 3363305"/>
                <a:gd name="connsiteX5003" fmla="*/ 2895629 w 3320377"/>
                <a:gd name="connsiteY5003" fmla="*/ 2811125 h 3363305"/>
                <a:gd name="connsiteX5004" fmla="*/ 2895629 w 3320377"/>
                <a:gd name="connsiteY5004" fmla="*/ 2804279 h 3363305"/>
                <a:gd name="connsiteX5005" fmla="*/ 2900196 w 3320377"/>
                <a:gd name="connsiteY5005" fmla="*/ 2801997 h 3363305"/>
                <a:gd name="connsiteX5006" fmla="*/ 2902479 w 3320377"/>
                <a:gd name="connsiteY5006" fmla="*/ 2799715 h 3363305"/>
                <a:gd name="connsiteX5007" fmla="*/ 2929883 w 3320377"/>
                <a:gd name="connsiteY5007" fmla="*/ 2797433 h 3363305"/>
                <a:gd name="connsiteX5008" fmla="*/ 2927599 w 3320377"/>
                <a:gd name="connsiteY5008" fmla="*/ 2788306 h 3363305"/>
                <a:gd name="connsiteX5009" fmla="*/ 2936733 w 3320377"/>
                <a:gd name="connsiteY5009" fmla="*/ 2797433 h 3363305"/>
                <a:gd name="connsiteX5010" fmla="*/ 2936733 w 3320377"/>
                <a:gd name="connsiteY5010" fmla="*/ 2799715 h 3363305"/>
                <a:gd name="connsiteX5011" fmla="*/ 2948151 w 3320377"/>
                <a:gd name="connsiteY5011" fmla="*/ 2795151 h 3363305"/>
                <a:gd name="connsiteX5012" fmla="*/ 2959569 w 3320377"/>
                <a:gd name="connsiteY5012" fmla="*/ 2795151 h 3363305"/>
                <a:gd name="connsiteX5013" fmla="*/ 2961853 w 3320377"/>
                <a:gd name="connsiteY5013" fmla="*/ 2795151 h 3363305"/>
                <a:gd name="connsiteX5014" fmla="*/ 2961853 w 3320377"/>
                <a:gd name="connsiteY5014" fmla="*/ 2792870 h 3363305"/>
                <a:gd name="connsiteX5015" fmla="*/ 2961853 w 3320377"/>
                <a:gd name="connsiteY5015" fmla="*/ 2790588 h 3363305"/>
                <a:gd name="connsiteX5016" fmla="*/ 2961853 w 3320377"/>
                <a:gd name="connsiteY5016" fmla="*/ 2781460 h 3363305"/>
                <a:gd name="connsiteX5017" fmla="*/ 2964137 w 3320377"/>
                <a:gd name="connsiteY5017" fmla="*/ 2774614 h 3363305"/>
                <a:gd name="connsiteX5018" fmla="*/ 2964137 w 3320377"/>
                <a:gd name="connsiteY5018" fmla="*/ 2770051 h 3363305"/>
                <a:gd name="connsiteX5019" fmla="*/ 2964137 w 3320377"/>
                <a:gd name="connsiteY5019" fmla="*/ 2756359 h 3363305"/>
                <a:gd name="connsiteX5020" fmla="*/ 2964137 w 3320377"/>
                <a:gd name="connsiteY5020" fmla="*/ 2754077 h 3363305"/>
                <a:gd name="connsiteX5021" fmla="*/ 2959569 w 3320377"/>
                <a:gd name="connsiteY5021" fmla="*/ 2740386 h 3363305"/>
                <a:gd name="connsiteX5022" fmla="*/ 2957286 w 3320377"/>
                <a:gd name="connsiteY5022" fmla="*/ 2738104 h 3363305"/>
                <a:gd name="connsiteX5023" fmla="*/ 2964137 w 3320377"/>
                <a:gd name="connsiteY5023" fmla="*/ 2728976 h 3363305"/>
                <a:gd name="connsiteX5024" fmla="*/ 2966420 w 3320377"/>
                <a:gd name="connsiteY5024" fmla="*/ 2724413 h 3363305"/>
                <a:gd name="connsiteX5025" fmla="*/ 2966420 w 3320377"/>
                <a:gd name="connsiteY5025" fmla="*/ 2722131 h 3363305"/>
                <a:gd name="connsiteX5026" fmla="*/ 2966420 w 3320377"/>
                <a:gd name="connsiteY5026" fmla="*/ 2715285 h 3363305"/>
                <a:gd name="connsiteX5027" fmla="*/ 2961853 w 3320377"/>
                <a:gd name="connsiteY5027" fmla="*/ 2710721 h 3363305"/>
                <a:gd name="connsiteX5028" fmla="*/ 2970987 w 3320377"/>
                <a:gd name="connsiteY5028" fmla="*/ 2706158 h 3363305"/>
                <a:gd name="connsiteX5029" fmla="*/ 2973271 w 3320377"/>
                <a:gd name="connsiteY5029" fmla="*/ 2703875 h 3363305"/>
                <a:gd name="connsiteX5030" fmla="*/ 2975554 w 3320377"/>
                <a:gd name="connsiteY5030" fmla="*/ 2703875 h 3363305"/>
                <a:gd name="connsiteX5031" fmla="*/ 2975554 w 3320377"/>
                <a:gd name="connsiteY5031" fmla="*/ 2699312 h 3363305"/>
                <a:gd name="connsiteX5032" fmla="*/ 2977838 w 3320377"/>
                <a:gd name="connsiteY5032" fmla="*/ 2681057 h 3363305"/>
                <a:gd name="connsiteX5033" fmla="*/ 2977838 w 3320377"/>
                <a:gd name="connsiteY5033" fmla="*/ 2676493 h 3363305"/>
                <a:gd name="connsiteX5034" fmla="*/ 2980122 w 3320377"/>
                <a:gd name="connsiteY5034" fmla="*/ 2676493 h 3363305"/>
                <a:gd name="connsiteX5035" fmla="*/ 2980122 w 3320377"/>
                <a:gd name="connsiteY5035" fmla="*/ 2674220 h 3363305"/>
                <a:gd name="connsiteX5036" fmla="*/ 2982405 w 3320377"/>
                <a:gd name="connsiteY5036" fmla="*/ 2674220 h 3363305"/>
                <a:gd name="connsiteX5037" fmla="*/ 2984689 w 3320377"/>
                <a:gd name="connsiteY5037" fmla="*/ 2671939 h 3363305"/>
                <a:gd name="connsiteX5038" fmla="*/ 2986973 w 3320377"/>
                <a:gd name="connsiteY5038" fmla="*/ 2669657 h 3363305"/>
                <a:gd name="connsiteX5039" fmla="*/ 2989256 w 3320377"/>
                <a:gd name="connsiteY5039" fmla="*/ 2669657 h 3363305"/>
                <a:gd name="connsiteX5040" fmla="*/ 2989256 w 3320377"/>
                <a:gd name="connsiteY5040" fmla="*/ 2667375 h 3363305"/>
                <a:gd name="connsiteX5041" fmla="*/ 2991540 w 3320377"/>
                <a:gd name="connsiteY5041" fmla="*/ 2667375 h 3363305"/>
                <a:gd name="connsiteX5042" fmla="*/ 2993823 w 3320377"/>
                <a:gd name="connsiteY5042" fmla="*/ 2667375 h 3363305"/>
                <a:gd name="connsiteX5043" fmla="*/ 2996107 w 3320377"/>
                <a:gd name="connsiteY5043" fmla="*/ 2667375 h 3363305"/>
                <a:gd name="connsiteX5044" fmla="*/ 2998390 w 3320377"/>
                <a:gd name="connsiteY5044" fmla="*/ 2665093 h 3363305"/>
                <a:gd name="connsiteX5045" fmla="*/ 3000674 w 3320377"/>
                <a:gd name="connsiteY5045" fmla="*/ 2665093 h 3363305"/>
                <a:gd name="connsiteX5046" fmla="*/ 3002958 w 3320377"/>
                <a:gd name="connsiteY5046" fmla="*/ 2665093 h 3363305"/>
                <a:gd name="connsiteX5047" fmla="*/ 3005241 w 3320377"/>
                <a:gd name="connsiteY5047" fmla="*/ 2665093 h 3363305"/>
                <a:gd name="connsiteX5048" fmla="*/ 3005241 w 3320377"/>
                <a:gd name="connsiteY5048" fmla="*/ 2662811 h 3363305"/>
                <a:gd name="connsiteX5049" fmla="*/ 3007525 w 3320377"/>
                <a:gd name="connsiteY5049" fmla="*/ 2662811 h 3363305"/>
                <a:gd name="connsiteX5050" fmla="*/ 3009808 w 3320377"/>
                <a:gd name="connsiteY5050" fmla="*/ 2662811 h 3363305"/>
                <a:gd name="connsiteX5051" fmla="*/ 3012092 w 3320377"/>
                <a:gd name="connsiteY5051" fmla="*/ 2662811 h 3363305"/>
                <a:gd name="connsiteX5052" fmla="*/ 3014376 w 3320377"/>
                <a:gd name="connsiteY5052" fmla="*/ 2662811 h 3363305"/>
                <a:gd name="connsiteX5053" fmla="*/ 3016659 w 3320377"/>
                <a:gd name="connsiteY5053" fmla="*/ 2662811 h 3363305"/>
                <a:gd name="connsiteX5054" fmla="*/ 3016659 w 3320377"/>
                <a:gd name="connsiteY5054" fmla="*/ 2665093 h 3363305"/>
                <a:gd name="connsiteX5055" fmla="*/ 3018943 w 3320377"/>
                <a:gd name="connsiteY5055" fmla="*/ 2665093 h 3363305"/>
                <a:gd name="connsiteX5056" fmla="*/ 3021227 w 3320377"/>
                <a:gd name="connsiteY5056" fmla="*/ 2665093 h 3363305"/>
                <a:gd name="connsiteX5057" fmla="*/ 3025794 w 3320377"/>
                <a:gd name="connsiteY5057" fmla="*/ 2667375 h 3363305"/>
                <a:gd name="connsiteX5058" fmla="*/ 3028077 w 3320377"/>
                <a:gd name="connsiteY5058" fmla="*/ 2667375 h 3363305"/>
                <a:gd name="connsiteX5059" fmla="*/ 3028077 w 3320377"/>
                <a:gd name="connsiteY5059" fmla="*/ 2669657 h 3363305"/>
                <a:gd name="connsiteX5060" fmla="*/ 3028077 w 3320377"/>
                <a:gd name="connsiteY5060" fmla="*/ 2671939 h 3363305"/>
                <a:gd name="connsiteX5061" fmla="*/ 3030361 w 3320377"/>
                <a:gd name="connsiteY5061" fmla="*/ 2671939 h 3363305"/>
                <a:gd name="connsiteX5062" fmla="*/ 3032644 w 3320377"/>
                <a:gd name="connsiteY5062" fmla="*/ 2669657 h 3363305"/>
                <a:gd name="connsiteX5063" fmla="*/ 3032644 w 3320377"/>
                <a:gd name="connsiteY5063" fmla="*/ 2667375 h 3363305"/>
                <a:gd name="connsiteX5064" fmla="*/ 3034928 w 3320377"/>
                <a:gd name="connsiteY5064" fmla="*/ 2667375 h 3363305"/>
                <a:gd name="connsiteX5065" fmla="*/ 3037212 w 3320377"/>
                <a:gd name="connsiteY5065" fmla="*/ 2667375 h 3363305"/>
                <a:gd name="connsiteX5066" fmla="*/ 3039495 w 3320377"/>
                <a:gd name="connsiteY5066" fmla="*/ 2667375 h 3363305"/>
                <a:gd name="connsiteX5067" fmla="*/ 3041779 w 3320377"/>
                <a:gd name="connsiteY5067" fmla="*/ 2665093 h 3363305"/>
                <a:gd name="connsiteX5068" fmla="*/ 3044062 w 3320377"/>
                <a:gd name="connsiteY5068" fmla="*/ 2665093 h 3363305"/>
                <a:gd name="connsiteX5069" fmla="*/ 3046346 w 3320377"/>
                <a:gd name="connsiteY5069" fmla="*/ 2665093 h 3363305"/>
                <a:gd name="connsiteX5070" fmla="*/ 3048630 w 3320377"/>
                <a:gd name="connsiteY5070" fmla="*/ 2665093 h 3363305"/>
                <a:gd name="connsiteX5071" fmla="*/ 3050913 w 3320377"/>
                <a:gd name="connsiteY5071" fmla="*/ 2665093 h 3363305"/>
                <a:gd name="connsiteX5072" fmla="*/ 3053197 w 3320377"/>
                <a:gd name="connsiteY5072" fmla="*/ 2662811 h 3363305"/>
                <a:gd name="connsiteX5073" fmla="*/ 3055480 w 3320377"/>
                <a:gd name="connsiteY5073" fmla="*/ 2662811 h 3363305"/>
                <a:gd name="connsiteX5074" fmla="*/ 3057764 w 3320377"/>
                <a:gd name="connsiteY5074" fmla="*/ 2662811 h 3363305"/>
                <a:gd name="connsiteX5075" fmla="*/ 3057764 w 3320377"/>
                <a:gd name="connsiteY5075" fmla="*/ 2660529 h 3363305"/>
                <a:gd name="connsiteX5076" fmla="*/ 3060048 w 3320377"/>
                <a:gd name="connsiteY5076" fmla="*/ 2660529 h 3363305"/>
                <a:gd name="connsiteX5077" fmla="*/ 3062331 w 3320377"/>
                <a:gd name="connsiteY5077" fmla="*/ 2658247 h 3363305"/>
                <a:gd name="connsiteX5078" fmla="*/ 3062331 w 3320377"/>
                <a:gd name="connsiteY5078" fmla="*/ 2655965 h 3363305"/>
                <a:gd name="connsiteX5079" fmla="*/ 3064615 w 3320377"/>
                <a:gd name="connsiteY5079" fmla="*/ 2653683 h 3363305"/>
                <a:gd name="connsiteX5080" fmla="*/ 3066898 w 3320377"/>
                <a:gd name="connsiteY5080" fmla="*/ 2651402 h 3363305"/>
                <a:gd name="connsiteX5081" fmla="*/ 3069182 w 3320377"/>
                <a:gd name="connsiteY5081" fmla="*/ 2651402 h 3363305"/>
                <a:gd name="connsiteX5082" fmla="*/ 3069182 w 3320377"/>
                <a:gd name="connsiteY5082" fmla="*/ 2649119 h 3363305"/>
                <a:gd name="connsiteX5083" fmla="*/ 3071466 w 3320377"/>
                <a:gd name="connsiteY5083" fmla="*/ 2649119 h 3363305"/>
                <a:gd name="connsiteX5084" fmla="*/ 3071466 w 3320377"/>
                <a:gd name="connsiteY5084" fmla="*/ 2651402 h 3363305"/>
                <a:gd name="connsiteX5085" fmla="*/ 3073749 w 3320377"/>
                <a:gd name="connsiteY5085" fmla="*/ 2651402 h 3363305"/>
                <a:gd name="connsiteX5086" fmla="*/ 3076033 w 3320377"/>
                <a:gd name="connsiteY5086" fmla="*/ 2651402 h 3363305"/>
                <a:gd name="connsiteX5087" fmla="*/ 3076033 w 3320377"/>
                <a:gd name="connsiteY5087" fmla="*/ 2653683 h 3363305"/>
                <a:gd name="connsiteX5088" fmla="*/ 3078316 w 3320377"/>
                <a:gd name="connsiteY5088" fmla="*/ 2653683 h 3363305"/>
                <a:gd name="connsiteX5089" fmla="*/ 3080600 w 3320377"/>
                <a:gd name="connsiteY5089" fmla="*/ 2655965 h 3363305"/>
                <a:gd name="connsiteX5090" fmla="*/ 3082883 w 3320377"/>
                <a:gd name="connsiteY5090" fmla="*/ 2655965 h 3363305"/>
                <a:gd name="connsiteX5091" fmla="*/ 3082883 w 3320377"/>
                <a:gd name="connsiteY5091" fmla="*/ 2653683 h 3363305"/>
                <a:gd name="connsiteX5092" fmla="*/ 3082883 w 3320377"/>
                <a:gd name="connsiteY5092" fmla="*/ 2651402 h 3363305"/>
                <a:gd name="connsiteX5093" fmla="*/ 3082883 w 3320377"/>
                <a:gd name="connsiteY5093" fmla="*/ 2649119 h 3363305"/>
                <a:gd name="connsiteX5094" fmla="*/ 3080600 w 3320377"/>
                <a:gd name="connsiteY5094" fmla="*/ 2649119 h 3363305"/>
                <a:gd name="connsiteX5095" fmla="*/ 3080600 w 3320377"/>
                <a:gd name="connsiteY5095" fmla="*/ 2646838 h 3363305"/>
                <a:gd name="connsiteX5096" fmla="*/ 3080600 w 3320377"/>
                <a:gd name="connsiteY5096" fmla="*/ 2644556 h 3363305"/>
                <a:gd name="connsiteX5097" fmla="*/ 3080600 w 3320377"/>
                <a:gd name="connsiteY5097" fmla="*/ 2642274 h 3363305"/>
                <a:gd name="connsiteX5098" fmla="*/ 3078316 w 3320377"/>
                <a:gd name="connsiteY5098" fmla="*/ 2639992 h 3363305"/>
                <a:gd name="connsiteX5099" fmla="*/ 3078316 w 3320377"/>
                <a:gd name="connsiteY5099" fmla="*/ 2637710 h 3363305"/>
                <a:gd name="connsiteX5100" fmla="*/ 3080600 w 3320377"/>
                <a:gd name="connsiteY5100" fmla="*/ 2637710 h 3363305"/>
                <a:gd name="connsiteX5101" fmla="*/ 3082883 w 3320377"/>
                <a:gd name="connsiteY5101" fmla="*/ 2635428 h 3363305"/>
                <a:gd name="connsiteX5102" fmla="*/ 3085167 w 3320377"/>
                <a:gd name="connsiteY5102" fmla="*/ 2635428 h 3363305"/>
                <a:gd name="connsiteX5103" fmla="*/ 3087451 w 3320377"/>
                <a:gd name="connsiteY5103" fmla="*/ 2633146 h 3363305"/>
                <a:gd name="connsiteX5104" fmla="*/ 3089734 w 3320377"/>
                <a:gd name="connsiteY5104" fmla="*/ 2633146 h 3363305"/>
                <a:gd name="connsiteX5105" fmla="*/ 3092018 w 3320377"/>
                <a:gd name="connsiteY5105" fmla="*/ 2633146 h 3363305"/>
                <a:gd name="connsiteX5106" fmla="*/ 3092018 w 3320377"/>
                <a:gd name="connsiteY5106" fmla="*/ 2630864 h 3363305"/>
                <a:gd name="connsiteX5107" fmla="*/ 3094302 w 3320377"/>
                <a:gd name="connsiteY5107" fmla="*/ 2630864 h 3363305"/>
                <a:gd name="connsiteX5108" fmla="*/ 3094302 w 3320377"/>
                <a:gd name="connsiteY5108" fmla="*/ 2633146 h 3363305"/>
                <a:gd name="connsiteX5109" fmla="*/ 3096585 w 3320377"/>
                <a:gd name="connsiteY5109" fmla="*/ 2633146 h 3363305"/>
                <a:gd name="connsiteX5110" fmla="*/ 3098869 w 3320377"/>
                <a:gd name="connsiteY5110" fmla="*/ 2630864 h 3363305"/>
                <a:gd name="connsiteX5111" fmla="*/ 3101152 w 3320377"/>
                <a:gd name="connsiteY5111" fmla="*/ 2630864 h 3363305"/>
                <a:gd name="connsiteX5112" fmla="*/ 3103436 w 3320377"/>
                <a:gd name="connsiteY5112" fmla="*/ 2630864 h 3363305"/>
                <a:gd name="connsiteX5113" fmla="*/ 3105720 w 3320377"/>
                <a:gd name="connsiteY5113" fmla="*/ 2633146 h 3363305"/>
                <a:gd name="connsiteX5114" fmla="*/ 3108003 w 3320377"/>
                <a:gd name="connsiteY5114" fmla="*/ 2633146 h 3363305"/>
                <a:gd name="connsiteX5115" fmla="*/ 3110287 w 3320377"/>
                <a:gd name="connsiteY5115" fmla="*/ 2633146 h 3363305"/>
                <a:gd name="connsiteX5116" fmla="*/ 3110287 w 3320377"/>
                <a:gd name="connsiteY5116" fmla="*/ 2630864 h 3363305"/>
                <a:gd name="connsiteX5117" fmla="*/ 3110287 w 3320377"/>
                <a:gd name="connsiteY5117" fmla="*/ 2628583 h 3363305"/>
                <a:gd name="connsiteX5118" fmla="*/ 3110287 w 3320377"/>
                <a:gd name="connsiteY5118" fmla="*/ 2626301 h 3363305"/>
                <a:gd name="connsiteX5119" fmla="*/ 3112570 w 3320377"/>
                <a:gd name="connsiteY5119" fmla="*/ 2626301 h 3363305"/>
                <a:gd name="connsiteX5120" fmla="*/ 3112570 w 3320377"/>
                <a:gd name="connsiteY5120" fmla="*/ 2624019 h 3363305"/>
                <a:gd name="connsiteX5121" fmla="*/ 3114854 w 3320377"/>
                <a:gd name="connsiteY5121" fmla="*/ 2621737 h 3363305"/>
                <a:gd name="connsiteX5122" fmla="*/ 3114854 w 3320377"/>
                <a:gd name="connsiteY5122" fmla="*/ 2619455 h 3363305"/>
                <a:gd name="connsiteX5123" fmla="*/ 3117137 w 3320377"/>
                <a:gd name="connsiteY5123" fmla="*/ 2619455 h 3363305"/>
                <a:gd name="connsiteX5124" fmla="*/ 3117137 w 3320377"/>
                <a:gd name="connsiteY5124" fmla="*/ 2617173 h 3363305"/>
                <a:gd name="connsiteX5125" fmla="*/ 3119421 w 3320377"/>
                <a:gd name="connsiteY5125" fmla="*/ 2617173 h 3363305"/>
                <a:gd name="connsiteX5126" fmla="*/ 3121705 w 3320377"/>
                <a:gd name="connsiteY5126" fmla="*/ 2617173 h 3363305"/>
                <a:gd name="connsiteX5127" fmla="*/ 3121705 w 3320377"/>
                <a:gd name="connsiteY5127" fmla="*/ 2614891 h 3363305"/>
                <a:gd name="connsiteX5128" fmla="*/ 3123988 w 3320377"/>
                <a:gd name="connsiteY5128" fmla="*/ 2614891 h 3363305"/>
                <a:gd name="connsiteX5129" fmla="*/ 3126272 w 3320377"/>
                <a:gd name="connsiteY5129" fmla="*/ 2612609 h 3363305"/>
                <a:gd name="connsiteX5130" fmla="*/ 3128556 w 3320377"/>
                <a:gd name="connsiteY5130" fmla="*/ 2612609 h 3363305"/>
                <a:gd name="connsiteX5131" fmla="*/ 3130839 w 3320377"/>
                <a:gd name="connsiteY5131" fmla="*/ 2610327 h 3363305"/>
                <a:gd name="connsiteX5132" fmla="*/ 3133123 w 3320377"/>
                <a:gd name="connsiteY5132" fmla="*/ 2610327 h 3363305"/>
                <a:gd name="connsiteX5133" fmla="*/ 3135406 w 3320377"/>
                <a:gd name="connsiteY5133" fmla="*/ 2610327 h 3363305"/>
                <a:gd name="connsiteX5134" fmla="*/ 3137690 w 3320377"/>
                <a:gd name="connsiteY5134" fmla="*/ 2610327 h 3363305"/>
                <a:gd name="connsiteX5135" fmla="*/ 3139973 w 3320377"/>
                <a:gd name="connsiteY5135" fmla="*/ 2610327 h 3363305"/>
                <a:gd name="connsiteX5136" fmla="*/ 3142257 w 3320377"/>
                <a:gd name="connsiteY5136" fmla="*/ 2610327 h 3363305"/>
                <a:gd name="connsiteX5137" fmla="*/ 3144541 w 3320377"/>
                <a:gd name="connsiteY5137" fmla="*/ 2610327 h 3363305"/>
                <a:gd name="connsiteX5138" fmla="*/ 3146824 w 3320377"/>
                <a:gd name="connsiteY5138" fmla="*/ 2610327 h 3363305"/>
                <a:gd name="connsiteX5139" fmla="*/ 3149108 w 3320377"/>
                <a:gd name="connsiteY5139" fmla="*/ 2612609 h 3363305"/>
                <a:gd name="connsiteX5140" fmla="*/ 3151391 w 3320377"/>
                <a:gd name="connsiteY5140" fmla="*/ 2612609 h 3363305"/>
                <a:gd name="connsiteX5141" fmla="*/ 3151391 w 3320377"/>
                <a:gd name="connsiteY5141" fmla="*/ 2610327 h 3363305"/>
                <a:gd name="connsiteX5142" fmla="*/ 3153675 w 3320377"/>
                <a:gd name="connsiteY5142" fmla="*/ 2610327 h 3363305"/>
                <a:gd name="connsiteX5143" fmla="*/ 3153675 w 3320377"/>
                <a:gd name="connsiteY5143" fmla="*/ 2608046 h 3363305"/>
                <a:gd name="connsiteX5144" fmla="*/ 3155959 w 3320377"/>
                <a:gd name="connsiteY5144" fmla="*/ 2605763 h 3363305"/>
                <a:gd name="connsiteX5145" fmla="*/ 3158242 w 3320377"/>
                <a:gd name="connsiteY5145" fmla="*/ 2608046 h 3363305"/>
                <a:gd name="connsiteX5146" fmla="*/ 3160526 w 3320377"/>
                <a:gd name="connsiteY5146" fmla="*/ 2608046 h 3363305"/>
                <a:gd name="connsiteX5147" fmla="*/ 3162810 w 3320377"/>
                <a:gd name="connsiteY5147" fmla="*/ 2608046 h 3363305"/>
                <a:gd name="connsiteX5148" fmla="*/ 3165093 w 3320377"/>
                <a:gd name="connsiteY5148" fmla="*/ 2608046 h 3363305"/>
                <a:gd name="connsiteX5149" fmla="*/ 3167377 w 3320377"/>
                <a:gd name="connsiteY5149" fmla="*/ 2608046 h 3363305"/>
                <a:gd name="connsiteX5150" fmla="*/ 3167377 w 3320377"/>
                <a:gd name="connsiteY5150" fmla="*/ 2605763 h 3363305"/>
                <a:gd name="connsiteX5151" fmla="*/ 3169660 w 3320377"/>
                <a:gd name="connsiteY5151" fmla="*/ 2603482 h 3363305"/>
                <a:gd name="connsiteX5152" fmla="*/ 3169660 w 3320377"/>
                <a:gd name="connsiteY5152" fmla="*/ 2601200 h 3363305"/>
                <a:gd name="connsiteX5153" fmla="*/ 3171944 w 3320377"/>
                <a:gd name="connsiteY5153" fmla="*/ 2601200 h 3363305"/>
                <a:gd name="connsiteX5154" fmla="*/ 3174227 w 3320377"/>
                <a:gd name="connsiteY5154" fmla="*/ 2601200 h 3363305"/>
                <a:gd name="connsiteX5155" fmla="*/ 3174227 w 3320377"/>
                <a:gd name="connsiteY5155" fmla="*/ 2598918 h 3363305"/>
                <a:gd name="connsiteX5156" fmla="*/ 3176511 w 3320377"/>
                <a:gd name="connsiteY5156" fmla="*/ 2598918 h 3363305"/>
                <a:gd name="connsiteX5157" fmla="*/ 3183362 w 3320377"/>
                <a:gd name="connsiteY5157" fmla="*/ 2601200 h 3363305"/>
                <a:gd name="connsiteX5158" fmla="*/ 3183362 w 3320377"/>
                <a:gd name="connsiteY5158" fmla="*/ 2598918 h 3363305"/>
                <a:gd name="connsiteX5159" fmla="*/ 3185645 w 3320377"/>
                <a:gd name="connsiteY5159" fmla="*/ 2596636 h 3363305"/>
                <a:gd name="connsiteX5160" fmla="*/ 3187929 w 3320377"/>
                <a:gd name="connsiteY5160" fmla="*/ 2598918 h 3363305"/>
                <a:gd name="connsiteX5161" fmla="*/ 3190212 w 3320377"/>
                <a:gd name="connsiteY5161" fmla="*/ 2598918 h 3363305"/>
                <a:gd name="connsiteX5162" fmla="*/ 3192496 w 3320377"/>
                <a:gd name="connsiteY5162" fmla="*/ 2596636 h 3363305"/>
                <a:gd name="connsiteX5163" fmla="*/ 3192496 w 3320377"/>
                <a:gd name="connsiteY5163" fmla="*/ 2594354 h 3363305"/>
                <a:gd name="connsiteX5164" fmla="*/ 3192496 w 3320377"/>
                <a:gd name="connsiteY5164" fmla="*/ 2592072 h 3363305"/>
                <a:gd name="connsiteX5165" fmla="*/ 3194780 w 3320377"/>
                <a:gd name="connsiteY5165" fmla="*/ 2592072 h 3363305"/>
                <a:gd name="connsiteX5166" fmla="*/ 3194780 w 3320377"/>
                <a:gd name="connsiteY5166" fmla="*/ 2589790 h 3363305"/>
                <a:gd name="connsiteX5167" fmla="*/ 3197063 w 3320377"/>
                <a:gd name="connsiteY5167" fmla="*/ 2589790 h 3363305"/>
                <a:gd name="connsiteX5168" fmla="*/ 3197063 w 3320377"/>
                <a:gd name="connsiteY5168" fmla="*/ 2587508 h 3363305"/>
                <a:gd name="connsiteX5169" fmla="*/ 3199347 w 3320377"/>
                <a:gd name="connsiteY5169" fmla="*/ 2587508 h 3363305"/>
                <a:gd name="connsiteX5170" fmla="*/ 3199347 w 3320377"/>
                <a:gd name="connsiteY5170" fmla="*/ 2589790 h 3363305"/>
                <a:gd name="connsiteX5171" fmla="*/ 3201631 w 3320377"/>
                <a:gd name="connsiteY5171" fmla="*/ 2589790 h 3363305"/>
                <a:gd name="connsiteX5172" fmla="*/ 3201631 w 3320377"/>
                <a:gd name="connsiteY5172" fmla="*/ 2587508 h 3363305"/>
                <a:gd name="connsiteX5173" fmla="*/ 3203914 w 3320377"/>
                <a:gd name="connsiteY5173" fmla="*/ 2587508 h 3363305"/>
                <a:gd name="connsiteX5174" fmla="*/ 3203914 w 3320377"/>
                <a:gd name="connsiteY5174" fmla="*/ 2585226 h 3363305"/>
                <a:gd name="connsiteX5175" fmla="*/ 3201631 w 3320377"/>
                <a:gd name="connsiteY5175" fmla="*/ 2585226 h 3363305"/>
                <a:gd name="connsiteX5176" fmla="*/ 3201631 w 3320377"/>
                <a:gd name="connsiteY5176" fmla="*/ 2582945 h 3363305"/>
                <a:gd name="connsiteX5177" fmla="*/ 3203914 w 3320377"/>
                <a:gd name="connsiteY5177" fmla="*/ 2580663 h 3363305"/>
                <a:gd name="connsiteX5178" fmla="*/ 3203914 w 3320377"/>
                <a:gd name="connsiteY5178" fmla="*/ 2578381 h 3363305"/>
                <a:gd name="connsiteX5179" fmla="*/ 3206198 w 3320377"/>
                <a:gd name="connsiteY5179" fmla="*/ 2578381 h 3363305"/>
                <a:gd name="connsiteX5180" fmla="*/ 3208481 w 3320377"/>
                <a:gd name="connsiteY5180" fmla="*/ 2578381 h 3363305"/>
                <a:gd name="connsiteX5181" fmla="*/ 3208481 w 3320377"/>
                <a:gd name="connsiteY5181" fmla="*/ 2580663 h 3363305"/>
                <a:gd name="connsiteX5182" fmla="*/ 3210765 w 3320377"/>
                <a:gd name="connsiteY5182" fmla="*/ 2580663 h 3363305"/>
                <a:gd name="connsiteX5183" fmla="*/ 3213049 w 3320377"/>
                <a:gd name="connsiteY5183" fmla="*/ 2582945 h 3363305"/>
                <a:gd name="connsiteX5184" fmla="*/ 3215332 w 3320377"/>
                <a:gd name="connsiteY5184" fmla="*/ 2582945 h 3363305"/>
                <a:gd name="connsiteX5185" fmla="*/ 3219899 w 3320377"/>
                <a:gd name="connsiteY5185" fmla="*/ 2585226 h 3363305"/>
                <a:gd name="connsiteX5186" fmla="*/ 3222183 w 3320377"/>
                <a:gd name="connsiteY5186" fmla="*/ 2587508 h 3363305"/>
                <a:gd name="connsiteX5187" fmla="*/ 3224466 w 3320377"/>
                <a:gd name="connsiteY5187" fmla="*/ 2587508 h 3363305"/>
                <a:gd name="connsiteX5188" fmla="*/ 3224466 w 3320377"/>
                <a:gd name="connsiteY5188" fmla="*/ 2589790 h 3363305"/>
                <a:gd name="connsiteX5189" fmla="*/ 3224466 w 3320377"/>
                <a:gd name="connsiteY5189" fmla="*/ 2592072 h 3363305"/>
                <a:gd name="connsiteX5190" fmla="*/ 3226750 w 3320377"/>
                <a:gd name="connsiteY5190" fmla="*/ 2592072 h 3363305"/>
                <a:gd name="connsiteX5191" fmla="*/ 3229034 w 3320377"/>
                <a:gd name="connsiteY5191" fmla="*/ 2592072 h 3363305"/>
                <a:gd name="connsiteX5192" fmla="*/ 3231317 w 3320377"/>
                <a:gd name="connsiteY5192" fmla="*/ 2592072 h 3363305"/>
                <a:gd name="connsiteX5193" fmla="*/ 3231317 w 3320377"/>
                <a:gd name="connsiteY5193" fmla="*/ 2587508 h 3363305"/>
                <a:gd name="connsiteX5194" fmla="*/ 3238168 w 3320377"/>
                <a:gd name="connsiteY5194" fmla="*/ 2589790 h 3363305"/>
                <a:gd name="connsiteX5195" fmla="*/ 3247302 w 3320377"/>
                <a:gd name="connsiteY5195" fmla="*/ 2594354 h 3363305"/>
                <a:gd name="connsiteX5196" fmla="*/ 3254153 w 3320377"/>
                <a:gd name="connsiteY5196" fmla="*/ 2596636 h 3363305"/>
                <a:gd name="connsiteX5197" fmla="*/ 3256437 w 3320377"/>
                <a:gd name="connsiteY5197" fmla="*/ 2596636 h 3363305"/>
                <a:gd name="connsiteX5198" fmla="*/ 3256437 w 3320377"/>
                <a:gd name="connsiteY5198" fmla="*/ 2594354 h 3363305"/>
                <a:gd name="connsiteX5199" fmla="*/ 3258720 w 3320377"/>
                <a:gd name="connsiteY5199" fmla="*/ 2594354 h 3363305"/>
                <a:gd name="connsiteX5200" fmla="*/ 3261004 w 3320377"/>
                <a:gd name="connsiteY5200" fmla="*/ 2592072 h 3363305"/>
                <a:gd name="connsiteX5201" fmla="*/ 3263288 w 3320377"/>
                <a:gd name="connsiteY5201" fmla="*/ 2592072 h 3363305"/>
                <a:gd name="connsiteX5202" fmla="*/ 3263288 w 3320377"/>
                <a:gd name="connsiteY5202" fmla="*/ 2589790 h 3363305"/>
                <a:gd name="connsiteX5203" fmla="*/ 3265571 w 3320377"/>
                <a:gd name="connsiteY5203" fmla="*/ 2589790 h 3363305"/>
                <a:gd name="connsiteX5204" fmla="*/ 3265571 w 3320377"/>
                <a:gd name="connsiteY5204" fmla="*/ 2582945 h 3363305"/>
                <a:gd name="connsiteX5205" fmla="*/ 3263288 w 3320377"/>
                <a:gd name="connsiteY5205" fmla="*/ 2580663 h 3363305"/>
                <a:gd name="connsiteX5206" fmla="*/ 3263288 w 3320377"/>
                <a:gd name="connsiteY5206" fmla="*/ 2578381 h 3363305"/>
                <a:gd name="connsiteX5207" fmla="*/ 3263288 w 3320377"/>
                <a:gd name="connsiteY5207" fmla="*/ 2571535 h 3363305"/>
                <a:gd name="connsiteX5208" fmla="*/ 3265571 w 3320377"/>
                <a:gd name="connsiteY5208" fmla="*/ 2562407 h 3363305"/>
                <a:gd name="connsiteX5209" fmla="*/ 3267855 w 3320377"/>
                <a:gd name="connsiteY5209" fmla="*/ 2555562 h 3363305"/>
                <a:gd name="connsiteX5210" fmla="*/ 3270139 w 3320377"/>
                <a:gd name="connsiteY5210" fmla="*/ 2553280 h 3363305"/>
                <a:gd name="connsiteX5211" fmla="*/ 3276989 w 3320377"/>
                <a:gd name="connsiteY5211" fmla="*/ 2555562 h 3363305"/>
                <a:gd name="connsiteX5212" fmla="*/ 3279273 w 3320377"/>
                <a:gd name="connsiteY5212" fmla="*/ 2550998 h 3363305"/>
                <a:gd name="connsiteX5213" fmla="*/ 3279273 w 3320377"/>
                <a:gd name="connsiteY5213" fmla="*/ 2548716 h 3363305"/>
                <a:gd name="connsiteX5214" fmla="*/ 3281556 w 3320377"/>
                <a:gd name="connsiteY5214" fmla="*/ 2546434 h 3363305"/>
                <a:gd name="connsiteX5215" fmla="*/ 3286124 w 3320377"/>
                <a:gd name="connsiteY5215" fmla="*/ 2541870 h 3363305"/>
                <a:gd name="connsiteX5216" fmla="*/ 3286124 w 3320377"/>
                <a:gd name="connsiteY5216" fmla="*/ 2539589 h 3363305"/>
                <a:gd name="connsiteX5217" fmla="*/ 3288407 w 3320377"/>
                <a:gd name="connsiteY5217" fmla="*/ 2532743 h 3363305"/>
                <a:gd name="connsiteX5218" fmla="*/ 3283840 w 3320377"/>
                <a:gd name="connsiteY5218" fmla="*/ 2523615 h 3363305"/>
                <a:gd name="connsiteX5219" fmla="*/ 3288407 w 3320377"/>
                <a:gd name="connsiteY5219" fmla="*/ 2521334 h 3363305"/>
                <a:gd name="connsiteX5220" fmla="*/ 3292974 w 3320377"/>
                <a:gd name="connsiteY5220" fmla="*/ 2521334 h 3363305"/>
                <a:gd name="connsiteX5221" fmla="*/ 3297541 w 3320377"/>
                <a:gd name="connsiteY5221" fmla="*/ 2519051 h 3363305"/>
                <a:gd name="connsiteX5222" fmla="*/ 3299825 w 3320377"/>
                <a:gd name="connsiteY5222" fmla="*/ 2514497 h 3363305"/>
                <a:gd name="connsiteX5223" fmla="*/ 3306676 w 3320377"/>
                <a:gd name="connsiteY5223" fmla="*/ 2503088 h 3363305"/>
                <a:gd name="connsiteX5224" fmla="*/ 3299825 w 3320377"/>
                <a:gd name="connsiteY5224" fmla="*/ 2500806 h 3363305"/>
                <a:gd name="connsiteX5225" fmla="*/ 3295258 w 3320377"/>
                <a:gd name="connsiteY5225" fmla="*/ 2496242 h 3363305"/>
                <a:gd name="connsiteX5226" fmla="*/ 3295258 w 3320377"/>
                <a:gd name="connsiteY5226" fmla="*/ 2491678 h 3363305"/>
                <a:gd name="connsiteX5227" fmla="*/ 3297541 w 3320377"/>
                <a:gd name="connsiteY5227" fmla="*/ 2491678 h 3363305"/>
                <a:gd name="connsiteX5228" fmla="*/ 3297541 w 3320377"/>
                <a:gd name="connsiteY5228" fmla="*/ 2489396 h 3363305"/>
                <a:gd name="connsiteX5229" fmla="*/ 3299825 w 3320377"/>
                <a:gd name="connsiteY5229" fmla="*/ 2489396 h 3363305"/>
                <a:gd name="connsiteX5230" fmla="*/ 3302109 w 3320377"/>
                <a:gd name="connsiteY5230" fmla="*/ 2484833 h 3363305"/>
                <a:gd name="connsiteX5231" fmla="*/ 3308960 w 3320377"/>
                <a:gd name="connsiteY5231" fmla="*/ 2480269 h 3363305"/>
                <a:gd name="connsiteX5232" fmla="*/ 3306676 w 3320377"/>
                <a:gd name="connsiteY5232" fmla="*/ 2477987 h 3363305"/>
                <a:gd name="connsiteX5233" fmla="*/ 3306676 w 3320377"/>
                <a:gd name="connsiteY5233" fmla="*/ 2475705 h 3363305"/>
                <a:gd name="connsiteX5234" fmla="*/ 3306676 w 3320377"/>
                <a:gd name="connsiteY5234" fmla="*/ 2471141 h 3363305"/>
                <a:gd name="connsiteX5235" fmla="*/ 3308960 w 3320377"/>
                <a:gd name="connsiteY5235" fmla="*/ 2468859 h 3363305"/>
                <a:gd name="connsiteX5236" fmla="*/ 3308960 w 3320377"/>
                <a:gd name="connsiteY5236" fmla="*/ 2466578 h 3363305"/>
                <a:gd name="connsiteX5237" fmla="*/ 3308960 w 3320377"/>
                <a:gd name="connsiteY5237" fmla="*/ 2462014 h 3363305"/>
                <a:gd name="connsiteX5238" fmla="*/ 3311243 w 3320377"/>
                <a:gd name="connsiteY5238" fmla="*/ 2459732 h 3363305"/>
                <a:gd name="connsiteX5239" fmla="*/ 3308960 w 3320377"/>
                <a:gd name="connsiteY5239" fmla="*/ 2457450 h 3363305"/>
                <a:gd name="connsiteX5240" fmla="*/ 3306676 w 3320377"/>
                <a:gd name="connsiteY5240" fmla="*/ 2457450 h 3363305"/>
                <a:gd name="connsiteX5241" fmla="*/ 3306676 w 3320377"/>
                <a:gd name="connsiteY5241" fmla="*/ 2455168 h 3363305"/>
                <a:gd name="connsiteX5242" fmla="*/ 3304392 w 3320377"/>
                <a:gd name="connsiteY5242" fmla="*/ 2452886 h 3363305"/>
                <a:gd name="connsiteX5243" fmla="*/ 3295258 w 3320377"/>
                <a:gd name="connsiteY5243" fmla="*/ 2446040 h 3363305"/>
                <a:gd name="connsiteX5244" fmla="*/ 3292974 w 3320377"/>
                <a:gd name="connsiteY5244" fmla="*/ 2446040 h 3363305"/>
                <a:gd name="connsiteX5245" fmla="*/ 3299825 w 3320377"/>
                <a:gd name="connsiteY5245" fmla="*/ 2436913 h 3363305"/>
                <a:gd name="connsiteX5246" fmla="*/ 3311243 w 3320377"/>
                <a:gd name="connsiteY5246" fmla="*/ 2430067 h 3363305"/>
                <a:gd name="connsiteX5247" fmla="*/ 3315810 w 3320377"/>
                <a:gd name="connsiteY5247" fmla="*/ 2423222 h 3363305"/>
                <a:gd name="connsiteX5248" fmla="*/ 3320378 w 3320377"/>
                <a:gd name="connsiteY5248" fmla="*/ 2414094 h 3363305"/>
                <a:gd name="connsiteX5249" fmla="*/ 3320378 w 3320377"/>
                <a:gd name="connsiteY5249" fmla="*/ 2411812 h 33633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</a:cxnLst>
              <a:rect l="l" t="t" r="r" b="b"/>
              <a:pathLst>
                <a:path w="3320377" h="3363305">
                  <a:moveTo>
                    <a:pt x="3313527" y="2416376"/>
                  </a:moveTo>
                  <a:lnTo>
                    <a:pt x="3306676" y="2411812"/>
                  </a:lnTo>
                  <a:lnTo>
                    <a:pt x="3306676" y="2409530"/>
                  </a:lnTo>
                  <a:lnTo>
                    <a:pt x="3299825" y="2411812"/>
                  </a:lnTo>
                  <a:lnTo>
                    <a:pt x="3297541" y="2409530"/>
                  </a:lnTo>
                  <a:lnTo>
                    <a:pt x="3297541" y="2407248"/>
                  </a:lnTo>
                  <a:lnTo>
                    <a:pt x="3297541" y="2404966"/>
                  </a:lnTo>
                  <a:lnTo>
                    <a:pt x="3297541" y="2400402"/>
                  </a:lnTo>
                  <a:lnTo>
                    <a:pt x="3295258" y="2393557"/>
                  </a:lnTo>
                  <a:lnTo>
                    <a:pt x="3295258" y="2391275"/>
                  </a:lnTo>
                  <a:lnTo>
                    <a:pt x="3295258" y="2386711"/>
                  </a:lnTo>
                  <a:lnTo>
                    <a:pt x="3295258" y="2384429"/>
                  </a:lnTo>
                  <a:lnTo>
                    <a:pt x="3290691" y="2384429"/>
                  </a:lnTo>
                  <a:lnTo>
                    <a:pt x="3290691" y="2382147"/>
                  </a:lnTo>
                  <a:lnTo>
                    <a:pt x="3290691" y="2379865"/>
                  </a:lnTo>
                  <a:lnTo>
                    <a:pt x="3290691" y="2377583"/>
                  </a:lnTo>
                  <a:lnTo>
                    <a:pt x="3290691" y="2375302"/>
                  </a:lnTo>
                  <a:lnTo>
                    <a:pt x="3290691" y="2370738"/>
                  </a:lnTo>
                  <a:lnTo>
                    <a:pt x="3288407" y="2370738"/>
                  </a:lnTo>
                  <a:lnTo>
                    <a:pt x="3288407" y="2368456"/>
                  </a:lnTo>
                  <a:lnTo>
                    <a:pt x="3290691" y="2366174"/>
                  </a:lnTo>
                  <a:lnTo>
                    <a:pt x="3292974" y="2363892"/>
                  </a:lnTo>
                  <a:lnTo>
                    <a:pt x="3292974" y="2361620"/>
                  </a:lnTo>
                  <a:lnTo>
                    <a:pt x="3290691" y="2361620"/>
                  </a:lnTo>
                  <a:lnTo>
                    <a:pt x="3288407" y="2359338"/>
                  </a:lnTo>
                  <a:lnTo>
                    <a:pt x="3288407" y="2357056"/>
                  </a:lnTo>
                  <a:lnTo>
                    <a:pt x="3288407" y="2354774"/>
                  </a:lnTo>
                  <a:lnTo>
                    <a:pt x="3288407" y="2350210"/>
                  </a:lnTo>
                  <a:lnTo>
                    <a:pt x="3290691" y="2345646"/>
                  </a:lnTo>
                  <a:lnTo>
                    <a:pt x="3290691" y="2343365"/>
                  </a:lnTo>
                  <a:lnTo>
                    <a:pt x="3288407" y="2343365"/>
                  </a:lnTo>
                  <a:lnTo>
                    <a:pt x="3288407" y="2341083"/>
                  </a:lnTo>
                  <a:lnTo>
                    <a:pt x="3288407" y="2338801"/>
                  </a:lnTo>
                  <a:lnTo>
                    <a:pt x="3286124" y="2338801"/>
                  </a:lnTo>
                  <a:lnTo>
                    <a:pt x="3283840" y="2338801"/>
                  </a:lnTo>
                  <a:lnTo>
                    <a:pt x="3283840" y="2336519"/>
                  </a:lnTo>
                  <a:lnTo>
                    <a:pt x="3281556" y="2336519"/>
                  </a:lnTo>
                  <a:lnTo>
                    <a:pt x="3281556" y="2334237"/>
                  </a:lnTo>
                  <a:lnTo>
                    <a:pt x="3279273" y="2334237"/>
                  </a:lnTo>
                  <a:lnTo>
                    <a:pt x="3279273" y="2331955"/>
                  </a:lnTo>
                  <a:lnTo>
                    <a:pt x="3276989" y="2331955"/>
                  </a:lnTo>
                  <a:lnTo>
                    <a:pt x="3274706" y="2331955"/>
                  </a:lnTo>
                  <a:lnTo>
                    <a:pt x="3274706" y="2329673"/>
                  </a:lnTo>
                  <a:lnTo>
                    <a:pt x="3274706" y="2327391"/>
                  </a:lnTo>
                  <a:lnTo>
                    <a:pt x="3274706" y="2325110"/>
                  </a:lnTo>
                  <a:lnTo>
                    <a:pt x="3272422" y="2325110"/>
                  </a:lnTo>
                  <a:lnTo>
                    <a:pt x="3270139" y="2325110"/>
                  </a:lnTo>
                  <a:lnTo>
                    <a:pt x="3270139" y="2322827"/>
                  </a:lnTo>
                  <a:lnTo>
                    <a:pt x="3267855" y="2322827"/>
                  </a:lnTo>
                  <a:lnTo>
                    <a:pt x="3267855" y="2325110"/>
                  </a:lnTo>
                  <a:lnTo>
                    <a:pt x="3265571" y="2325110"/>
                  </a:lnTo>
                  <a:lnTo>
                    <a:pt x="3265571" y="2322827"/>
                  </a:lnTo>
                  <a:lnTo>
                    <a:pt x="3263288" y="2322827"/>
                  </a:lnTo>
                  <a:lnTo>
                    <a:pt x="3263288" y="2320546"/>
                  </a:lnTo>
                  <a:lnTo>
                    <a:pt x="3261004" y="2320546"/>
                  </a:lnTo>
                  <a:lnTo>
                    <a:pt x="3258720" y="2320546"/>
                  </a:lnTo>
                  <a:lnTo>
                    <a:pt x="3258720" y="2318264"/>
                  </a:lnTo>
                  <a:lnTo>
                    <a:pt x="3256437" y="2318264"/>
                  </a:lnTo>
                  <a:lnTo>
                    <a:pt x="3254153" y="2318264"/>
                  </a:lnTo>
                  <a:lnTo>
                    <a:pt x="3251870" y="2318264"/>
                  </a:lnTo>
                  <a:lnTo>
                    <a:pt x="3251870" y="2320546"/>
                  </a:lnTo>
                  <a:lnTo>
                    <a:pt x="3249586" y="2320546"/>
                  </a:lnTo>
                  <a:lnTo>
                    <a:pt x="3247302" y="2320546"/>
                  </a:lnTo>
                  <a:lnTo>
                    <a:pt x="3247302" y="2318264"/>
                  </a:lnTo>
                  <a:lnTo>
                    <a:pt x="3245019" y="2318264"/>
                  </a:lnTo>
                  <a:lnTo>
                    <a:pt x="3242735" y="2318264"/>
                  </a:lnTo>
                  <a:lnTo>
                    <a:pt x="3242735" y="2320546"/>
                  </a:lnTo>
                  <a:lnTo>
                    <a:pt x="3240452" y="2320546"/>
                  </a:lnTo>
                  <a:lnTo>
                    <a:pt x="3240452" y="2322827"/>
                  </a:lnTo>
                  <a:lnTo>
                    <a:pt x="3240452" y="2325110"/>
                  </a:lnTo>
                  <a:lnTo>
                    <a:pt x="3238168" y="2325110"/>
                  </a:lnTo>
                  <a:lnTo>
                    <a:pt x="3235885" y="2325110"/>
                  </a:lnTo>
                  <a:lnTo>
                    <a:pt x="3235885" y="2327391"/>
                  </a:lnTo>
                  <a:lnTo>
                    <a:pt x="3233601" y="2327391"/>
                  </a:lnTo>
                  <a:lnTo>
                    <a:pt x="3233601" y="2325110"/>
                  </a:lnTo>
                  <a:lnTo>
                    <a:pt x="3231317" y="2325110"/>
                  </a:lnTo>
                  <a:lnTo>
                    <a:pt x="3231317" y="2322827"/>
                  </a:lnTo>
                  <a:lnTo>
                    <a:pt x="3229034" y="2322827"/>
                  </a:lnTo>
                  <a:lnTo>
                    <a:pt x="3229034" y="2320546"/>
                  </a:lnTo>
                  <a:lnTo>
                    <a:pt x="3226750" y="2320546"/>
                  </a:lnTo>
                  <a:lnTo>
                    <a:pt x="3226750" y="2318264"/>
                  </a:lnTo>
                  <a:lnTo>
                    <a:pt x="3224466" y="2318264"/>
                  </a:lnTo>
                  <a:lnTo>
                    <a:pt x="3224466" y="2315982"/>
                  </a:lnTo>
                  <a:lnTo>
                    <a:pt x="3224466" y="2313700"/>
                  </a:lnTo>
                  <a:lnTo>
                    <a:pt x="3224466" y="2311418"/>
                  </a:lnTo>
                  <a:lnTo>
                    <a:pt x="3222183" y="2311418"/>
                  </a:lnTo>
                  <a:lnTo>
                    <a:pt x="3219899" y="2311418"/>
                  </a:lnTo>
                  <a:lnTo>
                    <a:pt x="3219899" y="2309136"/>
                  </a:lnTo>
                  <a:lnTo>
                    <a:pt x="3219899" y="2306854"/>
                  </a:lnTo>
                  <a:lnTo>
                    <a:pt x="3217616" y="2306854"/>
                  </a:lnTo>
                  <a:lnTo>
                    <a:pt x="3217616" y="2304572"/>
                  </a:lnTo>
                  <a:lnTo>
                    <a:pt x="3215332" y="2304572"/>
                  </a:lnTo>
                  <a:lnTo>
                    <a:pt x="3215332" y="2302290"/>
                  </a:lnTo>
                  <a:lnTo>
                    <a:pt x="3213049" y="2302290"/>
                  </a:lnTo>
                  <a:lnTo>
                    <a:pt x="3210765" y="2302290"/>
                  </a:lnTo>
                  <a:lnTo>
                    <a:pt x="3210765" y="2300009"/>
                  </a:lnTo>
                  <a:lnTo>
                    <a:pt x="3210765" y="2297727"/>
                  </a:lnTo>
                  <a:lnTo>
                    <a:pt x="3208481" y="2297727"/>
                  </a:lnTo>
                  <a:lnTo>
                    <a:pt x="3208481" y="2295445"/>
                  </a:lnTo>
                  <a:lnTo>
                    <a:pt x="3206198" y="2295445"/>
                  </a:lnTo>
                  <a:lnTo>
                    <a:pt x="3203914" y="2295445"/>
                  </a:lnTo>
                  <a:lnTo>
                    <a:pt x="3203914" y="2297727"/>
                  </a:lnTo>
                  <a:lnTo>
                    <a:pt x="3201631" y="2297727"/>
                  </a:lnTo>
                  <a:lnTo>
                    <a:pt x="3199347" y="2297727"/>
                  </a:lnTo>
                  <a:lnTo>
                    <a:pt x="3197063" y="2297727"/>
                  </a:lnTo>
                  <a:lnTo>
                    <a:pt x="3194780" y="2295445"/>
                  </a:lnTo>
                  <a:lnTo>
                    <a:pt x="3192496" y="2295445"/>
                  </a:lnTo>
                  <a:lnTo>
                    <a:pt x="3192496" y="2293163"/>
                  </a:lnTo>
                  <a:lnTo>
                    <a:pt x="3190212" y="2293163"/>
                  </a:lnTo>
                  <a:lnTo>
                    <a:pt x="3190212" y="2290881"/>
                  </a:lnTo>
                  <a:lnTo>
                    <a:pt x="3190212" y="2288599"/>
                  </a:lnTo>
                  <a:lnTo>
                    <a:pt x="3187929" y="2288599"/>
                  </a:lnTo>
                  <a:lnTo>
                    <a:pt x="3187929" y="2286317"/>
                  </a:lnTo>
                  <a:lnTo>
                    <a:pt x="3185645" y="2286317"/>
                  </a:lnTo>
                  <a:lnTo>
                    <a:pt x="3183362" y="2286317"/>
                  </a:lnTo>
                  <a:lnTo>
                    <a:pt x="3183362" y="2284035"/>
                  </a:lnTo>
                  <a:lnTo>
                    <a:pt x="3181078" y="2281753"/>
                  </a:lnTo>
                  <a:lnTo>
                    <a:pt x="3181078" y="2279471"/>
                  </a:lnTo>
                  <a:lnTo>
                    <a:pt x="3178795" y="2279471"/>
                  </a:lnTo>
                  <a:lnTo>
                    <a:pt x="3178795" y="2277190"/>
                  </a:lnTo>
                  <a:lnTo>
                    <a:pt x="3178795" y="2274908"/>
                  </a:lnTo>
                  <a:lnTo>
                    <a:pt x="3181078" y="2274908"/>
                  </a:lnTo>
                  <a:lnTo>
                    <a:pt x="3181078" y="2272626"/>
                  </a:lnTo>
                  <a:lnTo>
                    <a:pt x="3178795" y="2272626"/>
                  </a:lnTo>
                  <a:lnTo>
                    <a:pt x="3178795" y="2270344"/>
                  </a:lnTo>
                  <a:lnTo>
                    <a:pt x="3176511" y="2270344"/>
                  </a:lnTo>
                  <a:lnTo>
                    <a:pt x="3176511" y="2268062"/>
                  </a:lnTo>
                  <a:lnTo>
                    <a:pt x="3176511" y="2265780"/>
                  </a:lnTo>
                  <a:lnTo>
                    <a:pt x="3174227" y="2265780"/>
                  </a:lnTo>
                  <a:lnTo>
                    <a:pt x="3174227" y="2263498"/>
                  </a:lnTo>
                  <a:lnTo>
                    <a:pt x="3171944" y="2263498"/>
                  </a:lnTo>
                  <a:lnTo>
                    <a:pt x="3169660" y="2263498"/>
                  </a:lnTo>
                  <a:lnTo>
                    <a:pt x="3167377" y="2263498"/>
                  </a:lnTo>
                  <a:lnTo>
                    <a:pt x="3167377" y="2261216"/>
                  </a:lnTo>
                  <a:lnTo>
                    <a:pt x="3165093" y="2261216"/>
                  </a:lnTo>
                  <a:lnTo>
                    <a:pt x="3165093" y="2258934"/>
                  </a:lnTo>
                  <a:lnTo>
                    <a:pt x="3162810" y="2258934"/>
                  </a:lnTo>
                  <a:lnTo>
                    <a:pt x="3162810" y="2256653"/>
                  </a:lnTo>
                  <a:lnTo>
                    <a:pt x="3162810" y="2254371"/>
                  </a:lnTo>
                  <a:lnTo>
                    <a:pt x="3160526" y="2254371"/>
                  </a:lnTo>
                  <a:lnTo>
                    <a:pt x="3160526" y="2252089"/>
                  </a:lnTo>
                  <a:lnTo>
                    <a:pt x="3160526" y="2249807"/>
                  </a:lnTo>
                  <a:lnTo>
                    <a:pt x="3158242" y="2247525"/>
                  </a:lnTo>
                  <a:lnTo>
                    <a:pt x="3158242" y="2245243"/>
                  </a:lnTo>
                  <a:lnTo>
                    <a:pt x="3158242" y="2242961"/>
                  </a:lnTo>
                  <a:lnTo>
                    <a:pt x="3155959" y="2242961"/>
                  </a:lnTo>
                  <a:lnTo>
                    <a:pt x="3153675" y="2242961"/>
                  </a:lnTo>
                  <a:lnTo>
                    <a:pt x="3153675" y="2240679"/>
                  </a:lnTo>
                  <a:lnTo>
                    <a:pt x="3151391" y="2240679"/>
                  </a:lnTo>
                  <a:lnTo>
                    <a:pt x="3149108" y="2240679"/>
                  </a:lnTo>
                  <a:lnTo>
                    <a:pt x="3149108" y="2238397"/>
                  </a:lnTo>
                  <a:lnTo>
                    <a:pt x="3146824" y="2238397"/>
                  </a:lnTo>
                  <a:lnTo>
                    <a:pt x="3144541" y="2238397"/>
                  </a:lnTo>
                  <a:lnTo>
                    <a:pt x="3142257" y="2238397"/>
                  </a:lnTo>
                  <a:lnTo>
                    <a:pt x="3139973" y="2238397"/>
                  </a:lnTo>
                  <a:lnTo>
                    <a:pt x="3139973" y="2240679"/>
                  </a:lnTo>
                  <a:lnTo>
                    <a:pt x="3137690" y="2240679"/>
                  </a:lnTo>
                  <a:lnTo>
                    <a:pt x="3137690" y="2238397"/>
                  </a:lnTo>
                  <a:lnTo>
                    <a:pt x="3137690" y="2236115"/>
                  </a:lnTo>
                  <a:lnTo>
                    <a:pt x="3135406" y="2233834"/>
                  </a:lnTo>
                  <a:lnTo>
                    <a:pt x="3135406" y="2231552"/>
                  </a:lnTo>
                  <a:lnTo>
                    <a:pt x="3137690" y="2231552"/>
                  </a:lnTo>
                  <a:lnTo>
                    <a:pt x="3137690" y="2229270"/>
                  </a:lnTo>
                  <a:lnTo>
                    <a:pt x="3137690" y="2226988"/>
                  </a:lnTo>
                  <a:lnTo>
                    <a:pt x="3139973" y="2226988"/>
                  </a:lnTo>
                  <a:lnTo>
                    <a:pt x="3139973" y="2224706"/>
                  </a:lnTo>
                  <a:lnTo>
                    <a:pt x="3139973" y="2222424"/>
                  </a:lnTo>
                  <a:lnTo>
                    <a:pt x="3139973" y="2220142"/>
                  </a:lnTo>
                  <a:lnTo>
                    <a:pt x="3139973" y="2217860"/>
                  </a:lnTo>
                  <a:lnTo>
                    <a:pt x="3137690" y="2217860"/>
                  </a:lnTo>
                  <a:lnTo>
                    <a:pt x="3137690" y="2215578"/>
                  </a:lnTo>
                  <a:lnTo>
                    <a:pt x="3137690" y="2213297"/>
                  </a:lnTo>
                  <a:lnTo>
                    <a:pt x="3135406" y="2213297"/>
                  </a:lnTo>
                  <a:lnTo>
                    <a:pt x="3135406" y="2211015"/>
                  </a:lnTo>
                  <a:lnTo>
                    <a:pt x="3135406" y="2208733"/>
                  </a:lnTo>
                  <a:lnTo>
                    <a:pt x="3133123" y="2208733"/>
                  </a:lnTo>
                  <a:lnTo>
                    <a:pt x="3133123" y="2206451"/>
                  </a:lnTo>
                  <a:lnTo>
                    <a:pt x="3130839" y="2206451"/>
                  </a:lnTo>
                  <a:lnTo>
                    <a:pt x="3130839" y="2208733"/>
                  </a:lnTo>
                  <a:lnTo>
                    <a:pt x="3128556" y="2208733"/>
                  </a:lnTo>
                  <a:lnTo>
                    <a:pt x="3126272" y="2211015"/>
                  </a:lnTo>
                  <a:lnTo>
                    <a:pt x="3123988" y="2211015"/>
                  </a:lnTo>
                  <a:lnTo>
                    <a:pt x="3121705" y="2211015"/>
                  </a:lnTo>
                  <a:lnTo>
                    <a:pt x="3119421" y="2211015"/>
                  </a:lnTo>
                  <a:lnTo>
                    <a:pt x="3117137" y="2211015"/>
                  </a:lnTo>
                  <a:lnTo>
                    <a:pt x="3117137" y="2208733"/>
                  </a:lnTo>
                  <a:lnTo>
                    <a:pt x="3114854" y="2208733"/>
                  </a:lnTo>
                  <a:lnTo>
                    <a:pt x="3114854" y="2206451"/>
                  </a:lnTo>
                  <a:lnTo>
                    <a:pt x="3114854" y="2204178"/>
                  </a:lnTo>
                  <a:lnTo>
                    <a:pt x="3112570" y="2204178"/>
                  </a:lnTo>
                  <a:lnTo>
                    <a:pt x="3112570" y="2201897"/>
                  </a:lnTo>
                  <a:lnTo>
                    <a:pt x="3110287" y="2201897"/>
                  </a:lnTo>
                  <a:lnTo>
                    <a:pt x="3108003" y="2201897"/>
                  </a:lnTo>
                  <a:lnTo>
                    <a:pt x="3108003" y="2199615"/>
                  </a:lnTo>
                  <a:lnTo>
                    <a:pt x="3108003" y="2197333"/>
                  </a:lnTo>
                  <a:lnTo>
                    <a:pt x="3105720" y="2197333"/>
                  </a:lnTo>
                  <a:lnTo>
                    <a:pt x="3103436" y="2197333"/>
                  </a:lnTo>
                  <a:lnTo>
                    <a:pt x="3103436" y="2195051"/>
                  </a:lnTo>
                  <a:lnTo>
                    <a:pt x="3103436" y="2192769"/>
                  </a:lnTo>
                  <a:lnTo>
                    <a:pt x="3105720" y="2192769"/>
                  </a:lnTo>
                  <a:lnTo>
                    <a:pt x="3105720" y="2190487"/>
                  </a:lnTo>
                  <a:lnTo>
                    <a:pt x="3105720" y="2188205"/>
                  </a:lnTo>
                  <a:lnTo>
                    <a:pt x="3105720" y="2185923"/>
                  </a:lnTo>
                  <a:lnTo>
                    <a:pt x="3105720" y="2183641"/>
                  </a:lnTo>
                  <a:lnTo>
                    <a:pt x="3103436" y="2183641"/>
                  </a:lnTo>
                  <a:lnTo>
                    <a:pt x="3101152" y="2183641"/>
                  </a:lnTo>
                  <a:lnTo>
                    <a:pt x="3101152" y="2181359"/>
                  </a:lnTo>
                  <a:lnTo>
                    <a:pt x="3098869" y="2181359"/>
                  </a:lnTo>
                  <a:lnTo>
                    <a:pt x="3098869" y="2179078"/>
                  </a:lnTo>
                  <a:lnTo>
                    <a:pt x="3096585" y="2179078"/>
                  </a:lnTo>
                  <a:lnTo>
                    <a:pt x="3096585" y="2176796"/>
                  </a:lnTo>
                  <a:lnTo>
                    <a:pt x="3096585" y="2174514"/>
                  </a:lnTo>
                  <a:lnTo>
                    <a:pt x="3094302" y="2174514"/>
                  </a:lnTo>
                  <a:lnTo>
                    <a:pt x="3092018" y="2174514"/>
                  </a:lnTo>
                  <a:lnTo>
                    <a:pt x="3092018" y="2176796"/>
                  </a:lnTo>
                  <a:lnTo>
                    <a:pt x="3089734" y="2176796"/>
                  </a:lnTo>
                  <a:lnTo>
                    <a:pt x="3087451" y="2176796"/>
                  </a:lnTo>
                  <a:lnTo>
                    <a:pt x="3085167" y="2176796"/>
                  </a:lnTo>
                  <a:lnTo>
                    <a:pt x="3085167" y="2174514"/>
                  </a:lnTo>
                  <a:lnTo>
                    <a:pt x="3085167" y="2172232"/>
                  </a:lnTo>
                  <a:lnTo>
                    <a:pt x="3085167" y="2169950"/>
                  </a:lnTo>
                  <a:lnTo>
                    <a:pt x="3085167" y="2167668"/>
                  </a:lnTo>
                  <a:lnTo>
                    <a:pt x="3082883" y="2167668"/>
                  </a:lnTo>
                  <a:lnTo>
                    <a:pt x="3082883" y="2165386"/>
                  </a:lnTo>
                  <a:lnTo>
                    <a:pt x="3080600" y="2165386"/>
                  </a:lnTo>
                  <a:lnTo>
                    <a:pt x="3080600" y="2163104"/>
                  </a:lnTo>
                  <a:lnTo>
                    <a:pt x="3080600" y="2160822"/>
                  </a:lnTo>
                  <a:lnTo>
                    <a:pt x="3080600" y="2158541"/>
                  </a:lnTo>
                  <a:lnTo>
                    <a:pt x="3078316" y="2158541"/>
                  </a:lnTo>
                  <a:lnTo>
                    <a:pt x="3078316" y="2156259"/>
                  </a:lnTo>
                  <a:lnTo>
                    <a:pt x="3078316" y="2153977"/>
                  </a:lnTo>
                  <a:lnTo>
                    <a:pt x="3078316" y="2151695"/>
                  </a:lnTo>
                  <a:lnTo>
                    <a:pt x="3076033" y="2149413"/>
                  </a:lnTo>
                  <a:lnTo>
                    <a:pt x="3076033" y="2147131"/>
                  </a:lnTo>
                  <a:lnTo>
                    <a:pt x="3073749" y="2147131"/>
                  </a:lnTo>
                  <a:lnTo>
                    <a:pt x="3073749" y="2144849"/>
                  </a:lnTo>
                  <a:lnTo>
                    <a:pt x="3071466" y="2144849"/>
                  </a:lnTo>
                  <a:lnTo>
                    <a:pt x="3069182" y="2144849"/>
                  </a:lnTo>
                  <a:lnTo>
                    <a:pt x="3069182" y="2142567"/>
                  </a:lnTo>
                  <a:lnTo>
                    <a:pt x="3066898" y="2142567"/>
                  </a:lnTo>
                  <a:lnTo>
                    <a:pt x="3064615" y="2142567"/>
                  </a:lnTo>
                  <a:lnTo>
                    <a:pt x="3064615" y="2140285"/>
                  </a:lnTo>
                  <a:lnTo>
                    <a:pt x="3062331" y="2140285"/>
                  </a:lnTo>
                  <a:lnTo>
                    <a:pt x="3062331" y="2138003"/>
                  </a:lnTo>
                  <a:lnTo>
                    <a:pt x="3064615" y="2138003"/>
                  </a:lnTo>
                  <a:lnTo>
                    <a:pt x="3064615" y="2135722"/>
                  </a:lnTo>
                  <a:lnTo>
                    <a:pt x="3064615" y="2133440"/>
                  </a:lnTo>
                  <a:lnTo>
                    <a:pt x="3064615" y="2131158"/>
                  </a:lnTo>
                  <a:lnTo>
                    <a:pt x="3062331" y="2131158"/>
                  </a:lnTo>
                  <a:lnTo>
                    <a:pt x="3062331" y="2128876"/>
                  </a:lnTo>
                  <a:lnTo>
                    <a:pt x="3060048" y="2128876"/>
                  </a:lnTo>
                  <a:lnTo>
                    <a:pt x="3060048" y="2126594"/>
                  </a:lnTo>
                  <a:lnTo>
                    <a:pt x="3057764" y="2126594"/>
                  </a:lnTo>
                  <a:lnTo>
                    <a:pt x="3055480" y="2126594"/>
                  </a:lnTo>
                  <a:lnTo>
                    <a:pt x="3055480" y="2124312"/>
                  </a:lnTo>
                  <a:lnTo>
                    <a:pt x="3055480" y="2122030"/>
                  </a:lnTo>
                  <a:lnTo>
                    <a:pt x="3055480" y="2119748"/>
                  </a:lnTo>
                  <a:lnTo>
                    <a:pt x="3053197" y="2119748"/>
                  </a:lnTo>
                  <a:lnTo>
                    <a:pt x="3053197" y="2117466"/>
                  </a:lnTo>
                  <a:lnTo>
                    <a:pt x="3050913" y="2117466"/>
                  </a:lnTo>
                  <a:lnTo>
                    <a:pt x="3050913" y="2115185"/>
                  </a:lnTo>
                  <a:lnTo>
                    <a:pt x="3048630" y="2115185"/>
                  </a:lnTo>
                  <a:lnTo>
                    <a:pt x="3048630" y="2112903"/>
                  </a:lnTo>
                  <a:lnTo>
                    <a:pt x="3048630" y="2110621"/>
                  </a:lnTo>
                  <a:lnTo>
                    <a:pt x="3048630" y="2108339"/>
                  </a:lnTo>
                  <a:lnTo>
                    <a:pt x="3048630" y="2106057"/>
                  </a:lnTo>
                  <a:lnTo>
                    <a:pt x="3050913" y="2106057"/>
                  </a:lnTo>
                  <a:lnTo>
                    <a:pt x="3050913" y="2103775"/>
                  </a:lnTo>
                  <a:lnTo>
                    <a:pt x="3053197" y="2103775"/>
                  </a:lnTo>
                  <a:lnTo>
                    <a:pt x="3053197" y="2101493"/>
                  </a:lnTo>
                  <a:lnTo>
                    <a:pt x="3050913" y="2101493"/>
                  </a:lnTo>
                  <a:lnTo>
                    <a:pt x="3050913" y="2099211"/>
                  </a:lnTo>
                  <a:lnTo>
                    <a:pt x="3050913" y="2096929"/>
                  </a:lnTo>
                  <a:lnTo>
                    <a:pt x="3048630" y="2096929"/>
                  </a:lnTo>
                  <a:lnTo>
                    <a:pt x="3048630" y="2094647"/>
                  </a:lnTo>
                  <a:lnTo>
                    <a:pt x="3048630" y="2092366"/>
                  </a:lnTo>
                  <a:lnTo>
                    <a:pt x="3046346" y="2092366"/>
                  </a:lnTo>
                  <a:lnTo>
                    <a:pt x="3044062" y="2092366"/>
                  </a:lnTo>
                  <a:lnTo>
                    <a:pt x="3044062" y="2090083"/>
                  </a:lnTo>
                  <a:lnTo>
                    <a:pt x="3041779" y="2090083"/>
                  </a:lnTo>
                  <a:lnTo>
                    <a:pt x="3039495" y="2090083"/>
                  </a:lnTo>
                  <a:lnTo>
                    <a:pt x="3037212" y="2090083"/>
                  </a:lnTo>
                  <a:lnTo>
                    <a:pt x="3034928" y="2090083"/>
                  </a:lnTo>
                  <a:lnTo>
                    <a:pt x="3032644" y="2090083"/>
                  </a:lnTo>
                  <a:lnTo>
                    <a:pt x="3032644" y="2087802"/>
                  </a:lnTo>
                  <a:lnTo>
                    <a:pt x="3030361" y="2087802"/>
                  </a:lnTo>
                  <a:lnTo>
                    <a:pt x="3030361" y="2090083"/>
                  </a:lnTo>
                  <a:lnTo>
                    <a:pt x="3028077" y="2090083"/>
                  </a:lnTo>
                  <a:lnTo>
                    <a:pt x="3028077" y="2087802"/>
                  </a:lnTo>
                  <a:lnTo>
                    <a:pt x="3025794" y="2090083"/>
                  </a:lnTo>
                  <a:lnTo>
                    <a:pt x="3023510" y="2090083"/>
                  </a:lnTo>
                  <a:lnTo>
                    <a:pt x="3021227" y="2090083"/>
                  </a:lnTo>
                  <a:lnTo>
                    <a:pt x="3018943" y="2090083"/>
                  </a:lnTo>
                  <a:lnTo>
                    <a:pt x="3018943" y="2087802"/>
                  </a:lnTo>
                  <a:lnTo>
                    <a:pt x="3016659" y="2087802"/>
                  </a:lnTo>
                  <a:lnTo>
                    <a:pt x="3014376" y="2087802"/>
                  </a:lnTo>
                  <a:lnTo>
                    <a:pt x="3014376" y="2085520"/>
                  </a:lnTo>
                  <a:lnTo>
                    <a:pt x="3012092" y="2085520"/>
                  </a:lnTo>
                  <a:lnTo>
                    <a:pt x="3009808" y="2085520"/>
                  </a:lnTo>
                  <a:lnTo>
                    <a:pt x="3007525" y="2085520"/>
                  </a:lnTo>
                  <a:lnTo>
                    <a:pt x="3005241" y="2085520"/>
                  </a:lnTo>
                  <a:lnTo>
                    <a:pt x="3005241" y="2083238"/>
                  </a:lnTo>
                  <a:lnTo>
                    <a:pt x="3002958" y="2083238"/>
                  </a:lnTo>
                  <a:lnTo>
                    <a:pt x="3002958" y="2080956"/>
                  </a:lnTo>
                  <a:lnTo>
                    <a:pt x="3002958" y="2078674"/>
                  </a:lnTo>
                  <a:lnTo>
                    <a:pt x="3002958" y="2076392"/>
                  </a:lnTo>
                  <a:lnTo>
                    <a:pt x="3000674" y="2076392"/>
                  </a:lnTo>
                  <a:lnTo>
                    <a:pt x="3000674" y="2074110"/>
                  </a:lnTo>
                  <a:lnTo>
                    <a:pt x="3000674" y="2071828"/>
                  </a:lnTo>
                  <a:lnTo>
                    <a:pt x="3000674" y="2069546"/>
                  </a:lnTo>
                  <a:lnTo>
                    <a:pt x="3000674" y="2067265"/>
                  </a:lnTo>
                  <a:lnTo>
                    <a:pt x="3000674" y="2064983"/>
                  </a:lnTo>
                  <a:lnTo>
                    <a:pt x="3000674" y="2062701"/>
                  </a:lnTo>
                  <a:lnTo>
                    <a:pt x="3000674" y="2060419"/>
                  </a:lnTo>
                  <a:lnTo>
                    <a:pt x="3000674" y="2058137"/>
                  </a:lnTo>
                  <a:lnTo>
                    <a:pt x="3000674" y="2055865"/>
                  </a:lnTo>
                  <a:lnTo>
                    <a:pt x="3000674" y="2053573"/>
                  </a:lnTo>
                  <a:lnTo>
                    <a:pt x="2998390" y="2053573"/>
                  </a:lnTo>
                  <a:lnTo>
                    <a:pt x="2998390" y="2051291"/>
                  </a:lnTo>
                  <a:lnTo>
                    <a:pt x="2996107" y="2051291"/>
                  </a:lnTo>
                  <a:lnTo>
                    <a:pt x="2996107" y="2053573"/>
                  </a:lnTo>
                  <a:lnTo>
                    <a:pt x="2993823" y="2053573"/>
                  </a:lnTo>
                  <a:lnTo>
                    <a:pt x="2993823" y="2055865"/>
                  </a:lnTo>
                  <a:lnTo>
                    <a:pt x="2993823" y="2058137"/>
                  </a:lnTo>
                  <a:lnTo>
                    <a:pt x="2991540" y="2058137"/>
                  </a:lnTo>
                  <a:lnTo>
                    <a:pt x="2989256" y="2058137"/>
                  </a:lnTo>
                  <a:lnTo>
                    <a:pt x="2986973" y="2058137"/>
                  </a:lnTo>
                  <a:lnTo>
                    <a:pt x="2984689" y="2058137"/>
                  </a:lnTo>
                  <a:lnTo>
                    <a:pt x="2982405" y="2058137"/>
                  </a:lnTo>
                  <a:lnTo>
                    <a:pt x="2980122" y="2058137"/>
                  </a:lnTo>
                  <a:lnTo>
                    <a:pt x="2977838" y="2058137"/>
                  </a:lnTo>
                  <a:lnTo>
                    <a:pt x="2977838" y="2055865"/>
                  </a:lnTo>
                  <a:lnTo>
                    <a:pt x="2975554" y="2055865"/>
                  </a:lnTo>
                  <a:lnTo>
                    <a:pt x="2975554" y="2053573"/>
                  </a:lnTo>
                  <a:lnTo>
                    <a:pt x="2973271" y="2053573"/>
                  </a:lnTo>
                  <a:lnTo>
                    <a:pt x="2973271" y="2051291"/>
                  </a:lnTo>
                  <a:lnTo>
                    <a:pt x="2970987" y="2051291"/>
                  </a:lnTo>
                  <a:lnTo>
                    <a:pt x="2968704" y="2051291"/>
                  </a:lnTo>
                  <a:lnTo>
                    <a:pt x="2968704" y="2049019"/>
                  </a:lnTo>
                  <a:lnTo>
                    <a:pt x="2966420" y="2049019"/>
                  </a:lnTo>
                  <a:lnTo>
                    <a:pt x="2966420" y="2046737"/>
                  </a:lnTo>
                  <a:lnTo>
                    <a:pt x="2964137" y="2046737"/>
                  </a:lnTo>
                  <a:lnTo>
                    <a:pt x="2964137" y="2044455"/>
                  </a:lnTo>
                  <a:lnTo>
                    <a:pt x="2964137" y="2042173"/>
                  </a:lnTo>
                  <a:lnTo>
                    <a:pt x="2961853" y="2042173"/>
                  </a:lnTo>
                  <a:lnTo>
                    <a:pt x="2961853" y="2039891"/>
                  </a:lnTo>
                  <a:lnTo>
                    <a:pt x="2961853" y="2037610"/>
                  </a:lnTo>
                  <a:lnTo>
                    <a:pt x="2959569" y="2037610"/>
                  </a:lnTo>
                  <a:lnTo>
                    <a:pt x="2959569" y="2035327"/>
                  </a:lnTo>
                  <a:lnTo>
                    <a:pt x="2959569" y="2033046"/>
                  </a:lnTo>
                  <a:lnTo>
                    <a:pt x="2957286" y="2030764"/>
                  </a:lnTo>
                  <a:lnTo>
                    <a:pt x="2955002" y="2030764"/>
                  </a:lnTo>
                  <a:lnTo>
                    <a:pt x="2952719" y="2030764"/>
                  </a:lnTo>
                  <a:lnTo>
                    <a:pt x="2950435" y="2030764"/>
                  </a:lnTo>
                  <a:lnTo>
                    <a:pt x="2948151" y="2030764"/>
                  </a:lnTo>
                  <a:lnTo>
                    <a:pt x="2945868" y="2030764"/>
                  </a:lnTo>
                  <a:lnTo>
                    <a:pt x="2943584" y="2030764"/>
                  </a:lnTo>
                  <a:lnTo>
                    <a:pt x="2943584" y="2028482"/>
                  </a:lnTo>
                  <a:lnTo>
                    <a:pt x="2941300" y="2028482"/>
                  </a:lnTo>
                  <a:lnTo>
                    <a:pt x="2941300" y="2026200"/>
                  </a:lnTo>
                  <a:lnTo>
                    <a:pt x="2941300" y="2023918"/>
                  </a:lnTo>
                  <a:lnTo>
                    <a:pt x="2941300" y="2021636"/>
                  </a:lnTo>
                  <a:lnTo>
                    <a:pt x="2941300" y="2019354"/>
                  </a:lnTo>
                  <a:lnTo>
                    <a:pt x="2939017" y="2019354"/>
                  </a:lnTo>
                  <a:lnTo>
                    <a:pt x="2936733" y="2019354"/>
                  </a:lnTo>
                  <a:lnTo>
                    <a:pt x="2936733" y="2017072"/>
                  </a:lnTo>
                  <a:lnTo>
                    <a:pt x="2934450" y="2017072"/>
                  </a:lnTo>
                  <a:lnTo>
                    <a:pt x="2932166" y="2017072"/>
                  </a:lnTo>
                  <a:lnTo>
                    <a:pt x="2929883" y="2017072"/>
                  </a:lnTo>
                  <a:lnTo>
                    <a:pt x="2927599" y="2017072"/>
                  </a:lnTo>
                  <a:lnTo>
                    <a:pt x="2925315" y="2017072"/>
                  </a:lnTo>
                  <a:lnTo>
                    <a:pt x="2923032" y="2017072"/>
                  </a:lnTo>
                  <a:lnTo>
                    <a:pt x="2923032" y="2019354"/>
                  </a:lnTo>
                  <a:lnTo>
                    <a:pt x="2920748" y="2019354"/>
                  </a:lnTo>
                  <a:lnTo>
                    <a:pt x="2918465" y="2019354"/>
                  </a:lnTo>
                  <a:lnTo>
                    <a:pt x="2918465" y="2017072"/>
                  </a:lnTo>
                  <a:lnTo>
                    <a:pt x="2916181" y="2017072"/>
                  </a:lnTo>
                  <a:lnTo>
                    <a:pt x="2916181" y="2014791"/>
                  </a:lnTo>
                  <a:lnTo>
                    <a:pt x="2913898" y="2014791"/>
                  </a:lnTo>
                  <a:lnTo>
                    <a:pt x="2913898" y="2012509"/>
                  </a:lnTo>
                  <a:lnTo>
                    <a:pt x="2911614" y="2012509"/>
                  </a:lnTo>
                  <a:lnTo>
                    <a:pt x="2909330" y="2010227"/>
                  </a:lnTo>
                  <a:lnTo>
                    <a:pt x="2907047" y="2010227"/>
                  </a:lnTo>
                  <a:lnTo>
                    <a:pt x="2907047" y="2007945"/>
                  </a:lnTo>
                  <a:lnTo>
                    <a:pt x="2907047" y="2005663"/>
                  </a:lnTo>
                  <a:lnTo>
                    <a:pt x="2904763" y="2005663"/>
                  </a:lnTo>
                  <a:lnTo>
                    <a:pt x="2904763" y="2003381"/>
                  </a:lnTo>
                  <a:lnTo>
                    <a:pt x="2904763" y="2001099"/>
                  </a:lnTo>
                  <a:lnTo>
                    <a:pt x="2902479" y="2001099"/>
                  </a:lnTo>
                  <a:lnTo>
                    <a:pt x="2902479" y="1998817"/>
                  </a:lnTo>
                  <a:lnTo>
                    <a:pt x="2900196" y="1996535"/>
                  </a:lnTo>
                  <a:lnTo>
                    <a:pt x="2900196" y="1994254"/>
                  </a:lnTo>
                  <a:lnTo>
                    <a:pt x="2897912" y="1994254"/>
                  </a:lnTo>
                  <a:lnTo>
                    <a:pt x="2897912" y="1991971"/>
                  </a:lnTo>
                  <a:lnTo>
                    <a:pt x="2897912" y="1989690"/>
                  </a:lnTo>
                  <a:lnTo>
                    <a:pt x="2897912" y="1987408"/>
                  </a:lnTo>
                  <a:lnTo>
                    <a:pt x="2895629" y="1987408"/>
                  </a:lnTo>
                  <a:lnTo>
                    <a:pt x="2895629" y="1985126"/>
                  </a:lnTo>
                  <a:lnTo>
                    <a:pt x="2895629" y="1982844"/>
                  </a:lnTo>
                  <a:lnTo>
                    <a:pt x="2893345" y="1982844"/>
                  </a:lnTo>
                  <a:lnTo>
                    <a:pt x="2893345" y="1980562"/>
                  </a:lnTo>
                  <a:lnTo>
                    <a:pt x="2891061" y="1980562"/>
                  </a:lnTo>
                  <a:lnTo>
                    <a:pt x="2888778" y="1980562"/>
                  </a:lnTo>
                  <a:lnTo>
                    <a:pt x="2888778" y="1978280"/>
                  </a:lnTo>
                  <a:lnTo>
                    <a:pt x="2886494" y="1978280"/>
                  </a:lnTo>
                  <a:lnTo>
                    <a:pt x="2886494" y="1975998"/>
                  </a:lnTo>
                  <a:lnTo>
                    <a:pt x="2884211" y="1975998"/>
                  </a:lnTo>
                  <a:lnTo>
                    <a:pt x="2884211" y="1973716"/>
                  </a:lnTo>
                  <a:lnTo>
                    <a:pt x="2884211" y="1971434"/>
                  </a:lnTo>
                  <a:lnTo>
                    <a:pt x="2886494" y="1971434"/>
                  </a:lnTo>
                  <a:lnTo>
                    <a:pt x="2886494" y="1969153"/>
                  </a:lnTo>
                  <a:lnTo>
                    <a:pt x="2886494" y="1966871"/>
                  </a:lnTo>
                  <a:lnTo>
                    <a:pt x="2886494" y="1964589"/>
                  </a:lnTo>
                  <a:lnTo>
                    <a:pt x="2886494" y="1962307"/>
                  </a:lnTo>
                  <a:lnTo>
                    <a:pt x="2886494" y="1960025"/>
                  </a:lnTo>
                  <a:lnTo>
                    <a:pt x="2886494" y="1957743"/>
                  </a:lnTo>
                  <a:lnTo>
                    <a:pt x="2886494" y="1955461"/>
                  </a:lnTo>
                  <a:lnTo>
                    <a:pt x="2884211" y="1955461"/>
                  </a:lnTo>
                  <a:lnTo>
                    <a:pt x="2884211" y="1953179"/>
                  </a:lnTo>
                  <a:lnTo>
                    <a:pt x="2886494" y="1948615"/>
                  </a:lnTo>
                  <a:lnTo>
                    <a:pt x="2888778" y="1944052"/>
                  </a:lnTo>
                  <a:lnTo>
                    <a:pt x="2891061" y="1939488"/>
                  </a:lnTo>
                  <a:lnTo>
                    <a:pt x="2893345" y="1934924"/>
                  </a:lnTo>
                  <a:lnTo>
                    <a:pt x="2895629" y="1930360"/>
                  </a:lnTo>
                  <a:lnTo>
                    <a:pt x="2897912" y="1925797"/>
                  </a:lnTo>
                  <a:lnTo>
                    <a:pt x="2900196" y="1918951"/>
                  </a:lnTo>
                  <a:lnTo>
                    <a:pt x="2902479" y="1914387"/>
                  </a:lnTo>
                  <a:lnTo>
                    <a:pt x="2904763" y="1909823"/>
                  </a:lnTo>
                  <a:lnTo>
                    <a:pt x="2907047" y="1905259"/>
                  </a:lnTo>
                  <a:lnTo>
                    <a:pt x="2907047" y="1902978"/>
                  </a:lnTo>
                  <a:lnTo>
                    <a:pt x="2911614" y="1891578"/>
                  </a:lnTo>
                  <a:lnTo>
                    <a:pt x="2918465" y="1877886"/>
                  </a:lnTo>
                  <a:lnTo>
                    <a:pt x="2927599" y="1859631"/>
                  </a:lnTo>
                  <a:lnTo>
                    <a:pt x="2929883" y="1855067"/>
                  </a:lnTo>
                  <a:lnTo>
                    <a:pt x="2934450" y="1843658"/>
                  </a:lnTo>
                  <a:lnTo>
                    <a:pt x="2941300" y="1829966"/>
                  </a:lnTo>
                  <a:lnTo>
                    <a:pt x="2941300" y="1825403"/>
                  </a:lnTo>
                  <a:lnTo>
                    <a:pt x="2945868" y="1820839"/>
                  </a:lnTo>
                  <a:lnTo>
                    <a:pt x="2948151" y="1811711"/>
                  </a:lnTo>
                  <a:lnTo>
                    <a:pt x="2952719" y="1802584"/>
                  </a:lnTo>
                  <a:lnTo>
                    <a:pt x="2955002" y="1795738"/>
                  </a:lnTo>
                  <a:lnTo>
                    <a:pt x="2957286" y="1795738"/>
                  </a:lnTo>
                  <a:lnTo>
                    <a:pt x="2957286" y="1793456"/>
                  </a:lnTo>
                  <a:lnTo>
                    <a:pt x="2961853" y="1779765"/>
                  </a:lnTo>
                  <a:lnTo>
                    <a:pt x="2964137" y="1777483"/>
                  </a:lnTo>
                  <a:lnTo>
                    <a:pt x="2964137" y="1775201"/>
                  </a:lnTo>
                  <a:lnTo>
                    <a:pt x="2966420" y="1775201"/>
                  </a:lnTo>
                  <a:lnTo>
                    <a:pt x="2966420" y="1770637"/>
                  </a:lnTo>
                  <a:lnTo>
                    <a:pt x="2968704" y="1770637"/>
                  </a:lnTo>
                  <a:lnTo>
                    <a:pt x="2968704" y="1766073"/>
                  </a:lnTo>
                  <a:lnTo>
                    <a:pt x="2970987" y="1761510"/>
                  </a:lnTo>
                  <a:lnTo>
                    <a:pt x="2973271" y="1759228"/>
                  </a:lnTo>
                  <a:lnTo>
                    <a:pt x="2977838" y="1750100"/>
                  </a:lnTo>
                  <a:lnTo>
                    <a:pt x="2980122" y="1740973"/>
                  </a:lnTo>
                  <a:lnTo>
                    <a:pt x="2982405" y="1738700"/>
                  </a:lnTo>
                  <a:lnTo>
                    <a:pt x="2982405" y="1734127"/>
                  </a:lnTo>
                  <a:lnTo>
                    <a:pt x="2984689" y="1731854"/>
                  </a:lnTo>
                  <a:lnTo>
                    <a:pt x="2986973" y="1727291"/>
                  </a:lnTo>
                  <a:lnTo>
                    <a:pt x="2989256" y="1720445"/>
                  </a:lnTo>
                  <a:lnTo>
                    <a:pt x="2991540" y="1718163"/>
                  </a:lnTo>
                  <a:lnTo>
                    <a:pt x="2991540" y="1715881"/>
                  </a:lnTo>
                  <a:lnTo>
                    <a:pt x="2991540" y="1713599"/>
                  </a:lnTo>
                  <a:lnTo>
                    <a:pt x="2993823" y="1713599"/>
                  </a:lnTo>
                  <a:lnTo>
                    <a:pt x="2993823" y="1711318"/>
                  </a:lnTo>
                  <a:lnTo>
                    <a:pt x="2996107" y="1706754"/>
                  </a:lnTo>
                  <a:lnTo>
                    <a:pt x="3000674" y="1699908"/>
                  </a:lnTo>
                  <a:lnTo>
                    <a:pt x="3000674" y="1697626"/>
                  </a:lnTo>
                  <a:lnTo>
                    <a:pt x="3000674" y="1695344"/>
                  </a:lnTo>
                  <a:lnTo>
                    <a:pt x="3002958" y="1693062"/>
                  </a:lnTo>
                  <a:lnTo>
                    <a:pt x="3002958" y="1690780"/>
                  </a:lnTo>
                  <a:lnTo>
                    <a:pt x="3007525" y="1683935"/>
                  </a:lnTo>
                  <a:lnTo>
                    <a:pt x="3009808" y="1679371"/>
                  </a:lnTo>
                  <a:lnTo>
                    <a:pt x="3009808" y="1674807"/>
                  </a:lnTo>
                  <a:lnTo>
                    <a:pt x="3012092" y="1670243"/>
                  </a:lnTo>
                  <a:lnTo>
                    <a:pt x="3014376" y="1665679"/>
                  </a:lnTo>
                  <a:lnTo>
                    <a:pt x="3016659" y="1663398"/>
                  </a:lnTo>
                  <a:lnTo>
                    <a:pt x="3016659" y="1661116"/>
                  </a:lnTo>
                  <a:lnTo>
                    <a:pt x="3023510" y="1649706"/>
                  </a:lnTo>
                  <a:lnTo>
                    <a:pt x="3030361" y="1636015"/>
                  </a:lnTo>
                  <a:lnTo>
                    <a:pt x="3030361" y="1633733"/>
                  </a:lnTo>
                  <a:lnTo>
                    <a:pt x="3037212" y="1620042"/>
                  </a:lnTo>
                  <a:lnTo>
                    <a:pt x="3037212" y="1617760"/>
                  </a:lnTo>
                  <a:lnTo>
                    <a:pt x="3039495" y="1613196"/>
                  </a:lnTo>
                  <a:lnTo>
                    <a:pt x="3041779" y="1610914"/>
                  </a:lnTo>
                  <a:lnTo>
                    <a:pt x="3041779" y="1608632"/>
                  </a:lnTo>
                  <a:lnTo>
                    <a:pt x="3041779" y="1606350"/>
                  </a:lnTo>
                  <a:lnTo>
                    <a:pt x="3044062" y="1606350"/>
                  </a:lnTo>
                  <a:lnTo>
                    <a:pt x="3044062" y="1604068"/>
                  </a:lnTo>
                  <a:lnTo>
                    <a:pt x="3046346" y="1601786"/>
                  </a:lnTo>
                  <a:lnTo>
                    <a:pt x="3046346" y="1599505"/>
                  </a:lnTo>
                  <a:lnTo>
                    <a:pt x="3046346" y="1597223"/>
                  </a:lnTo>
                  <a:lnTo>
                    <a:pt x="3048630" y="1597223"/>
                  </a:lnTo>
                  <a:lnTo>
                    <a:pt x="3048630" y="1592659"/>
                  </a:lnTo>
                  <a:lnTo>
                    <a:pt x="3050913" y="1588095"/>
                  </a:lnTo>
                  <a:lnTo>
                    <a:pt x="3053197" y="1588095"/>
                  </a:lnTo>
                  <a:lnTo>
                    <a:pt x="3053197" y="1585813"/>
                  </a:lnTo>
                  <a:lnTo>
                    <a:pt x="3053197" y="1583531"/>
                  </a:lnTo>
                  <a:lnTo>
                    <a:pt x="3055480" y="1581259"/>
                  </a:lnTo>
                  <a:lnTo>
                    <a:pt x="3055480" y="1578977"/>
                  </a:lnTo>
                  <a:lnTo>
                    <a:pt x="3055480" y="1576695"/>
                  </a:lnTo>
                  <a:lnTo>
                    <a:pt x="3057764" y="1576695"/>
                  </a:lnTo>
                  <a:lnTo>
                    <a:pt x="3057764" y="1574413"/>
                  </a:lnTo>
                  <a:lnTo>
                    <a:pt x="3057764" y="1572131"/>
                  </a:lnTo>
                  <a:lnTo>
                    <a:pt x="3060048" y="1572131"/>
                  </a:lnTo>
                  <a:lnTo>
                    <a:pt x="3060048" y="1569849"/>
                  </a:lnTo>
                  <a:lnTo>
                    <a:pt x="3060048" y="1567567"/>
                  </a:lnTo>
                  <a:lnTo>
                    <a:pt x="3062331" y="1567567"/>
                  </a:lnTo>
                  <a:lnTo>
                    <a:pt x="3062331" y="1565286"/>
                  </a:lnTo>
                  <a:lnTo>
                    <a:pt x="3062331" y="1563004"/>
                  </a:lnTo>
                  <a:lnTo>
                    <a:pt x="3064615" y="1563004"/>
                  </a:lnTo>
                  <a:lnTo>
                    <a:pt x="3064615" y="1560722"/>
                  </a:lnTo>
                  <a:lnTo>
                    <a:pt x="3069182" y="1551594"/>
                  </a:lnTo>
                  <a:lnTo>
                    <a:pt x="3069182" y="1549312"/>
                  </a:lnTo>
                  <a:lnTo>
                    <a:pt x="3071466" y="1547030"/>
                  </a:lnTo>
                  <a:lnTo>
                    <a:pt x="3073749" y="1542467"/>
                  </a:lnTo>
                  <a:lnTo>
                    <a:pt x="3073749" y="1540185"/>
                  </a:lnTo>
                  <a:lnTo>
                    <a:pt x="3076033" y="1537903"/>
                  </a:lnTo>
                  <a:lnTo>
                    <a:pt x="3073749" y="1535621"/>
                  </a:lnTo>
                  <a:lnTo>
                    <a:pt x="3071466" y="1535621"/>
                  </a:lnTo>
                  <a:lnTo>
                    <a:pt x="3066898" y="1535621"/>
                  </a:lnTo>
                  <a:lnTo>
                    <a:pt x="3066898" y="1533339"/>
                  </a:lnTo>
                  <a:lnTo>
                    <a:pt x="3064615" y="1533339"/>
                  </a:lnTo>
                  <a:lnTo>
                    <a:pt x="3062331" y="1533339"/>
                  </a:lnTo>
                  <a:lnTo>
                    <a:pt x="3060048" y="1533339"/>
                  </a:lnTo>
                  <a:lnTo>
                    <a:pt x="3057764" y="1531057"/>
                  </a:lnTo>
                  <a:lnTo>
                    <a:pt x="3055480" y="1531057"/>
                  </a:lnTo>
                  <a:lnTo>
                    <a:pt x="3053197" y="1531057"/>
                  </a:lnTo>
                  <a:lnTo>
                    <a:pt x="3050913" y="1528775"/>
                  </a:lnTo>
                  <a:lnTo>
                    <a:pt x="3048630" y="1528775"/>
                  </a:lnTo>
                  <a:lnTo>
                    <a:pt x="3048630" y="1526493"/>
                  </a:lnTo>
                  <a:lnTo>
                    <a:pt x="3050913" y="1524211"/>
                  </a:lnTo>
                  <a:lnTo>
                    <a:pt x="3050913" y="1521930"/>
                  </a:lnTo>
                  <a:lnTo>
                    <a:pt x="3050913" y="1519648"/>
                  </a:lnTo>
                  <a:lnTo>
                    <a:pt x="3053197" y="1517366"/>
                  </a:lnTo>
                  <a:lnTo>
                    <a:pt x="3055480" y="1508238"/>
                  </a:lnTo>
                  <a:lnTo>
                    <a:pt x="3057764" y="1499111"/>
                  </a:lnTo>
                  <a:lnTo>
                    <a:pt x="3060048" y="1492265"/>
                  </a:lnTo>
                  <a:lnTo>
                    <a:pt x="3062331" y="1483137"/>
                  </a:lnTo>
                  <a:lnTo>
                    <a:pt x="3055480" y="1478574"/>
                  </a:lnTo>
                  <a:lnTo>
                    <a:pt x="3057764" y="1474010"/>
                  </a:lnTo>
                  <a:lnTo>
                    <a:pt x="3060048" y="1469446"/>
                  </a:lnTo>
                  <a:lnTo>
                    <a:pt x="3064615" y="1464882"/>
                  </a:lnTo>
                  <a:lnTo>
                    <a:pt x="3066898" y="1460318"/>
                  </a:lnTo>
                  <a:lnTo>
                    <a:pt x="3069182" y="1462600"/>
                  </a:lnTo>
                  <a:lnTo>
                    <a:pt x="3071466" y="1455754"/>
                  </a:lnTo>
                  <a:lnTo>
                    <a:pt x="3071466" y="1451191"/>
                  </a:lnTo>
                  <a:lnTo>
                    <a:pt x="3073749" y="1448909"/>
                  </a:lnTo>
                  <a:lnTo>
                    <a:pt x="3073749" y="1446627"/>
                  </a:lnTo>
                  <a:lnTo>
                    <a:pt x="3076033" y="1442063"/>
                  </a:lnTo>
                  <a:lnTo>
                    <a:pt x="3080600" y="1426090"/>
                  </a:lnTo>
                  <a:lnTo>
                    <a:pt x="3080600" y="1421535"/>
                  </a:lnTo>
                  <a:lnTo>
                    <a:pt x="3082883" y="1412408"/>
                  </a:lnTo>
                  <a:lnTo>
                    <a:pt x="3085167" y="1410126"/>
                  </a:lnTo>
                  <a:lnTo>
                    <a:pt x="3087451" y="1403280"/>
                  </a:lnTo>
                  <a:lnTo>
                    <a:pt x="3085167" y="1403280"/>
                  </a:lnTo>
                  <a:lnTo>
                    <a:pt x="3082883" y="1403280"/>
                  </a:lnTo>
                  <a:lnTo>
                    <a:pt x="3080600" y="1403280"/>
                  </a:lnTo>
                  <a:lnTo>
                    <a:pt x="3076033" y="1400999"/>
                  </a:lnTo>
                  <a:lnTo>
                    <a:pt x="3073749" y="1398717"/>
                  </a:lnTo>
                  <a:lnTo>
                    <a:pt x="3069182" y="1398717"/>
                  </a:lnTo>
                  <a:lnTo>
                    <a:pt x="3069182" y="1396435"/>
                  </a:lnTo>
                  <a:lnTo>
                    <a:pt x="3066898" y="1391871"/>
                  </a:lnTo>
                  <a:lnTo>
                    <a:pt x="3064615" y="1389589"/>
                  </a:lnTo>
                  <a:lnTo>
                    <a:pt x="3064615" y="1387307"/>
                  </a:lnTo>
                  <a:lnTo>
                    <a:pt x="3062331" y="1385025"/>
                  </a:lnTo>
                  <a:lnTo>
                    <a:pt x="3062331" y="1382743"/>
                  </a:lnTo>
                  <a:lnTo>
                    <a:pt x="3064615" y="1382743"/>
                  </a:lnTo>
                  <a:lnTo>
                    <a:pt x="3066898" y="1382743"/>
                  </a:lnTo>
                  <a:lnTo>
                    <a:pt x="3073749" y="1382743"/>
                  </a:lnTo>
                  <a:lnTo>
                    <a:pt x="3076033" y="1382743"/>
                  </a:lnTo>
                  <a:lnTo>
                    <a:pt x="3078316" y="1378179"/>
                  </a:lnTo>
                  <a:lnTo>
                    <a:pt x="3080600" y="1373616"/>
                  </a:lnTo>
                  <a:lnTo>
                    <a:pt x="3082883" y="1371334"/>
                  </a:lnTo>
                  <a:lnTo>
                    <a:pt x="3085167" y="1371334"/>
                  </a:lnTo>
                  <a:lnTo>
                    <a:pt x="3087451" y="1373616"/>
                  </a:lnTo>
                  <a:lnTo>
                    <a:pt x="3089734" y="1373616"/>
                  </a:lnTo>
                  <a:lnTo>
                    <a:pt x="3092018" y="1373616"/>
                  </a:lnTo>
                  <a:lnTo>
                    <a:pt x="3094302" y="1373616"/>
                  </a:lnTo>
                  <a:lnTo>
                    <a:pt x="3096585" y="1373616"/>
                  </a:lnTo>
                  <a:lnTo>
                    <a:pt x="3096585" y="1371334"/>
                  </a:lnTo>
                  <a:lnTo>
                    <a:pt x="3096585" y="1369052"/>
                  </a:lnTo>
                  <a:lnTo>
                    <a:pt x="3098869" y="1359924"/>
                  </a:lnTo>
                  <a:lnTo>
                    <a:pt x="3101152" y="1353079"/>
                  </a:lnTo>
                  <a:lnTo>
                    <a:pt x="3105720" y="1341669"/>
                  </a:lnTo>
                  <a:lnTo>
                    <a:pt x="3105720" y="1337106"/>
                  </a:lnTo>
                  <a:lnTo>
                    <a:pt x="3108003" y="1330260"/>
                  </a:lnTo>
                  <a:lnTo>
                    <a:pt x="3112570" y="1321132"/>
                  </a:lnTo>
                  <a:lnTo>
                    <a:pt x="3114854" y="1307441"/>
                  </a:lnTo>
                  <a:lnTo>
                    <a:pt x="3117137" y="1300595"/>
                  </a:lnTo>
                  <a:lnTo>
                    <a:pt x="3114854" y="1300595"/>
                  </a:lnTo>
                  <a:lnTo>
                    <a:pt x="3114854" y="1302877"/>
                  </a:lnTo>
                  <a:lnTo>
                    <a:pt x="3112570" y="1302877"/>
                  </a:lnTo>
                  <a:lnTo>
                    <a:pt x="3112570" y="1300595"/>
                  </a:lnTo>
                  <a:lnTo>
                    <a:pt x="3110287" y="1300595"/>
                  </a:lnTo>
                  <a:lnTo>
                    <a:pt x="3110287" y="1302877"/>
                  </a:lnTo>
                  <a:lnTo>
                    <a:pt x="3108003" y="1302877"/>
                  </a:lnTo>
                  <a:lnTo>
                    <a:pt x="3105720" y="1302877"/>
                  </a:lnTo>
                  <a:lnTo>
                    <a:pt x="3103436" y="1302877"/>
                  </a:lnTo>
                  <a:lnTo>
                    <a:pt x="3101152" y="1302877"/>
                  </a:lnTo>
                  <a:lnTo>
                    <a:pt x="3098869" y="1302877"/>
                  </a:lnTo>
                  <a:lnTo>
                    <a:pt x="3096585" y="1302877"/>
                  </a:lnTo>
                  <a:lnTo>
                    <a:pt x="3096585" y="1305159"/>
                  </a:lnTo>
                  <a:lnTo>
                    <a:pt x="3096585" y="1307441"/>
                  </a:lnTo>
                  <a:lnTo>
                    <a:pt x="3094302" y="1307441"/>
                  </a:lnTo>
                  <a:lnTo>
                    <a:pt x="3094302" y="1309723"/>
                  </a:lnTo>
                  <a:lnTo>
                    <a:pt x="3094302" y="1312005"/>
                  </a:lnTo>
                  <a:lnTo>
                    <a:pt x="3092018" y="1312005"/>
                  </a:lnTo>
                  <a:lnTo>
                    <a:pt x="3092018" y="1314286"/>
                  </a:lnTo>
                  <a:lnTo>
                    <a:pt x="3092018" y="1316568"/>
                  </a:lnTo>
                  <a:lnTo>
                    <a:pt x="3089734" y="1316568"/>
                  </a:lnTo>
                  <a:lnTo>
                    <a:pt x="3078316" y="1298313"/>
                  </a:lnTo>
                  <a:lnTo>
                    <a:pt x="3076033" y="1296031"/>
                  </a:lnTo>
                  <a:lnTo>
                    <a:pt x="3069182" y="1284622"/>
                  </a:lnTo>
                  <a:lnTo>
                    <a:pt x="3066898" y="1280058"/>
                  </a:lnTo>
                  <a:lnTo>
                    <a:pt x="3066898" y="1277776"/>
                  </a:lnTo>
                  <a:lnTo>
                    <a:pt x="3055480" y="1261812"/>
                  </a:lnTo>
                  <a:lnTo>
                    <a:pt x="3046346" y="1248121"/>
                  </a:lnTo>
                  <a:lnTo>
                    <a:pt x="3046346" y="1245839"/>
                  </a:lnTo>
                  <a:lnTo>
                    <a:pt x="3044062" y="1243557"/>
                  </a:lnTo>
                  <a:lnTo>
                    <a:pt x="3046346" y="1241275"/>
                  </a:lnTo>
                  <a:lnTo>
                    <a:pt x="3048630" y="1241275"/>
                  </a:lnTo>
                  <a:lnTo>
                    <a:pt x="3050913" y="1238993"/>
                  </a:lnTo>
                  <a:lnTo>
                    <a:pt x="3050913" y="1241275"/>
                  </a:lnTo>
                  <a:lnTo>
                    <a:pt x="3053197" y="1241275"/>
                  </a:lnTo>
                  <a:lnTo>
                    <a:pt x="3053197" y="1238993"/>
                  </a:lnTo>
                  <a:lnTo>
                    <a:pt x="3053197" y="1236712"/>
                  </a:lnTo>
                  <a:lnTo>
                    <a:pt x="3055480" y="1234430"/>
                  </a:lnTo>
                  <a:lnTo>
                    <a:pt x="3050913" y="1234430"/>
                  </a:lnTo>
                  <a:lnTo>
                    <a:pt x="3053197" y="1232148"/>
                  </a:lnTo>
                  <a:lnTo>
                    <a:pt x="3053197" y="1229866"/>
                  </a:lnTo>
                  <a:lnTo>
                    <a:pt x="3055480" y="1229866"/>
                  </a:lnTo>
                  <a:lnTo>
                    <a:pt x="3055480" y="1227584"/>
                  </a:lnTo>
                  <a:lnTo>
                    <a:pt x="3057764" y="1227584"/>
                  </a:lnTo>
                  <a:lnTo>
                    <a:pt x="3057764" y="1225302"/>
                  </a:lnTo>
                  <a:lnTo>
                    <a:pt x="3060048" y="1223020"/>
                  </a:lnTo>
                  <a:lnTo>
                    <a:pt x="3064615" y="1218456"/>
                  </a:lnTo>
                  <a:lnTo>
                    <a:pt x="3066898" y="1213893"/>
                  </a:lnTo>
                  <a:lnTo>
                    <a:pt x="3069182" y="1211611"/>
                  </a:lnTo>
                  <a:lnTo>
                    <a:pt x="3071466" y="1209329"/>
                  </a:lnTo>
                  <a:lnTo>
                    <a:pt x="3073749" y="1207047"/>
                  </a:lnTo>
                  <a:lnTo>
                    <a:pt x="3076033" y="1202483"/>
                  </a:lnTo>
                  <a:lnTo>
                    <a:pt x="3080600" y="1195637"/>
                  </a:lnTo>
                  <a:lnTo>
                    <a:pt x="3085167" y="1193355"/>
                  </a:lnTo>
                  <a:lnTo>
                    <a:pt x="3089734" y="1186510"/>
                  </a:lnTo>
                  <a:lnTo>
                    <a:pt x="3092018" y="1184228"/>
                  </a:lnTo>
                  <a:lnTo>
                    <a:pt x="3094302" y="1181946"/>
                  </a:lnTo>
                  <a:lnTo>
                    <a:pt x="3105720" y="1168255"/>
                  </a:lnTo>
                  <a:lnTo>
                    <a:pt x="3105720" y="1165973"/>
                  </a:lnTo>
                  <a:lnTo>
                    <a:pt x="3110287" y="1161409"/>
                  </a:lnTo>
                  <a:lnTo>
                    <a:pt x="3112570" y="1159127"/>
                  </a:lnTo>
                  <a:lnTo>
                    <a:pt x="3117137" y="1154563"/>
                  </a:lnTo>
                  <a:lnTo>
                    <a:pt x="3117137" y="1152281"/>
                  </a:lnTo>
                  <a:lnTo>
                    <a:pt x="3121705" y="1147718"/>
                  </a:lnTo>
                  <a:lnTo>
                    <a:pt x="3119421" y="1145436"/>
                  </a:lnTo>
                  <a:lnTo>
                    <a:pt x="3117137" y="1143154"/>
                  </a:lnTo>
                  <a:lnTo>
                    <a:pt x="3114854" y="1143154"/>
                  </a:lnTo>
                  <a:lnTo>
                    <a:pt x="3110287" y="1140872"/>
                  </a:lnTo>
                  <a:lnTo>
                    <a:pt x="3108003" y="1140872"/>
                  </a:lnTo>
                  <a:lnTo>
                    <a:pt x="3105720" y="1140872"/>
                  </a:lnTo>
                  <a:lnTo>
                    <a:pt x="3105720" y="1138590"/>
                  </a:lnTo>
                  <a:lnTo>
                    <a:pt x="3103436" y="1138590"/>
                  </a:lnTo>
                  <a:lnTo>
                    <a:pt x="3101152" y="1138590"/>
                  </a:lnTo>
                  <a:lnTo>
                    <a:pt x="3096585" y="1140872"/>
                  </a:lnTo>
                  <a:lnTo>
                    <a:pt x="3094302" y="1140872"/>
                  </a:lnTo>
                  <a:lnTo>
                    <a:pt x="3089734" y="1140872"/>
                  </a:lnTo>
                  <a:lnTo>
                    <a:pt x="3087451" y="1140872"/>
                  </a:lnTo>
                  <a:lnTo>
                    <a:pt x="3085167" y="1140872"/>
                  </a:lnTo>
                  <a:lnTo>
                    <a:pt x="3076033" y="1143154"/>
                  </a:lnTo>
                  <a:lnTo>
                    <a:pt x="3071466" y="1143154"/>
                  </a:lnTo>
                  <a:lnTo>
                    <a:pt x="3066898" y="1145436"/>
                  </a:lnTo>
                  <a:lnTo>
                    <a:pt x="3062331" y="1145436"/>
                  </a:lnTo>
                  <a:lnTo>
                    <a:pt x="3060048" y="1145436"/>
                  </a:lnTo>
                  <a:lnTo>
                    <a:pt x="3057764" y="1145436"/>
                  </a:lnTo>
                  <a:lnTo>
                    <a:pt x="3053197" y="1145436"/>
                  </a:lnTo>
                  <a:lnTo>
                    <a:pt x="3050913" y="1145436"/>
                  </a:lnTo>
                  <a:lnTo>
                    <a:pt x="3048630" y="1145436"/>
                  </a:lnTo>
                  <a:lnTo>
                    <a:pt x="3044062" y="1147718"/>
                  </a:lnTo>
                  <a:lnTo>
                    <a:pt x="3041779" y="1147718"/>
                  </a:lnTo>
                  <a:lnTo>
                    <a:pt x="3039495" y="1147718"/>
                  </a:lnTo>
                  <a:lnTo>
                    <a:pt x="3037212" y="1147718"/>
                  </a:lnTo>
                  <a:lnTo>
                    <a:pt x="3034928" y="1147718"/>
                  </a:lnTo>
                  <a:lnTo>
                    <a:pt x="3032644" y="1149999"/>
                  </a:lnTo>
                  <a:lnTo>
                    <a:pt x="3030361" y="1147718"/>
                  </a:lnTo>
                  <a:lnTo>
                    <a:pt x="3030361" y="1145436"/>
                  </a:lnTo>
                  <a:lnTo>
                    <a:pt x="3028077" y="1143154"/>
                  </a:lnTo>
                  <a:lnTo>
                    <a:pt x="3030361" y="1140872"/>
                  </a:lnTo>
                  <a:lnTo>
                    <a:pt x="3030361" y="1138590"/>
                  </a:lnTo>
                  <a:lnTo>
                    <a:pt x="3030361" y="1136308"/>
                  </a:lnTo>
                  <a:lnTo>
                    <a:pt x="3030361" y="1134026"/>
                  </a:lnTo>
                  <a:lnTo>
                    <a:pt x="3030361" y="1131744"/>
                  </a:lnTo>
                  <a:lnTo>
                    <a:pt x="3030361" y="1129462"/>
                  </a:lnTo>
                  <a:lnTo>
                    <a:pt x="3030361" y="1127181"/>
                  </a:lnTo>
                  <a:lnTo>
                    <a:pt x="3028077" y="1127181"/>
                  </a:lnTo>
                  <a:lnTo>
                    <a:pt x="3028077" y="1124899"/>
                  </a:lnTo>
                  <a:lnTo>
                    <a:pt x="3025794" y="1124899"/>
                  </a:lnTo>
                  <a:lnTo>
                    <a:pt x="3025794" y="1122617"/>
                  </a:lnTo>
                  <a:lnTo>
                    <a:pt x="3025794" y="1120335"/>
                  </a:lnTo>
                  <a:lnTo>
                    <a:pt x="3023510" y="1120335"/>
                  </a:lnTo>
                  <a:lnTo>
                    <a:pt x="3023510" y="1118053"/>
                  </a:lnTo>
                  <a:lnTo>
                    <a:pt x="3023510" y="1115771"/>
                  </a:lnTo>
                  <a:lnTo>
                    <a:pt x="3023510" y="1113489"/>
                  </a:lnTo>
                  <a:lnTo>
                    <a:pt x="3023510" y="1111207"/>
                  </a:lnTo>
                  <a:lnTo>
                    <a:pt x="3025794" y="1111207"/>
                  </a:lnTo>
                  <a:lnTo>
                    <a:pt x="3025794" y="1108935"/>
                  </a:lnTo>
                  <a:lnTo>
                    <a:pt x="3023510" y="1108935"/>
                  </a:lnTo>
                  <a:lnTo>
                    <a:pt x="3021227" y="1111207"/>
                  </a:lnTo>
                  <a:lnTo>
                    <a:pt x="3018943" y="1111207"/>
                  </a:lnTo>
                  <a:lnTo>
                    <a:pt x="3014376" y="1111207"/>
                  </a:lnTo>
                  <a:lnTo>
                    <a:pt x="3016659" y="1115771"/>
                  </a:lnTo>
                  <a:lnTo>
                    <a:pt x="3016659" y="1118053"/>
                  </a:lnTo>
                  <a:lnTo>
                    <a:pt x="3016659" y="1120335"/>
                  </a:lnTo>
                  <a:lnTo>
                    <a:pt x="3012092" y="1122617"/>
                  </a:lnTo>
                  <a:lnTo>
                    <a:pt x="3009808" y="1122617"/>
                  </a:lnTo>
                  <a:lnTo>
                    <a:pt x="3007525" y="1122617"/>
                  </a:lnTo>
                  <a:lnTo>
                    <a:pt x="3005241" y="1122617"/>
                  </a:lnTo>
                  <a:lnTo>
                    <a:pt x="3002958" y="1124899"/>
                  </a:lnTo>
                  <a:lnTo>
                    <a:pt x="3000674" y="1124899"/>
                  </a:lnTo>
                  <a:lnTo>
                    <a:pt x="2996107" y="1124899"/>
                  </a:lnTo>
                  <a:lnTo>
                    <a:pt x="2991540" y="1127181"/>
                  </a:lnTo>
                  <a:lnTo>
                    <a:pt x="2991540" y="1129462"/>
                  </a:lnTo>
                  <a:lnTo>
                    <a:pt x="2991540" y="1131744"/>
                  </a:lnTo>
                  <a:lnTo>
                    <a:pt x="2989256" y="1131744"/>
                  </a:lnTo>
                  <a:lnTo>
                    <a:pt x="2989256" y="1134026"/>
                  </a:lnTo>
                  <a:lnTo>
                    <a:pt x="2986973" y="1134026"/>
                  </a:lnTo>
                  <a:lnTo>
                    <a:pt x="2986973" y="1136308"/>
                  </a:lnTo>
                  <a:lnTo>
                    <a:pt x="2986973" y="1138590"/>
                  </a:lnTo>
                  <a:lnTo>
                    <a:pt x="2989256" y="1138590"/>
                  </a:lnTo>
                  <a:lnTo>
                    <a:pt x="2989256" y="1140872"/>
                  </a:lnTo>
                  <a:lnTo>
                    <a:pt x="2986973" y="1140872"/>
                  </a:lnTo>
                  <a:lnTo>
                    <a:pt x="2984689" y="1140872"/>
                  </a:lnTo>
                  <a:lnTo>
                    <a:pt x="2984689" y="1143154"/>
                  </a:lnTo>
                  <a:lnTo>
                    <a:pt x="2984689" y="1145436"/>
                  </a:lnTo>
                  <a:lnTo>
                    <a:pt x="2986973" y="1145436"/>
                  </a:lnTo>
                  <a:lnTo>
                    <a:pt x="2986973" y="1147718"/>
                  </a:lnTo>
                  <a:lnTo>
                    <a:pt x="2986973" y="1149999"/>
                  </a:lnTo>
                  <a:lnTo>
                    <a:pt x="2989256" y="1149999"/>
                  </a:lnTo>
                  <a:lnTo>
                    <a:pt x="2989256" y="1152281"/>
                  </a:lnTo>
                  <a:lnTo>
                    <a:pt x="2991540" y="1152281"/>
                  </a:lnTo>
                  <a:lnTo>
                    <a:pt x="2991540" y="1154563"/>
                  </a:lnTo>
                  <a:lnTo>
                    <a:pt x="2993823" y="1154563"/>
                  </a:lnTo>
                  <a:lnTo>
                    <a:pt x="2993823" y="1156845"/>
                  </a:lnTo>
                  <a:lnTo>
                    <a:pt x="2993823" y="1159127"/>
                  </a:lnTo>
                  <a:lnTo>
                    <a:pt x="2993823" y="1163691"/>
                  </a:lnTo>
                  <a:lnTo>
                    <a:pt x="2989256" y="1165973"/>
                  </a:lnTo>
                  <a:lnTo>
                    <a:pt x="2986973" y="1165973"/>
                  </a:lnTo>
                  <a:lnTo>
                    <a:pt x="2984689" y="1175100"/>
                  </a:lnTo>
                  <a:lnTo>
                    <a:pt x="2986973" y="1177382"/>
                  </a:lnTo>
                  <a:lnTo>
                    <a:pt x="2986973" y="1179664"/>
                  </a:lnTo>
                  <a:lnTo>
                    <a:pt x="2986973" y="1184228"/>
                  </a:lnTo>
                  <a:lnTo>
                    <a:pt x="2984689" y="1184228"/>
                  </a:lnTo>
                  <a:lnTo>
                    <a:pt x="2982405" y="1184228"/>
                  </a:lnTo>
                  <a:lnTo>
                    <a:pt x="2980122" y="1186510"/>
                  </a:lnTo>
                  <a:lnTo>
                    <a:pt x="2982405" y="1188792"/>
                  </a:lnTo>
                  <a:lnTo>
                    <a:pt x="2984689" y="1191074"/>
                  </a:lnTo>
                  <a:lnTo>
                    <a:pt x="2996107" y="1202483"/>
                  </a:lnTo>
                  <a:lnTo>
                    <a:pt x="2993823" y="1202483"/>
                  </a:lnTo>
                  <a:lnTo>
                    <a:pt x="2993823" y="1204765"/>
                  </a:lnTo>
                  <a:lnTo>
                    <a:pt x="2991540" y="1204765"/>
                  </a:lnTo>
                  <a:lnTo>
                    <a:pt x="2991540" y="1207047"/>
                  </a:lnTo>
                  <a:lnTo>
                    <a:pt x="2993823" y="1207047"/>
                  </a:lnTo>
                  <a:lnTo>
                    <a:pt x="2993823" y="1209329"/>
                  </a:lnTo>
                  <a:lnTo>
                    <a:pt x="2993823" y="1211611"/>
                  </a:lnTo>
                  <a:lnTo>
                    <a:pt x="2991540" y="1211611"/>
                  </a:lnTo>
                  <a:lnTo>
                    <a:pt x="2989256" y="1211611"/>
                  </a:lnTo>
                  <a:lnTo>
                    <a:pt x="2986973" y="1211611"/>
                  </a:lnTo>
                  <a:lnTo>
                    <a:pt x="2984689" y="1211611"/>
                  </a:lnTo>
                  <a:lnTo>
                    <a:pt x="2982405" y="1211611"/>
                  </a:lnTo>
                  <a:lnTo>
                    <a:pt x="2980122" y="1211611"/>
                  </a:lnTo>
                  <a:lnTo>
                    <a:pt x="2980122" y="1213893"/>
                  </a:lnTo>
                  <a:lnTo>
                    <a:pt x="2980122" y="1216175"/>
                  </a:lnTo>
                  <a:lnTo>
                    <a:pt x="2980122" y="1218456"/>
                  </a:lnTo>
                  <a:lnTo>
                    <a:pt x="2980122" y="1220738"/>
                  </a:lnTo>
                  <a:lnTo>
                    <a:pt x="2977838" y="1220738"/>
                  </a:lnTo>
                  <a:lnTo>
                    <a:pt x="2977838" y="1223020"/>
                  </a:lnTo>
                  <a:lnTo>
                    <a:pt x="2977838" y="1225302"/>
                  </a:lnTo>
                  <a:lnTo>
                    <a:pt x="2975554" y="1225302"/>
                  </a:lnTo>
                  <a:lnTo>
                    <a:pt x="2975554" y="1227584"/>
                  </a:lnTo>
                  <a:lnTo>
                    <a:pt x="2973271" y="1227584"/>
                  </a:lnTo>
                  <a:lnTo>
                    <a:pt x="2970987" y="1227584"/>
                  </a:lnTo>
                  <a:lnTo>
                    <a:pt x="2970987" y="1229866"/>
                  </a:lnTo>
                  <a:lnTo>
                    <a:pt x="2970987" y="1232148"/>
                  </a:lnTo>
                  <a:lnTo>
                    <a:pt x="2968704" y="1232148"/>
                  </a:lnTo>
                  <a:lnTo>
                    <a:pt x="2968704" y="1234430"/>
                  </a:lnTo>
                  <a:lnTo>
                    <a:pt x="2966420" y="1234430"/>
                  </a:lnTo>
                  <a:lnTo>
                    <a:pt x="2966420" y="1232148"/>
                  </a:lnTo>
                  <a:lnTo>
                    <a:pt x="2964137" y="1232148"/>
                  </a:lnTo>
                  <a:lnTo>
                    <a:pt x="2964137" y="1229866"/>
                  </a:lnTo>
                  <a:lnTo>
                    <a:pt x="2961853" y="1229866"/>
                  </a:lnTo>
                  <a:lnTo>
                    <a:pt x="2961853" y="1232148"/>
                  </a:lnTo>
                  <a:lnTo>
                    <a:pt x="2961853" y="1234430"/>
                  </a:lnTo>
                  <a:lnTo>
                    <a:pt x="2964137" y="1234430"/>
                  </a:lnTo>
                  <a:lnTo>
                    <a:pt x="2964137" y="1236712"/>
                  </a:lnTo>
                  <a:lnTo>
                    <a:pt x="2966420" y="1236712"/>
                  </a:lnTo>
                  <a:lnTo>
                    <a:pt x="2966420" y="1238993"/>
                  </a:lnTo>
                  <a:lnTo>
                    <a:pt x="2966420" y="1241275"/>
                  </a:lnTo>
                  <a:lnTo>
                    <a:pt x="2968704" y="1241275"/>
                  </a:lnTo>
                  <a:lnTo>
                    <a:pt x="2968704" y="1243557"/>
                  </a:lnTo>
                  <a:lnTo>
                    <a:pt x="2970987" y="1243557"/>
                  </a:lnTo>
                  <a:lnTo>
                    <a:pt x="2970987" y="1245839"/>
                  </a:lnTo>
                  <a:lnTo>
                    <a:pt x="2970987" y="1248121"/>
                  </a:lnTo>
                  <a:lnTo>
                    <a:pt x="2970987" y="1250403"/>
                  </a:lnTo>
                  <a:lnTo>
                    <a:pt x="2968704" y="1250403"/>
                  </a:lnTo>
                  <a:lnTo>
                    <a:pt x="2968704" y="1252685"/>
                  </a:lnTo>
                  <a:lnTo>
                    <a:pt x="2968704" y="1254967"/>
                  </a:lnTo>
                  <a:lnTo>
                    <a:pt x="2968704" y="1257249"/>
                  </a:lnTo>
                  <a:lnTo>
                    <a:pt x="2970987" y="1257249"/>
                  </a:lnTo>
                  <a:lnTo>
                    <a:pt x="2970987" y="1259531"/>
                  </a:lnTo>
                  <a:lnTo>
                    <a:pt x="2968704" y="1259531"/>
                  </a:lnTo>
                  <a:lnTo>
                    <a:pt x="2968704" y="1261812"/>
                  </a:lnTo>
                  <a:lnTo>
                    <a:pt x="2968704" y="1264094"/>
                  </a:lnTo>
                  <a:lnTo>
                    <a:pt x="2968704" y="1266376"/>
                  </a:lnTo>
                  <a:lnTo>
                    <a:pt x="2968704" y="1268658"/>
                  </a:lnTo>
                  <a:lnTo>
                    <a:pt x="2970987" y="1268658"/>
                  </a:lnTo>
                  <a:lnTo>
                    <a:pt x="2970987" y="1270931"/>
                  </a:lnTo>
                  <a:lnTo>
                    <a:pt x="2970987" y="1273212"/>
                  </a:lnTo>
                  <a:lnTo>
                    <a:pt x="2968704" y="1273212"/>
                  </a:lnTo>
                  <a:lnTo>
                    <a:pt x="2968704" y="1275494"/>
                  </a:lnTo>
                  <a:lnTo>
                    <a:pt x="2966420" y="1275494"/>
                  </a:lnTo>
                  <a:lnTo>
                    <a:pt x="2966420" y="1277776"/>
                  </a:lnTo>
                  <a:lnTo>
                    <a:pt x="2964137" y="1277776"/>
                  </a:lnTo>
                  <a:lnTo>
                    <a:pt x="2964137" y="1280058"/>
                  </a:lnTo>
                  <a:lnTo>
                    <a:pt x="2966420" y="1280058"/>
                  </a:lnTo>
                  <a:lnTo>
                    <a:pt x="2966420" y="1282340"/>
                  </a:lnTo>
                  <a:lnTo>
                    <a:pt x="2964137" y="1282340"/>
                  </a:lnTo>
                  <a:lnTo>
                    <a:pt x="2964137" y="1284622"/>
                  </a:lnTo>
                  <a:lnTo>
                    <a:pt x="2961853" y="1284622"/>
                  </a:lnTo>
                  <a:lnTo>
                    <a:pt x="2959569" y="1284622"/>
                  </a:lnTo>
                  <a:lnTo>
                    <a:pt x="2957286" y="1284622"/>
                  </a:lnTo>
                  <a:lnTo>
                    <a:pt x="2955002" y="1284622"/>
                  </a:lnTo>
                  <a:lnTo>
                    <a:pt x="2955002" y="1286904"/>
                  </a:lnTo>
                  <a:lnTo>
                    <a:pt x="2952719" y="1286904"/>
                  </a:lnTo>
                  <a:lnTo>
                    <a:pt x="2950435" y="1286904"/>
                  </a:lnTo>
                  <a:lnTo>
                    <a:pt x="2948151" y="1286904"/>
                  </a:lnTo>
                  <a:lnTo>
                    <a:pt x="2948151" y="1289186"/>
                  </a:lnTo>
                  <a:lnTo>
                    <a:pt x="2945868" y="1289186"/>
                  </a:lnTo>
                  <a:lnTo>
                    <a:pt x="2945868" y="1291467"/>
                  </a:lnTo>
                  <a:lnTo>
                    <a:pt x="2945868" y="1293749"/>
                  </a:lnTo>
                  <a:lnTo>
                    <a:pt x="2948151" y="1293749"/>
                  </a:lnTo>
                  <a:lnTo>
                    <a:pt x="2948151" y="1296031"/>
                  </a:lnTo>
                  <a:lnTo>
                    <a:pt x="2948151" y="1298313"/>
                  </a:lnTo>
                  <a:lnTo>
                    <a:pt x="2948151" y="1300595"/>
                  </a:lnTo>
                  <a:lnTo>
                    <a:pt x="2948151" y="1302877"/>
                  </a:lnTo>
                  <a:lnTo>
                    <a:pt x="2945868" y="1302877"/>
                  </a:lnTo>
                  <a:lnTo>
                    <a:pt x="2945868" y="1305159"/>
                  </a:lnTo>
                  <a:lnTo>
                    <a:pt x="2943584" y="1305159"/>
                  </a:lnTo>
                  <a:lnTo>
                    <a:pt x="2943584" y="1307441"/>
                  </a:lnTo>
                  <a:lnTo>
                    <a:pt x="2941300" y="1307441"/>
                  </a:lnTo>
                  <a:lnTo>
                    <a:pt x="2941300" y="1309723"/>
                  </a:lnTo>
                  <a:lnTo>
                    <a:pt x="2939017" y="1309723"/>
                  </a:lnTo>
                  <a:lnTo>
                    <a:pt x="2939017" y="1312005"/>
                  </a:lnTo>
                  <a:lnTo>
                    <a:pt x="2934450" y="1307441"/>
                  </a:lnTo>
                  <a:lnTo>
                    <a:pt x="2932166" y="1307441"/>
                  </a:lnTo>
                  <a:lnTo>
                    <a:pt x="2929883" y="1305159"/>
                  </a:lnTo>
                  <a:lnTo>
                    <a:pt x="2927599" y="1302877"/>
                  </a:lnTo>
                  <a:lnTo>
                    <a:pt x="2925315" y="1300595"/>
                  </a:lnTo>
                  <a:lnTo>
                    <a:pt x="2925315" y="1298313"/>
                  </a:lnTo>
                  <a:lnTo>
                    <a:pt x="2923032" y="1298313"/>
                  </a:lnTo>
                  <a:lnTo>
                    <a:pt x="2920748" y="1296031"/>
                  </a:lnTo>
                  <a:lnTo>
                    <a:pt x="2918465" y="1293749"/>
                  </a:lnTo>
                  <a:lnTo>
                    <a:pt x="2913898" y="1291467"/>
                  </a:lnTo>
                  <a:lnTo>
                    <a:pt x="2911614" y="1289186"/>
                  </a:lnTo>
                  <a:lnTo>
                    <a:pt x="2904763" y="1286904"/>
                  </a:lnTo>
                  <a:lnTo>
                    <a:pt x="2907047" y="1284622"/>
                  </a:lnTo>
                  <a:lnTo>
                    <a:pt x="2909330" y="1280058"/>
                  </a:lnTo>
                  <a:lnTo>
                    <a:pt x="2911614" y="1273212"/>
                  </a:lnTo>
                  <a:lnTo>
                    <a:pt x="2913898" y="1273212"/>
                  </a:lnTo>
                  <a:lnTo>
                    <a:pt x="2911614" y="1266376"/>
                  </a:lnTo>
                  <a:lnTo>
                    <a:pt x="2907047" y="1259531"/>
                  </a:lnTo>
                  <a:lnTo>
                    <a:pt x="2904763" y="1257249"/>
                  </a:lnTo>
                  <a:lnTo>
                    <a:pt x="2895629" y="1245839"/>
                  </a:lnTo>
                  <a:lnTo>
                    <a:pt x="2893345" y="1245839"/>
                  </a:lnTo>
                  <a:lnTo>
                    <a:pt x="2891061" y="1243557"/>
                  </a:lnTo>
                  <a:lnTo>
                    <a:pt x="2884211" y="1250403"/>
                  </a:lnTo>
                  <a:lnTo>
                    <a:pt x="2872793" y="1238993"/>
                  </a:lnTo>
                  <a:lnTo>
                    <a:pt x="2875076" y="1234430"/>
                  </a:lnTo>
                  <a:lnTo>
                    <a:pt x="2877360" y="1232148"/>
                  </a:lnTo>
                  <a:lnTo>
                    <a:pt x="2884211" y="1220738"/>
                  </a:lnTo>
                  <a:lnTo>
                    <a:pt x="2884211" y="1218456"/>
                  </a:lnTo>
                  <a:lnTo>
                    <a:pt x="2891061" y="1209329"/>
                  </a:lnTo>
                  <a:lnTo>
                    <a:pt x="2895629" y="1209329"/>
                  </a:lnTo>
                  <a:lnTo>
                    <a:pt x="2900196" y="1197919"/>
                  </a:lnTo>
                  <a:lnTo>
                    <a:pt x="2902479" y="1195637"/>
                  </a:lnTo>
                  <a:lnTo>
                    <a:pt x="2904763" y="1184228"/>
                  </a:lnTo>
                  <a:lnTo>
                    <a:pt x="2900196" y="1181946"/>
                  </a:lnTo>
                  <a:lnTo>
                    <a:pt x="2888778" y="1175100"/>
                  </a:lnTo>
                  <a:lnTo>
                    <a:pt x="2891061" y="1172819"/>
                  </a:lnTo>
                  <a:lnTo>
                    <a:pt x="2902479" y="1152281"/>
                  </a:lnTo>
                  <a:lnTo>
                    <a:pt x="2895629" y="1147718"/>
                  </a:lnTo>
                  <a:lnTo>
                    <a:pt x="2891061" y="1145436"/>
                  </a:lnTo>
                  <a:lnTo>
                    <a:pt x="2886494" y="1143154"/>
                  </a:lnTo>
                  <a:lnTo>
                    <a:pt x="2884211" y="1143154"/>
                  </a:lnTo>
                  <a:lnTo>
                    <a:pt x="2881927" y="1145436"/>
                  </a:lnTo>
                  <a:lnTo>
                    <a:pt x="2879644" y="1145436"/>
                  </a:lnTo>
                  <a:lnTo>
                    <a:pt x="2877360" y="1145436"/>
                  </a:lnTo>
                  <a:lnTo>
                    <a:pt x="2875076" y="1145436"/>
                  </a:lnTo>
                  <a:lnTo>
                    <a:pt x="2872793" y="1145436"/>
                  </a:lnTo>
                  <a:lnTo>
                    <a:pt x="2872793" y="1147718"/>
                  </a:lnTo>
                  <a:lnTo>
                    <a:pt x="2870509" y="1147718"/>
                  </a:lnTo>
                  <a:lnTo>
                    <a:pt x="2861375" y="1149999"/>
                  </a:lnTo>
                  <a:lnTo>
                    <a:pt x="2854524" y="1152281"/>
                  </a:lnTo>
                  <a:lnTo>
                    <a:pt x="2852240" y="1152281"/>
                  </a:lnTo>
                  <a:lnTo>
                    <a:pt x="2847673" y="1152281"/>
                  </a:lnTo>
                  <a:lnTo>
                    <a:pt x="2836255" y="1156845"/>
                  </a:lnTo>
                  <a:lnTo>
                    <a:pt x="2833971" y="1156845"/>
                  </a:lnTo>
                  <a:lnTo>
                    <a:pt x="2817977" y="1161409"/>
                  </a:lnTo>
                  <a:lnTo>
                    <a:pt x="2808852" y="1163691"/>
                  </a:lnTo>
                  <a:lnTo>
                    <a:pt x="2806569" y="1163691"/>
                  </a:lnTo>
                  <a:lnTo>
                    <a:pt x="2804275" y="1163691"/>
                  </a:lnTo>
                  <a:lnTo>
                    <a:pt x="2801992" y="1163691"/>
                  </a:lnTo>
                  <a:lnTo>
                    <a:pt x="2797425" y="1165973"/>
                  </a:lnTo>
                  <a:lnTo>
                    <a:pt x="2790574" y="1168255"/>
                  </a:lnTo>
                  <a:lnTo>
                    <a:pt x="2781439" y="1168255"/>
                  </a:lnTo>
                  <a:lnTo>
                    <a:pt x="2779165" y="1170537"/>
                  </a:lnTo>
                  <a:lnTo>
                    <a:pt x="2779165" y="1165973"/>
                  </a:lnTo>
                  <a:lnTo>
                    <a:pt x="2776872" y="1161409"/>
                  </a:lnTo>
                  <a:lnTo>
                    <a:pt x="2774588" y="1156845"/>
                  </a:lnTo>
                  <a:lnTo>
                    <a:pt x="2772305" y="1156845"/>
                  </a:lnTo>
                  <a:lnTo>
                    <a:pt x="2772305" y="1154563"/>
                  </a:lnTo>
                  <a:lnTo>
                    <a:pt x="2774588" y="1152281"/>
                  </a:lnTo>
                  <a:lnTo>
                    <a:pt x="2774588" y="1149999"/>
                  </a:lnTo>
                  <a:lnTo>
                    <a:pt x="2774588" y="1147718"/>
                  </a:lnTo>
                  <a:lnTo>
                    <a:pt x="2774588" y="1145436"/>
                  </a:lnTo>
                  <a:lnTo>
                    <a:pt x="2774588" y="1143154"/>
                  </a:lnTo>
                  <a:lnTo>
                    <a:pt x="2776872" y="1140872"/>
                  </a:lnTo>
                  <a:lnTo>
                    <a:pt x="2776872" y="1138590"/>
                  </a:lnTo>
                  <a:lnTo>
                    <a:pt x="2776872" y="1134026"/>
                  </a:lnTo>
                  <a:lnTo>
                    <a:pt x="2776872" y="1131744"/>
                  </a:lnTo>
                  <a:lnTo>
                    <a:pt x="2779165" y="1131744"/>
                  </a:lnTo>
                  <a:lnTo>
                    <a:pt x="2779165" y="1129462"/>
                  </a:lnTo>
                  <a:lnTo>
                    <a:pt x="2781439" y="1124899"/>
                  </a:lnTo>
                  <a:lnTo>
                    <a:pt x="2781439" y="1122617"/>
                  </a:lnTo>
                  <a:lnTo>
                    <a:pt x="2781439" y="1120335"/>
                  </a:lnTo>
                  <a:lnTo>
                    <a:pt x="2756320" y="1113489"/>
                  </a:lnTo>
                  <a:lnTo>
                    <a:pt x="2756320" y="1111207"/>
                  </a:lnTo>
                  <a:lnTo>
                    <a:pt x="2756320" y="1108935"/>
                  </a:lnTo>
                  <a:lnTo>
                    <a:pt x="2756320" y="1095243"/>
                  </a:lnTo>
                  <a:lnTo>
                    <a:pt x="2756320" y="1086116"/>
                  </a:lnTo>
                  <a:lnTo>
                    <a:pt x="2756320" y="1083834"/>
                  </a:lnTo>
                  <a:lnTo>
                    <a:pt x="2756320" y="1081552"/>
                  </a:lnTo>
                  <a:lnTo>
                    <a:pt x="2756320" y="1079270"/>
                  </a:lnTo>
                  <a:lnTo>
                    <a:pt x="2756320" y="1076988"/>
                  </a:lnTo>
                  <a:lnTo>
                    <a:pt x="2758603" y="1074707"/>
                  </a:lnTo>
                  <a:lnTo>
                    <a:pt x="2756320" y="1070143"/>
                  </a:lnTo>
                  <a:lnTo>
                    <a:pt x="2756320" y="1056451"/>
                  </a:lnTo>
                  <a:lnTo>
                    <a:pt x="2756320" y="1049606"/>
                  </a:lnTo>
                  <a:lnTo>
                    <a:pt x="2758603" y="1042760"/>
                  </a:lnTo>
                  <a:lnTo>
                    <a:pt x="2760887" y="1033632"/>
                  </a:lnTo>
                  <a:lnTo>
                    <a:pt x="2760887" y="1031350"/>
                  </a:lnTo>
                  <a:lnTo>
                    <a:pt x="2760887" y="1029069"/>
                  </a:lnTo>
                  <a:lnTo>
                    <a:pt x="2763171" y="1026787"/>
                  </a:lnTo>
                  <a:lnTo>
                    <a:pt x="2765454" y="1015377"/>
                  </a:lnTo>
                  <a:lnTo>
                    <a:pt x="2767738" y="1010813"/>
                  </a:lnTo>
                  <a:lnTo>
                    <a:pt x="2763171" y="1013095"/>
                  </a:lnTo>
                  <a:lnTo>
                    <a:pt x="2758603" y="1010813"/>
                  </a:lnTo>
                  <a:lnTo>
                    <a:pt x="2751753" y="1006249"/>
                  </a:lnTo>
                  <a:lnTo>
                    <a:pt x="2749469" y="1003968"/>
                  </a:lnTo>
                  <a:lnTo>
                    <a:pt x="2740335" y="999404"/>
                  </a:lnTo>
                  <a:lnTo>
                    <a:pt x="2733484" y="994840"/>
                  </a:lnTo>
                  <a:lnTo>
                    <a:pt x="2731200" y="992558"/>
                  </a:lnTo>
                  <a:lnTo>
                    <a:pt x="2728917" y="990276"/>
                  </a:lnTo>
                  <a:lnTo>
                    <a:pt x="2724349" y="987994"/>
                  </a:lnTo>
                  <a:lnTo>
                    <a:pt x="2722066" y="985713"/>
                  </a:lnTo>
                  <a:lnTo>
                    <a:pt x="2719782" y="983431"/>
                  </a:lnTo>
                  <a:lnTo>
                    <a:pt x="2717499" y="983431"/>
                  </a:lnTo>
                  <a:lnTo>
                    <a:pt x="2712932" y="981149"/>
                  </a:lnTo>
                  <a:lnTo>
                    <a:pt x="2710648" y="978867"/>
                  </a:lnTo>
                  <a:lnTo>
                    <a:pt x="2708364" y="978867"/>
                  </a:lnTo>
                  <a:lnTo>
                    <a:pt x="2706081" y="976585"/>
                  </a:lnTo>
                  <a:lnTo>
                    <a:pt x="2701513" y="974303"/>
                  </a:lnTo>
                  <a:lnTo>
                    <a:pt x="2696946" y="972021"/>
                  </a:lnTo>
                  <a:lnTo>
                    <a:pt x="2696946" y="967457"/>
                  </a:lnTo>
                  <a:lnTo>
                    <a:pt x="2696946" y="965175"/>
                  </a:lnTo>
                  <a:lnTo>
                    <a:pt x="2701513" y="960621"/>
                  </a:lnTo>
                  <a:lnTo>
                    <a:pt x="2703797" y="956048"/>
                  </a:lnTo>
                  <a:lnTo>
                    <a:pt x="2703797" y="953775"/>
                  </a:lnTo>
                  <a:lnTo>
                    <a:pt x="2706081" y="949212"/>
                  </a:lnTo>
                  <a:lnTo>
                    <a:pt x="2708364" y="942366"/>
                  </a:lnTo>
                  <a:lnTo>
                    <a:pt x="2710648" y="940084"/>
                  </a:lnTo>
                  <a:lnTo>
                    <a:pt x="2710648" y="937802"/>
                  </a:lnTo>
                  <a:lnTo>
                    <a:pt x="2715215" y="928675"/>
                  </a:lnTo>
                  <a:lnTo>
                    <a:pt x="2715215" y="926393"/>
                  </a:lnTo>
                  <a:lnTo>
                    <a:pt x="2717499" y="924111"/>
                  </a:lnTo>
                  <a:lnTo>
                    <a:pt x="2719782" y="914983"/>
                  </a:lnTo>
                  <a:lnTo>
                    <a:pt x="2722066" y="910419"/>
                  </a:lnTo>
                  <a:lnTo>
                    <a:pt x="2724349" y="905856"/>
                  </a:lnTo>
                  <a:lnTo>
                    <a:pt x="2724349" y="901292"/>
                  </a:lnTo>
                  <a:lnTo>
                    <a:pt x="2724349" y="899010"/>
                  </a:lnTo>
                  <a:lnTo>
                    <a:pt x="2726633" y="899010"/>
                  </a:lnTo>
                  <a:lnTo>
                    <a:pt x="2728917" y="896728"/>
                  </a:lnTo>
                  <a:lnTo>
                    <a:pt x="2733484" y="896728"/>
                  </a:lnTo>
                  <a:lnTo>
                    <a:pt x="2735767" y="894446"/>
                  </a:lnTo>
                  <a:lnTo>
                    <a:pt x="2742618" y="892164"/>
                  </a:lnTo>
                  <a:lnTo>
                    <a:pt x="2747185" y="889882"/>
                  </a:lnTo>
                  <a:lnTo>
                    <a:pt x="2747185" y="887601"/>
                  </a:lnTo>
                  <a:lnTo>
                    <a:pt x="2744902" y="885319"/>
                  </a:lnTo>
                  <a:lnTo>
                    <a:pt x="2744902" y="883037"/>
                  </a:lnTo>
                  <a:lnTo>
                    <a:pt x="2744902" y="880755"/>
                  </a:lnTo>
                  <a:lnTo>
                    <a:pt x="2744902" y="878473"/>
                  </a:lnTo>
                  <a:lnTo>
                    <a:pt x="2742618" y="876191"/>
                  </a:lnTo>
                  <a:lnTo>
                    <a:pt x="2742618" y="873909"/>
                  </a:lnTo>
                  <a:lnTo>
                    <a:pt x="2742618" y="871627"/>
                  </a:lnTo>
                  <a:lnTo>
                    <a:pt x="2742618" y="869345"/>
                  </a:lnTo>
                  <a:lnTo>
                    <a:pt x="2742618" y="867063"/>
                  </a:lnTo>
                  <a:lnTo>
                    <a:pt x="2740335" y="862500"/>
                  </a:lnTo>
                  <a:lnTo>
                    <a:pt x="2740335" y="860218"/>
                  </a:lnTo>
                  <a:lnTo>
                    <a:pt x="2738051" y="860218"/>
                  </a:lnTo>
                  <a:lnTo>
                    <a:pt x="2738051" y="857936"/>
                  </a:lnTo>
                  <a:lnTo>
                    <a:pt x="2738051" y="855654"/>
                  </a:lnTo>
                  <a:lnTo>
                    <a:pt x="2735767" y="855654"/>
                  </a:lnTo>
                  <a:lnTo>
                    <a:pt x="2735767" y="853372"/>
                  </a:lnTo>
                  <a:lnTo>
                    <a:pt x="2735767" y="851090"/>
                  </a:lnTo>
                  <a:lnTo>
                    <a:pt x="2733484" y="848808"/>
                  </a:lnTo>
                  <a:lnTo>
                    <a:pt x="2733484" y="846526"/>
                  </a:lnTo>
                  <a:lnTo>
                    <a:pt x="2731200" y="844245"/>
                  </a:lnTo>
                  <a:lnTo>
                    <a:pt x="2728917" y="839681"/>
                  </a:lnTo>
                  <a:lnTo>
                    <a:pt x="2728917" y="837399"/>
                  </a:lnTo>
                  <a:lnTo>
                    <a:pt x="2726633" y="835117"/>
                  </a:lnTo>
                  <a:lnTo>
                    <a:pt x="2726633" y="832835"/>
                  </a:lnTo>
                  <a:lnTo>
                    <a:pt x="2724349" y="830553"/>
                  </a:lnTo>
                  <a:lnTo>
                    <a:pt x="2722066" y="828271"/>
                  </a:lnTo>
                  <a:lnTo>
                    <a:pt x="2722066" y="825989"/>
                  </a:lnTo>
                  <a:lnTo>
                    <a:pt x="2719782" y="823707"/>
                  </a:lnTo>
                  <a:lnTo>
                    <a:pt x="2717499" y="825989"/>
                  </a:lnTo>
                  <a:lnTo>
                    <a:pt x="2715215" y="823707"/>
                  </a:lnTo>
                  <a:lnTo>
                    <a:pt x="2712932" y="821425"/>
                  </a:lnTo>
                  <a:lnTo>
                    <a:pt x="2710648" y="819144"/>
                  </a:lnTo>
                  <a:lnTo>
                    <a:pt x="2708364" y="816862"/>
                  </a:lnTo>
                  <a:lnTo>
                    <a:pt x="2706081" y="816862"/>
                  </a:lnTo>
                  <a:lnTo>
                    <a:pt x="2706081" y="814580"/>
                  </a:lnTo>
                  <a:lnTo>
                    <a:pt x="2703797" y="812298"/>
                  </a:lnTo>
                  <a:lnTo>
                    <a:pt x="2701513" y="812298"/>
                  </a:lnTo>
                  <a:lnTo>
                    <a:pt x="2699230" y="810016"/>
                  </a:lnTo>
                  <a:lnTo>
                    <a:pt x="2696946" y="810016"/>
                  </a:lnTo>
                  <a:lnTo>
                    <a:pt x="2694663" y="810016"/>
                  </a:lnTo>
                  <a:lnTo>
                    <a:pt x="2692379" y="810016"/>
                  </a:lnTo>
                  <a:lnTo>
                    <a:pt x="2690095" y="810016"/>
                  </a:lnTo>
                  <a:lnTo>
                    <a:pt x="2687812" y="810016"/>
                  </a:lnTo>
                  <a:lnTo>
                    <a:pt x="2685528" y="810016"/>
                  </a:lnTo>
                  <a:lnTo>
                    <a:pt x="2683245" y="810016"/>
                  </a:lnTo>
                  <a:lnTo>
                    <a:pt x="2680961" y="812298"/>
                  </a:lnTo>
                  <a:lnTo>
                    <a:pt x="2680961" y="814580"/>
                  </a:lnTo>
                  <a:lnTo>
                    <a:pt x="2680961" y="816862"/>
                  </a:lnTo>
                  <a:lnTo>
                    <a:pt x="2678678" y="816862"/>
                  </a:lnTo>
                  <a:lnTo>
                    <a:pt x="2678678" y="819144"/>
                  </a:lnTo>
                  <a:lnTo>
                    <a:pt x="2678678" y="821425"/>
                  </a:lnTo>
                  <a:lnTo>
                    <a:pt x="2676394" y="823707"/>
                  </a:lnTo>
                  <a:lnTo>
                    <a:pt x="2674110" y="821425"/>
                  </a:lnTo>
                  <a:lnTo>
                    <a:pt x="2671827" y="821425"/>
                  </a:lnTo>
                  <a:lnTo>
                    <a:pt x="2671827" y="819144"/>
                  </a:lnTo>
                  <a:lnTo>
                    <a:pt x="2669543" y="819144"/>
                  </a:lnTo>
                  <a:lnTo>
                    <a:pt x="2667259" y="819144"/>
                  </a:lnTo>
                  <a:lnTo>
                    <a:pt x="2667259" y="816862"/>
                  </a:lnTo>
                  <a:lnTo>
                    <a:pt x="2664976" y="816862"/>
                  </a:lnTo>
                  <a:lnTo>
                    <a:pt x="2662692" y="816862"/>
                  </a:lnTo>
                  <a:lnTo>
                    <a:pt x="2662692" y="814580"/>
                  </a:lnTo>
                  <a:lnTo>
                    <a:pt x="2660409" y="814580"/>
                  </a:lnTo>
                  <a:lnTo>
                    <a:pt x="2658125" y="812298"/>
                  </a:lnTo>
                  <a:lnTo>
                    <a:pt x="2655842" y="812298"/>
                  </a:lnTo>
                  <a:lnTo>
                    <a:pt x="2653558" y="810016"/>
                  </a:lnTo>
                  <a:lnTo>
                    <a:pt x="2651274" y="810016"/>
                  </a:lnTo>
                  <a:lnTo>
                    <a:pt x="2651274" y="807734"/>
                  </a:lnTo>
                  <a:lnTo>
                    <a:pt x="2648991" y="807734"/>
                  </a:lnTo>
                  <a:lnTo>
                    <a:pt x="2646707" y="807734"/>
                  </a:lnTo>
                  <a:lnTo>
                    <a:pt x="2646707" y="805452"/>
                  </a:lnTo>
                  <a:lnTo>
                    <a:pt x="2644424" y="805452"/>
                  </a:lnTo>
                  <a:lnTo>
                    <a:pt x="2642140" y="803170"/>
                  </a:lnTo>
                  <a:lnTo>
                    <a:pt x="2639856" y="803170"/>
                  </a:lnTo>
                  <a:lnTo>
                    <a:pt x="2637573" y="803170"/>
                  </a:lnTo>
                  <a:lnTo>
                    <a:pt x="2637573" y="800888"/>
                  </a:lnTo>
                  <a:lnTo>
                    <a:pt x="2635289" y="800888"/>
                  </a:lnTo>
                  <a:lnTo>
                    <a:pt x="2633005" y="800888"/>
                  </a:lnTo>
                  <a:lnTo>
                    <a:pt x="2628438" y="798616"/>
                  </a:lnTo>
                  <a:lnTo>
                    <a:pt x="2626155" y="798616"/>
                  </a:lnTo>
                  <a:lnTo>
                    <a:pt x="2623871" y="798616"/>
                  </a:lnTo>
                  <a:lnTo>
                    <a:pt x="2621588" y="798616"/>
                  </a:lnTo>
                  <a:lnTo>
                    <a:pt x="2621588" y="796334"/>
                  </a:lnTo>
                  <a:lnTo>
                    <a:pt x="2619304" y="796334"/>
                  </a:lnTo>
                  <a:lnTo>
                    <a:pt x="2617020" y="796334"/>
                  </a:lnTo>
                  <a:lnTo>
                    <a:pt x="2614737" y="796334"/>
                  </a:lnTo>
                  <a:lnTo>
                    <a:pt x="2614737" y="794052"/>
                  </a:lnTo>
                  <a:lnTo>
                    <a:pt x="2612453" y="794052"/>
                  </a:lnTo>
                  <a:lnTo>
                    <a:pt x="2610170" y="794052"/>
                  </a:lnTo>
                  <a:lnTo>
                    <a:pt x="2607886" y="794052"/>
                  </a:lnTo>
                  <a:lnTo>
                    <a:pt x="2605603" y="791770"/>
                  </a:lnTo>
                  <a:lnTo>
                    <a:pt x="2603319" y="791770"/>
                  </a:lnTo>
                  <a:lnTo>
                    <a:pt x="2601035" y="791770"/>
                  </a:lnTo>
                  <a:lnTo>
                    <a:pt x="2598752" y="789488"/>
                  </a:lnTo>
                  <a:lnTo>
                    <a:pt x="2596468" y="789488"/>
                  </a:lnTo>
                  <a:lnTo>
                    <a:pt x="2594184" y="787207"/>
                  </a:lnTo>
                  <a:lnTo>
                    <a:pt x="2591901" y="784925"/>
                  </a:lnTo>
                  <a:lnTo>
                    <a:pt x="2589617" y="784925"/>
                  </a:lnTo>
                  <a:lnTo>
                    <a:pt x="2587334" y="784925"/>
                  </a:lnTo>
                  <a:lnTo>
                    <a:pt x="2585050" y="782643"/>
                  </a:lnTo>
                  <a:lnTo>
                    <a:pt x="2582766" y="782643"/>
                  </a:lnTo>
                  <a:lnTo>
                    <a:pt x="2580483" y="782643"/>
                  </a:lnTo>
                  <a:lnTo>
                    <a:pt x="2578199" y="780361"/>
                  </a:lnTo>
                  <a:lnTo>
                    <a:pt x="2575916" y="780361"/>
                  </a:lnTo>
                  <a:lnTo>
                    <a:pt x="2573632" y="780361"/>
                  </a:lnTo>
                  <a:lnTo>
                    <a:pt x="2571349" y="778079"/>
                  </a:lnTo>
                  <a:lnTo>
                    <a:pt x="2569065" y="778079"/>
                  </a:lnTo>
                  <a:lnTo>
                    <a:pt x="2566781" y="778079"/>
                  </a:lnTo>
                  <a:lnTo>
                    <a:pt x="2566781" y="775797"/>
                  </a:lnTo>
                  <a:lnTo>
                    <a:pt x="2564498" y="775797"/>
                  </a:lnTo>
                  <a:lnTo>
                    <a:pt x="2562214" y="775797"/>
                  </a:lnTo>
                  <a:lnTo>
                    <a:pt x="2559930" y="773515"/>
                  </a:lnTo>
                  <a:lnTo>
                    <a:pt x="2557647" y="773515"/>
                  </a:lnTo>
                  <a:lnTo>
                    <a:pt x="2555363" y="773515"/>
                  </a:lnTo>
                  <a:lnTo>
                    <a:pt x="2555363" y="771233"/>
                  </a:lnTo>
                  <a:lnTo>
                    <a:pt x="2553080" y="771233"/>
                  </a:lnTo>
                  <a:lnTo>
                    <a:pt x="2550796" y="771233"/>
                  </a:lnTo>
                  <a:lnTo>
                    <a:pt x="2548513" y="768951"/>
                  </a:lnTo>
                  <a:lnTo>
                    <a:pt x="2546229" y="768951"/>
                  </a:lnTo>
                  <a:lnTo>
                    <a:pt x="2546229" y="766669"/>
                  </a:lnTo>
                  <a:lnTo>
                    <a:pt x="2543945" y="766669"/>
                  </a:lnTo>
                  <a:lnTo>
                    <a:pt x="2541662" y="766669"/>
                  </a:lnTo>
                  <a:lnTo>
                    <a:pt x="2541662" y="764388"/>
                  </a:lnTo>
                  <a:lnTo>
                    <a:pt x="2539378" y="764388"/>
                  </a:lnTo>
                  <a:lnTo>
                    <a:pt x="2543945" y="759824"/>
                  </a:lnTo>
                  <a:lnTo>
                    <a:pt x="2562214" y="730159"/>
                  </a:lnTo>
                  <a:lnTo>
                    <a:pt x="2571349" y="718750"/>
                  </a:lnTo>
                  <a:lnTo>
                    <a:pt x="2573632" y="714186"/>
                  </a:lnTo>
                  <a:lnTo>
                    <a:pt x="2566781" y="707340"/>
                  </a:lnTo>
                  <a:lnTo>
                    <a:pt x="2562214" y="705058"/>
                  </a:lnTo>
                  <a:lnTo>
                    <a:pt x="2559930" y="702776"/>
                  </a:lnTo>
                  <a:lnTo>
                    <a:pt x="2553080" y="698213"/>
                  </a:lnTo>
                  <a:lnTo>
                    <a:pt x="2546229" y="693649"/>
                  </a:lnTo>
                  <a:lnTo>
                    <a:pt x="2541662" y="691367"/>
                  </a:lnTo>
                  <a:lnTo>
                    <a:pt x="2541662" y="689085"/>
                  </a:lnTo>
                  <a:lnTo>
                    <a:pt x="2539378" y="686803"/>
                  </a:lnTo>
                  <a:lnTo>
                    <a:pt x="2530244" y="682239"/>
                  </a:lnTo>
                  <a:lnTo>
                    <a:pt x="2530244" y="679957"/>
                  </a:lnTo>
                  <a:lnTo>
                    <a:pt x="2514259" y="675394"/>
                  </a:lnTo>
                  <a:lnTo>
                    <a:pt x="2489139" y="670830"/>
                  </a:lnTo>
                  <a:lnTo>
                    <a:pt x="2454885" y="663984"/>
                  </a:lnTo>
                  <a:lnTo>
                    <a:pt x="2457169" y="643457"/>
                  </a:lnTo>
                  <a:lnTo>
                    <a:pt x="2459452" y="602383"/>
                  </a:lnTo>
                  <a:lnTo>
                    <a:pt x="2441184" y="581845"/>
                  </a:lnTo>
                  <a:lnTo>
                    <a:pt x="2436616" y="575000"/>
                  </a:lnTo>
                  <a:lnTo>
                    <a:pt x="2452601" y="547617"/>
                  </a:lnTo>
                  <a:lnTo>
                    <a:pt x="2468587" y="520234"/>
                  </a:lnTo>
                  <a:lnTo>
                    <a:pt x="2445751" y="511107"/>
                  </a:lnTo>
                  <a:lnTo>
                    <a:pt x="2432049" y="511107"/>
                  </a:lnTo>
                  <a:lnTo>
                    <a:pt x="2438900" y="486015"/>
                  </a:lnTo>
                  <a:lnTo>
                    <a:pt x="2464020" y="490570"/>
                  </a:lnTo>
                  <a:lnTo>
                    <a:pt x="2466303" y="492851"/>
                  </a:lnTo>
                  <a:lnTo>
                    <a:pt x="2484572" y="499697"/>
                  </a:lnTo>
                  <a:lnTo>
                    <a:pt x="2491423" y="472324"/>
                  </a:lnTo>
                  <a:lnTo>
                    <a:pt x="2495990" y="465478"/>
                  </a:lnTo>
                  <a:lnTo>
                    <a:pt x="2475437" y="460915"/>
                  </a:lnTo>
                  <a:lnTo>
                    <a:pt x="2470870" y="460915"/>
                  </a:lnTo>
                  <a:lnTo>
                    <a:pt x="2468587" y="460915"/>
                  </a:lnTo>
                  <a:lnTo>
                    <a:pt x="2452601" y="458633"/>
                  </a:lnTo>
                  <a:lnTo>
                    <a:pt x="2445751" y="458633"/>
                  </a:lnTo>
                  <a:lnTo>
                    <a:pt x="2443467" y="458633"/>
                  </a:lnTo>
                  <a:lnTo>
                    <a:pt x="2441184" y="458633"/>
                  </a:lnTo>
                  <a:lnTo>
                    <a:pt x="2416064" y="458633"/>
                  </a:lnTo>
                  <a:lnTo>
                    <a:pt x="2411497" y="458633"/>
                  </a:lnTo>
                  <a:lnTo>
                    <a:pt x="2384094" y="458633"/>
                  </a:lnTo>
                  <a:lnTo>
                    <a:pt x="2384094" y="460915"/>
                  </a:lnTo>
                  <a:lnTo>
                    <a:pt x="2384094" y="465478"/>
                  </a:lnTo>
                  <a:lnTo>
                    <a:pt x="2384094" y="483733"/>
                  </a:lnTo>
                  <a:lnTo>
                    <a:pt x="2381810" y="490570"/>
                  </a:lnTo>
                  <a:lnTo>
                    <a:pt x="2377243" y="506543"/>
                  </a:lnTo>
                  <a:lnTo>
                    <a:pt x="2349840" y="504261"/>
                  </a:lnTo>
                  <a:lnTo>
                    <a:pt x="2347556" y="504261"/>
                  </a:lnTo>
                  <a:lnTo>
                    <a:pt x="2345272" y="529362"/>
                  </a:lnTo>
                  <a:lnTo>
                    <a:pt x="2317869" y="527080"/>
                  </a:lnTo>
                  <a:lnTo>
                    <a:pt x="2317869" y="529362"/>
                  </a:lnTo>
                  <a:lnTo>
                    <a:pt x="2315586" y="554463"/>
                  </a:lnTo>
                  <a:lnTo>
                    <a:pt x="2311019" y="575000"/>
                  </a:lnTo>
                  <a:lnTo>
                    <a:pt x="2311019" y="577282"/>
                  </a:lnTo>
                  <a:lnTo>
                    <a:pt x="2308735" y="581845"/>
                  </a:lnTo>
                  <a:lnTo>
                    <a:pt x="2308735" y="584127"/>
                  </a:lnTo>
                  <a:lnTo>
                    <a:pt x="2306451" y="588691"/>
                  </a:lnTo>
                  <a:lnTo>
                    <a:pt x="2304168" y="600101"/>
                  </a:lnTo>
                  <a:lnTo>
                    <a:pt x="2301884" y="616074"/>
                  </a:lnTo>
                  <a:lnTo>
                    <a:pt x="2299601" y="622920"/>
                  </a:lnTo>
                  <a:lnTo>
                    <a:pt x="2297317" y="627483"/>
                  </a:lnTo>
                  <a:lnTo>
                    <a:pt x="2297317" y="629765"/>
                  </a:lnTo>
                  <a:lnTo>
                    <a:pt x="2288183" y="645739"/>
                  </a:lnTo>
                  <a:lnTo>
                    <a:pt x="2283615" y="654857"/>
                  </a:lnTo>
                  <a:lnTo>
                    <a:pt x="2263063" y="643457"/>
                  </a:lnTo>
                  <a:lnTo>
                    <a:pt x="2260779" y="643457"/>
                  </a:lnTo>
                  <a:lnTo>
                    <a:pt x="2249361" y="638893"/>
                  </a:lnTo>
                  <a:lnTo>
                    <a:pt x="2247078" y="620638"/>
                  </a:lnTo>
                  <a:lnTo>
                    <a:pt x="2247078" y="616074"/>
                  </a:lnTo>
                  <a:lnTo>
                    <a:pt x="2247078" y="604664"/>
                  </a:lnTo>
                  <a:lnTo>
                    <a:pt x="2244794" y="593255"/>
                  </a:lnTo>
                  <a:lnTo>
                    <a:pt x="2244794" y="590973"/>
                  </a:lnTo>
                  <a:lnTo>
                    <a:pt x="2244794" y="575000"/>
                  </a:lnTo>
                  <a:lnTo>
                    <a:pt x="2244794" y="563590"/>
                  </a:lnTo>
                  <a:lnTo>
                    <a:pt x="2244794" y="556745"/>
                  </a:lnTo>
                  <a:lnTo>
                    <a:pt x="2242511" y="543053"/>
                  </a:lnTo>
                  <a:lnTo>
                    <a:pt x="2242511" y="538489"/>
                  </a:lnTo>
                  <a:lnTo>
                    <a:pt x="2242511" y="529362"/>
                  </a:lnTo>
                  <a:lnTo>
                    <a:pt x="2242511" y="527080"/>
                  </a:lnTo>
                  <a:lnTo>
                    <a:pt x="2242511" y="520234"/>
                  </a:lnTo>
                  <a:lnTo>
                    <a:pt x="2217391" y="520234"/>
                  </a:lnTo>
                  <a:lnTo>
                    <a:pt x="2215108" y="520234"/>
                  </a:lnTo>
                  <a:lnTo>
                    <a:pt x="2215108" y="522516"/>
                  </a:lnTo>
                  <a:lnTo>
                    <a:pt x="2215108" y="524798"/>
                  </a:lnTo>
                  <a:lnTo>
                    <a:pt x="2210540" y="524798"/>
                  </a:lnTo>
                  <a:lnTo>
                    <a:pt x="2208257" y="527080"/>
                  </a:lnTo>
                  <a:lnTo>
                    <a:pt x="2208257" y="529362"/>
                  </a:lnTo>
                  <a:lnTo>
                    <a:pt x="2205973" y="533926"/>
                  </a:lnTo>
                  <a:lnTo>
                    <a:pt x="2203690" y="533926"/>
                  </a:lnTo>
                  <a:lnTo>
                    <a:pt x="2201406" y="533926"/>
                  </a:lnTo>
                  <a:lnTo>
                    <a:pt x="2201406" y="531644"/>
                  </a:lnTo>
                  <a:lnTo>
                    <a:pt x="2196839" y="531644"/>
                  </a:lnTo>
                  <a:lnTo>
                    <a:pt x="2196839" y="536207"/>
                  </a:lnTo>
                  <a:lnTo>
                    <a:pt x="2196839" y="540771"/>
                  </a:lnTo>
                  <a:lnTo>
                    <a:pt x="2196839" y="549899"/>
                  </a:lnTo>
                  <a:lnTo>
                    <a:pt x="2196839" y="552181"/>
                  </a:lnTo>
                  <a:lnTo>
                    <a:pt x="2196839" y="554463"/>
                  </a:lnTo>
                  <a:lnTo>
                    <a:pt x="2192271" y="559027"/>
                  </a:lnTo>
                  <a:lnTo>
                    <a:pt x="2192271" y="561308"/>
                  </a:lnTo>
                  <a:lnTo>
                    <a:pt x="2185421" y="565872"/>
                  </a:lnTo>
                  <a:lnTo>
                    <a:pt x="2183137" y="565872"/>
                  </a:lnTo>
                  <a:lnTo>
                    <a:pt x="2180854" y="565872"/>
                  </a:lnTo>
                  <a:lnTo>
                    <a:pt x="2176286" y="563590"/>
                  </a:lnTo>
                  <a:lnTo>
                    <a:pt x="2174003" y="563590"/>
                  </a:lnTo>
                  <a:lnTo>
                    <a:pt x="2174003" y="561308"/>
                  </a:lnTo>
                  <a:lnTo>
                    <a:pt x="2171719" y="561308"/>
                  </a:lnTo>
                  <a:lnTo>
                    <a:pt x="2169436" y="559027"/>
                  </a:lnTo>
                  <a:lnTo>
                    <a:pt x="2160301" y="559027"/>
                  </a:lnTo>
                  <a:lnTo>
                    <a:pt x="2158018" y="559027"/>
                  </a:lnTo>
                  <a:lnTo>
                    <a:pt x="2155734" y="561308"/>
                  </a:lnTo>
                  <a:lnTo>
                    <a:pt x="2155734" y="563590"/>
                  </a:lnTo>
                  <a:lnTo>
                    <a:pt x="2153450" y="565872"/>
                  </a:lnTo>
                  <a:lnTo>
                    <a:pt x="2146600" y="568154"/>
                  </a:lnTo>
                  <a:lnTo>
                    <a:pt x="2144316" y="568154"/>
                  </a:lnTo>
                  <a:lnTo>
                    <a:pt x="2142032" y="568154"/>
                  </a:lnTo>
                  <a:lnTo>
                    <a:pt x="2139749" y="568154"/>
                  </a:lnTo>
                  <a:lnTo>
                    <a:pt x="2137465" y="570436"/>
                  </a:lnTo>
                  <a:lnTo>
                    <a:pt x="2135182" y="572718"/>
                  </a:lnTo>
                  <a:lnTo>
                    <a:pt x="2132898" y="577282"/>
                  </a:lnTo>
                  <a:lnTo>
                    <a:pt x="2130614" y="577282"/>
                  </a:lnTo>
                  <a:lnTo>
                    <a:pt x="2130614" y="579563"/>
                  </a:lnTo>
                  <a:lnTo>
                    <a:pt x="2132898" y="584127"/>
                  </a:lnTo>
                  <a:lnTo>
                    <a:pt x="2132898" y="586409"/>
                  </a:lnTo>
                  <a:lnTo>
                    <a:pt x="2130614" y="590973"/>
                  </a:lnTo>
                  <a:lnTo>
                    <a:pt x="2126047" y="593255"/>
                  </a:lnTo>
                  <a:lnTo>
                    <a:pt x="2123764" y="593255"/>
                  </a:lnTo>
                  <a:lnTo>
                    <a:pt x="2119196" y="593255"/>
                  </a:lnTo>
                  <a:lnTo>
                    <a:pt x="2119196" y="595537"/>
                  </a:lnTo>
                  <a:lnTo>
                    <a:pt x="2119196" y="597819"/>
                  </a:lnTo>
                  <a:lnTo>
                    <a:pt x="2121480" y="604664"/>
                  </a:lnTo>
                  <a:lnTo>
                    <a:pt x="2119196" y="606946"/>
                  </a:lnTo>
                  <a:lnTo>
                    <a:pt x="2116913" y="609228"/>
                  </a:lnTo>
                  <a:lnTo>
                    <a:pt x="2110062" y="611510"/>
                  </a:lnTo>
                  <a:lnTo>
                    <a:pt x="2107778" y="611510"/>
                  </a:lnTo>
                  <a:lnTo>
                    <a:pt x="2103211" y="613792"/>
                  </a:lnTo>
                  <a:lnTo>
                    <a:pt x="2100928" y="616074"/>
                  </a:lnTo>
                  <a:lnTo>
                    <a:pt x="2098644" y="616074"/>
                  </a:lnTo>
                  <a:lnTo>
                    <a:pt x="2089510" y="618356"/>
                  </a:lnTo>
                  <a:lnTo>
                    <a:pt x="2084942" y="620638"/>
                  </a:lnTo>
                  <a:lnTo>
                    <a:pt x="2082659" y="620638"/>
                  </a:lnTo>
                  <a:lnTo>
                    <a:pt x="2080375" y="620638"/>
                  </a:lnTo>
                  <a:lnTo>
                    <a:pt x="2075808" y="622920"/>
                  </a:lnTo>
                  <a:lnTo>
                    <a:pt x="2075808" y="625201"/>
                  </a:lnTo>
                  <a:lnTo>
                    <a:pt x="2073524" y="625201"/>
                  </a:lnTo>
                  <a:lnTo>
                    <a:pt x="2073524" y="627483"/>
                  </a:lnTo>
                  <a:lnTo>
                    <a:pt x="2073524" y="629765"/>
                  </a:lnTo>
                  <a:lnTo>
                    <a:pt x="2071241" y="632047"/>
                  </a:lnTo>
                  <a:lnTo>
                    <a:pt x="2066674" y="636611"/>
                  </a:lnTo>
                  <a:lnTo>
                    <a:pt x="2064390" y="636611"/>
                  </a:lnTo>
                  <a:lnTo>
                    <a:pt x="2062106" y="638893"/>
                  </a:lnTo>
                  <a:lnTo>
                    <a:pt x="2059823" y="641165"/>
                  </a:lnTo>
                  <a:lnTo>
                    <a:pt x="2057539" y="645739"/>
                  </a:lnTo>
                  <a:lnTo>
                    <a:pt x="2059823" y="648011"/>
                  </a:lnTo>
                  <a:lnTo>
                    <a:pt x="2059823" y="650302"/>
                  </a:lnTo>
                  <a:lnTo>
                    <a:pt x="2057539" y="652575"/>
                  </a:lnTo>
                  <a:lnTo>
                    <a:pt x="2057539" y="654857"/>
                  </a:lnTo>
                  <a:lnTo>
                    <a:pt x="2052972" y="657139"/>
                  </a:lnTo>
                  <a:lnTo>
                    <a:pt x="2052972" y="659420"/>
                  </a:lnTo>
                  <a:lnTo>
                    <a:pt x="2052972" y="661702"/>
                  </a:lnTo>
                  <a:lnTo>
                    <a:pt x="2055256" y="666266"/>
                  </a:lnTo>
                  <a:lnTo>
                    <a:pt x="2052972" y="668548"/>
                  </a:lnTo>
                  <a:lnTo>
                    <a:pt x="2052972" y="670830"/>
                  </a:lnTo>
                  <a:lnTo>
                    <a:pt x="2048405" y="673112"/>
                  </a:lnTo>
                  <a:lnTo>
                    <a:pt x="2048405" y="675394"/>
                  </a:lnTo>
                  <a:lnTo>
                    <a:pt x="2046121" y="675394"/>
                  </a:lnTo>
                  <a:lnTo>
                    <a:pt x="2046121" y="677676"/>
                  </a:lnTo>
                  <a:lnTo>
                    <a:pt x="2048405" y="679957"/>
                  </a:lnTo>
                  <a:lnTo>
                    <a:pt x="2048405" y="682239"/>
                  </a:lnTo>
                  <a:lnTo>
                    <a:pt x="2048405" y="684521"/>
                  </a:lnTo>
                  <a:lnTo>
                    <a:pt x="2046121" y="686803"/>
                  </a:lnTo>
                  <a:lnTo>
                    <a:pt x="2046121" y="689085"/>
                  </a:lnTo>
                  <a:lnTo>
                    <a:pt x="2043838" y="689085"/>
                  </a:lnTo>
                  <a:lnTo>
                    <a:pt x="2043838" y="691367"/>
                  </a:lnTo>
                  <a:lnTo>
                    <a:pt x="2041554" y="691367"/>
                  </a:lnTo>
                  <a:lnTo>
                    <a:pt x="2039271" y="693649"/>
                  </a:lnTo>
                  <a:lnTo>
                    <a:pt x="2039271" y="695931"/>
                  </a:lnTo>
                  <a:lnTo>
                    <a:pt x="2036987" y="698213"/>
                  </a:lnTo>
                  <a:lnTo>
                    <a:pt x="2034703" y="700495"/>
                  </a:lnTo>
                  <a:lnTo>
                    <a:pt x="2034703" y="702776"/>
                  </a:lnTo>
                  <a:lnTo>
                    <a:pt x="2032420" y="705058"/>
                  </a:lnTo>
                  <a:lnTo>
                    <a:pt x="2027852" y="705058"/>
                  </a:lnTo>
                  <a:lnTo>
                    <a:pt x="2027852" y="707340"/>
                  </a:lnTo>
                  <a:lnTo>
                    <a:pt x="2025569" y="707340"/>
                  </a:lnTo>
                  <a:lnTo>
                    <a:pt x="2023285" y="714186"/>
                  </a:lnTo>
                  <a:lnTo>
                    <a:pt x="2021002" y="716468"/>
                  </a:lnTo>
                  <a:lnTo>
                    <a:pt x="2018718" y="716468"/>
                  </a:lnTo>
                  <a:lnTo>
                    <a:pt x="2016435" y="721032"/>
                  </a:lnTo>
                  <a:lnTo>
                    <a:pt x="2014151" y="725595"/>
                  </a:lnTo>
                  <a:lnTo>
                    <a:pt x="2014151" y="727877"/>
                  </a:lnTo>
                  <a:lnTo>
                    <a:pt x="2009584" y="737005"/>
                  </a:lnTo>
                  <a:lnTo>
                    <a:pt x="2007300" y="739287"/>
                  </a:lnTo>
                  <a:lnTo>
                    <a:pt x="2005017" y="739287"/>
                  </a:lnTo>
                  <a:lnTo>
                    <a:pt x="1998166" y="743851"/>
                  </a:lnTo>
                  <a:lnTo>
                    <a:pt x="1993599" y="743851"/>
                  </a:lnTo>
                  <a:lnTo>
                    <a:pt x="1991315" y="743851"/>
                  </a:lnTo>
                  <a:lnTo>
                    <a:pt x="1989031" y="746132"/>
                  </a:lnTo>
                  <a:lnTo>
                    <a:pt x="1979897" y="750696"/>
                  </a:lnTo>
                  <a:lnTo>
                    <a:pt x="1977613" y="752978"/>
                  </a:lnTo>
                  <a:lnTo>
                    <a:pt x="1975330" y="752978"/>
                  </a:lnTo>
                  <a:lnTo>
                    <a:pt x="1975330" y="755260"/>
                  </a:lnTo>
                  <a:lnTo>
                    <a:pt x="1973046" y="755260"/>
                  </a:lnTo>
                  <a:lnTo>
                    <a:pt x="1968479" y="757542"/>
                  </a:lnTo>
                  <a:lnTo>
                    <a:pt x="1959345" y="757542"/>
                  </a:lnTo>
                  <a:lnTo>
                    <a:pt x="1954777" y="757542"/>
                  </a:lnTo>
                  <a:lnTo>
                    <a:pt x="1943360" y="757542"/>
                  </a:lnTo>
                  <a:lnTo>
                    <a:pt x="1934225" y="757542"/>
                  </a:lnTo>
                  <a:lnTo>
                    <a:pt x="1931942" y="757542"/>
                  </a:lnTo>
                  <a:lnTo>
                    <a:pt x="1929658" y="755260"/>
                  </a:lnTo>
                  <a:lnTo>
                    <a:pt x="1920523" y="755260"/>
                  </a:lnTo>
                  <a:lnTo>
                    <a:pt x="1918240" y="757542"/>
                  </a:lnTo>
                  <a:lnTo>
                    <a:pt x="1915956" y="759824"/>
                  </a:lnTo>
                  <a:lnTo>
                    <a:pt x="1909106" y="764388"/>
                  </a:lnTo>
                  <a:lnTo>
                    <a:pt x="1906822" y="768951"/>
                  </a:lnTo>
                  <a:lnTo>
                    <a:pt x="1906822" y="771233"/>
                  </a:lnTo>
                  <a:lnTo>
                    <a:pt x="1906822" y="773515"/>
                  </a:lnTo>
                  <a:lnTo>
                    <a:pt x="1906822" y="775797"/>
                  </a:lnTo>
                  <a:lnTo>
                    <a:pt x="1909106" y="775797"/>
                  </a:lnTo>
                  <a:lnTo>
                    <a:pt x="1909106" y="778079"/>
                  </a:lnTo>
                  <a:lnTo>
                    <a:pt x="1911389" y="778079"/>
                  </a:lnTo>
                  <a:lnTo>
                    <a:pt x="1911389" y="780361"/>
                  </a:lnTo>
                  <a:lnTo>
                    <a:pt x="1911389" y="791770"/>
                  </a:lnTo>
                  <a:lnTo>
                    <a:pt x="1913673" y="796334"/>
                  </a:lnTo>
                  <a:lnTo>
                    <a:pt x="1913673" y="800888"/>
                  </a:lnTo>
                  <a:lnTo>
                    <a:pt x="1913673" y="803170"/>
                  </a:lnTo>
                  <a:lnTo>
                    <a:pt x="1911389" y="805452"/>
                  </a:lnTo>
                  <a:lnTo>
                    <a:pt x="1911389" y="807734"/>
                  </a:lnTo>
                  <a:lnTo>
                    <a:pt x="1911389" y="810016"/>
                  </a:lnTo>
                  <a:lnTo>
                    <a:pt x="1911389" y="812298"/>
                  </a:lnTo>
                  <a:lnTo>
                    <a:pt x="1909106" y="814580"/>
                  </a:lnTo>
                  <a:lnTo>
                    <a:pt x="1906822" y="814580"/>
                  </a:lnTo>
                  <a:lnTo>
                    <a:pt x="1904538" y="816862"/>
                  </a:lnTo>
                  <a:lnTo>
                    <a:pt x="1902255" y="816862"/>
                  </a:lnTo>
                  <a:lnTo>
                    <a:pt x="1902255" y="819144"/>
                  </a:lnTo>
                  <a:lnTo>
                    <a:pt x="1899971" y="821425"/>
                  </a:lnTo>
                  <a:lnTo>
                    <a:pt x="1895404" y="823707"/>
                  </a:lnTo>
                  <a:lnTo>
                    <a:pt x="1886270" y="835117"/>
                  </a:lnTo>
                  <a:lnTo>
                    <a:pt x="1881702" y="837399"/>
                  </a:lnTo>
                  <a:lnTo>
                    <a:pt x="1879419" y="837399"/>
                  </a:lnTo>
                  <a:lnTo>
                    <a:pt x="1877135" y="837399"/>
                  </a:lnTo>
                  <a:lnTo>
                    <a:pt x="1874852" y="839681"/>
                  </a:lnTo>
                  <a:lnTo>
                    <a:pt x="1872568" y="839681"/>
                  </a:lnTo>
                  <a:lnTo>
                    <a:pt x="1870284" y="839681"/>
                  </a:lnTo>
                  <a:lnTo>
                    <a:pt x="1868001" y="841963"/>
                  </a:lnTo>
                  <a:lnTo>
                    <a:pt x="1861150" y="839681"/>
                  </a:lnTo>
                  <a:lnTo>
                    <a:pt x="1858866" y="841963"/>
                  </a:lnTo>
                  <a:lnTo>
                    <a:pt x="1856583" y="841963"/>
                  </a:lnTo>
                  <a:lnTo>
                    <a:pt x="1854299" y="839681"/>
                  </a:lnTo>
                  <a:lnTo>
                    <a:pt x="1852016" y="839681"/>
                  </a:lnTo>
                  <a:lnTo>
                    <a:pt x="1847448" y="837399"/>
                  </a:lnTo>
                  <a:lnTo>
                    <a:pt x="1845165" y="835117"/>
                  </a:lnTo>
                  <a:lnTo>
                    <a:pt x="1840598" y="832835"/>
                  </a:lnTo>
                  <a:lnTo>
                    <a:pt x="1831463" y="835117"/>
                  </a:lnTo>
                  <a:lnTo>
                    <a:pt x="1829180" y="835117"/>
                  </a:lnTo>
                  <a:lnTo>
                    <a:pt x="1826896" y="835117"/>
                  </a:lnTo>
                  <a:lnTo>
                    <a:pt x="1824612" y="835117"/>
                  </a:lnTo>
                  <a:lnTo>
                    <a:pt x="1822329" y="837399"/>
                  </a:lnTo>
                  <a:lnTo>
                    <a:pt x="1820045" y="841963"/>
                  </a:lnTo>
                  <a:lnTo>
                    <a:pt x="1817762" y="841963"/>
                  </a:lnTo>
                  <a:lnTo>
                    <a:pt x="1817762" y="839681"/>
                  </a:lnTo>
                  <a:lnTo>
                    <a:pt x="1815478" y="839681"/>
                  </a:lnTo>
                  <a:lnTo>
                    <a:pt x="1813194" y="839681"/>
                  </a:lnTo>
                  <a:lnTo>
                    <a:pt x="1810911" y="837399"/>
                  </a:lnTo>
                  <a:lnTo>
                    <a:pt x="1808627" y="837399"/>
                  </a:lnTo>
                  <a:lnTo>
                    <a:pt x="1801777" y="835117"/>
                  </a:lnTo>
                  <a:lnTo>
                    <a:pt x="1797209" y="835117"/>
                  </a:lnTo>
                  <a:lnTo>
                    <a:pt x="1794926" y="832835"/>
                  </a:lnTo>
                  <a:lnTo>
                    <a:pt x="1790359" y="832835"/>
                  </a:lnTo>
                  <a:lnTo>
                    <a:pt x="1788075" y="830553"/>
                  </a:lnTo>
                  <a:lnTo>
                    <a:pt x="1781224" y="828271"/>
                  </a:lnTo>
                  <a:lnTo>
                    <a:pt x="1778941" y="828271"/>
                  </a:lnTo>
                  <a:lnTo>
                    <a:pt x="1774373" y="828271"/>
                  </a:lnTo>
                  <a:lnTo>
                    <a:pt x="1772090" y="828271"/>
                  </a:lnTo>
                  <a:lnTo>
                    <a:pt x="1769806" y="828271"/>
                  </a:lnTo>
                  <a:lnTo>
                    <a:pt x="1767522" y="828271"/>
                  </a:lnTo>
                  <a:lnTo>
                    <a:pt x="1765239" y="828271"/>
                  </a:lnTo>
                  <a:lnTo>
                    <a:pt x="1758388" y="830553"/>
                  </a:lnTo>
                  <a:lnTo>
                    <a:pt x="1756105" y="830553"/>
                  </a:lnTo>
                  <a:lnTo>
                    <a:pt x="1753821" y="830553"/>
                  </a:lnTo>
                  <a:lnTo>
                    <a:pt x="1751537" y="830553"/>
                  </a:lnTo>
                  <a:lnTo>
                    <a:pt x="1746970" y="832835"/>
                  </a:lnTo>
                  <a:lnTo>
                    <a:pt x="1737836" y="839681"/>
                  </a:lnTo>
                  <a:lnTo>
                    <a:pt x="1735552" y="839681"/>
                  </a:lnTo>
                  <a:lnTo>
                    <a:pt x="1733269" y="839681"/>
                  </a:lnTo>
                  <a:lnTo>
                    <a:pt x="1726418" y="837399"/>
                  </a:lnTo>
                  <a:lnTo>
                    <a:pt x="1724134" y="837399"/>
                  </a:lnTo>
                  <a:lnTo>
                    <a:pt x="1717283" y="837399"/>
                  </a:lnTo>
                  <a:lnTo>
                    <a:pt x="1710433" y="839681"/>
                  </a:lnTo>
                  <a:lnTo>
                    <a:pt x="1703582" y="839681"/>
                  </a:lnTo>
                  <a:lnTo>
                    <a:pt x="1696722" y="841963"/>
                  </a:lnTo>
                  <a:lnTo>
                    <a:pt x="1689880" y="846526"/>
                  </a:lnTo>
                  <a:lnTo>
                    <a:pt x="1687597" y="848808"/>
                  </a:lnTo>
                  <a:lnTo>
                    <a:pt x="1683020" y="851090"/>
                  </a:lnTo>
                  <a:lnTo>
                    <a:pt x="1680746" y="851090"/>
                  </a:lnTo>
                  <a:lnTo>
                    <a:pt x="1678453" y="851090"/>
                  </a:lnTo>
                  <a:lnTo>
                    <a:pt x="1676169" y="853372"/>
                  </a:lnTo>
                  <a:lnTo>
                    <a:pt x="1676169" y="851090"/>
                  </a:lnTo>
                  <a:lnTo>
                    <a:pt x="1669318" y="848808"/>
                  </a:lnTo>
                  <a:lnTo>
                    <a:pt x="1657900" y="846526"/>
                  </a:lnTo>
                  <a:lnTo>
                    <a:pt x="1653333" y="844245"/>
                  </a:lnTo>
                  <a:lnTo>
                    <a:pt x="1641915" y="844245"/>
                  </a:lnTo>
                  <a:lnTo>
                    <a:pt x="1639632" y="844245"/>
                  </a:lnTo>
                  <a:lnTo>
                    <a:pt x="1637348" y="844245"/>
                  </a:lnTo>
                  <a:lnTo>
                    <a:pt x="1635064" y="844245"/>
                  </a:lnTo>
                  <a:lnTo>
                    <a:pt x="1630497" y="844245"/>
                  </a:lnTo>
                  <a:lnTo>
                    <a:pt x="1628214" y="841963"/>
                  </a:lnTo>
                  <a:lnTo>
                    <a:pt x="1623647" y="839681"/>
                  </a:lnTo>
                  <a:lnTo>
                    <a:pt x="1621363" y="837399"/>
                  </a:lnTo>
                  <a:lnTo>
                    <a:pt x="1619079" y="832835"/>
                  </a:lnTo>
                  <a:lnTo>
                    <a:pt x="1616796" y="830553"/>
                  </a:lnTo>
                  <a:lnTo>
                    <a:pt x="1614512" y="830553"/>
                  </a:lnTo>
                  <a:lnTo>
                    <a:pt x="1614512" y="828271"/>
                  </a:lnTo>
                  <a:lnTo>
                    <a:pt x="1612228" y="828271"/>
                  </a:lnTo>
                  <a:lnTo>
                    <a:pt x="1607661" y="828271"/>
                  </a:lnTo>
                  <a:lnTo>
                    <a:pt x="1603094" y="830553"/>
                  </a:lnTo>
                  <a:lnTo>
                    <a:pt x="1600810" y="830553"/>
                  </a:lnTo>
                  <a:lnTo>
                    <a:pt x="1593960" y="825989"/>
                  </a:lnTo>
                  <a:lnTo>
                    <a:pt x="1591676" y="825989"/>
                  </a:lnTo>
                  <a:lnTo>
                    <a:pt x="1587109" y="823707"/>
                  </a:lnTo>
                  <a:lnTo>
                    <a:pt x="1584825" y="823707"/>
                  </a:lnTo>
                  <a:lnTo>
                    <a:pt x="1582542" y="825989"/>
                  </a:lnTo>
                  <a:lnTo>
                    <a:pt x="1577975" y="825989"/>
                  </a:lnTo>
                  <a:lnTo>
                    <a:pt x="1575691" y="828271"/>
                  </a:lnTo>
                  <a:lnTo>
                    <a:pt x="1573407" y="830553"/>
                  </a:lnTo>
                  <a:lnTo>
                    <a:pt x="1571124" y="832835"/>
                  </a:lnTo>
                  <a:lnTo>
                    <a:pt x="1568840" y="832835"/>
                  </a:lnTo>
                  <a:lnTo>
                    <a:pt x="1564273" y="835117"/>
                  </a:lnTo>
                  <a:lnTo>
                    <a:pt x="1559706" y="835117"/>
                  </a:lnTo>
                  <a:lnTo>
                    <a:pt x="1557422" y="837399"/>
                  </a:lnTo>
                  <a:lnTo>
                    <a:pt x="1557422" y="841963"/>
                  </a:lnTo>
                  <a:lnTo>
                    <a:pt x="1555139" y="844245"/>
                  </a:lnTo>
                  <a:lnTo>
                    <a:pt x="1552855" y="841963"/>
                  </a:lnTo>
                  <a:lnTo>
                    <a:pt x="1550571" y="841963"/>
                  </a:lnTo>
                  <a:lnTo>
                    <a:pt x="1548288" y="841963"/>
                  </a:lnTo>
                  <a:lnTo>
                    <a:pt x="1548288" y="844245"/>
                  </a:lnTo>
                  <a:lnTo>
                    <a:pt x="1546004" y="846526"/>
                  </a:lnTo>
                  <a:lnTo>
                    <a:pt x="1543721" y="846526"/>
                  </a:lnTo>
                  <a:lnTo>
                    <a:pt x="1543721" y="848808"/>
                  </a:lnTo>
                  <a:lnTo>
                    <a:pt x="1541437" y="851090"/>
                  </a:lnTo>
                  <a:lnTo>
                    <a:pt x="1539153" y="853372"/>
                  </a:lnTo>
                  <a:lnTo>
                    <a:pt x="1536870" y="855654"/>
                  </a:lnTo>
                  <a:lnTo>
                    <a:pt x="1534586" y="855654"/>
                  </a:lnTo>
                  <a:lnTo>
                    <a:pt x="1527735" y="855654"/>
                  </a:lnTo>
                  <a:lnTo>
                    <a:pt x="1523168" y="857936"/>
                  </a:lnTo>
                  <a:lnTo>
                    <a:pt x="1520885" y="860218"/>
                  </a:lnTo>
                  <a:lnTo>
                    <a:pt x="1518601" y="860218"/>
                  </a:lnTo>
                  <a:lnTo>
                    <a:pt x="1516317" y="867063"/>
                  </a:lnTo>
                  <a:lnTo>
                    <a:pt x="1511750" y="873909"/>
                  </a:lnTo>
                  <a:lnTo>
                    <a:pt x="1511750" y="871627"/>
                  </a:lnTo>
                  <a:lnTo>
                    <a:pt x="1507183" y="864781"/>
                  </a:lnTo>
                  <a:lnTo>
                    <a:pt x="1507183" y="860218"/>
                  </a:lnTo>
                  <a:lnTo>
                    <a:pt x="1509467" y="853372"/>
                  </a:lnTo>
                  <a:lnTo>
                    <a:pt x="1509467" y="851090"/>
                  </a:lnTo>
                  <a:lnTo>
                    <a:pt x="1507183" y="851090"/>
                  </a:lnTo>
                  <a:lnTo>
                    <a:pt x="1504899" y="848808"/>
                  </a:lnTo>
                  <a:lnTo>
                    <a:pt x="1498049" y="848808"/>
                  </a:lnTo>
                  <a:lnTo>
                    <a:pt x="1493481" y="844245"/>
                  </a:lnTo>
                  <a:lnTo>
                    <a:pt x="1493481" y="841963"/>
                  </a:lnTo>
                  <a:lnTo>
                    <a:pt x="1493481" y="837399"/>
                  </a:lnTo>
                  <a:lnTo>
                    <a:pt x="1495765" y="837399"/>
                  </a:lnTo>
                  <a:lnTo>
                    <a:pt x="1493481" y="835117"/>
                  </a:lnTo>
                  <a:lnTo>
                    <a:pt x="1491198" y="832835"/>
                  </a:lnTo>
                  <a:lnTo>
                    <a:pt x="1488914" y="830553"/>
                  </a:lnTo>
                  <a:lnTo>
                    <a:pt x="1486631" y="830553"/>
                  </a:lnTo>
                  <a:lnTo>
                    <a:pt x="1486631" y="828271"/>
                  </a:lnTo>
                  <a:lnTo>
                    <a:pt x="1486631" y="825989"/>
                  </a:lnTo>
                  <a:lnTo>
                    <a:pt x="1486631" y="823707"/>
                  </a:lnTo>
                  <a:lnTo>
                    <a:pt x="1486631" y="821425"/>
                  </a:lnTo>
                  <a:lnTo>
                    <a:pt x="1486631" y="814580"/>
                  </a:lnTo>
                  <a:lnTo>
                    <a:pt x="1486631" y="812298"/>
                  </a:lnTo>
                  <a:lnTo>
                    <a:pt x="1484347" y="812298"/>
                  </a:lnTo>
                  <a:lnTo>
                    <a:pt x="1486631" y="810016"/>
                  </a:lnTo>
                  <a:lnTo>
                    <a:pt x="1486631" y="805452"/>
                  </a:lnTo>
                  <a:lnTo>
                    <a:pt x="1486631" y="803170"/>
                  </a:lnTo>
                  <a:lnTo>
                    <a:pt x="1484347" y="800888"/>
                  </a:lnTo>
                  <a:lnTo>
                    <a:pt x="1482064" y="798616"/>
                  </a:lnTo>
                  <a:lnTo>
                    <a:pt x="1479780" y="794052"/>
                  </a:lnTo>
                  <a:lnTo>
                    <a:pt x="1477496" y="791770"/>
                  </a:lnTo>
                  <a:lnTo>
                    <a:pt x="1479780" y="787207"/>
                  </a:lnTo>
                  <a:lnTo>
                    <a:pt x="1479780" y="784925"/>
                  </a:lnTo>
                  <a:lnTo>
                    <a:pt x="1479780" y="782643"/>
                  </a:lnTo>
                  <a:lnTo>
                    <a:pt x="1482064" y="782643"/>
                  </a:lnTo>
                  <a:lnTo>
                    <a:pt x="1484347" y="780361"/>
                  </a:lnTo>
                  <a:lnTo>
                    <a:pt x="1484347" y="778079"/>
                  </a:lnTo>
                  <a:lnTo>
                    <a:pt x="1484347" y="775797"/>
                  </a:lnTo>
                  <a:lnTo>
                    <a:pt x="1484347" y="773515"/>
                  </a:lnTo>
                  <a:lnTo>
                    <a:pt x="1484347" y="764388"/>
                  </a:lnTo>
                  <a:lnTo>
                    <a:pt x="1484347" y="759824"/>
                  </a:lnTo>
                  <a:lnTo>
                    <a:pt x="1484347" y="757542"/>
                  </a:lnTo>
                  <a:lnTo>
                    <a:pt x="1484347" y="755260"/>
                  </a:lnTo>
                  <a:lnTo>
                    <a:pt x="1482064" y="750696"/>
                  </a:lnTo>
                  <a:lnTo>
                    <a:pt x="1482064" y="746132"/>
                  </a:lnTo>
                  <a:lnTo>
                    <a:pt x="1479780" y="743851"/>
                  </a:lnTo>
                  <a:lnTo>
                    <a:pt x="1477496" y="739287"/>
                  </a:lnTo>
                  <a:lnTo>
                    <a:pt x="1475213" y="737005"/>
                  </a:lnTo>
                  <a:lnTo>
                    <a:pt x="1472929" y="734723"/>
                  </a:lnTo>
                  <a:lnTo>
                    <a:pt x="1472929" y="732441"/>
                  </a:lnTo>
                  <a:lnTo>
                    <a:pt x="1472929" y="730159"/>
                  </a:lnTo>
                  <a:lnTo>
                    <a:pt x="1470646" y="721032"/>
                  </a:lnTo>
                  <a:lnTo>
                    <a:pt x="1472929" y="718750"/>
                  </a:lnTo>
                  <a:lnTo>
                    <a:pt x="1472929" y="714186"/>
                  </a:lnTo>
                  <a:lnTo>
                    <a:pt x="1472929" y="711904"/>
                  </a:lnTo>
                  <a:lnTo>
                    <a:pt x="1472929" y="709622"/>
                  </a:lnTo>
                  <a:lnTo>
                    <a:pt x="1472929" y="707340"/>
                  </a:lnTo>
                  <a:lnTo>
                    <a:pt x="1472929" y="700495"/>
                  </a:lnTo>
                  <a:lnTo>
                    <a:pt x="1472929" y="698213"/>
                  </a:lnTo>
                  <a:lnTo>
                    <a:pt x="1472929" y="691367"/>
                  </a:lnTo>
                  <a:lnTo>
                    <a:pt x="1475213" y="686803"/>
                  </a:lnTo>
                  <a:lnTo>
                    <a:pt x="1477496" y="682239"/>
                  </a:lnTo>
                  <a:lnTo>
                    <a:pt x="1479780" y="682239"/>
                  </a:lnTo>
                  <a:lnTo>
                    <a:pt x="1484347" y="679957"/>
                  </a:lnTo>
                  <a:lnTo>
                    <a:pt x="1486631" y="677676"/>
                  </a:lnTo>
                  <a:lnTo>
                    <a:pt x="1488914" y="677676"/>
                  </a:lnTo>
                  <a:lnTo>
                    <a:pt x="1491198" y="670830"/>
                  </a:lnTo>
                  <a:lnTo>
                    <a:pt x="1491198" y="668548"/>
                  </a:lnTo>
                  <a:lnTo>
                    <a:pt x="1493481" y="668548"/>
                  </a:lnTo>
                  <a:lnTo>
                    <a:pt x="1493481" y="666266"/>
                  </a:lnTo>
                  <a:lnTo>
                    <a:pt x="1495765" y="666266"/>
                  </a:lnTo>
                  <a:lnTo>
                    <a:pt x="1498049" y="666266"/>
                  </a:lnTo>
                  <a:lnTo>
                    <a:pt x="1498049" y="663984"/>
                  </a:lnTo>
                  <a:lnTo>
                    <a:pt x="1500332" y="663984"/>
                  </a:lnTo>
                  <a:lnTo>
                    <a:pt x="1502616" y="654857"/>
                  </a:lnTo>
                  <a:lnTo>
                    <a:pt x="1504899" y="650302"/>
                  </a:lnTo>
                  <a:lnTo>
                    <a:pt x="1507183" y="648011"/>
                  </a:lnTo>
                  <a:lnTo>
                    <a:pt x="1507183" y="643457"/>
                  </a:lnTo>
                  <a:lnTo>
                    <a:pt x="1509467" y="638893"/>
                  </a:lnTo>
                  <a:lnTo>
                    <a:pt x="1514034" y="634329"/>
                  </a:lnTo>
                  <a:lnTo>
                    <a:pt x="1516317" y="629765"/>
                  </a:lnTo>
                  <a:lnTo>
                    <a:pt x="1518601" y="627483"/>
                  </a:lnTo>
                  <a:lnTo>
                    <a:pt x="1523168" y="618356"/>
                  </a:lnTo>
                  <a:lnTo>
                    <a:pt x="1523168" y="616074"/>
                  </a:lnTo>
                  <a:lnTo>
                    <a:pt x="1525452" y="616074"/>
                  </a:lnTo>
                  <a:lnTo>
                    <a:pt x="1527735" y="616074"/>
                  </a:lnTo>
                  <a:lnTo>
                    <a:pt x="1530019" y="613792"/>
                  </a:lnTo>
                  <a:lnTo>
                    <a:pt x="1532303" y="613792"/>
                  </a:lnTo>
                  <a:lnTo>
                    <a:pt x="1532303" y="611510"/>
                  </a:lnTo>
                  <a:lnTo>
                    <a:pt x="1534586" y="611510"/>
                  </a:lnTo>
                  <a:lnTo>
                    <a:pt x="1534586" y="609228"/>
                  </a:lnTo>
                  <a:lnTo>
                    <a:pt x="1534586" y="606946"/>
                  </a:lnTo>
                  <a:lnTo>
                    <a:pt x="1536870" y="604664"/>
                  </a:lnTo>
                  <a:lnTo>
                    <a:pt x="1536870" y="602383"/>
                  </a:lnTo>
                  <a:lnTo>
                    <a:pt x="1539153" y="597819"/>
                  </a:lnTo>
                  <a:lnTo>
                    <a:pt x="1541437" y="595537"/>
                  </a:lnTo>
                  <a:lnTo>
                    <a:pt x="1541437" y="593255"/>
                  </a:lnTo>
                  <a:lnTo>
                    <a:pt x="1541437" y="588691"/>
                  </a:lnTo>
                  <a:lnTo>
                    <a:pt x="1543721" y="584127"/>
                  </a:lnTo>
                  <a:lnTo>
                    <a:pt x="1543721" y="579563"/>
                  </a:lnTo>
                  <a:lnTo>
                    <a:pt x="1543721" y="577282"/>
                  </a:lnTo>
                  <a:lnTo>
                    <a:pt x="1543721" y="575000"/>
                  </a:lnTo>
                  <a:lnTo>
                    <a:pt x="1543721" y="572718"/>
                  </a:lnTo>
                  <a:lnTo>
                    <a:pt x="1543721" y="570436"/>
                  </a:lnTo>
                  <a:lnTo>
                    <a:pt x="1546004" y="570436"/>
                  </a:lnTo>
                  <a:lnTo>
                    <a:pt x="1548288" y="568154"/>
                  </a:lnTo>
                  <a:lnTo>
                    <a:pt x="1552855" y="565872"/>
                  </a:lnTo>
                  <a:lnTo>
                    <a:pt x="1552855" y="563590"/>
                  </a:lnTo>
                  <a:lnTo>
                    <a:pt x="1555139" y="563590"/>
                  </a:lnTo>
                  <a:lnTo>
                    <a:pt x="1555139" y="561308"/>
                  </a:lnTo>
                  <a:lnTo>
                    <a:pt x="1557422" y="559027"/>
                  </a:lnTo>
                  <a:lnTo>
                    <a:pt x="1557422" y="556745"/>
                  </a:lnTo>
                  <a:lnTo>
                    <a:pt x="1559706" y="552181"/>
                  </a:lnTo>
                  <a:lnTo>
                    <a:pt x="1557422" y="549899"/>
                  </a:lnTo>
                  <a:lnTo>
                    <a:pt x="1557422" y="547617"/>
                  </a:lnTo>
                  <a:lnTo>
                    <a:pt x="1555139" y="547617"/>
                  </a:lnTo>
                  <a:lnTo>
                    <a:pt x="1552855" y="547617"/>
                  </a:lnTo>
                  <a:lnTo>
                    <a:pt x="1550571" y="547617"/>
                  </a:lnTo>
                  <a:lnTo>
                    <a:pt x="1548288" y="547617"/>
                  </a:lnTo>
                  <a:lnTo>
                    <a:pt x="1546004" y="545335"/>
                  </a:lnTo>
                  <a:lnTo>
                    <a:pt x="1543721" y="543053"/>
                  </a:lnTo>
                  <a:lnTo>
                    <a:pt x="1543721" y="540771"/>
                  </a:lnTo>
                  <a:lnTo>
                    <a:pt x="1546004" y="540771"/>
                  </a:lnTo>
                  <a:lnTo>
                    <a:pt x="1548288" y="533926"/>
                  </a:lnTo>
                  <a:lnTo>
                    <a:pt x="1550571" y="533926"/>
                  </a:lnTo>
                  <a:lnTo>
                    <a:pt x="1550571" y="531644"/>
                  </a:lnTo>
                  <a:lnTo>
                    <a:pt x="1548288" y="529362"/>
                  </a:lnTo>
                  <a:lnTo>
                    <a:pt x="1546004" y="524798"/>
                  </a:lnTo>
                  <a:lnTo>
                    <a:pt x="1543721" y="522516"/>
                  </a:lnTo>
                  <a:lnTo>
                    <a:pt x="1543721" y="520234"/>
                  </a:lnTo>
                  <a:lnTo>
                    <a:pt x="1546004" y="515670"/>
                  </a:lnTo>
                  <a:lnTo>
                    <a:pt x="1548288" y="515670"/>
                  </a:lnTo>
                  <a:lnTo>
                    <a:pt x="1546004" y="511107"/>
                  </a:lnTo>
                  <a:lnTo>
                    <a:pt x="1541437" y="504261"/>
                  </a:lnTo>
                  <a:lnTo>
                    <a:pt x="1539153" y="501979"/>
                  </a:lnTo>
                  <a:lnTo>
                    <a:pt x="1539153" y="499697"/>
                  </a:lnTo>
                  <a:lnTo>
                    <a:pt x="1541437" y="497415"/>
                  </a:lnTo>
                  <a:lnTo>
                    <a:pt x="1543721" y="492851"/>
                  </a:lnTo>
                  <a:lnTo>
                    <a:pt x="1543721" y="490570"/>
                  </a:lnTo>
                  <a:lnTo>
                    <a:pt x="1543721" y="488297"/>
                  </a:lnTo>
                  <a:lnTo>
                    <a:pt x="1546004" y="486015"/>
                  </a:lnTo>
                  <a:lnTo>
                    <a:pt x="1546004" y="483733"/>
                  </a:lnTo>
                  <a:lnTo>
                    <a:pt x="1546004" y="481451"/>
                  </a:lnTo>
                  <a:lnTo>
                    <a:pt x="1546004" y="479170"/>
                  </a:lnTo>
                  <a:lnTo>
                    <a:pt x="1543721" y="476888"/>
                  </a:lnTo>
                  <a:lnTo>
                    <a:pt x="1541437" y="476888"/>
                  </a:lnTo>
                  <a:lnTo>
                    <a:pt x="1539153" y="474606"/>
                  </a:lnTo>
                  <a:lnTo>
                    <a:pt x="1534586" y="470042"/>
                  </a:lnTo>
                  <a:lnTo>
                    <a:pt x="1534586" y="467760"/>
                  </a:lnTo>
                  <a:lnTo>
                    <a:pt x="1532303" y="463196"/>
                  </a:lnTo>
                  <a:lnTo>
                    <a:pt x="1532303" y="460915"/>
                  </a:lnTo>
                  <a:lnTo>
                    <a:pt x="1532303" y="458633"/>
                  </a:lnTo>
                  <a:lnTo>
                    <a:pt x="1532303" y="456351"/>
                  </a:lnTo>
                  <a:lnTo>
                    <a:pt x="1534586" y="451787"/>
                  </a:lnTo>
                  <a:lnTo>
                    <a:pt x="1534586" y="449505"/>
                  </a:lnTo>
                  <a:lnTo>
                    <a:pt x="1534586" y="447223"/>
                  </a:lnTo>
                  <a:lnTo>
                    <a:pt x="1534586" y="444941"/>
                  </a:lnTo>
                  <a:lnTo>
                    <a:pt x="1532303" y="442659"/>
                  </a:lnTo>
                  <a:lnTo>
                    <a:pt x="1530019" y="442659"/>
                  </a:lnTo>
                  <a:lnTo>
                    <a:pt x="1530019" y="440377"/>
                  </a:lnTo>
                  <a:lnTo>
                    <a:pt x="1527735" y="440377"/>
                  </a:lnTo>
                  <a:lnTo>
                    <a:pt x="1525452" y="440377"/>
                  </a:lnTo>
                  <a:lnTo>
                    <a:pt x="1525452" y="438095"/>
                  </a:lnTo>
                  <a:lnTo>
                    <a:pt x="1525452" y="435814"/>
                  </a:lnTo>
                  <a:lnTo>
                    <a:pt x="1525452" y="433532"/>
                  </a:lnTo>
                  <a:lnTo>
                    <a:pt x="1525452" y="428968"/>
                  </a:lnTo>
                  <a:lnTo>
                    <a:pt x="1525452" y="422122"/>
                  </a:lnTo>
                  <a:lnTo>
                    <a:pt x="1525452" y="419840"/>
                  </a:lnTo>
                  <a:lnTo>
                    <a:pt x="1525452" y="417558"/>
                  </a:lnTo>
                  <a:lnTo>
                    <a:pt x="1523168" y="417558"/>
                  </a:lnTo>
                  <a:lnTo>
                    <a:pt x="1520885" y="417558"/>
                  </a:lnTo>
                  <a:lnTo>
                    <a:pt x="1514034" y="426686"/>
                  </a:lnTo>
                  <a:lnTo>
                    <a:pt x="1511750" y="426686"/>
                  </a:lnTo>
                  <a:lnTo>
                    <a:pt x="1509467" y="426686"/>
                  </a:lnTo>
                  <a:lnTo>
                    <a:pt x="1507183" y="424404"/>
                  </a:lnTo>
                  <a:lnTo>
                    <a:pt x="1509467" y="417558"/>
                  </a:lnTo>
                  <a:lnTo>
                    <a:pt x="1509467" y="415277"/>
                  </a:lnTo>
                  <a:lnTo>
                    <a:pt x="1511750" y="415277"/>
                  </a:lnTo>
                  <a:lnTo>
                    <a:pt x="1511750" y="412995"/>
                  </a:lnTo>
                  <a:lnTo>
                    <a:pt x="1514034" y="410713"/>
                  </a:lnTo>
                  <a:lnTo>
                    <a:pt x="1511750" y="410713"/>
                  </a:lnTo>
                  <a:lnTo>
                    <a:pt x="1511750" y="408431"/>
                  </a:lnTo>
                  <a:lnTo>
                    <a:pt x="1509467" y="408431"/>
                  </a:lnTo>
                  <a:lnTo>
                    <a:pt x="1507183" y="406149"/>
                  </a:lnTo>
                  <a:lnTo>
                    <a:pt x="1504899" y="406149"/>
                  </a:lnTo>
                  <a:lnTo>
                    <a:pt x="1504899" y="403867"/>
                  </a:lnTo>
                  <a:lnTo>
                    <a:pt x="1502616" y="403867"/>
                  </a:lnTo>
                  <a:lnTo>
                    <a:pt x="1502616" y="401585"/>
                  </a:lnTo>
                  <a:lnTo>
                    <a:pt x="1502616" y="399303"/>
                  </a:lnTo>
                  <a:lnTo>
                    <a:pt x="1500332" y="392458"/>
                  </a:lnTo>
                  <a:lnTo>
                    <a:pt x="1500332" y="390176"/>
                  </a:lnTo>
                  <a:lnTo>
                    <a:pt x="1498049" y="387894"/>
                  </a:lnTo>
                  <a:lnTo>
                    <a:pt x="1491198" y="378766"/>
                  </a:lnTo>
                  <a:lnTo>
                    <a:pt x="1488914" y="376484"/>
                  </a:lnTo>
                  <a:lnTo>
                    <a:pt x="1486631" y="376484"/>
                  </a:lnTo>
                  <a:lnTo>
                    <a:pt x="1484347" y="374202"/>
                  </a:lnTo>
                  <a:lnTo>
                    <a:pt x="1482064" y="371921"/>
                  </a:lnTo>
                  <a:lnTo>
                    <a:pt x="1479780" y="367357"/>
                  </a:lnTo>
                  <a:lnTo>
                    <a:pt x="1479780" y="365075"/>
                  </a:lnTo>
                  <a:lnTo>
                    <a:pt x="1484347" y="355947"/>
                  </a:lnTo>
                  <a:lnTo>
                    <a:pt x="1484347" y="353665"/>
                  </a:lnTo>
                  <a:lnTo>
                    <a:pt x="1484347" y="351383"/>
                  </a:lnTo>
                  <a:lnTo>
                    <a:pt x="1484347" y="349102"/>
                  </a:lnTo>
                  <a:lnTo>
                    <a:pt x="1482064" y="349102"/>
                  </a:lnTo>
                  <a:lnTo>
                    <a:pt x="1479780" y="349102"/>
                  </a:lnTo>
                  <a:lnTo>
                    <a:pt x="1477496" y="349102"/>
                  </a:lnTo>
                  <a:lnTo>
                    <a:pt x="1475213" y="351383"/>
                  </a:lnTo>
                  <a:lnTo>
                    <a:pt x="1472929" y="351383"/>
                  </a:lnTo>
                  <a:lnTo>
                    <a:pt x="1470646" y="349102"/>
                  </a:lnTo>
                  <a:lnTo>
                    <a:pt x="1470646" y="344538"/>
                  </a:lnTo>
                  <a:lnTo>
                    <a:pt x="1475213" y="339974"/>
                  </a:lnTo>
                  <a:lnTo>
                    <a:pt x="1477496" y="339974"/>
                  </a:lnTo>
                  <a:lnTo>
                    <a:pt x="1479780" y="337692"/>
                  </a:lnTo>
                  <a:lnTo>
                    <a:pt x="1482064" y="335420"/>
                  </a:lnTo>
                  <a:lnTo>
                    <a:pt x="1484347" y="333128"/>
                  </a:lnTo>
                  <a:lnTo>
                    <a:pt x="1484347" y="330846"/>
                  </a:lnTo>
                  <a:lnTo>
                    <a:pt x="1484347" y="328574"/>
                  </a:lnTo>
                  <a:lnTo>
                    <a:pt x="1475213" y="314883"/>
                  </a:lnTo>
                  <a:lnTo>
                    <a:pt x="1472929" y="312601"/>
                  </a:lnTo>
                  <a:lnTo>
                    <a:pt x="1466078" y="308037"/>
                  </a:lnTo>
                  <a:lnTo>
                    <a:pt x="1463795" y="308037"/>
                  </a:lnTo>
                  <a:lnTo>
                    <a:pt x="1461511" y="305755"/>
                  </a:lnTo>
                  <a:lnTo>
                    <a:pt x="1461511" y="303473"/>
                  </a:lnTo>
                  <a:lnTo>
                    <a:pt x="1461511" y="301191"/>
                  </a:lnTo>
                  <a:lnTo>
                    <a:pt x="1461511" y="298909"/>
                  </a:lnTo>
                  <a:lnTo>
                    <a:pt x="1463795" y="296627"/>
                  </a:lnTo>
                  <a:lnTo>
                    <a:pt x="1463795" y="292064"/>
                  </a:lnTo>
                  <a:lnTo>
                    <a:pt x="1463795" y="285218"/>
                  </a:lnTo>
                  <a:lnTo>
                    <a:pt x="1466078" y="282936"/>
                  </a:lnTo>
                  <a:lnTo>
                    <a:pt x="1468362" y="282936"/>
                  </a:lnTo>
                  <a:lnTo>
                    <a:pt x="1470646" y="282936"/>
                  </a:lnTo>
                  <a:lnTo>
                    <a:pt x="1472929" y="282936"/>
                  </a:lnTo>
                  <a:lnTo>
                    <a:pt x="1475213" y="280654"/>
                  </a:lnTo>
                  <a:lnTo>
                    <a:pt x="1477496" y="278372"/>
                  </a:lnTo>
                  <a:lnTo>
                    <a:pt x="1475213" y="276090"/>
                  </a:lnTo>
                  <a:lnTo>
                    <a:pt x="1475213" y="273809"/>
                  </a:lnTo>
                  <a:lnTo>
                    <a:pt x="1472929" y="273809"/>
                  </a:lnTo>
                  <a:lnTo>
                    <a:pt x="1472929" y="271527"/>
                  </a:lnTo>
                  <a:lnTo>
                    <a:pt x="1470646" y="271527"/>
                  </a:lnTo>
                  <a:lnTo>
                    <a:pt x="1470646" y="273809"/>
                  </a:lnTo>
                  <a:lnTo>
                    <a:pt x="1468362" y="273809"/>
                  </a:lnTo>
                  <a:lnTo>
                    <a:pt x="1466078" y="276090"/>
                  </a:lnTo>
                  <a:lnTo>
                    <a:pt x="1466078" y="278372"/>
                  </a:lnTo>
                  <a:lnTo>
                    <a:pt x="1463795" y="278372"/>
                  </a:lnTo>
                  <a:lnTo>
                    <a:pt x="1459227" y="278372"/>
                  </a:lnTo>
                  <a:lnTo>
                    <a:pt x="1456944" y="276090"/>
                  </a:lnTo>
                  <a:lnTo>
                    <a:pt x="1454660" y="276090"/>
                  </a:lnTo>
                  <a:lnTo>
                    <a:pt x="1454660" y="273809"/>
                  </a:lnTo>
                  <a:lnTo>
                    <a:pt x="1454660" y="271527"/>
                  </a:lnTo>
                  <a:lnTo>
                    <a:pt x="1456944" y="271527"/>
                  </a:lnTo>
                  <a:lnTo>
                    <a:pt x="1456944" y="269245"/>
                  </a:lnTo>
                  <a:lnTo>
                    <a:pt x="1459227" y="269245"/>
                  </a:lnTo>
                  <a:lnTo>
                    <a:pt x="1459227" y="266963"/>
                  </a:lnTo>
                  <a:lnTo>
                    <a:pt x="1456944" y="264681"/>
                  </a:lnTo>
                  <a:lnTo>
                    <a:pt x="1454660" y="264681"/>
                  </a:lnTo>
                  <a:lnTo>
                    <a:pt x="1452377" y="266963"/>
                  </a:lnTo>
                  <a:lnTo>
                    <a:pt x="1450093" y="266963"/>
                  </a:lnTo>
                  <a:lnTo>
                    <a:pt x="1450093" y="264681"/>
                  </a:lnTo>
                  <a:lnTo>
                    <a:pt x="1447810" y="264681"/>
                  </a:lnTo>
                  <a:lnTo>
                    <a:pt x="1447810" y="262399"/>
                  </a:lnTo>
                  <a:lnTo>
                    <a:pt x="1447810" y="260117"/>
                  </a:lnTo>
                  <a:lnTo>
                    <a:pt x="1450093" y="255553"/>
                  </a:lnTo>
                  <a:lnTo>
                    <a:pt x="1447810" y="253271"/>
                  </a:lnTo>
                  <a:lnTo>
                    <a:pt x="1443242" y="250989"/>
                  </a:lnTo>
                  <a:lnTo>
                    <a:pt x="1440959" y="250989"/>
                  </a:lnTo>
                  <a:lnTo>
                    <a:pt x="1436392" y="253271"/>
                  </a:lnTo>
                  <a:lnTo>
                    <a:pt x="1436392" y="250989"/>
                  </a:lnTo>
                  <a:lnTo>
                    <a:pt x="1434108" y="250989"/>
                  </a:lnTo>
                  <a:lnTo>
                    <a:pt x="1431824" y="248708"/>
                  </a:lnTo>
                  <a:lnTo>
                    <a:pt x="1431824" y="241862"/>
                  </a:lnTo>
                  <a:lnTo>
                    <a:pt x="1429541" y="239580"/>
                  </a:lnTo>
                  <a:lnTo>
                    <a:pt x="1424974" y="235016"/>
                  </a:lnTo>
                  <a:lnTo>
                    <a:pt x="1422690" y="230453"/>
                  </a:lnTo>
                  <a:lnTo>
                    <a:pt x="1422690" y="228171"/>
                  </a:lnTo>
                  <a:lnTo>
                    <a:pt x="1424974" y="225889"/>
                  </a:lnTo>
                  <a:lnTo>
                    <a:pt x="1424974" y="223607"/>
                  </a:lnTo>
                  <a:lnTo>
                    <a:pt x="1422690" y="223607"/>
                  </a:lnTo>
                  <a:lnTo>
                    <a:pt x="1420406" y="223607"/>
                  </a:lnTo>
                  <a:lnTo>
                    <a:pt x="1418123" y="223607"/>
                  </a:lnTo>
                  <a:lnTo>
                    <a:pt x="1415839" y="223607"/>
                  </a:lnTo>
                  <a:lnTo>
                    <a:pt x="1415839" y="219043"/>
                  </a:lnTo>
                  <a:lnTo>
                    <a:pt x="1415839" y="216761"/>
                  </a:lnTo>
                  <a:lnTo>
                    <a:pt x="1415839" y="214479"/>
                  </a:lnTo>
                  <a:lnTo>
                    <a:pt x="1418123" y="214479"/>
                  </a:lnTo>
                  <a:lnTo>
                    <a:pt x="1422690" y="209915"/>
                  </a:lnTo>
                  <a:lnTo>
                    <a:pt x="1420406" y="209915"/>
                  </a:lnTo>
                  <a:lnTo>
                    <a:pt x="1418123" y="207633"/>
                  </a:lnTo>
                  <a:lnTo>
                    <a:pt x="1415839" y="205352"/>
                  </a:lnTo>
                  <a:lnTo>
                    <a:pt x="1413556" y="205352"/>
                  </a:lnTo>
                  <a:lnTo>
                    <a:pt x="1406705" y="200788"/>
                  </a:lnTo>
                  <a:lnTo>
                    <a:pt x="1404421" y="198506"/>
                  </a:lnTo>
                  <a:lnTo>
                    <a:pt x="1402138" y="196224"/>
                  </a:lnTo>
                  <a:lnTo>
                    <a:pt x="1402138" y="193942"/>
                  </a:lnTo>
                  <a:lnTo>
                    <a:pt x="1402138" y="189378"/>
                  </a:lnTo>
                  <a:lnTo>
                    <a:pt x="1402138" y="187096"/>
                  </a:lnTo>
                  <a:lnTo>
                    <a:pt x="1402138" y="184815"/>
                  </a:lnTo>
                  <a:lnTo>
                    <a:pt x="1399854" y="184815"/>
                  </a:lnTo>
                  <a:lnTo>
                    <a:pt x="1397570" y="182533"/>
                  </a:lnTo>
                  <a:lnTo>
                    <a:pt x="1397570" y="184815"/>
                  </a:lnTo>
                  <a:lnTo>
                    <a:pt x="1395287" y="184815"/>
                  </a:lnTo>
                  <a:lnTo>
                    <a:pt x="1393003" y="184815"/>
                  </a:lnTo>
                  <a:lnTo>
                    <a:pt x="1393003" y="182533"/>
                  </a:lnTo>
                  <a:lnTo>
                    <a:pt x="1390720" y="182533"/>
                  </a:lnTo>
                  <a:lnTo>
                    <a:pt x="1388436" y="180251"/>
                  </a:lnTo>
                  <a:lnTo>
                    <a:pt x="1388436" y="177978"/>
                  </a:lnTo>
                  <a:lnTo>
                    <a:pt x="1386152" y="173415"/>
                  </a:lnTo>
                  <a:lnTo>
                    <a:pt x="1386152" y="171133"/>
                  </a:lnTo>
                  <a:lnTo>
                    <a:pt x="1388436" y="168851"/>
                  </a:lnTo>
                  <a:lnTo>
                    <a:pt x="1393003" y="162005"/>
                  </a:lnTo>
                  <a:lnTo>
                    <a:pt x="1393003" y="159723"/>
                  </a:lnTo>
                  <a:lnTo>
                    <a:pt x="1390720" y="155159"/>
                  </a:lnTo>
                  <a:lnTo>
                    <a:pt x="1388436" y="155159"/>
                  </a:lnTo>
                  <a:lnTo>
                    <a:pt x="1386152" y="155159"/>
                  </a:lnTo>
                  <a:lnTo>
                    <a:pt x="1383869" y="155159"/>
                  </a:lnTo>
                  <a:lnTo>
                    <a:pt x="1381585" y="155159"/>
                  </a:lnTo>
                  <a:lnTo>
                    <a:pt x="1379302" y="155159"/>
                  </a:lnTo>
                  <a:lnTo>
                    <a:pt x="1379302" y="152877"/>
                  </a:lnTo>
                  <a:lnTo>
                    <a:pt x="1377018" y="150596"/>
                  </a:lnTo>
                  <a:lnTo>
                    <a:pt x="1377018" y="148314"/>
                  </a:lnTo>
                  <a:lnTo>
                    <a:pt x="1377018" y="146032"/>
                  </a:lnTo>
                  <a:lnTo>
                    <a:pt x="1377018" y="143750"/>
                  </a:lnTo>
                  <a:lnTo>
                    <a:pt x="1377018" y="141468"/>
                  </a:lnTo>
                  <a:lnTo>
                    <a:pt x="1377018" y="139186"/>
                  </a:lnTo>
                  <a:lnTo>
                    <a:pt x="1374735" y="136904"/>
                  </a:lnTo>
                  <a:lnTo>
                    <a:pt x="1370167" y="132341"/>
                  </a:lnTo>
                  <a:lnTo>
                    <a:pt x="1372451" y="130059"/>
                  </a:lnTo>
                  <a:lnTo>
                    <a:pt x="1370167" y="127777"/>
                  </a:lnTo>
                  <a:lnTo>
                    <a:pt x="1367884" y="123213"/>
                  </a:lnTo>
                  <a:lnTo>
                    <a:pt x="1363317" y="120931"/>
                  </a:lnTo>
                  <a:lnTo>
                    <a:pt x="1361033" y="116367"/>
                  </a:lnTo>
                  <a:lnTo>
                    <a:pt x="1358749" y="111803"/>
                  </a:lnTo>
                  <a:lnTo>
                    <a:pt x="1358749" y="109521"/>
                  </a:lnTo>
                  <a:lnTo>
                    <a:pt x="1356466" y="107240"/>
                  </a:lnTo>
                  <a:lnTo>
                    <a:pt x="1354182" y="104958"/>
                  </a:lnTo>
                  <a:lnTo>
                    <a:pt x="1351898" y="104958"/>
                  </a:lnTo>
                  <a:lnTo>
                    <a:pt x="1347331" y="104958"/>
                  </a:lnTo>
                  <a:lnTo>
                    <a:pt x="1347331" y="102676"/>
                  </a:lnTo>
                  <a:lnTo>
                    <a:pt x="1345048" y="102676"/>
                  </a:lnTo>
                  <a:lnTo>
                    <a:pt x="1342764" y="98112"/>
                  </a:lnTo>
                  <a:lnTo>
                    <a:pt x="1340481" y="98112"/>
                  </a:lnTo>
                  <a:lnTo>
                    <a:pt x="1338197" y="95830"/>
                  </a:lnTo>
                  <a:lnTo>
                    <a:pt x="1333630" y="91266"/>
                  </a:lnTo>
                  <a:lnTo>
                    <a:pt x="1326779" y="88984"/>
                  </a:lnTo>
                  <a:lnTo>
                    <a:pt x="1324495" y="86703"/>
                  </a:lnTo>
                  <a:lnTo>
                    <a:pt x="1322212" y="84421"/>
                  </a:lnTo>
                  <a:lnTo>
                    <a:pt x="1319928" y="82139"/>
                  </a:lnTo>
                  <a:lnTo>
                    <a:pt x="1319928" y="79857"/>
                  </a:lnTo>
                  <a:lnTo>
                    <a:pt x="1319928" y="77575"/>
                  </a:lnTo>
                  <a:lnTo>
                    <a:pt x="1317645" y="77575"/>
                  </a:lnTo>
                  <a:lnTo>
                    <a:pt x="1317645" y="75293"/>
                  </a:lnTo>
                  <a:lnTo>
                    <a:pt x="1315361" y="70729"/>
                  </a:lnTo>
                  <a:lnTo>
                    <a:pt x="1310794" y="66165"/>
                  </a:lnTo>
                  <a:lnTo>
                    <a:pt x="1308510" y="63884"/>
                  </a:lnTo>
                  <a:lnTo>
                    <a:pt x="1306227" y="63884"/>
                  </a:lnTo>
                  <a:lnTo>
                    <a:pt x="1303943" y="63884"/>
                  </a:lnTo>
                  <a:lnTo>
                    <a:pt x="1301659" y="61602"/>
                  </a:lnTo>
                  <a:lnTo>
                    <a:pt x="1297092" y="63884"/>
                  </a:lnTo>
                  <a:lnTo>
                    <a:pt x="1294809" y="63884"/>
                  </a:lnTo>
                  <a:lnTo>
                    <a:pt x="1292525" y="61602"/>
                  </a:lnTo>
                  <a:lnTo>
                    <a:pt x="1290241" y="57038"/>
                  </a:lnTo>
                  <a:lnTo>
                    <a:pt x="1287958" y="54756"/>
                  </a:lnTo>
                  <a:lnTo>
                    <a:pt x="1285674" y="54756"/>
                  </a:lnTo>
                  <a:lnTo>
                    <a:pt x="1285674" y="57038"/>
                  </a:lnTo>
                  <a:lnTo>
                    <a:pt x="1283391" y="57038"/>
                  </a:lnTo>
                  <a:lnTo>
                    <a:pt x="1281107" y="61602"/>
                  </a:lnTo>
                  <a:lnTo>
                    <a:pt x="1278823" y="59320"/>
                  </a:lnTo>
                  <a:lnTo>
                    <a:pt x="1274256" y="57038"/>
                  </a:lnTo>
                  <a:lnTo>
                    <a:pt x="1271973" y="52474"/>
                  </a:lnTo>
                  <a:lnTo>
                    <a:pt x="1269689" y="50192"/>
                  </a:lnTo>
                  <a:lnTo>
                    <a:pt x="1267406" y="50192"/>
                  </a:lnTo>
                  <a:lnTo>
                    <a:pt x="1258271" y="50192"/>
                  </a:lnTo>
                  <a:lnTo>
                    <a:pt x="1255988" y="47910"/>
                  </a:lnTo>
                  <a:lnTo>
                    <a:pt x="1253704" y="45628"/>
                  </a:lnTo>
                  <a:lnTo>
                    <a:pt x="1246853" y="43346"/>
                  </a:lnTo>
                  <a:lnTo>
                    <a:pt x="1246853" y="41065"/>
                  </a:lnTo>
                  <a:lnTo>
                    <a:pt x="1244569" y="38783"/>
                  </a:lnTo>
                  <a:lnTo>
                    <a:pt x="1244569" y="36501"/>
                  </a:lnTo>
                  <a:lnTo>
                    <a:pt x="1244569" y="34219"/>
                  </a:lnTo>
                  <a:lnTo>
                    <a:pt x="1242286" y="31937"/>
                  </a:lnTo>
                  <a:lnTo>
                    <a:pt x="1242286" y="29655"/>
                  </a:lnTo>
                  <a:lnTo>
                    <a:pt x="1240002" y="29655"/>
                  </a:lnTo>
                  <a:lnTo>
                    <a:pt x="1237719" y="29655"/>
                  </a:lnTo>
                  <a:lnTo>
                    <a:pt x="1235435" y="29655"/>
                  </a:lnTo>
                  <a:lnTo>
                    <a:pt x="1235435" y="27383"/>
                  </a:lnTo>
                  <a:lnTo>
                    <a:pt x="1233152" y="25101"/>
                  </a:lnTo>
                  <a:lnTo>
                    <a:pt x="1230868" y="22809"/>
                  </a:lnTo>
                  <a:lnTo>
                    <a:pt x="1228584" y="22809"/>
                  </a:lnTo>
                  <a:lnTo>
                    <a:pt x="1228584" y="20537"/>
                  </a:lnTo>
                  <a:lnTo>
                    <a:pt x="1224017" y="20537"/>
                  </a:lnTo>
                  <a:lnTo>
                    <a:pt x="1221734" y="18255"/>
                  </a:lnTo>
                  <a:lnTo>
                    <a:pt x="1221734" y="15973"/>
                  </a:lnTo>
                  <a:lnTo>
                    <a:pt x="1219450" y="13691"/>
                  </a:lnTo>
                  <a:lnTo>
                    <a:pt x="1217166" y="11409"/>
                  </a:lnTo>
                  <a:lnTo>
                    <a:pt x="1214883" y="6846"/>
                  </a:lnTo>
                  <a:lnTo>
                    <a:pt x="1212599" y="4564"/>
                  </a:lnTo>
                  <a:lnTo>
                    <a:pt x="1208032" y="0"/>
                  </a:lnTo>
                  <a:lnTo>
                    <a:pt x="1208032" y="4564"/>
                  </a:lnTo>
                  <a:lnTo>
                    <a:pt x="1219450" y="228171"/>
                  </a:lnTo>
                  <a:lnTo>
                    <a:pt x="1224017" y="305755"/>
                  </a:lnTo>
                  <a:lnTo>
                    <a:pt x="1224017" y="310319"/>
                  </a:lnTo>
                  <a:lnTo>
                    <a:pt x="1224017" y="317165"/>
                  </a:lnTo>
                  <a:lnTo>
                    <a:pt x="1226301" y="346820"/>
                  </a:lnTo>
                  <a:lnTo>
                    <a:pt x="1226301" y="349102"/>
                  </a:lnTo>
                  <a:lnTo>
                    <a:pt x="1226301" y="351383"/>
                  </a:lnTo>
                  <a:lnTo>
                    <a:pt x="1228584" y="399303"/>
                  </a:lnTo>
                  <a:lnTo>
                    <a:pt x="1244569" y="698213"/>
                  </a:lnTo>
                  <a:lnTo>
                    <a:pt x="1253704" y="851090"/>
                  </a:lnTo>
                  <a:lnTo>
                    <a:pt x="1253704" y="864781"/>
                  </a:lnTo>
                  <a:lnTo>
                    <a:pt x="1265122" y="1070143"/>
                  </a:lnTo>
                  <a:lnTo>
                    <a:pt x="1265122" y="1079270"/>
                  </a:lnTo>
                  <a:lnTo>
                    <a:pt x="1267406" y="1120335"/>
                  </a:lnTo>
                  <a:lnTo>
                    <a:pt x="1269689" y="1134026"/>
                  </a:lnTo>
                  <a:lnTo>
                    <a:pt x="1276540" y="1243557"/>
                  </a:lnTo>
                  <a:lnTo>
                    <a:pt x="1283391" y="1380462"/>
                  </a:lnTo>
                  <a:lnTo>
                    <a:pt x="1287958" y="1439781"/>
                  </a:lnTo>
                  <a:lnTo>
                    <a:pt x="1290241" y="1512802"/>
                  </a:lnTo>
                  <a:lnTo>
                    <a:pt x="1287958" y="1512802"/>
                  </a:lnTo>
                  <a:lnTo>
                    <a:pt x="1281107" y="1512802"/>
                  </a:lnTo>
                  <a:lnTo>
                    <a:pt x="1278823" y="1515084"/>
                  </a:lnTo>
                  <a:lnTo>
                    <a:pt x="1274256" y="1517366"/>
                  </a:lnTo>
                  <a:lnTo>
                    <a:pt x="1271973" y="1519648"/>
                  </a:lnTo>
                  <a:lnTo>
                    <a:pt x="1269689" y="1519648"/>
                  </a:lnTo>
                  <a:lnTo>
                    <a:pt x="1267406" y="1519648"/>
                  </a:lnTo>
                  <a:lnTo>
                    <a:pt x="1265122" y="1519648"/>
                  </a:lnTo>
                  <a:lnTo>
                    <a:pt x="1265122" y="1521930"/>
                  </a:lnTo>
                  <a:lnTo>
                    <a:pt x="1262838" y="1521930"/>
                  </a:lnTo>
                  <a:lnTo>
                    <a:pt x="1260555" y="1521930"/>
                  </a:lnTo>
                  <a:lnTo>
                    <a:pt x="1255988" y="1524211"/>
                  </a:lnTo>
                  <a:lnTo>
                    <a:pt x="1253704" y="1521930"/>
                  </a:lnTo>
                  <a:lnTo>
                    <a:pt x="1251420" y="1521930"/>
                  </a:lnTo>
                  <a:lnTo>
                    <a:pt x="1249137" y="1521930"/>
                  </a:lnTo>
                  <a:lnTo>
                    <a:pt x="1246853" y="1521930"/>
                  </a:lnTo>
                  <a:lnTo>
                    <a:pt x="1246853" y="1524211"/>
                  </a:lnTo>
                  <a:lnTo>
                    <a:pt x="1244569" y="1524211"/>
                  </a:lnTo>
                  <a:lnTo>
                    <a:pt x="1244569" y="1526493"/>
                  </a:lnTo>
                  <a:lnTo>
                    <a:pt x="1242286" y="1528775"/>
                  </a:lnTo>
                  <a:lnTo>
                    <a:pt x="1237719" y="1528775"/>
                  </a:lnTo>
                  <a:lnTo>
                    <a:pt x="1237719" y="1531057"/>
                  </a:lnTo>
                  <a:lnTo>
                    <a:pt x="1235435" y="1531057"/>
                  </a:lnTo>
                  <a:lnTo>
                    <a:pt x="1233152" y="1535621"/>
                  </a:lnTo>
                  <a:lnTo>
                    <a:pt x="1235435" y="1537903"/>
                  </a:lnTo>
                  <a:lnTo>
                    <a:pt x="1235435" y="1540185"/>
                  </a:lnTo>
                  <a:lnTo>
                    <a:pt x="1233152" y="1540185"/>
                  </a:lnTo>
                  <a:lnTo>
                    <a:pt x="1233152" y="1542467"/>
                  </a:lnTo>
                  <a:lnTo>
                    <a:pt x="1230868" y="1547030"/>
                  </a:lnTo>
                  <a:lnTo>
                    <a:pt x="1228584" y="1549312"/>
                  </a:lnTo>
                  <a:lnTo>
                    <a:pt x="1224017" y="1551594"/>
                  </a:lnTo>
                  <a:lnTo>
                    <a:pt x="1221734" y="1551594"/>
                  </a:lnTo>
                  <a:lnTo>
                    <a:pt x="1219450" y="1549312"/>
                  </a:lnTo>
                  <a:lnTo>
                    <a:pt x="1217166" y="1549312"/>
                  </a:lnTo>
                  <a:lnTo>
                    <a:pt x="1214883" y="1549312"/>
                  </a:lnTo>
                  <a:lnTo>
                    <a:pt x="1212599" y="1549312"/>
                  </a:lnTo>
                  <a:lnTo>
                    <a:pt x="1210316" y="1547030"/>
                  </a:lnTo>
                  <a:lnTo>
                    <a:pt x="1208032" y="1547030"/>
                  </a:lnTo>
                  <a:lnTo>
                    <a:pt x="1208032" y="1544748"/>
                  </a:lnTo>
                  <a:lnTo>
                    <a:pt x="1205748" y="1544748"/>
                  </a:lnTo>
                  <a:lnTo>
                    <a:pt x="1203465" y="1544748"/>
                  </a:lnTo>
                  <a:lnTo>
                    <a:pt x="1198898" y="1544748"/>
                  </a:lnTo>
                  <a:lnTo>
                    <a:pt x="1198898" y="1542467"/>
                  </a:lnTo>
                  <a:lnTo>
                    <a:pt x="1196614" y="1542467"/>
                  </a:lnTo>
                  <a:lnTo>
                    <a:pt x="1196614" y="1544748"/>
                  </a:lnTo>
                  <a:lnTo>
                    <a:pt x="1194330" y="1544748"/>
                  </a:lnTo>
                  <a:lnTo>
                    <a:pt x="1189763" y="1549312"/>
                  </a:lnTo>
                  <a:lnTo>
                    <a:pt x="1189763" y="1551594"/>
                  </a:lnTo>
                  <a:lnTo>
                    <a:pt x="1187480" y="1551594"/>
                  </a:lnTo>
                  <a:lnTo>
                    <a:pt x="1187480" y="1553876"/>
                  </a:lnTo>
                  <a:lnTo>
                    <a:pt x="1185196" y="1556158"/>
                  </a:lnTo>
                  <a:lnTo>
                    <a:pt x="1182912" y="1558440"/>
                  </a:lnTo>
                  <a:lnTo>
                    <a:pt x="1180629" y="1558440"/>
                  </a:lnTo>
                  <a:lnTo>
                    <a:pt x="1173778" y="1558440"/>
                  </a:lnTo>
                  <a:lnTo>
                    <a:pt x="1173778" y="1560722"/>
                  </a:lnTo>
                  <a:lnTo>
                    <a:pt x="1173778" y="1563004"/>
                  </a:lnTo>
                  <a:lnTo>
                    <a:pt x="1171494" y="1563004"/>
                  </a:lnTo>
                  <a:lnTo>
                    <a:pt x="1169211" y="1563004"/>
                  </a:lnTo>
                  <a:lnTo>
                    <a:pt x="1166927" y="1560722"/>
                  </a:lnTo>
                  <a:lnTo>
                    <a:pt x="1164644" y="1560722"/>
                  </a:lnTo>
                  <a:lnTo>
                    <a:pt x="1162360" y="1558440"/>
                  </a:lnTo>
                  <a:lnTo>
                    <a:pt x="1157793" y="1556158"/>
                  </a:lnTo>
                  <a:lnTo>
                    <a:pt x="1155509" y="1556158"/>
                  </a:lnTo>
                  <a:lnTo>
                    <a:pt x="1153226" y="1558440"/>
                  </a:lnTo>
                  <a:lnTo>
                    <a:pt x="1150942" y="1558440"/>
                  </a:lnTo>
                  <a:lnTo>
                    <a:pt x="1146375" y="1560722"/>
                  </a:lnTo>
                  <a:lnTo>
                    <a:pt x="1144091" y="1563004"/>
                  </a:lnTo>
                  <a:lnTo>
                    <a:pt x="1141808" y="1565286"/>
                  </a:lnTo>
                  <a:lnTo>
                    <a:pt x="1139524" y="1565286"/>
                  </a:lnTo>
                  <a:lnTo>
                    <a:pt x="1137241" y="1563004"/>
                  </a:lnTo>
                  <a:lnTo>
                    <a:pt x="1137241" y="1565286"/>
                  </a:lnTo>
                  <a:lnTo>
                    <a:pt x="1134957" y="1565286"/>
                  </a:lnTo>
                  <a:lnTo>
                    <a:pt x="1132673" y="1565286"/>
                  </a:lnTo>
                  <a:lnTo>
                    <a:pt x="1132673" y="1567567"/>
                  </a:lnTo>
                  <a:lnTo>
                    <a:pt x="1130390" y="1567567"/>
                  </a:lnTo>
                  <a:lnTo>
                    <a:pt x="1130390" y="1569849"/>
                  </a:lnTo>
                  <a:lnTo>
                    <a:pt x="1128106" y="1572131"/>
                  </a:lnTo>
                  <a:lnTo>
                    <a:pt x="1130390" y="1576695"/>
                  </a:lnTo>
                  <a:lnTo>
                    <a:pt x="1128106" y="1583531"/>
                  </a:lnTo>
                  <a:lnTo>
                    <a:pt x="1128106" y="1585813"/>
                  </a:lnTo>
                  <a:lnTo>
                    <a:pt x="1128106" y="1588095"/>
                  </a:lnTo>
                  <a:lnTo>
                    <a:pt x="1125823" y="1590377"/>
                  </a:lnTo>
                  <a:lnTo>
                    <a:pt x="1123539" y="1590377"/>
                  </a:lnTo>
                  <a:lnTo>
                    <a:pt x="1121255" y="1590377"/>
                  </a:lnTo>
                  <a:lnTo>
                    <a:pt x="1121255" y="1592659"/>
                  </a:lnTo>
                  <a:lnTo>
                    <a:pt x="1116688" y="1594941"/>
                  </a:lnTo>
                  <a:lnTo>
                    <a:pt x="1114405" y="1594941"/>
                  </a:lnTo>
                  <a:lnTo>
                    <a:pt x="1114405" y="1597223"/>
                  </a:lnTo>
                  <a:lnTo>
                    <a:pt x="1114405" y="1599505"/>
                  </a:lnTo>
                  <a:lnTo>
                    <a:pt x="1114405" y="1604068"/>
                  </a:lnTo>
                  <a:lnTo>
                    <a:pt x="1114405" y="1606350"/>
                  </a:lnTo>
                  <a:lnTo>
                    <a:pt x="1114405" y="1608632"/>
                  </a:lnTo>
                  <a:lnTo>
                    <a:pt x="1114405" y="1610914"/>
                  </a:lnTo>
                  <a:lnTo>
                    <a:pt x="1112121" y="1613196"/>
                  </a:lnTo>
                  <a:lnTo>
                    <a:pt x="1112121" y="1615478"/>
                  </a:lnTo>
                  <a:lnTo>
                    <a:pt x="1112121" y="1617760"/>
                  </a:lnTo>
                  <a:lnTo>
                    <a:pt x="1112121" y="1620042"/>
                  </a:lnTo>
                  <a:lnTo>
                    <a:pt x="1112121" y="1622323"/>
                  </a:lnTo>
                  <a:lnTo>
                    <a:pt x="1112121" y="1624605"/>
                  </a:lnTo>
                  <a:lnTo>
                    <a:pt x="1112121" y="1629169"/>
                  </a:lnTo>
                  <a:lnTo>
                    <a:pt x="1109837" y="1631451"/>
                  </a:lnTo>
                  <a:lnTo>
                    <a:pt x="1107554" y="1633733"/>
                  </a:lnTo>
                  <a:lnTo>
                    <a:pt x="1105270" y="1636015"/>
                  </a:lnTo>
                  <a:lnTo>
                    <a:pt x="1105270" y="1640579"/>
                  </a:lnTo>
                  <a:lnTo>
                    <a:pt x="1102987" y="1640579"/>
                  </a:lnTo>
                  <a:lnTo>
                    <a:pt x="1098419" y="1642861"/>
                  </a:lnTo>
                  <a:lnTo>
                    <a:pt x="1096136" y="1645142"/>
                  </a:lnTo>
                  <a:lnTo>
                    <a:pt x="1093852" y="1647424"/>
                  </a:lnTo>
                  <a:lnTo>
                    <a:pt x="1091569" y="1647424"/>
                  </a:lnTo>
                  <a:lnTo>
                    <a:pt x="1087001" y="1649706"/>
                  </a:lnTo>
                  <a:lnTo>
                    <a:pt x="1084718" y="1651988"/>
                  </a:lnTo>
                  <a:lnTo>
                    <a:pt x="1080151" y="1654270"/>
                  </a:lnTo>
                  <a:lnTo>
                    <a:pt x="1075583" y="1654270"/>
                  </a:lnTo>
                  <a:lnTo>
                    <a:pt x="1073300" y="1654270"/>
                  </a:lnTo>
                  <a:lnTo>
                    <a:pt x="1073300" y="1656552"/>
                  </a:lnTo>
                  <a:lnTo>
                    <a:pt x="1071016" y="1656552"/>
                  </a:lnTo>
                  <a:lnTo>
                    <a:pt x="1066449" y="1656552"/>
                  </a:lnTo>
                  <a:lnTo>
                    <a:pt x="1064165" y="1658834"/>
                  </a:lnTo>
                  <a:lnTo>
                    <a:pt x="1061882" y="1658834"/>
                  </a:lnTo>
                  <a:lnTo>
                    <a:pt x="1059598" y="1656552"/>
                  </a:lnTo>
                  <a:lnTo>
                    <a:pt x="1057315" y="1656552"/>
                  </a:lnTo>
                  <a:lnTo>
                    <a:pt x="1055031" y="1656552"/>
                  </a:lnTo>
                  <a:lnTo>
                    <a:pt x="1052747" y="1656552"/>
                  </a:lnTo>
                  <a:lnTo>
                    <a:pt x="1050464" y="1656552"/>
                  </a:lnTo>
                  <a:lnTo>
                    <a:pt x="1048180" y="1656552"/>
                  </a:lnTo>
                  <a:lnTo>
                    <a:pt x="1043613" y="1654270"/>
                  </a:lnTo>
                  <a:lnTo>
                    <a:pt x="1041329" y="1656552"/>
                  </a:lnTo>
                  <a:lnTo>
                    <a:pt x="1039046" y="1658834"/>
                  </a:lnTo>
                  <a:lnTo>
                    <a:pt x="1036762" y="1658834"/>
                  </a:lnTo>
                  <a:lnTo>
                    <a:pt x="1034479" y="1661116"/>
                  </a:lnTo>
                  <a:lnTo>
                    <a:pt x="1032195" y="1661116"/>
                  </a:lnTo>
                  <a:lnTo>
                    <a:pt x="1032195" y="1663398"/>
                  </a:lnTo>
                  <a:lnTo>
                    <a:pt x="1032195" y="1667961"/>
                  </a:lnTo>
                  <a:lnTo>
                    <a:pt x="1029911" y="1670243"/>
                  </a:lnTo>
                  <a:lnTo>
                    <a:pt x="1027628" y="1674807"/>
                  </a:lnTo>
                  <a:lnTo>
                    <a:pt x="1027628" y="1677089"/>
                  </a:lnTo>
                  <a:lnTo>
                    <a:pt x="1025344" y="1679371"/>
                  </a:lnTo>
                  <a:lnTo>
                    <a:pt x="1025344" y="1681653"/>
                  </a:lnTo>
                  <a:lnTo>
                    <a:pt x="1023061" y="1686217"/>
                  </a:lnTo>
                  <a:lnTo>
                    <a:pt x="1025344" y="1690780"/>
                  </a:lnTo>
                  <a:lnTo>
                    <a:pt x="1025344" y="1695344"/>
                  </a:lnTo>
                  <a:lnTo>
                    <a:pt x="1027628" y="1697626"/>
                  </a:lnTo>
                  <a:lnTo>
                    <a:pt x="1027628" y="1699908"/>
                  </a:lnTo>
                  <a:lnTo>
                    <a:pt x="1029911" y="1702190"/>
                  </a:lnTo>
                  <a:lnTo>
                    <a:pt x="1029911" y="1704472"/>
                  </a:lnTo>
                  <a:lnTo>
                    <a:pt x="1029911" y="1706754"/>
                  </a:lnTo>
                  <a:lnTo>
                    <a:pt x="1032195" y="1709035"/>
                  </a:lnTo>
                  <a:lnTo>
                    <a:pt x="1034479" y="1711318"/>
                  </a:lnTo>
                  <a:lnTo>
                    <a:pt x="1036762" y="1713599"/>
                  </a:lnTo>
                  <a:lnTo>
                    <a:pt x="1039046" y="1713599"/>
                  </a:lnTo>
                  <a:lnTo>
                    <a:pt x="1041329" y="1713599"/>
                  </a:lnTo>
                  <a:lnTo>
                    <a:pt x="1043613" y="1715881"/>
                  </a:lnTo>
                  <a:lnTo>
                    <a:pt x="1045897" y="1715881"/>
                  </a:lnTo>
                  <a:lnTo>
                    <a:pt x="1048180" y="1718163"/>
                  </a:lnTo>
                  <a:lnTo>
                    <a:pt x="1048180" y="1722727"/>
                  </a:lnTo>
                  <a:lnTo>
                    <a:pt x="1045897" y="1722727"/>
                  </a:lnTo>
                  <a:lnTo>
                    <a:pt x="1045897" y="1725009"/>
                  </a:lnTo>
                  <a:lnTo>
                    <a:pt x="1043613" y="1727291"/>
                  </a:lnTo>
                  <a:lnTo>
                    <a:pt x="1041329" y="1729573"/>
                  </a:lnTo>
                  <a:lnTo>
                    <a:pt x="1039046" y="1727291"/>
                  </a:lnTo>
                  <a:lnTo>
                    <a:pt x="1036762" y="1727291"/>
                  </a:lnTo>
                  <a:lnTo>
                    <a:pt x="1034479" y="1727291"/>
                  </a:lnTo>
                  <a:lnTo>
                    <a:pt x="1032195" y="1727291"/>
                  </a:lnTo>
                  <a:lnTo>
                    <a:pt x="1029911" y="1727291"/>
                  </a:lnTo>
                  <a:lnTo>
                    <a:pt x="1027628" y="1727291"/>
                  </a:lnTo>
                  <a:lnTo>
                    <a:pt x="1027628" y="1729573"/>
                  </a:lnTo>
                  <a:lnTo>
                    <a:pt x="1025344" y="1729573"/>
                  </a:lnTo>
                  <a:lnTo>
                    <a:pt x="1023061" y="1729573"/>
                  </a:lnTo>
                  <a:lnTo>
                    <a:pt x="1023061" y="1731854"/>
                  </a:lnTo>
                  <a:lnTo>
                    <a:pt x="1023061" y="1734127"/>
                  </a:lnTo>
                  <a:lnTo>
                    <a:pt x="1023061" y="1736418"/>
                  </a:lnTo>
                  <a:lnTo>
                    <a:pt x="1020777" y="1736418"/>
                  </a:lnTo>
                  <a:lnTo>
                    <a:pt x="1020777" y="1738700"/>
                  </a:lnTo>
                  <a:lnTo>
                    <a:pt x="1018493" y="1738700"/>
                  </a:lnTo>
                  <a:lnTo>
                    <a:pt x="1013926" y="1743254"/>
                  </a:lnTo>
                  <a:lnTo>
                    <a:pt x="1013926" y="1745536"/>
                  </a:lnTo>
                  <a:lnTo>
                    <a:pt x="1011643" y="1745536"/>
                  </a:lnTo>
                  <a:lnTo>
                    <a:pt x="1011643" y="1747818"/>
                  </a:lnTo>
                  <a:lnTo>
                    <a:pt x="1009359" y="1747818"/>
                  </a:lnTo>
                  <a:lnTo>
                    <a:pt x="1007076" y="1750100"/>
                  </a:lnTo>
                  <a:lnTo>
                    <a:pt x="1004792" y="1750100"/>
                  </a:lnTo>
                  <a:lnTo>
                    <a:pt x="1002508" y="1752382"/>
                  </a:lnTo>
                  <a:lnTo>
                    <a:pt x="1000225" y="1752382"/>
                  </a:lnTo>
                  <a:lnTo>
                    <a:pt x="997941" y="1752382"/>
                  </a:lnTo>
                  <a:lnTo>
                    <a:pt x="995657" y="1754664"/>
                  </a:lnTo>
                  <a:lnTo>
                    <a:pt x="993374" y="1754664"/>
                  </a:lnTo>
                  <a:lnTo>
                    <a:pt x="991090" y="1752382"/>
                  </a:lnTo>
                  <a:lnTo>
                    <a:pt x="991090" y="1754664"/>
                  </a:lnTo>
                  <a:lnTo>
                    <a:pt x="988807" y="1754664"/>
                  </a:lnTo>
                  <a:lnTo>
                    <a:pt x="986523" y="1754664"/>
                  </a:lnTo>
                  <a:lnTo>
                    <a:pt x="986523" y="1756946"/>
                  </a:lnTo>
                  <a:lnTo>
                    <a:pt x="984240" y="1756946"/>
                  </a:lnTo>
                  <a:lnTo>
                    <a:pt x="981956" y="1756946"/>
                  </a:lnTo>
                  <a:lnTo>
                    <a:pt x="979672" y="1756946"/>
                  </a:lnTo>
                  <a:lnTo>
                    <a:pt x="977389" y="1756946"/>
                  </a:lnTo>
                  <a:lnTo>
                    <a:pt x="972822" y="1754664"/>
                  </a:lnTo>
                  <a:lnTo>
                    <a:pt x="970538" y="1754664"/>
                  </a:lnTo>
                  <a:lnTo>
                    <a:pt x="968254" y="1754664"/>
                  </a:lnTo>
                  <a:lnTo>
                    <a:pt x="965971" y="1752382"/>
                  </a:lnTo>
                  <a:lnTo>
                    <a:pt x="965971" y="1750100"/>
                  </a:lnTo>
                  <a:lnTo>
                    <a:pt x="963687" y="1750100"/>
                  </a:lnTo>
                  <a:lnTo>
                    <a:pt x="961404" y="1747818"/>
                  </a:lnTo>
                  <a:lnTo>
                    <a:pt x="961404" y="1745536"/>
                  </a:lnTo>
                  <a:lnTo>
                    <a:pt x="956836" y="1743254"/>
                  </a:lnTo>
                  <a:lnTo>
                    <a:pt x="952269" y="1743254"/>
                  </a:lnTo>
                  <a:lnTo>
                    <a:pt x="949984" y="1743254"/>
                  </a:lnTo>
                  <a:lnTo>
                    <a:pt x="947700" y="1743254"/>
                  </a:lnTo>
                  <a:lnTo>
                    <a:pt x="945416" y="1743254"/>
                  </a:lnTo>
                  <a:lnTo>
                    <a:pt x="943133" y="1743254"/>
                  </a:lnTo>
                  <a:lnTo>
                    <a:pt x="940850" y="1740973"/>
                  </a:lnTo>
                  <a:lnTo>
                    <a:pt x="940850" y="1734127"/>
                  </a:lnTo>
                  <a:lnTo>
                    <a:pt x="938567" y="1731854"/>
                  </a:lnTo>
                  <a:lnTo>
                    <a:pt x="938567" y="1729573"/>
                  </a:lnTo>
                  <a:lnTo>
                    <a:pt x="936282" y="1727291"/>
                  </a:lnTo>
                  <a:lnTo>
                    <a:pt x="933998" y="1725009"/>
                  </a:lnTo>
                  <a:lnTo>
                    <a:pt x="929431" y="1720445"/>
                  </a:lnTo>
                  <a:lnTo>
                    <a:pt x="924864" y="1720445"/>
                  </a:lnTo>
                  <a:lnTo>
                    <a:pt x="922581" y="1718163"/>
                  </a:lnTo>
                  <a:lnTo>
                    <a:pt x="920297" y="1718163"/>
                  </a:lnTo>
                  <a:lnTo>
                    <a:pt x="913446" y="1715881"/>
                  </a:lnTo>
                  <a:lnTo>
                    <a:pt x="906595" y="1715881"/>
                  </a:lnTo>
                  <a:lnTo>
                    <a:pt x="904312" y="1715881"/>
                  </a:lnTo>
                  <a:lnTo>
                    <a:pt x="899745" y="1715881"/>
                  </a:lnTo>
                  <a:lnTo>
                    <a:pt x="897461" y="1713599"/>
                  </a:lnTo>
                  <a:lnTo>
                    <a:pt x="895177" y="1713599"/>
                  </a:lnTo>
                  <a:lnTo>
                    <a:pt x="892894" y="1713599"/>
                  </a:lnTo>
                  <a:lnTo>
                    <a:pt x="890610" y="1713599"/>
                  </a:lnTo>
                  <a:lnTo>
                    <a:pt x="888327" y="1715881"/>
                  </a:lnTo>
                  <a:lnTo>
                    <a:pt x="888327" y="1713599"/>
                  </a:lnTo>
                  <a:lnTo>
                    <a:pt x="883759" y="1713599"/>
                  </a:lnTo>
                  <a:lnTo>
                    <a:pt x="881476" y="1713599"/>
                  </a:lnTo>
                  <a:lnTo>
                    <a:pt x="879192" y="1715881"/>
                  </a:lnTo>
                  <a:lnTo>
                    <a:pt x="874625" y="1715881"/>
                  </a:lnTo>
                  <a:lnTo>
                    <a:pt x="872341" y="1713599"/>
                  </a:lnTo>
                  <a:lnTo>
                    <a:pt x="870058" y="1715881"/>
                  </a:lnTo>
                  <a:lnTo>
                    <a:pt x="865490" y="1715881"/>
                  </a:lnTo>
                  <a:lnTo>
                    <a:pt x="863207" y="1713599"/>
                  </a:lnTo>
                  <a:lnTo>
                    <a:pt x="858640" y="1713599"/>
                  </a:lnTo>
                  <a:lnTo>
                    <a:pt x="856356" y="1713599"/>
                  </a:lnTo>
                  <a:lnTo>
                    <a:pt x="854072" y="1713599"/>
                  </a:lnTo>
                  <a:lnTo>
                    <a:pt x="851789" y="1713599"/>
                  </a:lnTo>
                  <a:lnTo>
                    <a:pt x="842654" y="1711318"/>
                  </a:lnTo>
                  <a:lnTo>
                    <a:pt x="840370" y="1711318"/>
                  </a:lnTo>
                  <a:lnTo>
                    <a:pt x="835804" y="1711318"/>
                  </a:lnTo>
                  <a:lnTo>
                    <a:pt x="833520" y="1713599"/>
                  </a:lnTo>
                  <a:lnTo>
                    <a:pt x="828952" y="1715881"/>
                  </a:lnTo>
                  <a:lnTo>
                    <a:pt x="826669" y="1715881"/>
                  </a:lnTo>
                  <a:lnTo>
                    <a:pt x="822102" y="1715881"/>
                  </a:lnTo>
                  <a:lnTo>
                    <a:pt x="817534" y="1715881"/>
                  </a:lnTo>
                  <a:lnTo>
                    <a:pt x="815251" y="1718163"/>
                  </a:lnTo>
                  <a:lnTo>
                    <a:pt x="810683" y="1715881"/>
                  </a:lnTo>
                  <a:lnTo>
                    <a:pt x="808400" y="1715881"/>
                  </a:lnTo>
                  <a:lnTo>
                    <a:pt x="803833" y="1715881"/>
                  </a:lnTo>
                  <a:lnTo>
                    <a:pt x="801549" y="1718163"/>
                  </a:lnTo>
                  <a:lnTo>
                    <a:pt x="799265" y="1720445"/>
                  </a:lnTo>
                  <a:lnTo>
                    <a:pt x="796982" y="1722727"/>
                  </a:lnTo>
                  <a:lnTo>
                    <a:pt x="794698" y="1722727"/>
                  </a:lnTo>
                  <a:lnTo>
                    <a:pt x="790131" y="1725009"/>
                  </a:lnTo>
                  <a:lnTo>
                    <a:pt x="780997" y="1725009"/>
                  </a:lnTo>
                  <a:lnTo>
                    <a:pt x="778713" y="1727291"/>
                  </a:lnTo>
                  <a:lnTo>
                    <a:pt x="776429" y="1727291"/>
                  </a:lnTo>
                  <a:lnTo>
                    <a:pt x="769579" y="1729573"/>
                  </a:lnTo>
                  <a:lnTo>
                    <a:pt x="765011" y="1736418"/>
                  </a:lnTo>
                  <a:lnTo>
                    <a:pt x="762728" y="1740973"/>
                  </a:lnTo>
                  <a:lnTo>
                    <a:pt x="760443" y="1740973"/>
                  </a:lnTo>
                  <a:lnTo>
                    <a:pt x="758161" y="1740973"/>
                  </a:lnTo>
                  <a:lnTo>
                    <a:pt x="753593" y="1740973"/>
                  </a:lnTo>
                  <a:lnTo>
                    <a:pt x="749025" y="1738700"/>
                  </a:lnTo>
                  <a:lnTo>
                    <a:pt x="746743" y="1738700"/>
                  </a:lnTo>
                  <a:lnTo>
                    <a:pt x="742175" y="1740973"/>
                  </a:lnTo>
                  <a:lnTo>
                    <a:pt x="739892" y="1743254"/>
                  </a:lnTo>
                  <a:lnTo>
                    <a:pt x="735324" y="1745536"/>
                  </a:lnTo>
                  <a:lnTo>
                    <a:pt x="733040" y="1745536"/>
                  </a:lnTo>
                  <a:lnTo>
                    <a:pt x="730757" y="1745536"/>
                  </a:lnTo>
                  <a:lnTo>
                    <a:pt x="728474" y="1747818"/>
                  </a:lnTo>
                  <a:lnTo>
                    <a:pt x="723906" y="1745536"/>
                  </a:lnTo>
                  <a:lnTo>
                    <a:pt x="719339" y="1745536"/>
                  </a:lnTo>
                  <a:lnTo>
                    <a:pt x="717056" y="1745536"/>
                  </a:lnTo>
                  <a:lnTo>
                    <a:pt x="712488" y="1745536"/>
                  </a:lnTo>
                  <a:lnTo>
                    <a:pt x="710204" y="1745536"/>
                  </a:lnTo>
                  <a:lnTo>
                    <a:pt x="707921" y="1745536"/>
                  </a:lnTo>
                  <a:lnTo>
                    <a:pt x="705637" y="1740973"/>
                  </a:lnTo>
                  <a:lnTo>
                    <a:pt x="703353" y="1740973"/>
                  </a:lnTo>
                  <a:lnTo>
                    <a:pt x="701070" y="1740973"/>
                  </a:lnTo>
                  <a:lnTo>
                    <a:pt x="701070" y="1743254"/>
                  </a:lnTo>
                  <a:lnTo>
                    <a:pt x="698786" y="1743254"/>
                  </a:lnTo>
                  <a:lnTo>
                    <a:pt x="698786" y="1740973"/>
                  </a:lnTo>
                  <a:lnTo>
                    <a:pt x="696503" y="1740973"/>
                  </a:lnTo>
                  <a:lnTo>
                    <a:pt x="691935" y="1743254"/>
                  </a:lnTo>
                  <a:lnTo>
                    <a:pt x="689652" y="1743254"/>
                  </a:lnTo>
                  <a:lnTo>
                    <a:pt x="685085" y="1743254"/>
                  </a:lnTo>
                  <a:lnTo>
                    <a:pt x="675950" y="1743254"/>
                  </a:lnTo>
                  <a:lnTo>
                    <a:pt x="671383" y="1743254"/>
                  </a:lnTo>
                  <a:lnTo>
                    <a:pt x="669099" y="1743254"/>
                  </a:lnTo>
                  <a:lnTo>
                    <a:pt x="669099" y="1745536"/>
                  </a:lnTo>
                  <a:lnTo>
                    <a:pt x="666816" y="1750100"/>
                  </a:lnTo>
                  <a:lnTo>
                    <a:pt x="659965" y="1750100"/>
                  </a:lnTo>
                  <a:lnTo>
                    <a:pt x="657681" y="1750100"/>
                  </a:lnTo>
                  <a:lnTo>
                    <a:pt x="655397" y="1750100"/>
                  </a:lnTo>
                  <a:lnTo>
                    <a:pt x="650831" y="1756946"/>
                  </a:lnTo>
                  <a:lnTo>
                    <a:pt x="648547" y="1759228"/>
                  </a:lnTo>
                  <a:lnTo>
                    <a:pt x="646263" y="1759228"/>
                  </a:lnTo>
                  <a:lnTo>
                    <a:pt x="643980" y="1759228"/>
                  </a:lnTo>
                  <a:lnTo>
                    <a:pt x="641696" y="1756946"/>
                  </a:lnTo>
                  <a:lnTo>
                    <a:pt x="639413" y="1754664"/>
                  </a:lnTo>
                  <a:lnTo>
                    <a:pt x="637129" y="1754664"/>
                  </a:lnTo>
                  <a:lnTo>
                    <a:pt x="634845" y="1752382"/>
                  </a:lnTo>
                  <a:lnTo>
                    <a:pt x="630278" y="1750100"/>
                  </a:lnTo>
                  <a:lnTo>
                    <a:pt x="623428" y="1752382"/>
                  </a:lnTo>
                  <a:lnTo>
                    <a:pt x="621144" y="1752382"/>
                  </a:lnTo>
                  <a:lnTo>
                    <a:pt x="618860" y="1750100"/>
                  </a:lnTo>
                  <a:lnTo>
                    <a:pt x="616576" y="1750100"/>
                  </a:lnTo>
                  <a:lnTo>
                    <a:pt x="612010" y="1745536"/>
                  </a:lnTo>
                  <a:lnTo>
                    <a:pt x="609726" y="1745536"/>
                  </a:lnTo>
                  <a:lnTo>
                    <a:pt x="605158" y="1743254"/>
                  </a:lnTo>
                  <a:lnTo>
                    <a:pt x="602874" y="1743254"/>
                  </a:lnTo>
                  <a:lnTo>
                    <a:pt x="596023" y="1747818"/>
                  </a:lnTo>
                  <a:lnTo>
                    <a:pt x="591456" y="1747818"/>
                  </a:lnTo>
                  <a:lnTo>
                    <a:pt x="591456" y="1745536"/>
                  </a:lnTo>
                  <a:lnTo>
                    <a:pt x="591456" y="1743254"/>
                  </a:lnTo>
                  <a:lnTo>
                    <a:pt x="586889" y="1740973"/>
                  </a:lnTo>
                  <a:lnTo>
                    <a:pt x="584605" y="1736418"/>
                  </a:lnTo>
                  <a:lnTo>
                    <a:pt x="584605" y="1734127"/>
                  </a:lnTo>
                  <a:lnTo>
                    <a:pt x="582322" y="1734127"/>
                  </a:lnTo>
                  <a:lnTo>
                    <a:pt x="580038" y="1731854"/>
                  </a:lnTo>
                  <a:lnTo>
                    <a:pt x="577755" y="1731854"/>
                  </a:lnTo>
                  <a:lnTo>
                    <a:pt x="577755" y="1727291"/>
                  </a:lnTo>
                  <a:lnTo>
                    <a:pt x="575471" y="1725009"/>
                  </a:lnTo>
                  <a:lnTo>
                    <a:pt x="573187" y="1725009"/>
                  </a:lnTo>
                  <a:lnTo>
                    <a:pt x="568620" y="1720445"/>
                  </a:lnTo>
                  <a:lnTo>
                    <a:pt x="566337" y="1720445"/>
                  </a:lnTo>
                  <a:lnTo>
                    <a:pt x="564053" y="1718163"/>
                  </a:lnTo>
                  <a:lnTo>
                    <a:pt x="564053" y="1713599"/>
                  </a:lnTo>
                  <a:lnTo>
                    <a:pt x="559486" y="1711318"/>
                  </a:lnTo>
                  <a:lnTo>
                    <a:pt x="557202" y="1711318"/>
                  </a:lnTo>
                  <a:lnTo>
                    <a:pt x="552635" y="1713599"/>
                  </a:lnTo>
                  <a:lnTo>
                    <a:pt x="550351" y="1713599"/>
                  </a:lnTo>
                  <a:lnTo>
                    <a:pt x="548068" y="1713599"/>
                  </a:lnTo>
                  <a:lnTo>
                    <a:pt x="548068" y="1711318"/>
                  </a:lnTo>
                  <a:lnTo>
                    <a:pt x="543501" y="1704472"/>
                  </a:lnTo>
                  <a:lnTo>
                    <a:pt x="541217" y="1704472"/>
                  </a:lnTo>
                  <a:lnTo>
                    <a:pt x="538933" y="1704472"/>
                  </a:lnTo>
                  <a:lnTo>
                    <a:pt x="538933" y="1706754"/>
                  </a:lnTo>
                  <a:lnTo>
                    <a:pt x="536650" y="1706754"/>
                  </a:lnTo>
                  <a:lnTo>
                    <a:pt x="534366" y="1706754"/>
                  </a:lnTo>
                  <a:lnTo>
                    <a:pt x="529799" y="1704472"/>
                  </a:lnTo>
                  <a:lnTo>
                    <a:pt x="527515" y="1706754"/>
                  </a:lnTo>
                  <a:lnTo>
                    <a:pt x="525231" y="1704472"/>
                  </a:lnTo>
                  <a:lnTo>
                    <a:pt x="520665" y="1704472"/>
                  </a:lnTo>
                  <a:lnTo>
                    <a:pt x="518381" y="1706754"/>
                  </a:lnTo>
                  <a:lnTo>
                    <a:pt x="513814" y="1704472"/>
                  </a:lnTo>
                  <a:lnTo>
                    <a:pt x="509247" y="1704472"/>
                  </a:lnTo>
                  <a:lnTo>
                    <a:pt x="506963" y="1704472"/>
                  </a:lnTo>
                  <a:lnTo>
                    <a:pt x="500112" y="1704472"/>
                  </a:lnTo>
                  <a:lnTo>
                    <a:pt x="495544" y="1704472"/>
                  </a:lnTo>
                  <a:lnTo>
                    <a:pt x="493262" y="1706754"/>
                  </a:lnTo>
                  <a:lnTo>
                    <a:pt x="490978" y="1706754"/>
                  </a:lnTo>
                  <a:lnTo>
                    <a:pt x="488693" y="1704472"/>
                  </a:lnTo>
                  <a:lnTo>
                    <a:pt x="479560" y="1699908"/>
                  </a:lnTo>
                  <a:lnTo>
                    <a:pt x="477276" y="1699908"/>
                  </a:lnTo>
                  <a:lnTo>
                    <a:pt x="474992" y="1704472"/>
                  </a:lnTo>
                  <a:lnTo>
                    <a:pt x="474992" y="1706754"/>
                  </a:lnTo>
                  <a:lnTo>
                    <a:pt x="472708" y="1706754"/>
                  </a:lnTo>
                  <a:lnTo>
                    <a:pt x="472708" y="1709035"/>
                  </a:lnTo>
                  <a:lnTo>
                    <a:pt x="470425" y="1709035"/>
                  </a:lnTo>
                  <a:lnTo>
                    <a:pt x="470425" y="1706754"/>
                  </a:lnTo>
                  <a:lnTo>
                    <a:pt x="468141" y="1704472"/>
                  </a:lnTo>
                  <a:lnTo>
                    <a:pt x="468141" y="1702190"/>
                  </a:lnTo>
                  <a:lnTo>
                    <a:pt x="465857" y="1702190"/>
                  </a:lnTo>
                  <a:lnTo>
                    <a:pt x="463575" y="1702190"/>
                  </a:lnTo>
                  <a:lnTo>
                    <a:pt x="461290" y="1704472"/>
                  </a:lnTo>
                  <a:lnTo>
                    <a:pt x="459007" y="1704472"/>
                  </a:lnTo>
                  <a:lnTo>
                    <a:pt x="459007" y="1706754"/>
                  </a:lnTo>
                  <a:lnTo>
                    <a:pt x="456723" y="1706754"/>
                  </a:lnTo>
                  <a:lnTo>
                    <a:pt x="456723" y="1709035"/>
                  </a:lnTo>
                  <a:lnTo>
                    <a:pt x="454439" y="1711318"/>
                  </a:lnTo>
                  <a:lnTo>
                    <a:pt x="454439" y="1713599"/>
                  </a:lnTo>
                  <a:lnTo>
                    <a:pt x="449872" y="1713599"/>
                  </a:lnTo>
                  <a:lnTo>
                    <a:pt x="445305" y="1715881"/>
                  </a:lnTo>
                  <a:lnTo>
                    <a:pt x="443021" y="1715881"/>
                  </a:lnTo>
                  <a:lnTo>
                    <a:pt x="440738" y="1715881"/>
                  </a:lnTo>
                  <a:lnTo>
                    <a:pt x="438454" y="1713599"/>
                  </a:lnTo>
                  <a:lnTo>
                    <a:pt x="433887" y="1713599"/>
                  </a:lnTo>
                  <a:lnTo>
                    <a:pt x="431604" y="1713599"/>
                  </a:lnTo>
                  <a:lnTo>
                    <a:pt x="429320" y="1706754"/>
                  </a:lnTo>
                  <a:lnTo>
                    <a:pt x="429320" y="1704472"/>
                  </a:lnTo>
                  <a:lnTo>
                    <a:pt x="429320" y="1697626"/>
                  </a:lnTo>
                  <a:lnTo>
                    <a:pt x="429320" y="1695344"/>
                  </a:lnTo>
                  <a:lnTo>
                    <a:pt x="427036" y="1695344"/>
                  </a:lnTo>
                  <a:lnTo>
                    <a:pt x="427036" y="1693062"/>
                  </a:lnTo>
                  <a:lnTo>
                    <a:pt x="427036" y="1690780"/>
                  </a:lnTo>
                  <a:lnTo>
                    <a:pt x="424753" y="1686217"/>
                  </a:lnTo>
                  <a:lnTo>
                    <a:pt x="422469" y="1683935"/>
                  </a:lnTo>
                  <a:lnTo>
                    <a:pt x="420186" y="1683935"/>
                  </a:lnTo>
                  <a:lnTo>
                    <a:pt x="420186" y="1681653"/>
                  </a:lnTo>
                  <a:lnTo>
                    <a:pt x="417902" y="1681653"/>
                  </a:lnTo>
                  <a:lnTo>
                    <a:pt x="415618" y="1681653"/>
                  </a:lnTo>
                  <a:lnTo>
                    <a:pt x="413335" y="1681653"/>
                  </a:lnTo>
                  <a:lnTo>
                    <a:pt x="411051" y="1681653"/>
                  </a:lnTo>
                  <a:lnTo>
                    <a:pt x="408768" y="1681653"/>
                  </a:lnTo>
                  <a:lnTo>
                    <a:pt x="406484" y="1683935"/>
                  </a:lnTo>
                  <a:lnTo>
                    <a:pt x="406484" y="1686217"/>
                  </a:lnTo>
                  <a:lnTo>
                    <a:pt x="404200" y="1688498"/>
                  </a:lnTo>
                  <a:lnTo>
                    <a:pt x="401917" y="1688498"/>
                  </a:lnTo>
                  <a:lnTo>
                    <a:pt x="392781" y="1688498"/>
                  </a:lnTo>
                  <a:lnTo>
                    <a:pt x="390498" y="1688498"/>
                  </a:lnTo>
                  <a:lnTo>
                    <a:pt x="383648" y="1686217"/>
                  </a:lnTo>
                  <a:lnTo>
                    <a:pt x="381363" y="1688498"/>
                  </a:lnTo>
                  <a:lnTo>
                    <a:pt x="379080" y="1688498"/>
                  </a:lnTo>
                  <a:lnTo>
                    <a:pt x="379080" y="1690780"/>
                  </a:lnTo>
                  <a:lnTo>
                    <a:pt x="379080" y="1693062"/>
                  </a:lnTo>
                  <a:lnTo>
                    <a:pt x="376796" y="1693062"/>
                  </a:lnTo>
                  <a:lnTo>
                    <a:pt x="374514" y="1690780"/>
                  </a:lnTo>
                  <a:lnTo>
                    <a:pt x="372230" y="1695344"/>
                  </a:lnTo>
                  <a:lnTo>
                    <a:pt x="365378" y="1697626"/>
                  </a:lnTo>
                  <a:lnTo>
                    <a:pt x="363095" y="1699908"/>
                  </a:lnTo>
                  <a:lnTo>
                    <a:pt x="360811" y="1702190"/>
                  </a:lnTo>
                  <a:lnTo>
                    <a:pt x="358527" y="1699908"/>
                  </a:lnTo>
                  <a:lnTo>
                    <a:pt x="356245" y="1697626"/>
                  </a:lnTo>
                  <a:lnTo>
                    <a:pt x="356245" y="1695344"/>
                  </a:lnTo>
                  <a:lnTo>
                    <a:pt x="356245" y="1690780"/>
                  </a:lnTo>
                  <a:lnTo>
                    <a:pt x="356245" y="1688498"/>
                  </a:lnTo>
                  <a:lnTo>
                    <a:pt x="356245" y="1683935"/>
                  </a:lnTo>
                  <a:lnTo>
                    <a:pt x="353960" y="1681653"/>
                  </a:lnTo>
                  <a:lnTo>
                    <a:pt x="353960" y="1679371"/>
                  </a:lnTo>
                  <a:lnTo>
                    <a:pt x="356245" y="1679371"/>
                  </a:lnTo>
                  <a:lnTo>
                    <a:pt x="356245" y="1674807"/>
                  </a:lnTo>
                  <a:lnTo>
                    <a:pt x="358527" y="1672525"/>
                  </a:lnTo>
                  <a:lnTo>
                    <a:pt x="358527" y="1670243"/>
                  </a:lnTo>
                  <a:lnTo>
                    <a:pt x="358527" y="1667961"/>
                  </a:lnTo>
                  <a:lnTo>
                    <a:pt x="358527" y="1663398"/>
                  </a:lnTo>
                  <a:lnTo>
                    <a:pt x="358527" y="1661116"/>
                  </a:lnTo>
                  <a:lnTo>
                    <a:pt x="358527" y="1658834"/>
                  </a:lnTo>
                  <a:lnTo>
                    <a:pt x="358527" y="1656552"/>
                  </a:lnTo>
                  <a:lnTo>
                    <a:pt x="358527" y="1651988"/>
                  </a:lnTo>
                  <a:lnTo>
                    <a:pt x="356245" y="1651988"/>
                  </a:lnTo>
                  <a:lnTo>
                    <a:pt x="356245" y="1649706"/>
                  </a:lnTo>
                  <a:lnTo>
                    <a:pt x="358527" y="1645142"/>
                  </a:lnTo>
                  <a:lnTo>
                    <a:pt x="358527" y="1642861"/>
                  </a:lnTo>
                  <a:lnTo>
                    <a:pt x="358527" y="1640579"/>
                  </a:lnTo>
                  <a:lnTo>
                    <a:pt x="358527" y="1638297"/>
                  </a:lnTo>
                  <a:lnTo>
                    <a:pt x="353960" y="1636015"/>
                  </a:lnTo>
                  <a:lnTo>
                    <a:pt x="351677" y="1636015"/>
                  </a:lnTo>
                  <a:lnTo>
                    <a:pt x="349393" y="1636015"/>
                  </a:lnTo>
                  <a:lnTo>
                    <a:pt x="347110" y="1636015"/>
                  </a:lnTo>
                  <a:lnTo>
                    <a:pt x="344826" y="1638297"/>
                  </a:lnTo>
                  <a:lnTo>
                    <a:pt x="342542" y="1640579"/>
                  </a:lnTo>
                  <a:lnTo>
                    <a:pt x="340259" y="1640579"/>
                  </a:lnTo>
                  <a:lnTo>
                    <a:pt x="340259" y="1638297"/>
                  </a:lnTo>
                  <a:lnTo>
                    <a:pt x="337975" y="1638297"/>
                  </a:lnTo>
                  <a:lnTo>
                    <a:pt x="337975" y="1636015"/>
                  </a:lnTo>
                  <a:lnTo>
                    <a:pt x="337975" y="1633733"/>
                  </a:lnTo>
                  <a:lnTo>
                    <a:pt x="337975" y="1629169"/>
                  </a:lnTo>
                  <a:lnTo>
                    <a:pt x="335692" y="1626887"/>
                  </a:lnTo>
                  <a:lnTo>
                    <a:pt x="335692" y="1624605"/>
                  </a:lnTo>
                  <a:lnTo>
                    <a:pt x="333408" y="1620042"/>
                  </a:lnTo>
                  <a:lnTo>
                    <a:pt x="333408" y="1615478"/>
                  </a:lnTo>
                  <a:lnTo>
                    <a:pt x="331124" y="1615478"/>
                  </a:lnTo>
                  <a:lnTo>
                    <a:pt x="328841" y="1613196"/>
                  </a:lnTo>
                  <a:lnTo>
                    <a:pt x="324274" y="1610914"/>
                  </a:lnTo>
                  <a:lnTo>
                    <a:pt x="321990" y="1610914"/>
                  </a:lnTo>
                  <a:lnTo>
                    <a:pt x="321990" y="1608632"/>
                  </a:lnTo>
                  <a:lnTo>
                    <a:pt x="321990" y="1606350"/>
                  </a:lnTo>
                  <a:lnTo>
                    <a:pt x="319706" y="1604068"/>
                  </a:lnTo>
                  <a:lnTo>
                    <a:pt x="319706" y="1601786"/>
                  </a:lnTo>
                  <a:lnTo>
                    <a:pt x="319706" y="1594941"/>
                  </a:lnTo>
                  <a:lnTo>
                    <a:pt x="319706" y="1592659"/>
                  </a:lnTo>
                  <a:lnTo>
                    <a:pt x="319706" y="1590377"/>
                  </a:lnTo>
                  <a:lnTo>
                    <a:pt x="321990" y="1590377"/>
                  </a:lnTo>
                  <a:lnTo>
                    <a:pt x="321990" y="1588095"/>
                  </a:lnTo>
                  <a:lnTo>
                    <a:pt x="321990" y="1585813"/>
                  </a:lnTo>
                  <a:lnTo>
                    <a:pt x="324274" y="1585813"/>
                  </a:lnTo>
                  <a:lnTo>
                    <a:pt x="326557" y="1585813"/>
                  </a:lnTo>
                  <a:lnTo>
                    <a:pt x="328841" y="1585813"/>
                  </a:lnTo>
                  <a:lnTo>
                    <a:pt x="331124" y="1583531"/>
                  </a:lnTo>
                  <a:lnTo>
                    <a:pt x="335692" y="1583531"/>
                  </a:lnTo>
                  <a:lnTo>
                    <a:pt x="340259" y="1581259"/>
                  </a:lnTo>
                  <a:lnTo>
                    <a:pt x="340259" y="1576695"/>
                  </a:lnTo>
                  <a:lnTo>
                    <a:pt x="342542" y="1574413"/>
                  </a:lnTo>
                  <a:lnTo>
                    <a:pt x="342542" y="1572131"/>
                  </a:lnTo>
                  <a:lnTo>
                    <a:pt x="344826" y="1567567"/>
                  </a:lnTo>
                  <a:lnTo>
                    <a:pt x="344826" y="1563004"/>
                  </a:lnTo>
                  <a:lnTo>
                    <a:pt x="344826" y="1558440"/>
                  </a:lnTo>
                  <a:lnTo>
                    <a:pt x="342542" y="1556158"/>
                  </a:lnTo>
                  <a:lnTo>
                    <a:pt x="340259" y="1549312"/>
                  </a:lnTo>
                  <a:lnTo>
                    <a:pt x="335692" y="1544748"/>
                  </a:lnTo>
                  <a:lnTo>
                    <a:pt x="331124" y="1540185"/>
                  </a:lnTo>
                  <a:lnTo>
                    <a:pt x="331124" y="1537903"/>
                  </a:lnTo>
                  <a:lnTo>
                    <a:pt x="328841" y="1537903"/>
                  </a:lnTo>
                  <a:lnTo>
                    <a:pt x="328841" y="1535621"/>
                  </a:lnTo>
                  <a:lnTo>
                    <a:pt x="328841" y="1533339"/>
                  </a:lnTo>
                  <a:lnTo>
                    <a:pt x="328841" y="1531057"/>
                  </a:lnTo>
                  <a:lnTo>
                    <a:pt x="331124" y="1528775"/>
                  </a:lnTo>
                  <a:lnTo>
                    <a:pt x="331124" y="1526493"/>
                  </a:lnTo>
                  <a:lnTo>
                    <a:pt x="328841" y="1521930"/>
                  </a:lnTo>
                  <a:lnTo>
                    <a:pt x="326557" y="1519648"/>
                  </a:lnTo>
                  <a:lnTo>
                    <a:pt x="324274" y="1519648"/>
                  </a:lnTo>
                  <a:lnTo>
                    <a:pt x="321990" y="1517366"/>
                  </a:lnTo>
                  <a:lnTo>
                    <a:pt x="321990" y="1515084"/>
                  </a:lnTo>
                  <a:lnTo>
                    <a:pt x="319706" y="1510520"/>
                  </a:lnTo>
                  <a:lnTo>
                    <a:pt x="319706" y="1508238"/>
                  </a:lnTo>
                  <a:lnTo>
                    <a:pt x="317423" y="1505956"/>
                  </a:lnTo>
                  <a:lnTo>
                    <a:pt x="315139" y="1503674"/>
                  </a:lnTo>
                  <a:lnTo>
                    <a:pt x="308288" y="1501393"/>
                  </a:lnTo>
                  <a:lnTo>
                    <a:pt x="306005" y="1499111"/>
                  </a:lnTo>
                  <a:lnTo>
                    <a:pt x="301438" y="1499111"/>
                  </a:lnTo>
                  <a:lnTo>
                    <a:pt x="296870" y="1501393"/>
                  </a:lnTo>
                  <a:lnTo>
                    <a:pt x="296870" y="1503674"/>
                  </a:lnTo>
                  <a:lnTo>
                    <a:pt x="294587" y="1505956"/>
                  </a:lnTo>
                  <a:lnTo>
                    <a:pt x="292303" y="1508238"/>
                  </a:lnTo>
                  <a:lnTo>
                    <a:pt x="290020" y="1508238"/>
                  </a:lnTo>
                  <a:lnTo>
                    <a:pt x="287735" y="1508238"/>
                  </a:lnTo>
                  <a:lnTo>
                    <a:pt x="285451" y="1505956"/>
                  </a:lnTo>
                  <a:lnTo>
                    <a:pt x="283169" y="1505956"/>
                  </a:lnTo>
                  <a:lnTo>
                    <a:pt x="280885" y="1505956"/>
                  </a:lnTo>
                  <a:lnTo>
                    <a:pt x="276318" y="1510520"/>
                  </a:lnTo>
                  <a:lnTo>
                    <a:pt x="274033" y="1512802"/>
                  </a:lnTo>
                  <a:lnTo>
                    <a:pt x="271750" y="1512802"/>
                  </a:lnTo>
                  <a:lnTo>
                    <a:pt x="269466" y="1510520"/>
                  </a:lnTo>
                  <a:lnTo>
                    <a:pt x="267183" y="1510520"/>
                  </a:lnTo>
                  <a:lnTo>
                    <a:pt x="264899" y="1508238"/>
                  </a:lnTo>
                  <a:lnTo>
                    <a:pt x="262616" y="1505956"/>
                  </a:lnTo>
                  <a:lnTo>
                    <a:pt x="260332" y="1503674"/>
                  </a:lnTo>
                  <a:lnTo>
                    <a:pt x="260332" y="1501393"/>
                  </a:lnTo>
                  <a:lnTo>
                    <a:pt x="258048" y="1499111"/>
                  </a:lnTo>
                  <a:lnTo>
                    <a:pt x="255766" y="1499111"/>
                  </a:lnTo>
                  <a:lnTo>
                    <a:pt x="255766" y="1496829"/>
                  </a:lnTo>
                  <a:lnTo>
                    <a:pt x="255766" y="1494547"/>
                  </a:lnTo>
                  <a:lnTo>
                    <a:pt x="253482" y="1494547"/>
                  </a:lnTo>
                  <a:lnTo>
                    <a:pt x="253482" y="1492265"/>
                  </a:lnTo>
                  <a:lnTo>
                    <a:pt x="253482" y="1489983"/>
                  </a:lnTo>
                  <a:lnTo>
                    <a:pt x="255766" y="1487701"/>
                  </a:lnTo>
                  <a:lnTo>
                    <a:pt x="253482" y="1487701"/>
                  </a:lnTo>
                  <a:lnTo>
                    <a:pt x="253482" y="1485419"/>
                  </a:lnTo>
                  <a:lnTo>
                    <a:pt x="253482" y="1483137"/>
                  </a:lnTo>
                  <a:lnTo>
                    <a:pt x="253482" y="1480855"/>
                  </a:lnTo>
                  <a:lnTo>
                    <a:pt x="255766" y="1480855"/>
                  </a:lnTo>
                  <a:lnTo>
                    <a:pt x="255766" y="1476292"/>
                  </a:lnTo>
                  <a:lnTo>
                    <a:pt x="255766" y="1474010"/>
                  </a:lnTo>
                  <a:lnTo>
                    <a:pt x="255766" y="1467164"/>
                  </a:lnTo>
                  <a:lnTo>
                    <a:pt x="258048" y="1462600"/>
                  </a:lnTo>
                  <a:lnTo>
                    <a:pt x="255766" y="1460318"/>
                  </a:lnTo>
                  <a:lnTo>
                    <a:pt x="255766" y="1455754"/>
                  </a:lnTo>
                  <a:lnTo>
                    <a:pt x="255766" y="1453473"/>
                  </a:lnTo>
                  <a:lnTo>
                    <a:pt x="253482" y="1453473"/>
                  </a:lnTo>
                  <a:lnTo>
                    <a:pt x="253482" y="1451191"/>
                  </a:lnTo>
                  <a:lnTo>
                    <a:pt x="251197" y="1451191"/>
                  </a:lnTo>
                  <a:lnTo>
                    <a:pt x="248914" y="1451191"/>
                  </a:lnTo>
                  <a:lnTo>
                    <a:pt x="246630" y="1451191"/>
                  </a:lnTo>
                  <a:lnTo>
                    <a:pt x="244347" y="1451191"/>
                  </a:lnTo>
                  <a:lnTo>
                    <a:pt x="237496" y="1451191"/>
                  </a:lnTo>
                  <a:lnTo>
                    <a:pt x="235212" y="1448909"/>
                  </a:lnTo>
                  <a:lnTo>
                    <a:pt x="232929" y="1448909"/>
                  </a:lnTo>
                  <a:lnTo>
                    <a:pt x="232929" y="1446627"/>
                  </a:lnTo>
                  <a:lnTo>
                    <a:pt x="230645" y="1446627"/>
                  </a:lnTo>
                  <a:lnTo>
                    <a:pt x="230645" y="1444345"/>
                  </a:lnTo>
                  <a:lnTo>
                    <a:pt x="230645" y="1442063"/>
                  </a:lnTo>
                  <a:lnTo>
                    <a:pt x="228362" y="1439781"/>
                  </a:lnTo>
                  <a:lnTo>
                    <a:pt x="228362" y="1437499"/>
                  </a:lnTo>
                  <a:lnTo>
                    <a:pt x="226079" y="1435218"/>
                  </a:lnTo>
                  <a:lnTo>
                    <a:pt x="223794" y="1435218"/>
                  </a:lnTo>
                  <a:lnTo>
                    <a:pt x="223794" y="1432936"/>
                  </a:lnTo>
                  <a:lnTo>
                    <a:pt x="221511" y="1432936"/>
                  </a:lnTo>
                  <a:lnTo>
                    <a:pt x="219227" y="1430654"/>
                  </a:lnTo>
                  <a:lnTo>
                    <a:pt x="216944" y="1428372"/>
                  </a:lnTo>
                  <a:lnTo>
                    <a:pt x="214660" y="1428372"/>
                  </a:lnTo>
                  <a:lnTo>
                    <a:pt x="212376" y="1426090"/>
                  </a:lnTo>
                  <a:lnTo>
                    <a:pt x="210093" y="1426090"/>
                  </a:lnTo>
                  <a:lnTo>
                    <a:pt x="207809" y="1428372"/>
                  </a:lnTo>
                  <a:lnTo>
                    <a:pt x="205526" y="1430654"/>
                  </a:lnTo>
                  <a:lnTo>
                    <a:pt x="203242" y="1432936"/>
                  </a:lnTo>
                  <a:lnTo>
                    <a:pt x="200958" y="1432936"/>
                  </a:lnTo>
                  <a:lnTo>
                    <a:pt x="191824" y="1435218"/>
                  </a:lnTo>
                  <a:lnTo>
                    <a:pt x="189540" y="1435218"/>
                  </a:lnTo>
                  <a:lnTo>
                    <a:pt x="189540" y="1437499"/>
                  </a:lnTo>
                  <a:lnTo>
                    <a:pt x="187257" y="1439781"/>
                  </a:lnTo>
                  <a:lnTo>
                    <a:pt x="187257" y="1442063"/>
                  </a:lnTo>
                  <a:lnTo>
                    <a:pt x="187257" y="1444345"/>
                  </a:lnTo>
                  <a:lnTo>
                    <a:pt x="184973" y="1444345"/>
                  </a:lnTo>
                  <a:lnTo>
                    <a:pt x="184973" y="1446627"/>
                  </a:lnTo>
                  <a:lnTo>
                    <a:pt x="182690" y="1446627"/>
                  </a:lnTo>
                  <a:lnTo>
                    <a:pt x="180405" y="1444345"/>
                  </a:lnTo>
                  <a:lnTo>
                    <a:pt x="178121" y="1444345"/>
                  </a:lnTo>
                  <a:lnTo>
                    <a:pt x="178121" y="1442063"/>
                  </a:lnTo>
                  <a:lnTo>
                    <a:pt x="175839" y="1442063"/>
                  </a:lnTo>
                  <a:lnTo>
                    <a:pt x="175839" y="1439781"/>
                  </a:lnTo>
                  <a:lnTo>
                    <a:pt x="173555" y="1439781"/>
                  </a:lnTo>
                  <a:lnTo>
                    <a:pt x="171272" y="1439781"/>
                  </a:lnTo>
                  <a:lnTo>
                    <a:pt x="171272" y="1442063"/>
                  </a:lnTo>
                  <a:lnTo>
                    <a:pt x="168988" y="1444345"/>
                  </a:lnTo>
                  <a:lnTo>
                    <a:pt x="168988" y="1446627"/>
                  </a:lnTo>
                  <a:lnTo>
                    <a:pt x="166703" y="1446627"/>
                  </a:lnTo>
                  <a:lnTo>
                    <a:pt x="162137" y="1448909"/>
                  </a:lnTo>
                  <a:lnTo>
                    <a:pt x="162137" y="1446627"/>
                  </a:lnTo>
                  <a:lnTo>
                    <a:pt x="159854" y="1446627"/>
                  </a:lnTo>
                  <a:lnTo>
                    <a:pt x="157570" y="1446627"/>
                  </a:lnTo>
                  <a:lnTo>
                    <a:pt x="155286" y="1446627"/>
                  </a:lnTo>
                  <a:lnTo>
                    <a:pt x="153002" y="1446627"/>
                  </a:lnTo>
                  <a:lnTo>
                    <a:pt x="150718" y="1446627"/>
                  </a:lnTo>
                  <a:lnTo>
                    <a:pt x="148436" y="1446627"/>
                  </a:lnTo>
                  <a:lnTo>
                    <a:pt x="146152" y="1446627"/>
                  </a:lnTo>
                  <a:lnTo>
                    <a:pt x="146152" y="1448909"/>
                  </a:lnTo>
                  <a:lnTo>
                    <a:pt x="146152" y="1451191"/>
                  </a:lnTo>
                  <a:lnTo>
                    <a:pt x="143868" y="1453473"/>
                  </a:lnTo>
                  <a:lnTo>
                    <a:pt x="141584" y="1453473"/>
                  </a:lnTo>
                  <a:lnTo>
                    <a:pt x="141584" y="1458037"/>
                  </a:lnTo>
                  <a:lnTo>
                    <a:pt x="139300" y="1458037"/>
                  </a:lnTo>
                  <a:lnTo>
                    <a:pt x="139300" y="1460318"/>
                  </a:lnTo>
                  <a:lnTo>
                    <a:pt x="141584" y="1462600"/>
                  </a:lnTo>
                  <a:lnTo>
                    <a:pt x="143868" y="1464882"/>
                  </a:lnTo>
                  <a:lnTo>
                    <a:pt x="143868" y="1467164"/>
                  </a:lnTo>
                  <a:lnTo>
                    <a:pt x="143868" y="1474010"/>
                  </a:lnTo>
                  <a:lnTo>
                    <a:pt x="143868" y="1476292"/>
                  </a:lnTo>
                  <a:lnTo>
                    <a:pt x="143868" y="1478574"/>
                  </a:lnTo>
                  <a:lnTo>
                    <a:pt x="143868" y="1480855"/>
                  </a:lnTo>
                  <a:lnTo>
                    <a:pt x="143868" y="1483137"/>
                  </a:lnTo>
                  <a:lnTo>
                    <a:pt x="143868" y="1485419"/>
                  </a:lnTo>
                  <a:lnTo>
                    <a:pt x="146152" y="1487701"/>
                  </a:lnTo>
                  <a:lnTo>
                    <a:pt x="146152" y="1489983"/>
                  </a:lnTo>
                  <a:lnTo>
                    <a:pt x="143868" y="1489983"/>
                  </a:lnTo>
                  <a:lnTo>
                    <a:pt x="143868" y="1492265"/>
                  </a:lnTo>
                  <a:lnTo>
                    <a:pt x="141584" y="1492265"/>
                  </a:lnTo>
                  <a:lnTo>
                    <a:pt x="141584" y="1494547"/>
                  </a:lnTo>
                  <a:lnTo>
                    <a:pt x="139300" y="1494547"/>
                  </a:lnTo>
                  <a:lnTo>
                    <a:pt x="139300" y="1492265"/>
                  </a:lnTo>
                  <a:lnTo>
                    <a:pt x="137018" y="1492265"/>
                  </a:lnTo>
                  <a:lnTo>
                    <a:pt x="134734" y="1489983"/>
                  </a:lnTo>
                  <a:lnTo>
                    <a:pt x="130166" y="1487701"/>
                  </a:lnTo>
                  <a:lnTo>
                    <a:pt x="127882" y="1487701"/>
                  </a:lnTo>
                  <a:lnTo>
                    <a:pt x="123315" y="1489983"/>
                  </a:lnTo>
                  <a:lnTo>
                    <a:pt x="123315" y="1492265"/>
                  </a:lnTo>
                  <a:lnTo>
                    <a:pt x="125599" y="1496829"/>
                  </a:lnTo>
                  <a:lnTo>
                    <a:pt x="125599" y="1499111"/>
                  </a:lnTo>
                  <a:lnTo>
                    <a:pt x="127882" y="1499111"/>
                  </a:lnTo>
                  <a:lnTo>
                    <a:pt x="130166" y="1499111"/>
                  </a:lnTo>
                  <a:lnTo>
                    <a:pt x="132450" y="1501393"/>
                  </a:lnTo>
                  <a:lnTo>
                    <a:pt x="134734" y="1501393"/>
                  </a:lnTo>
                  <a:lnTo>
                    <a:pt x="134734" y="1503674"/>
                  </a:lnTo>
                  <a:lnTo>
                    <a:pt x="134734" y="1505956"/>
                  </a:lnTo>
                  <a:lnTo>
                    <a:pt x="132450" y="1508238"/>
                  </a:lnTo>
                  <a:lnTo>
                    <a:pt x="130166" y="1510520"/>
                  </a:lnTo>
                  <a:lnTo>
                    <a:pt x="127882" y="1510520"/>
                  </a:lnTo>
                  <a:lnTo>
                    <a:pt x="123315" y="1510520"/>
                  </a:lnTo>
                  <a:lnTo>
                    <a:pt x="121032" y="1510520"/>
                  </a:lnTo>
                  <a:lnTo>
                    <a:pt x="118748" y="1508238"/>
                  </a:lnTo>
                  <a:lnTo>
                    <a:pt x="116464" y="1510520"/>
                  </a:lnTo>
                  <a:lnTo>
                    <a:pt x="116464" y="1512802"/>
                  </a:lnTo>
                  <a:lnTo>
                    <a:pt x="116464" y="1515084"/>
                  </a:lnTo>
                  <a:lnTo>
                    <a:pt x="116464" y="1517366"/>
                  </a:lnTo>
                  <a:lnTo>
                    <a:pt x="118748" y="1517366"/>
                  </a:lnTo>
                  <a:lnTo>
                    <a:pt x="121032" y="1519648"/>
                  </a:lnTo>
                  <a:lnTo>
                    <a:pt x="123315" y="1519648"/>
                  </a:lnTo>
                  <a:lnTo>
                    <a:pt x="125599" y="1521930"/>
                  </a:lnTo>
                  <a:lnTo>
                    <a:pt x="125599" y="1528775"/>
                  </a:lnTo>
                  <a:lnTo>
                    <a:pt x="125599" y="1531057"/>
                  </a:lnTo>
                  <a:lnTo>
                    <a:pt x="125599" y="1533339"/>
                  </a:lnTo>
                  <a:lnTo>
                    <a:pt x="123315" y="1535621"/>
                  </a:lnTo>
                  <a:lnTo>
                    <a:pt x="121032" y="1535621"/>
                  </a:lnTo>
                  <a:lnTo>
                    <a:pt x="118748" y="1535621"/>
                  </a:lnTo>
                  <a:lnTo>
                    <a:pt x="114181" y="1533339"/>
                  </a:lnTo>
                  <a:lnTo>
                    <a:pt x="111897" y="1533339"/>
                  </a:lnTo>
                  <a:lnTo>
                    <a:pt x="111897" y="1531057"/>
                  </a:lnTo>
                  <a:lnTo>
                    <a:pt x="109614" y="1528775"/>
                  </a:lnTo>
                  <a:lnTo>
                    <a:pt x="107330" y="1528775"/>
                  </a:lnTo>
                  <a:lnTo>
                    <a:pt x="105046" y="1528775"/>
                  </a:lnTo>
                  <a:lnTo>
                    <a:pt x="102763" y="1531057"/>
                  </a:lnTo>
                  <a:lnTo>
                    <a:pt x="100479" y="1531057"/>
                  </a:lnTo>
                  <a:lnTo>
                    <a:pt x="100479" y="1533339"/>
                  </a:lnTo>
                  <a:lnTo>
                    <a:pt x="100479" y="1535621"/>
                  </a:lnTo>
                  <a:lnTo>
                    <a:pt x="100479" y="1540185"/>
                  </a:lnTo>
                  <a:lnTo>
                    <a:pt x="100479" y="1542467"/>
                  </a:lnTo>
                  <a:lnTo>
                    <a:pt x="100479" y="1547030"/>
                  </a:lnTo>
                  <a:lnTo>
                    <a:pt x="102763" y="1549312"/>
                  </a:lnTo>
                  <a:lnTo>
                    <a:pt x="105046" y="1551594"/>
                  </a:lnTo>
                  <a:lnTo>
                    <a:pt x="107330" y="1551594"/>
                  </a:lnTo>
                  <a:lnTo>
                    <a:pt x="107330" y="1553876"/>
                  </a:lnTo>
                  <a:lnTo>
                    <a:pt x="111897" y="1553876"/>
                  </a:lnTo>
                  <a:lnTo>
                    <a:pt x="111897" y="1558440"/>
                  </a:lnTo>
                  <a:lnTo>
                    <a:pt x="114181" y="1565286"/>
                  </a:lnTo>
                  <a:lnTo>
                    <a:pt x="116464" y="1565286"/>
                  </a:lnTo>
                  <a:lnTo>
                    <a:pt x="116464" y="1567567"/>
                  </a:lnTo>
                  <a:lnTo>
                    <a:pt x="121032" y="1569849"/>
                  </a:lnTo>
                  <a:lnTo>
                    <a:pt x="121032" y="1572131"/>
                  </a:lnTo>
                  <a:lnTo>
                    <a:pt x="118748" y="1574413"/>
                  </a:lnTo>
                  <a:lnTo>
                    <a:pt x="114181" y="1581259"/>
                  </a:lnTo>
                  <a:lnTo>
                    <a:pt x="111897" y="1583531"/>
                  </a:lnTo>
                  <a:lnTo>
                    <a:pt x="109614" y="1585813"/>
                  </a:lnTo>
                  <a:lnTo>
                    <a:pt x="109614" y="1588095"/>
                  </a:lnTo>
                  <a:lnTo>
                    <a:pt x="109614" y="1592659"/>
                  </a:lnTo>
                  <a:lnTo>
                    <a:pt x="111897" y="1599505"/>
                  </a:lnTo>
                  <a:lnTo>
                    <a:pt x="114181" y="1601786"/>
                  </a:lnTo>
                  <a:lnTo>
                    <a:pt x="114181" y="1604068"/>
                  </a:lnTo>
                  <a:lnTo>
                    <a:pt x="111897" y="1610914"/>
                  </a:lnTo>
                  <a:lnTo>
                    <a:pt x="109614" y="1610914"/>
                  </a:lnTo>
                  <a:lnTo>
                    <a:pt x="107330" y="1613196"/>
                  </a:lnTo>
                  <a:lnTo>
                    <a:pt x="105046" y="1613196"/>
                  </a:lnTo>
                  <a:lnTo>
                    <a:pt x="105046" y="1615478"/>
                  </a:lnTo>
                  <a:lnTo>
                    <a:pt x="105046" y="1617760"/>
                  </a:lnTo>
                  <a:lnTo>
                    <a:pt x="102763" y="1620042"/>
                  </a:lnTo>
                  <a:lnTo>
                    <a:pt x="102763" y="1622323"/>
                  </a:lnTo>
                  <a:lnTo>
                    <a:pt x="102763" y="1624605"/>
                  </a:lnTo>
                  <a:lnTo>
                    <a:pt x="100479" y="1626887"/>
                  </a:lnTo>
                  <a:lnTo>
                    <a:pt x="98196" y="1629169"/>
                  </a:lnTo>
                  <a:lnTo>
                    <a:pt x="95912" y="1631451"/>
                  </a:lnTo>
                  <a:lnTo>
                    <a:pt x="89061" y="1631451"/>
                  </a:lnTo>
                  <a:lnTo>
                    <a:pt x="86777" y="1631451"/>
                  </a:lnTo>
                  <a:lnTo>
                    <a:pt x="86777" y="1626887"/>
                  </a:lnTo>
                  <a:lnTo>
                    <a:pt x="86777" y="1624605"/>
                  </a:lnTo>
                  <a:lnTo>
                    <a:pt x="86777" y="1622323"/>
                  </a:lnTo>
                  <a:lnTo>
                    <a:pt x="84494" y="1620042"/>
                  </a:lnTo>
                  <a:lnTo>
                    <a:pt x="82210" y="1620042"/>
                  </a:lnTo>
                  <a:lnTo>
                    <a:pt x="79927" y="1620042"/>
                  </a:lnTo>
                  <a:lnTo>
                    <a:pt x="77643" y="1620042"/>
                  </a:lnTo>
                  <a:lnTo>
                    <a:pt x="75360" y="1622323"/>
                  </a:lnTo>
                  <a:lnTo>
                    <a:pt x="73076" y="1622323"/>
                  </a:lnTo>
                  <a:lnTo>
                    <a:pt x="73076" y="1624605"/>
                  </a:lnTo>
                  <a:lnTo>
                    <a:pt x="66225" y="1626887"/>
                  </a:lnTo>
                  <a:lnTo>
                    <a:pt x="66225" y="1629169"/>
                  </a:lnTo>
                  <a:lnTo>
                    <a:pt x="63941" y="1629169"/>
                  </a:lnTo>
                  <a:lnTo>
                    <a:pt x="61657" y="1631451"/>
                  </a:lnTo>
                  <a:lnTo>
                    <a:pt x="59374" y="1633733"/>
                  </a:lnTo>
                  <a:lnTo>
                    <a:pt x="57090" y="1636015"/>
                  </a:lnTo>
                  <a:lnTo>
                    <a:pt x="57090" y="1642861"/>
                  </a:lnTo>
                  <a:lnTo>
                    <a:pt x="54807" y="1645142"/>
                  </a:lnTo>
                  <a:lnTo>
                    <a:pt x="52523" y="1647424"/>
                  </a:lnTo>
                  <a:lnTo>
                    <a:pt x="50239" y="1647424"/>
                  </a:lnTo>
                  <a:lnTo>
                    <a:pt x="50239" y="1649706"/>
                  </a:lnTo>
                  <a:lnTo>
                    <a:pt x="47956" y="1649706"/>
                  </a:lnTo>
                  <a:lnTo>
                    <a:pt x="45672" y="1649706"/>
                  </a:lnTo>
                  <a:lnTo>
                    <a:pt x="43389" y="1651988"/>
                  </a:lnTo>
                  <a:lnTo>
                    <a:pt x="38822" y="1654270"/>
                  </a:lnTo>
                  <a:lnTo>
                    <a:pt x="36538" y="1656552"/>
                  </a:lnTo>
                  <a:lnTo>
                    <a:pt x="34254" y="1658834"/>
                  </a:lnTo>
                  <a:lnTo>
                    <a:pt x="29687" y="1661116"/>
                  </a:lnTo>
                  <a:lnTo>
                    <a:pt x="29687" y="1658834"/>
                  </a:lnTo>
                  <a:lnTo>
                    <a:pt x="22836" y="1661116"/>
                  </a:lnTo>
                  <a:lnTo>
                    <a:pt x="20553" y="1661116"/>
                  </a:lnTo>
                  <a:lnTo>
                    <a:pt x="18269" y="1661116"/>
                  </a:lnTo>
                  <a:lnTo>
                    <a:pt x="15986" y="1663398"/>
                  </a:lnTo>
                  <a:lnTo>
                    <a:pt x="15986" y="1665679"/>
                  </a:lnTo>
                  <a:lnTo>
                    <a:pt x="13702" y="1665679"/>
                  </a:lnTo>
                  <a:lnTo>
                    <a:pt x="11418" y="1670243"/>
                  </a:lnTo>
                  <a:lnTo>
                    <a:pt x="9135" y="1670243"/>
                  </a:lnTo>
                  <a:lnTo>
                    <a:pt x="9135" y="1672525"/>
                  </a:lnTo>
                  <a:lnTo>
                    <a:pt x="6851" y="1672525"/>
                  </a:lnTo>
                  <a:lnTo>
                    <a:pt x="4568" y="1679371"/>
                  </a:lnTo>
                  <a:lnTo>
                    <a:pt x="2284" y="1681653"/>
                  </a:lnTo>
                  <a:lnTo>
                    <a:pt x="0" y="1690780"/>
                  </a:lnTo>
                  <a:lnTo>
                    <a:pt x="2284" y="1690780"/>
                  </a:lnTo>
                  <a:lnTo>
                    <a:pt x="2284" y="1693062"/>
                  </a:lnTo>
                  <a:lnTo>
                    <a:pt x="4568" y="1695344"/>
                  </a:lnTo>
                  <a:lnTo>
                    <a:pt x="6851" y="1695344"/>
                  </a:lnTo>
                  <a:lnTo>
                    <a:pt x="6851" y="1697626"/>
                  </a:lnTo>
                  <a:lnTo>
                    <a:pt x="9135" y="1697626"/>
                  </a:lnTo>
                  <a:lnTo>
                    <a:pt x="11418" y="1697626"/>
                  </a:lnTo>
                  <a:lnTo>
                    <a:pt x="11418" y="1699908"/>
                  </a:lnTo>
                  <a:lnTo>
                    <a:pt x="13702" y="1699908"/>
                  </a:lnTo>
                  <a:lnTo>
                    <a:pt x="15986" y="1699908"/>
                  </a:lnTo>
                  <a:lnTo>
                    <a:pt x="15986" y="1702190"/>
                  </a:lnTo>
                  <a:lnTo>
                    <a:pt x="18269" y="1702190"/>
                  </a:lnTo>
                  <a:lnTo>
                    <a:pt x="18269" y="1704472"/>
                  </a:lnTo>
                  <a:lnTo>
                    <a:pt x="20553" y="1704472"/>
                  </a:lnTo>
                  <a:lnTo>
                    <a:pt x="20553" y="1706754"/>
                  </a:lnTo>
                  <a:lnTo>
                    <a:pt x="22836" y="1706754"/>
                  </a:lnTo>
                  <a:lnTo>
                    <a:pt x="22836" y="1709035"/>
                  </a:lnTo>
                  <a:lnTo>
                    <a:pt x="25120" y="1709035"/>
                  </a:lnTo>
                  <a:lnTo>
                    <a:pt x="25120" y="1711318"/>
                  </a:lnTo>
                  <a:lnTo>
                    <a:pt x="27404" y="1711318"/>
                  </a:lnTo>
                  <a:lnTo>
                    <a:pt x="27404" y="1713599"/>
                  </a:lnTo>
                  <a:lnTo>
                    <a:pt x="29687" y="1713599"/>
                  </a:lnTo>
                  <a:lnTo>
                    <a:pt x="29687" y="1715881"/>
                  </a:lnTo>
                  <a:lnTo>
                    <a:pt x="31971" y="1715881"/>
                  </a:lnTo>
                  <a:lnTo>
                    <a:pt x="31971" y="1718163"/>
                  </a:lnTo>
                  <a:lnTo>
                    <a:pt x="34254" y="1718163"/>
                  </a:lnTo>
                  <a:lnTo>
                    <a:pt x="34254" y="1720445"/>
                  </a:lnTo>
                  <a:lnTo>
                    <a:pt x="34254" y="1722727"/>
                  </a:lnTo>
                  <a:lnTo>
                    <a:pt x="36538" y="1722727"/>
                  </a:lnTo>
                  <a:lnTo>
                    <a:pt x="38822" y="1722727"/>
                  </a:lnTo>
                  <a:lnTo>
                    <a:pt x="41105" y="1722727"/>
                  </a:lnTo>
                  <a:lnTo>
                    <a:pt x="43389" y="1722727"/>
                  </a:lnTo>
                  <a:lnTo>
                    <a:pt x="43389" y="1725009"/>
                  </a:lnTo>
                  <a:lnTo>
                    <a:pt x="45672" y="1725009"/>
                  </a:lnTo>
                  <a:lnTo>
                    <a:pt x="45672" y="1727291"/>
                  </a:lnTo>
                  <a:lnTo>
                    <a:pt x="47956" y="1727291"/>
                  </a:lnTo>
                  <a:lnTo>
                    <a:pt x="47956" y="1729573"/>
                  </a:lnTo>
                  <a:lnTo>
                    <a:pt x="47956" y="1731854"/>
                  </a:lnTo>
                  <a:lnTo>
                    <a:pt x="50239" y="1731854"/>
                  </a:lnTo>
                  <a:lnTo>
                    <a:pt x="50239" y="1734127"/>
                  </a:lnTo>
                  <a:lnTo>
                    <a:pt x="50239" y="1736418"/>
                  </a:lnTo>
                  <a:lnTo>
                    <a:pt x="50239" y="1738700"/>
                  </a:lnTo>
                  <a:lnTo>
                    <a:pt x="47956" y="1738700"/>
                  </a:lnTo>
                  <a:lnTo>
                    <a:pt x="47956" y="1740973"/>
                  </a:lnTo>
                  <a:lnTo>
                    <a:pt x="47956" y="1743254"/>
                  </a:lnTo>
                  <a:lnTo>
                    <a:pt x="47956" y="1745536"/>
                  </a:lnTo>
                  <a:lnTo>
                    <a:pt x="50239" y="1745536"/>
                  </a:lnTo>
                  <a:lnTo>
                    <a:pt x="50239" y="1747818"/>
                  </a:lnTo>
                  <a:lnTo>
                    <a:pt x="52523" y="1747818"/>
                  </a:lnTo>
                  <a:lnTo>
                    <a:pt x="52523" y="1750100"/>
                  </a:lnTo>
                  <a:lnTo>
                    <a:pt x="52523" y="1752382"/>
                  </a:lnTo>
                  <a:lnTo>
                    <a:pt x="52523" y="1754664"/>
                  </a:lnTo>
                  <a:lnTo>
                    <a:pt x="52523" y="1756946"/>
                  </a:lnTo>
                  <a:lnTo>
                    <a:pt x="54807" y="1756946"/>
                  </a:lnTo>
                  <a:lnTo>
                    <a:pt x="54807" y="1759228"/>
                  </a:lnTo>
                  <a:lnTo>
                    <a:pt x="57090" y="1759228"/>
                  </a:lnTo>
                  <a:lnTo>
                    <a:pt x="57090" y="1761510"/>
                  </a:lnTo>
                  <a:lnTo>
                    <a:pt x="57090" y="1763791"/>
                  </a:lnTo>
                  <a:lnTo>
                    <a:pt x="57090" y="1766073"/>
                  </a:lnTo>
                  <a:lnTo>
                    <a:pt x="57090" y="1768355"/>
                  </a:lnTo>
                  <a:lnTo>
                    <a:pt x="57090" y="1770637"/>
                  </a:lnTo>
                  <a:lnTo>
                    <a:pt x="57090" y="1772919"/>
                  </a:lnTo>
                  <a:lnTo>
                    <a:pt x="59374" y="1772919"/>
                  </a:lnTo>
                  <a:lnTo>
                    <a:pt x="61657" y="1772919"/>
                  </a:lnTo>
                  <a:lnTo>
                    <a:pt x="61657" y="1775201"/>
                  </a:lnTo>
                  <a:lnTo>
                    <a:pt x="61657" y="1777483"/>
                  </a:lnTo>
                  <a:lnTo>
                    <a:pt x="63941" y="1777483"/>
                  </a:lnTo>
                  <a:lnTo>
                    <a:pt x="63941" y="1779765"/>
                  </a:lnTo>
                  <a:lnTo>
                    <a:pt x="63941" y="1782047"/>
                  </a:lnTo>
                  <a:lnTo>
                    <a:pt x="63941" y="1784329"/>
                  </a:lnTo>
                  <a:lnTo>
                    <a:pt x="66225" y="1784329"/>
                  </a:lnTo>
                  <a:lnTo>
                    <a:pt x="66225" y="1786610"/>
                  </a:lnTo>
                  <a:lnTo>
                    <a:pt x="66225" y="1788892"/>
                  </a:lnTo>
                  <a:lnTo>
                    <a:pt x="66225" y="1791174"/>
                  </a:lnTo>
                  <a:lnTo>
                    <a:pt x="68509" y="1791174"/>
                  </a:lnTo>
                  <a:lnTo>
                    <a:pt x="68509" y="1788892"/>
                  </a:lnTo>
                  <a:lnTo>
                    <a:pt x="70792" y="1788892"/>
                  </a:lnTo>
                  <a:lnTo>
                    <a:pt x="70792" y="1791174"/>
                  </a:lnTo>
                  <a:lnTo>
                    <a:pt x="73076" y="1791174"/>
                  </a:lnTo>
                  <a:lnTo>
                    <a:pt x="73076" y="1793456"/>
                  </a:lnTo>
                  <a:lnTo>
                    <a:pt x="75360" y="1793456"/>
                  </a:lnTo>
                  <a:lnTo>
                    <a:pt x="77643" y="1793456"/>
                  </a:lnTo>
                  <a:lnTo>
                    <a:pt x="77643" y="1795738"/>
                  </a:lnTo>
                  <a:lnTo>
                    <a:pt x="79927" y="1795738"/>
                  </a:lnTo>
                  <a:lnTo>
                    <a:pt x="82210" y="1795738"/>
                  </a:lnTo>
                  <a:lnTo>
                    <a:pt x="84494" y="1795738"/>
                  </a:lnTo>
                  <a:lnTo>
                    <a:pt x="84494" y="1798020"/>
                  </a:lnTo>
                  <a:lnTo>
                    <a:pt x="86777" y="1798020"/>
                  </a:lnTo>
                  <a:lnTo>
                    <a:pt x="89061" y="1798020"/>
                  </a:lnTo>
                  <a:lnTo>
                    <a:pt x="89061" y="1800302"/>
                  </a:lnTo>
                  <a:lnTo>
                    <a:pt x="91345" y="1800302"/>
                  </a:lnTo>
                  <a:lnTo>
                    <a:pt x="91345" y="1802584"/>
                  </a:lnTo>
                  <a:lnTo>
                    <a:pt x="93628" y="1802584"/>
                  </a:lnTo>
                  <a:lnTo>
                    <a:pt x="93628" y="1804866"/>
                  </a:lnTo>
                  <a:lnTo>
                    <a:pt x="95912" y="1804866"/>
                  </a:lnTo>
                  <a:lnTo>
                    <a:pt x="95912" y="1807147"/>
                  </a:lnTo>
                  <a:lnTo>
                    <a:pt x="98196" y="1807147"/>
                  </a:lnTo>
                  <a:lnTo>
                    <a:pt x="100479" y="1807147"/>
                  </a:lnTo>
                  <a:lnTo>
                    <a:pt x="100479" y="1809430"/>
                  </a:lnTo>
                  <a:lnTo>
                    <a:pt x="100479" y="1811711"/>
                  </a:lnTo>
                  <a:lnTo>
                    <a:pt x="102763" y="1811711"/>
                  </a:lnTo>
                  <a:lnTo>
                    <a:pt x="102763" y="1813993"/>
                  </a:lnTo>
                  <a:lnTo>
                    <a:pt x="102763" y="1816275"/>
                  </a:lnTo>
                  <a:lnTo>
                    <a:pt x="102763" y="1818557"/>
                  </a:lnTo>
                  <a:lnTo>
                    <a:pt x="105046" y="1818557"/>
                  </a:lnTo>
                  <a:lnTo>
                    <a:pt x="105046" y="1820839"/>
                  </a:lnTo>
                  <a:lnTo>
                    <a:pt x="105046" y="1823121"/>
                  </a:lnTo>
                  <a:lnTo>
                    <a:pt x="107330" y="1823121"/>
                  </a:lnTo>
                  <a:lnTo>
                    <a:pt x="107330" y="1825403"/>
                  </a:lnTo>
                  <a:lnTo>
                    <a:pt x="109614" y="1825403"/>
                  </a:lnTo>
                  <a:lnTo>
                    <a:pt x="109614" y="1827685"/>
                  </a:lnTo>
                  <a:lnTo>
                    <a:pt x="111897" y="1827685"/>
                  </a:lnTo>
                  <a:lnTo>
                    <a:pt x="114181" y="1827685"/>
                  </a:lnTo>
                  <a:lnTo>
                    <a:pt x="114181" y="1829966"/>
                  </a:lnTo>
                  <a:lnTo>
                    <a:pt x="114181" y="1832248"/>
                  </a:lnTo>
                  <a:lnTo>
                    <a:pt x="114181" y="1834530"/>
                  </a:lnTo>
                  <a:lnTo>
                    <a:pt x="111897" y="1834530"/>
                  </a:lnTo>
                  <a:lnTo>
                    <a:pt x="111897" y="1836812"/>
                  </a:lnTo>
                  <a:lnTo>
                    <a:pt x="111897" y="1839094"/>
                  </a:lnTo>
                  <a:lnTo>
                    <a:pt x="114181" y="1839094"/>
                  </a:lnTo>
                  <a:lnTo>
                    <a:pt x="116464" y="1839094"/>
                  </a:lnTo>
                  <a:lnTo>
                    <a:pt x="116464" y="1841376"/>
                  </a:lnTo>
                  <a:lnTo>
                    <a:pt x="116464" y="1843658"/>
                  </a:lnTo>
                  <a:lnTo>
                    <a:pt x="118748" y="1843658"/>
                  </a:lnTo>
                  <a:lnTo>
                    <a:pt x="118748" y="1845940"/>
                  </a:lnTo>
                  <a:lnTo>
                    <a:pt x="121032" y="1845940"/>
                  </a:lnTo>
                  <a:lnTo>
                    <a:pt x="121032" y="1848222"/>
                  </a:lnTo>
                  <a:lnTo>
                    <a:pt x="121032" y="1850503"/>
                  </a:lnTo>
                  <a:lnTo>
                    <a:pt x="123315" y="1850503"/>
                  </a:lnTo>
                  <a:lnTo>
                    <a:pt x="123315" y="1852786"/>
                  </a:lnTo>
                  <a:lnTo>
                    <a:pt x="125599" y="1852786"/>
                  </a:lnTo>
                  <a:lnTo>
                    <a:pt x="125599" y="1855067"/>
                  </a:lnTo>
                  <a:lnTo>
                    <a:pt x="127882" y="1855067"/>
                  </a:lnTo>
                  <a:lnTo>
                    <a:pt x="130166" y="1855067"/>
                  </a:lnTo>
                  <a:lnTo>
                    <a:pt x="130166" y="1857349"/>
                  </a:lnTo>
                  <a:lnTo>
                    <a:pt x="132450" y="1857349"/>
                  </a:lnTo>
                  <a:lnTo>
                    <a:pt x="134734" y="1857349"/>
                  </a:lnTo>
                  <a:lnTo>
                    <a:pt x="134734" y="1859631"/>
                  </a:lnTo>
                  <a:lnTo>
                    <a:pt x="137018" y="1859631"/>
                  </a:lnTo>
                  <a:lnTo>
                    <a:pt x="139300" y="1859631"/>
                  </a:lnTo>
                  <a:lnTo>
                    <a:pt x="139300" y="1861913"/>
                  </a:lnTo>
                  <a:lnTo>
                    <a:pt x="141584" y="1861913"/>
                  </a:lnTo>
                  <a:lnTo>
                    <a:pt x="141584" y="1864195"/>
                  </a:lnTo>
                  <a:lnTo>
                    <a:pt x="143868" y="1864195"/>
                  </a:lnTo>
                  <a:lnTo>
                    <a:pt x="143868" y="1866477"/>
                  </a:lnTo>
                  <a:lnTo>
                    <a:pt x="146152" y="1866477"/>
                  </a:lnTo>
                  <a:lnTo>
                    <a:pt x="146152" y="1868759"/>
                  </a:lnTo>
                  <a:lnTo>
                    <a:pt x="148436" y="1868759"/>
                  </a:lnTo>
                  <a:lnTo>
                    <a:pt x="148436" y="1871041"/>
                  </a:lnTo>
                  <a:lnTo>
                    <a:pt x="150718" y="1871041"/>
                  </a:lnTo>
                  <a:lnTo>
                    <a:pt x="150718" y="1873322"/>
                  </a:lnTo>
                  <a:lnTo>
                    <a:pt x="153002" y="1873322"/>
                  </a:lnTo>
                  <a:lnTo>
                    <a:pt x="153002" y="1875604"/>
                  </a:lnTo>
                  <a:lnTo>
                    <a:pt x="150718" y="1875604"/>
                  </a:lnTo>
                  <a:lnTo>
                    <a:pt x="150718" y="1877886"/>
                  </a:lnTo>
                  <a:lnTo>
                    <a:pt x="153002" y="1877886"/>
                  </a:lnTo>
                  <a:lnTo>
                    <a:pt x="150718" y="1880168"/>
                  </a:lnTo>
                  <a:lnTo>
                    <a:pt x="153002" y="1880168"/>
                  </a:lnTo>
                  <a:lnTo>
                    <a:pt x="153002" y="1882450"/>
                  </a:lnTo>
                  <a:lnTo>
                    <a:pt x="155286" y="1884732"/>
                  </a:lnTo>
                  <a:lnTo>
                    <a:pt x="155286" y="1887014"/>
                  </a:lnTo>
                  <a:lnTo>
                    <a:pt x="155286" y="1889296"/>
                  </a:lnTo>
                  <a:lnTo>
                    <a:pt x="155286" y="1891578"/>
                  </a:lnTo>
                  <a:lnTo>
                    <a:pt x="157570" y="1891578"/>
                  </a:lnTo>
                  <a:lnTo>
                    <a:pt x="157570" y="1893859"/>
                  </a:lnTo>
                  <a:lnTo>
                    <a:pt x="159854" y="1896132"/>
                  </a:lnTo>
                  <a:lnTo>
                    <a:pt x="159854" y="1898414"/>
                  </a:lnTo>
                  <a:lnTo>
                    <a:pt x="162137" y="1898414"/>
                  </a:lnTo>
                  <a:lnTo>
                    <a:pt x="162137" y="1900696"/>
                  </a:lnTo>
                  <a:lnTo>
                    <a:pt x="159854" y="1900696"/>
                  </a:lnTo>
                  <a:lnTo>
                    <a:pt x="159854" y="1902978"/>
                  </a:lnTo>
                  <a:lnTo>
                    <a:pt x="159854" y="1905259"/>
                  </a:lnTo>
                  <a:lnTo>
                    <a:pt x="162137" y="1905259"/>
                  </a:lnTo>
                  <a:lnTo>
                    <a:pt x="162137" y="1907542"/>
                  </a:lnTo>
                  <a:lnTo>
                    <a:pt x="164420" y="1907542"/>
                  </a:lnTo>
                  <a:lnTo>
                    <a:pt x="164420" y="1909823"/>
                  </a:lnTo>
                  <a:lnTo>
                    <a:pt x="164420" y="1912105"/>
                  </a:lnTo>
                  <a:lnTo>
                    <a:pt x="164420" y="1914387"/>
                  </a:lnTo>
                  <a:lnTo>
                    <a:pt x="166703" y="1914387"/>
                  </a:lnTo>
                  <a:lnTo>
                    <a:pt x="166703" y="1916669"/>
                  </a:lnTo>
                  <a:lnTo>
                    <a:pt x="164420" y="1918951"/>
                  </a:lnTo>
                  <a:lnTo>
                    <a:pt x="164420" y="1921233"/>
                  </a:lnTo>
                  <a:lnTo>
                    <a:pt x="164420" y="1923515"/>
                  </a:lnTo>
                  <a:lnTo>
                    <a:pt x="166703" y="1923515"/>
                  </a:lnTo>
                  <a:lnTo>
                    <a:pt x="166703" y="1925797"/>
                  </a:lnTo>
                  <a:lnTo>
                    <a:pt x="168988" y="1925797"/>
                  </a:lnTo>
                  <a:lnTo>
                    <a:pt x="168988" y="1928078"/>
                  </a:lnTo>
                  <a:lnTo>
                    <a:pt x="168988" y="1930360"/>
                  </a:lnTo>
                  <a:lnTo>
                    <a:pt x="171272" y="1930360"/>
                  </a:lnTo>
                  <a:lnTo>
                    <a:pt x="171272" y="1932642"/>
                  </a:lnTo>
                  <a:lnTo>
                    <a:pt x="173555" y="1932642"/>
                  </a:lnTo>
                  <a:lnTo>
                    <a:pt x="173555" y="1934924"/>
                  </a:lnTo>
                  <a:lnTo>
                    <a:pt x="175839" y="1934924"/>
                  </a:lnTo>
                  <a:lnTo>
                    <a:pt x="175839" y="1937206"/>
                  </a:lnTo>
                  <a:lnTo>
                    <a:pt x="175839" y="1939488"/>
                  </a:lnTo>
                  <a:lnTo>
                    <a:pt x="178121" y="1939488"/>
                  </a:lnTo>
                  <a:lnTo>
                    <a:pt x="178121" y="1941770"/>
                  </a:lnTo>
                  <a:lnTo>
                    <a:pt x="175839" y="1941770"/>
                  </a:lnTo>
                  <a:lnTo>
                    <a:pt x="175839" y="1944052"/>
                  </a:lnTo>
                  <a:lnTo>
                    <a:pt x="178121" y="1944052"/>
                  </a:lnTo>
                  <a:lnTo>
                    <a:pt x="180405" y="1944052"/>
                  </a:lnTo>
                  <a:lnTo>
                    <a:pt x="180405" y="1946334"/>
                  </a:lnTo>
                  <a:lnTo>
                    <a:pt x="182690" y="1946334"/>
                  </a:lnTo>
                  <a:lnTo>
                    <a:pt x="182690" y="1948615"/>
                  </a:lnTo>
                  <a:lnTo>
                    <a:pt x="182690" y="1950898"/>
                  </a:lnTo>
                  <a:lnTo>
                    <a:pt x="180405" y="1950898"/>
                  </a:lnTo>
                  <a:lnTo>
                    <a:pt x="180405" y="1953179"/>
                  </a:lnTo>
                  <a:lnTo>
                    <a:pt x="182690" y="1953179"/>
                  </a:lnTo>
                  <a:lnTo>
                    <a:pt x="182690" y="1955461"/>
                  </a:lnTo>
                  <a:lnTo>
                    <a:pt x="184973" y="1955461"/>
                  </a:lnTo>
                  <a:lnTo>
                    <a:pt x="184973" y="1957743"/>
                  </a:lnTo>
                  <a:lnTo>
                    <a:pt x="184973" y="1960025"/>
                  </a:lnTo>
                  <a:lnTo>
                    <a:pt x="187257" y="1960025"/>
                  </a:lnTo>
                  <a:lnTo>
                    <a:pt x="189540" y="1960025"/>
                  </a:lnTo>
                  <a:lnTo>
                    <a:pt x="189540" y="1962307"/>
                  </a:lnTo>
                  <a:lnTo>
                    <a:pt x="189540" y="1964589"/>
                  </a:lnTo>
                  <a:lnTo>
                    <a:pt x="191824" y="1964589"/>
                  </a:lnTo>
                  <a:lnTo>
                    <a:pt x="191824" y="1966871"/>
                  </a:lnTo>
                  <a:lnTo>
                    <a:pt x="194108" y="1966871"/>
                  </a:lnTo>
                  <a:lnTo>
                    <a:pt x="194108" y="1969153"/>
                  </a:lnTo>
                  <a:lnTo>
                    <a:pt x="194108" y="1971434"/>
                  </a:lnTo>
                  <a:lnTo>
                    <a:pt x="196391" y="1971434"/>
                  </a:lnTo>
                  <a:lnTo>
                    <a:pt x="196391" y="1973716"/>
                  </a:lnTo>
                  <a:lnTo>
                    <a:pt x="198675" y="1973716"/>
                  </a:lnTo>
                  <a:lnTo>
                    <a:pt x="200958" y="1973716"/>
                  </a:lnTo>
                  <a:lnTo>
                    <a:pt x="200958" y="1975998"/>
                  </a:lnTo>
                  <a:lnTo>
                    <a:pt x="200958" y="1978280"/>
                  </a:lnTo>
                  <a:lnTo>
                    <a:pt x="203242" y="1978280"/>
                  </a:lnTo>
                  <a:lnTo>
                    <a:pt x="205526" y="1978280"/>
                  </a:lnTo>
                  <a:lnTo>
                    <a:pt x="205526" y="1980562"/>
                  </a:lnTo>
                  <a:lnTo>
                    <a:pt x="205526" y="1982844"/>
                  </a:lnTo>
                  <a:lnTo>
                    <a:pt x="207809" y="1982844"/>
                  </a:lnTo>
                  <a:lnTo>
                    <a:pt x="207809" y="1985126"/>
                  </a:lnTo>
                  <a:lnTo>
                    <a:pt x="207809" y="1987408"/>
                  </a:lnTo>
                  <a:lnTo>
                    <a:pt x="207809" y="1989690"/>
                  </a:lnTo>
                  <a:lnTo>
                    <a:pt x="207809" y="1991971"/>
                  </a:lnTo>
                  <a:lnTo>
                    <a:pt x="210093" y="1991971"/>
                  </a:lnTo>
                  <a:lnTo>
                    <a:pt x="210093" y="1994254"/>
                  </a:lnTo>
                  <a:lnTo>
                    <a:pt x="210093" y="1996535"/>
                  </a:lnTo>
                  <a:lnTo>
                    <a:pt x="210093" y="1998817"/>
                  </a:lnTo>
                  <a:lnTo>
                    <a:pt x="212376" y="1998817"/>
                  </a:lnTo>
                  <a:lnTo>
                    <a:pt x="212376" y="2001099"/>
                  </a:lnTo>
                  <a:lnTo>
                    <a:pt x="214660" y="2001099"/>
                  </a:lnTo>
                  <a:lnTo>
                    <a:pt x="214660" y="2003381"/>
                  </a:lnTo>
                  <a:lnTo>
                    <a:pt x="216944" y="2003381"/>
                  </a:lnTo>
                  <a:lnTo>
                    <a:pt x="216944" y="2005663"/>
                  </a:lnTo>
                  <a:lnTo>
                    <a:pt x="216944" y="2007945"/>
                  </a:lnTo>
                  <a:lnTo>
                    <a:pt x="219227" y="2007945"/>
                  </a:lnTo>
                  <a:lnTo>
                    <a:pt x="219227" y="2010227"/>
                  </a:lnTo>
                  <a:lnTo>
                    <a:pt x="219227" y="2012509"/>
                  </a:lnTo>
                  <a:lnTo>
                    <a:pt x="219227" y="2014791"/>
                  </a:lnTo>
                  <a:lnTo>
                    <a:pt x="221511" y="2014791"/>
                  </a:lnTo>
                  <a:lnTo>
                    <a:pt x="221511" y="2017072"/>
                  </a:lnTo>
                  <a:lnTo>
                    <a:pt x="221511" y="2019354"/>
                  </a:lnTo>
                  <a:lnTo>
                    <a:pt x="223794" y="2021636"/>
                  </a:lnTo>
                  <a:lnTo>
                    <a:pt x="223794" y="2023918"/>
                  </a:lnTo>
                  <a:lnTo>
                    <a:pt x="223794" y="2026200"/>
                  </a:lnTo>
                  <a:lnTo>
                    <a:pt x="223794" y="2028482"/>
                  </a:lnTo>
                  <a:lnTo>
                    <a:pt x="226079" y="2028482"/>
                  </a:lnTo>
                  <a:lnTo>
                    <a:pt x="226079" y="2030764"/>
                  </a:lnTo>
                  <a:lnTo>
                    <a:pt x="228362" y="2030764"/>
                  </a:lnTo>
                  <a:lnTo>
                    <a:pt x="228362" y="2033046"/>
                  </a:lnTo>
                  <a:lnTo>
                    <a:pt x="228362" y="2035327"/>
                  </a:lnTo>
                  <a:lnTo>
                    <a:pt x="228362" y="2037610"/>
                  </a:lnTo>
                  <a:lnTo>
                    <a:pt x="228362" y="2039891"/>
                  </a:lnTo>
                  <a:lnTo>
                    <a:pt x="230645" y="2039891"/>
                  </a:lnTo>
                  <a:lnTo>
                    <a:pt x="230645" y="2042173"/>
                  </a:lnTo>
                  <a:lnTo>
                    <a:pt x="230645" y="2044455"/>
                  </a:lnTo>
                  <a:lnTo>
                    <a:pt x="232929" y="2044455"/>
                  </a:lnTo>
                  <a:lnTo>
                    <a:pt x="232929" y="2046737"/>
                  </a:lnTo>
                  <a:lnTo>
                    <a:pt x="232929" y="2049019"/>
                  </a:lnTo>
                  <a:lnTo>
                    <a:pt x="232929" y="2051291"/>
                  </a:lnTo>
                  <a:lnTo>
                    <a:pt x="235212" y="2051291"/>
                  </a:lnTo>
                  <a:lnTo>
                    <a:pt x="235212" y="2053573"/>
                  </a:lnTo>
                  <a:lnTo>
                    <a:pt x="235212" y="2055865"/>
                  </a:lnTo>
                  <a:lnTo>
                    <a:pt x="237496" y="2055865"/>
                  </a:lnTo>
                  <a:lnTo>
                    <a:pt x="237496" y="2058137"/>
                  </a:lnTo>
                  <a:lnTo>
                    <a:pt x="237496" y="2060419"/>
                  </a:lnTo>
                  <a:lnTo>
                    <a:pt x="237496" y="2062701"/>
                  </a:lnTo>
                  <a:lnTo>
                    <a:pt x="235212" y="2062701"/>
                  </a:lnTo>
                  <a:lnTo>
                    <a:pt x="237496" y="2064983"/>
                  </a:lnTo>
                  <a:lnTo>
                    <a:pt x="235212" y="2064983"/>
                  </a:lnTo>
                  <a:lnTo>
                    <a:pt x="235212" y="2067265"/>
                  </a:lnTo>
                  <a:lnTo>
                    <a:pt x="237496" y="2067265"/>
                  </a:lnTo>
                  <a:lnTo>
                    <a:pt x="237496" y="2069546"/>
                  </a:lnTo>
                  <a:lnTo>
                    <a:pt x="239780" y="2069546"/>
                  </a:lnTo>
                  <a:lnTo>
                    <a:pt x="239780" y="2071828"/>
                  </a:lnTo>
                  <a:lnTo>
                    <a:pt x="242064" y="2071828"/>
                  </a:lnTo>
                  <a:lnTo>
                    <a:pt x="242064" y="2074110"/>
                  </a:lnTo>
                  <a:lnTo>
                    <a:pt x="244347" y="2074110"/>
                  </a:lnTo>
                  <a:lnTo>
                    <a:pt x="244347" y="2076392"/>
                  </a:lnTo>
                  <a:lnTo>
                    <a:pt x="244347" y="2078674"/>
                  </a:lnTo>
                  <a:lnTo>
                    <a:pt x="246630" y="2078674"/>
                  </a:lnTo>
                  <a:lnTo>
                    <a:pt x="248914" y="2080956"/>
                  </a:lnTo>
                  <a:lnTo>
                    <a:pt x="248914" y="2083238"/>
                  </a:lnTo>
                  <a:lnTo>
                    <a:pt x="251197" y="2083238"/>
                  </a:lnTo>
                  <a:lnTo>
                    <a:pt x="251197" y="2085520"/>
                  </a:lnTo>
                  <a:lnTo>
                    <a:pt x="248914" y="2085520"/>
                  </a:lnTo>
                  <a:lnTo>
                    <a:pt x="248914" y="2087802"/>
                  </a:lnTo>
                  <a:lnTo>
                    <a:pt x="251197" y="2087802"/>
                  </a:lnTo>
                  <a:lnTo>
                    <a:pt x="251197" y="2090083"/>
                  </a:lnTo>
                  <a:lnTo>
                    <a:pt x="251197" y="2092366"/>
                  </a:lnTo>
                  <a:lnTo>
                    <a:pt x="251197" y="2094647"/>
                  </a:lnTo>
                  <a:lnTo>
                    <a:pt x="251197" y="2096929"/>
                  </a:lnTo>
                  <a:lnTo>
                    <a:pt x="253482" y="2096929"/>
                  </a:lnTo>
                  <a:lnTo>
                    <a:pt x="253482" y="2099211"/>
                  </a:lnTo>
                  <a:lnTo>
                    <a:pt x="253482" y="2101493"/>
                  </a:lnTo>
                  <a:lnTo>
                    <a:pt x="255766" y="2101493"/>
                  </a:lnTo>
                  <a:lnTo>
                    <a:pt x="255766" y="2103775"/>
                  </a:lnTo>
                  <a:lnTo>
                    <a:pt x="255766" y="2106057"/>
                  </a:lnTo>
                  <a:lnTo>
                    <a:pt x="258048" y="2106057"/>
                  </a:lnTo>
                  <a:lnTo>
                    <a:pt x="258048" y="2108339"/>
                  </a:lnTo>
                  <a:lnTo>
                    <a:pt x="260332" y="2108339"/>
                  </a:lnTo>
                  <a:lnTo>
                    <a:pt x="260332" y="2110621"/>
                  </a:lnTo>
                  <a:lnTo>
                    <a:pt x="260332" y="2112903"/>
                  </a:lnTo>
                  <a:lnTo>
                    <a:pt x="260332" y="2115185"/>
                  </a:lnTo>
                  <a:lnTo>
                    <a:pt x="260332" y="2117466"/>
                  </a:lnTo>
                  <a:lnTo>
                    <a:pt x="260332" y="2119748"/>
                  </a:lnTo>
                  <a:lnTo>
                    <a:pt x="262616" y="2119748"/>
                  </a:lnTo>
                  <a:lnTo>
                    <a:pt x="262616" y="2122030"/>
                  </a:lnTo>
                  <a:lnTo>
                    <a:pt x="262616" y="2124312"/>
                  </a:lnTo>
                  <a:lnTo>
                    <a:pt x="262616" y="2126594"/>
                  </a:lnTo>
                  <a:lnTo>
                    <a:pt x="262616" y="2128876"/>
                  </a:lnTo>
                  <a:lnTo>
                    <a:pt x="262616" y="2131158"/>
                  </a:lnTo>
                  <a:lnTo>
                    <a:pt x="262616" y="2133440"/>
                  </a:lnTo>
                  <a:lnTo>
                    <a:pt x="262616" y="2135722"/>
                  </a:lnTo>
                  <a:lnTo>
                    <a:pt x="264899" y="2135722"/>
                  </a:lnTo>
                  <a:lnTo>
                    <a:pt x="264899" y="2138003"/>
                  </a:lnTo>
                  <a:lnTo>
                    <a:pt x="264899" y="2140285"/>
                  </a:lnTo>
                  <a:lnTo>
                    <a:pt x="264899" y="2142567"/>
                  </a:lnTo>
                  <a:lnTo>
                    <a:pt x="264899" y="2144849"/>
                  </a:lnTo>
                  <a:lnTo>
                    <a:pt x="267183" y="2144849"/>
                  </a:lnTo>
                  <a:lnTo>
                    <a:pt x="267183" y="2147131"/>
                  </a:lnTo>
                  <a:lnTo>
                    <a:pt x="269466" y="2147131"/>
                  </a:lnTo>
                  <a:lnTo>
                    <a:pt x="269466" y="2149413"/>
                  </a:lnTo>
                  <a:lnTo>
                    <a:pt x="269466" y="2151695"/>
                  </a:lnTo>
                  <a:lnTo>
                    <a:pt x="271750" y="2151695"/>
                  </a:lnTo>
                  <a:lnTo>
                    <a:pt x="271750" y="2153977"/>
                  </a:lnTo>
                  <a:lnTo>
                    <a:pt x="271750" y="2156259"/>
                  </a:lnTo>
                  <a:lnTo>
                    <a:pt x="271750" y="2158541"/>
                  </a:lnTo>
                  <a:lnTo>
                    <a:pt x="274033" y="2158541"/>
                  </a:lnTo>
                  <a:lnTo>
                    <a:pt x="274033" y="2160822"/>
                  </a:lnTo>
                  <a:lnTo>
                    <a:pt x="274033" y="2163104"/>
                  </a:lnTo>
                  <a:lnTo>
                    <a:pt x="271750" y="2163104"/>
                  </a:lnTo>
                  <a:lnTo>
                    <a:pt x="271750" y="2165386"/>
                  </a:lnTo>
                  <a:lnTo>
                    <a:pt x="274033" y="2165386"/>
                  </a:lnTo>
                  <a:lnTo>
                    <a:pt x="274033" y="2167668"/>
                  </a:lnTo>
                  <a:lnTo>
                    <a:pt x="274033" y="2169950"/>
                  </a:lnTo>
                  <a:lnTo>
                    <a:pt x="276318" y="2169950"/>
                  </a:lnTo>
                  <a:lnTo>
                    <a:pt x="276318" y="2172232"/>
                  </a:lnTo>
                  <a:lnTo>
                    <a:pt x="278602" y="2172232"/>
                  </a:lnTo>
                  <a:lnTo>
                    <a:pt x="278602" y="2174514"/>
                  </a:lnTo>
                  <a:lnTo>
                    <a:pt x="278602" y="2176796"/>
                  </a:lnTo>
                  <a:lnTo>
                    <a:pt x="278602" y="2179078"/>
                  </a:lnTo>
                  <a:lnTo>
                    <a:pt x="280885" y="2179078"/>
                  </a:lnTo>
                  <a:lnTo>
                    <a:pt x="280885" y="2181359"/>
                  </a:lnTo>
                  <a:lnTo>
                    <a:pt x="283169" y="2181359"/>
                  </a:lnTo>
                  <a:lnTo>
                    <a:pt x="283169" y="2183641"/>
                  </a:lnTo>
                  <a:lnTo>
                    <a:pt x="285451" y="2183641"/>
                  </a:lnTo>
                  <a:lnTo>
                    <a:pt x="285451" y="2185923"/>
                  </a:lnTo>
                  <a:lnTo>
                    <a:pt x="283169" y="2185923"/>
                  </a:lnTo>
                  <a:lnTo>
                    <a:pt x="283169" y="2188205"/>
                  </a:lnTo>
                  <a:lnTo>
                    <a:pt x="285451" y="2188205"/>
                  </a:lnTo>
                  <a:lnTo>
                    <a:pt x="285451" y="2190487"/>
                  </a:lnTo>
                  <a:lnTo>
                    <a:pt x="283169" y="2190487"/>
                  </a:lnTo>
                  <a:lnTo>
                    <a:pt x="283169" y="2192769"/>
                  </a:lnTo>
                  <a:lnTo>
                    <a:pt x="285451" y="2192769"/>
                  </a:lnTo>
                  <a:lnTo>
                    <a:pt x="285451" y="2195051"/>
                  </a:lnTo>
                  <a:lnTo>
                    <a:pt x="287735" y="2195051"/>
                  </a:lnTo>
                  <a:lnTo>
                    <a:pt x="287735" y="2197333"/>
                  </a:lnTo>
                  <a:lnTo>
                    <a:pt x="287735" y="2199615"/>
                  </a:lnTo>
                  <a:lnTo>
                    <a:pt x="287735" y="2201897"/>
                  </a:lnTo>
                  <a:lnTo>
                    <a:pt x="287735" y="2204178"/>
                  </a:lnTo>
                  <a:lnTo>
                    <a:pt x="290020" y="2204178"/>
                  </a:lnTo>
                  <a:lnTo>
                    <a:pt x="290020" y="2206451"/>
                  </a:lnTo>
                  <a:lnTo>
                    <a:pt x="292303" y="2206451"/>
                  </a:lnTo>
                  <a:lnTo>
                    <a:pt x="292303" y="2208733"/>
                  </a:lnTo>
                  <a:lnTo>
                    <a:pt x="292303" y="2211015"/>
                  </a:lnTo>
                  <a:lnTo>
                    <a:pt x="294587" y="2211015"/>
                  </a:lnTo>
                  <a:lnTo>
                    <a:pt x="294587" y="2213297"/>
                  </a:lnTo>
                  <a:lnTo>
                    <a:pt x="294587" y="2215578"/>
                  </a:lnTo>
                  <a:lnTo>
                    <a:pt x="296870" y="2215578"/>
                  </a:lnTo>
                  <a:lnTo>
                    <a:pt x="299154" y="2215578"/>
                  </a:lnTo>
                  <a:lnTo>
                    <a:pt x="299154" y="2217860"/>
                  </a:lnTo>
                  <a:lnTo>
                    <a:pt x="301438" y="2217860"/>
                  </a:lnTo>
                  <a:lnTo>
                    <a:pt x="301438" y="2220142"/>
                  </a:lnTo>
                  <a:lnTo>
                    <a:pt x="301438" y="2222424"/>
                  </a:lnTo>
                  <a:lnTo>
                    <a:pt x="303721" y="2222424"/>
                  </a:lnTo>
                  <a:lnTo>
                    <a:pt x="303721" y="2224706"/>
                  </a:lnTo>
                  <a:lnTo>
                    <a:pt x="306005" y="2224706"/>
                  </a:lnTo>
                  <a:lnTo>
                    <a:pt x="306005" y="2226988"/>
                  </a:lnTo>
                  <a:lnTo>
                    <a:pt x="306005" y="2229270"/>
                  </a:lnTo>
                  <a:lnTo>
                    <a:pt x="308288" y="2229270"/>
                  </a:lnTo>
                  <a:lnTo>
                    <a:pt x="308288" y="2231552"/>
                  </a:lnTo>
                  <a:lnTo>
                    <a:pt x="308288" y="2233834"/>
                  </a:lnTo>
                  <a:lnTo>
                    <a:pt x="308288" y="2236115"/>
                  </a:lnTo>
                  <a:lnTo>
                    <a:pt x="308288" y="2238397"/>
                  </a:lnTo>
                  <a:lnTo>
                    <a:pt x="310572" y="2238397"/>
                  </a:lnTo>
                  <a:lnTo>
                    <a:pt x="310572" y="2240679"/>
                  </a:lnTo>
                  <a:lnTo>
                    <a:pt x="308288" y="2240679"/>
                  </a:lnTo>
                  <a:lnTo>
                    <a:pt x="308288" y="2242961"/>
                  </a:lnTo>
                  <a:lnTo>
                    <a:pt x="310572" y="2242961"/>
                  </a:lnTo>
                  <a:lnTo>
                    <a:pt x="310572" y="2245243"/>
                  </a:lnTo>
                  <a:lnTo>
                    <a:pt x="310572" y="2247525"/>
                  </a:lnTo>
                  <a:lnTo>
                    <a:pt x="312856" y="2247525"/>
                  </a:lnTo>
                  <a:lnTo>
                    <a:pt x="312856" y="2249807"/>
                  </a:lnTo>
                  <a:lnTo>
                    <a:pt x="312856" y="2252089"/>
                  </a:lnTo>
                  <a:lnTo>
                    <a:pt x="315139" y="2252089"/>
                  </a:lnTo>
                  <a:lnTo>
                    <a:pt x="315139" y="2254371"/>
                  </a:lnTo>
                  <a:lnTo>
                    <a:pt x="315139" y="2256653"/>
                  </a:lnTo>
                  <a:lnTo>
                    <a:pt x="317423" y="2256653"/>
                  </a:lnTo>
                  <a:lnTo>
                    <a:pt x="317423" y="2258934"/>
                  </a:lnTo>
                  <a:lnTo>
                    <a:pt x="317423" y="2261216"/>
                  </a:lnTo>
                  <a:lnTo>
                    <a:pt x="319706" y="2261216"/>
                  </a:lnTo>
                  <a:lnTo>
                    <a:pt x="319706" y="2263498"/>
                  </a:lnTo>
                  <a:lnTo>
                    <a:pt x="317423" y="2263498"/>
                  </a:lnTo>
                  <a:lnTo>
                    <a:pt x="319706" y="2265780"/>
                  </a:lnTo>
                  <a:lnTo>
                    <a:pt x="319706" y="2268062"/>
                  </a:lnTo>
                  <a:lnTo>
                    <a:pt x="319706" y="2270344"/>
                  </a:lnTo>
                  <a:lnTo>
                    <a:pt x="321990" y="2270344"/>
                  </a:lnTo>
                  <a:lnTo>
                    <a:pt x="321990" y="2272626"/>
                  </a:lnTo>
                  <a:lnTo>
                    <a:pt x="319706" y="2272626"/>
                  </a:lnTo>
                  <a:lnTo>
                    <a:pt x="319706" y="2274908"/>
                  </a:lnTo>
                  <a:lnTo>
                    <a:pt x="321990" y="2274908"/>
                  </a:lnTo>
                  <a:lnTo>
                    <a:pt x="321990" y="2277190"/>
                  </a:lnTo>
                  <a:lnTo>
                    <a:pt x="324274" y="2277190"/>
                  </a:lnTo>
                  <a:lnTo>
                    <a:pt x="324274" y="2279471"/>
                  </a:lnTo>
                  <a:lnTo>
                    <a:pt x="324274" y="2281753"/>
                  </a:lnTo>
                  <a:lnTo>
                    <a:pt x="324274" y="2284035"/>
                  </a:lnTo>
                  <a:lnTo>
                    <a:pt x="324274" y="2286317"/>
                  </a:lnTo>
                  <a:lnTo>
                    <a:pt x="324274" y="2288599"/>
                  </a:lnTo>
                  <a:lnTo>
                    <a:pt x="326557" y="2288599"/>
                  </a:lnTo>
                  <a:lnTo>
                    <a:pt x="326557" y="2290881"/>
                  </a:lnTo>
                  <a:lnTo>
                    <a:pt x="328841" y="2290881"/>
                  </a:lnTo>
                  <a:lnTo>
                    <a:pt x="328841" y="2293163"/>
                  </a:lnTo>
                  <a:lnTo>
                    <a:pt x="328841" y="2295445"/>
                  </a:lnTo>
                  <a:lnTo>
                    <a:pt x="331124" y="2295445"/>
                  </a:lnTo>
                  <a:lnTo>
                    <a:pt x="331124" y="2297727"/>
                  </a:lnTo>
                  <a:lnTo>
                    <a:pt x="333408" y="2297727"/>
                  </a:lnTo>
                  <a:lnTo>
                    <a:pt x="333408" y="2300009"/>
                  </a:lnTo>
                  <a:lnTo>
                    <a:pt x="335692" y="2300009"/>
                  </a:lnTo>
                  <a:lnTo>
                    <a:pt x="335692" y="2302290"/>
                  </a:lnTo>
                  <a:lnTo>
                    <a:pt x="337975" y="2302290"/>
                  </a:lnTo>
                  <a:lnTo>
                    <a:pt x="337975" y="2304572"/>
                  </a:lnTo>
                  <a:lnTo>
                    <a:pt x="337975" y="2306854"/>
                  </a:lnTo>
                  <a:lnTo>
                    <a:pt x="337975" y="2309136"/>
                  </a:lnTo>
                  <a:lnTo>
                    <a:pt x="337975" y="2311418"/>
                  </a:lnTo>
                  <a:lnTo>
                    <a:pt x="337975" y="2313700"/>
                  </a:lnTo>
                  <a:lnTo>
                    <a:pt x="340259" y="2313700"/>
                  </a:lnTo>
                  <a:lnTo>
                    <a:pt x="340259" y="2315982"/>
                  </a:lnTo>
                  <a:lnTo>
                    <a:pt x="342542" y="2315982"/>
                  </a:lnTo>
                  <a:lnTo>
                    <a:pt x="342542" y="2318264"/>
                  </a:lnTo>
                  <a:lnTo>
                    <a:pt x="342542" y="2320546"/>
                  </a:lnTo>
                  <a:lnTo>
                    <a:pt x="342542" y="2322827"/>
                  </a:lnTo>
                  <a:lnTo>
                    <a:pt x="342542" y="2325110"/>
                  </a:lnTo>
                  <a:lnTo>
                    <a:pt x="344826" y="2325110"/>
                  </a:lnTo>
                  <a:lnTo>
                    <a:pt x="344826" y="2327391"/>
                  </a:lnTo>
                  <a:lnTo>
                    <a:pt x="344826" y="2329673"/>
                  </a:lnTo>
                  <a:lnTo>
                    <a:pt x="347110" y="2329673"/>
                  </a:lnTo>
                  <a:lnTo>
                    <a:pt x="347110" y="2331955"/>
                  </a:lnTo>
                  <a:lnTo>
                    <a:pt x="347110" y="2334237"/>
                  </a:lnTo>
                  <a:lnTo>
                    <a:pt x="349393" y="2334237"/>
                  </a:lnTo>
                  <a:lnTo>
                    <a:pt x="349393" y="2336519"/>
                  </a:lnTo>
                  <a:lnTo>
                    <a:pt x="351677" y="2336519"/>
                  </a:lnTo>
                  <a:lnTo>
                    <a:pt x="351677" y="2338801"/>
                  </a:lnTo>
                  <a:lnTo>
                    <a:pt x="353960" y="2338801"/>
                  </a:lnTo>
                  <a:lnTo>
                    <a:pt x="353960" y="2341083"/>
                  </a:lnTo>
                  <a:lnTo>
                    <a:pt x="353960" y="2343365"/>
                  </a:lnTo>
                  <a:lnTo>
                    <a:pt x="353960" y="2345646"/>
                  </a:lnTo>
                  <a:lnTo>
                    <a:pt x="353960" y="2347928"/>
                  </a:lnTo>
                  <a:lnTo>
                    <a:pt x="356245" y="2347928"/>
                  </a:lnTo>
                  <a:lnTo>
                    <a:pt x="356245" y="2350210"/>
                  </a:lnTo>
                  <a:lnTo>
                    <a:pt x="356245" y="2352492"/>
                  </a:lnTo>
                  <a:lnTo>
                    <a:pt x="358527" y="2352492"/>
                  </a:lnTo>
                  <a:lnTo>
                    <a:pt x="358527" y="2354774"/>
                  </a:lnTo>
                  <a:lnTo>
                    <a:pt x="358527" y="2357056"/>
                  </a:lnTo>
                  <a:lnTo>
                    <a:pt x="360811" y="2357056"/>
                  </a:lnTo>
                  <a:lnTo>
                    <a:pt x="360811" y="2359338"/>
                  </a:lnTo>
                  <a:lnTo>
                    <a:pt x="360811" y="2361620"/>
                  </a:lnTo>
                  <a:lnTo>
                    <a:pt x="358527" y="2361620"/>
                  </a:lnTo>
                  <a:lnTo>
                    <a:pt x="358527" y="2363892"/>
                  </a:lnTo>
                  <a:lnTo>
                    <a:pt x="360811" y="2363892"/>
                  </a:lnTo>
                  <a:lnTo>
                    <a:pt x="360811" y="2366174"/>
                  </a:lnTo>
                  <a:lnTo>
                    <a:pt x="360811" y="2368456"/>
                  </a:lnTo>
                  <a:lnTo>
                    <a:pt x="360811" y="2370738"/>
                  </a:lnTo>
                  <a:lnTo>
                    <a:pt x="360811" y="2373020"/>
                  </a:lnTo>
                  <a:lnTo>
                    <a:pt x="363095" y="2373020"/>
                  </a:lnTo>
                  <a:lnTo>
                    <a:pt x="363095" y="2375302"/>
                  </a:lnTo>
                  <a:lnTo>
                    <a:pt x="363095" y="2377583"/>
                  </a:lnTo>
                  <a:lnTo>
                    <a:pt x="365378" y="2377583"/>
                  </a:lnTo>
                  <a:lnTo>
                    <a:pt x="367662" y="2377583"/>
                  </a:lnTo>
                  <a:lnTo>
                    <a:pt x="367662" y="2379865"/>
                  </a:lnTo>
                  <a:lnTo>
                    <a:pt x="367662" y="2382147"/>
                  </a:lnTo>
                  <a:lnTo>
                    <a:pt x="369946" y="2382147"/>
                  </a:lnTo>
                  <a:lnTo>
                    <a:pt x="369946" y="2384429"/>
                  </a:lnTo>
                  <a:lnTo>
                    <a:pt x="369946" y="2386711"/>
                  </a:lnTo>
                  <a:lnTo>
                    <a:pt x="372230" y="2386711"/>
                  </a:lnTo>
                  <a:lnTo>
                    <a:pt x="374514" y="2386711"/>
                  </a:lnTo>
                  <a:lnTo>
                    <a:pt x="374514" y="2388993"/>
                  </a:lnTo>
                  <a:lnTo>
                    <a:pt x="376796" y="2388993"/>
                  </a:lnTo>
                  <a:lnTo>
                    <a:pt x="376796" y="2391275"/>
                  </a:lnTo>
                  <a:lnTo>
                    <a:pt x="376796" y="2393557"/>
                  </a:lnTo>
                  <a:lnTo>
                    <a:pt x="376796" y="2395839"/>
                  </a:lnTo>
                  <a:lnTo>
                    <a:pt x="379080" y="2395839"/>
                  </a:lnTo>
                  <a:lnTo>
                    <a:pt x="379080" y="2398121"/>
                  </a:lnTo>
                  <a:lnTo>
                    <a:pt x="381363" y="2398121"/>
                  </a:lnTo>
                  <a:lnTo>
                    <a:pt x="381363" y="2400402"/>
                  </a:lnTo>
                  <a:lnTo>
                    <a:pt x="381363" y="2402684"/>
                  </a:lnTo>
                  <a:lnTo>
                    <a:pt x="383648" y="2402684"/>
                  </a:lnTo>
                  <a:lnTo>
                    <a:pt x="383648" y="2404966"/>
                  </a:lnTo>
                  <a:lnTo>
                    <a:pt x="385932" y="2404966"/>
                  </a:lnTo>
                  <a:lnTo>
                    <a:pt x="385932" y="2407248"/>
                  </a:lnTo>
                  <a:lnTo>
                    <a:pt x="385932" y="2409530"/>
                  </a:lnTo>
                  <a:lnTo>
                    <a:pt x="388215" y="2409530"/>
                  </a:lnTo>
                  <a:lnTo>
                    <a:pt x="388215" y="2411812"/>
                  </a:lnTo>
                  <a:lnTo>
                    <a:pt x="390498" y="2411812"/>
                  </a:lnTo>
                  <a:lnTo>
                    <a:pt x="390498" y="2414094"/>
                  </a:lnTo>
                  <a:lnTo>
                    <a:pt x="390498" y="2416376"/>
                  </a:lnTo>
                  <a:lnTo>
                    <a:pt x="390498" y="2418658"/>
                  </a:lnTo>
                  <a:lnTo>
                    <a:pt x="392781" y="2418658"/>
                  </a:lnTo>
                  <a:lnTo>
                    <a:pt x="395066" y="2418658"/>
                  </a:lnTo>
                  <a:lnTo>
                    <a:pt x="395066" y="2420939"/>
                  </a:lnTo>
                  <a:lnTo>
                    <a:pt x="392781" y="2420939"/>
                  </a:lnTo>
                  <a:lnTo>
                    <a:pt x="392781" y="2423222"/>
                  </a:lnTo>
                  <a:lnTo>
                    <a:pt x="395066" y="2423222"/>
                  </a:lnTo>
                  <a:lnTo>
                    <a:pt x="397350" y="2425503"/>
                  </a:lnTo>
                  <a:lnTo>
                    <a:pt x="397350" y="2427785"/>
                  </a:lnTo>
                  <a:lnTo>
                    <a:pt x="397350" y="2430067"/>
                  </a:lnTo>
                  <a:lnTo>
                    <a:pt x="399633" y="2430067"/>
                  </a:lnTo>
                  <a:lnTo>
                    <a:pt x="399633" y="2432349"/>
                  </a:lnTo>
                  <a:lnTo>
                    <a:pt x="399633" y="2434631"/>
                  </a:lnTo>
                  <a:lnTo>
                    <a:pt x="401917" y="2434631"/>
                  </a:lnTo>
                  <a:lnTo>
                    <a:pt x="401917" y="2436913"/>
                  </a:lnTo>
                  <a:lnTo>
                    <a:pt x="404200" y="2436913"/>
                  </a:lnTo>
                  <a:lnTo>
                    <a:pt x="404200" y="2439195"/>
                  </a:lnTo>
                  <a:lnTo>
                    <a:pt x="406484" y="2439195"/>
                  </a:lnTo>
                  <a:lnTo>
                    <a:pt x="406484" y="2441477"/>
                  </a:lnTo>
                  <a:lnTo>
                    <a:pt x="408768" y="2441477"/>
                  </a:lnTo>
                  <a:lnTo>
                    <a:pt x="408768" y="2443758"/>
                  </a:lnTo>
                  <a:lnTo>
                    <a:pt x="411051" y="2443758"/>
                  </a:lnTo>
                  <a:lnTo>
                    <a:pt x="411051" y="2446040"/>
                  </a:lnTo>
                  <a:lnTo>
                    <a:pt x="411051" y="2448322"/>
                  </a:lnTo>
                  <a:lnTo>
                    <a:pt x="413335" y="2448322"/>
                  </a:lnTo>
                  <a:lnTo>
                    <a:pt x="413335" y="2450604"/>
                  </a:lnTo>
                  <a:lnTo>
                    <a:pt x="415618" y="2450604"/>
                  </a:lnTo>
                  <a:lnTo>
                    <a:pt x="415618" y="2452886"/>
                  </a:lnTo>
                  <a:lnTo>
                    <a:pt x="415618" y="2455168"/>
                  </a:lnTo>
                  <a:lnTo>
                    <a:pt x="417902" y="2455168"/>
                  </a:lnTo>
                  <a:lnTo>
                    <a:pt x="417902" y="2457450"/>
                  </a:lnTo>
                  <a:lnTo>
                    <a:pt x="420186" y="2457450"/>
                  </a:lnTo>
                  <a:lnTo>
                    <a:pt x="420186" y="2459732"/>
                  </a:lnTo>
                  <a:lnTo>
                    <a:pt x="420186" y="2462014"/>
                  </a:lnTo>
                  <a:lnTo>
                    <a:pt x="420186" y="2464295"/>
                  </a:lnTo>
                  <a:lnTo>
                    <a:pt x="422469" y="2464295"/>
                  </a:lnTo>
                  <a:lnTo>
                    <a:pt x="422469" y="2466578"/>
                  </a:lnTo>
                  <a:lnTo>
                    <a:pt x="424753" y="2466578"/>
                  </a:lnTo>
                  <a:lnTo>
                    <a:pt x="424753" y="2468859"/>
                  </a:lnTo>
                  <a:lnTo>
                    <a:pt x="427036" y="2468859"/>
                  </a:lnTo>
                  <a:lnTo>
                    <a:pt x="427036" y="2471141"/>
                  </a:lnTo>
                  <a:lnTo>
                    <a:pt x="429320" y="2471141"/>
                  </a:lnTo>
                  <a:lnTo>
                    <a:pt x="429320" y="2473423"/>
                  </a:lnTo>
                  <a:lnTo>
                    <a:pt x="431604" y="2473423"/>
                  </a:lnTo>
                  <a:lnTo>
                    <a:pt x="431604" y="2475705"/>
                  </a:lnTo>
                  <a:lnTo>
                    <a:pt x="431604" y="2477987"/>
                  </a:lnTo>
                  <a:lnTo>
                    <a:pt x="431604" y="2480269"/>
                  </a:lnTo>
                  <a:lnTo>
                    <a:pt x="429320" y="2480269"/>
                  </a:lnTo>
                  <a:lnTo>
                    <a:pt x="429320" y="2482551"/>
                  </a:lnTo>
                  <a:lnTo>
                    <a:pt x="429320" y="2484833"/>
                  </a:lnTo>
                  <a:lnTo>
                    <a:pt x="429320" y="2487114"/>
                  </a:lnTo>
                  <a:lnTo>
                    <a:pt x="431604" y="2487114"/>
                  </a:lnTo>
                  <a:lnTo>
                    <a:pt x="433887" y="2487114"/>
                  </a:lnTo>
                  <a:lnTo>
                    <a:pt x="433887" y="2489396"/>
                  </a:lnTo>
                  <a:lnTo>
                    <a:pt x="436171" y="2489396"/>
                  </a:lnTo>
                  <a:lnTo>
                    <a:pt x="436171" y="2491678"/>
                  </a:lnTo>
                  <a:lnTo>
                    <a:pt x="436171" y="2493960"/>
                  </a:lnTo>
                  <a:lnTo>
                    <a:pt x="438454" y="2493960"/>
                  </a:lnTo>
                  <a:lnTo>
                    <a:pt x="438454" y="2496242"/>
                  </a:lnTo>
                  <a:lnTo>
                    <a:pt x="440738" y="2496242"/>
                  </a:lnTo>
                  <a:lnTo>
                    <a:pt x="440738" y="2498524"/>
                  </a:lnTo>
                  <a:lnTo>
                    <a:pt x="440738" y="2500806"/>
                  </a:lnTo>
                  <a:lnTo>
                    <a:pt x="440738" y="2503088"/>
                  </a:lnTo>
                  <a:lnTo>
                    <a:pt x="443021" y="2503088"/>
                  </a:lnTo>
                  <a:lnTo>
                    <a:pt x="443021" y="2505370"/>
                  </a:lnTo>
                  <a:lnTo>
                    <a:pt x="445305" y="2505370"/>
                  </a:lnTo>
                  <a:lnTo>
                    <a:pt x="445305" y="2507651"/>
                  </a:lnTo>
                  <a:lnTo>
                    <a:pt x="445305" y="2509934"/>
                  </a:lnTo>
                  <a:lnTo>
                    <a:pt x="447589" y="2509934"/>
                  </a:lnTo>
                  <a:lnTo>
                    <a:pt x="447589" y="2512215"/>
                  </a:lnTo>
                  <a:lnTo>
                    <a:pt x="449872" y="2512215"/>
                  </a:lnTo>
                  <a:lnTo>
                    <a:pt x="449872" y="2514497"/>
                  </a:lnTo>
                  <a:lnTo>
                    <a:pt x="452156" y="2514497"/>
                  </a:lnTo>
                  <a:lnTo>
                    <a:pt x="452156" y="2516770"/>
                  </a:lnTo>
                  <a:lnTo>
                    <a:pt x="454439" y="2516770"/>
                  </a:lnTo>
                  <a:lnTo>
                    <a:pt x="454439" y="2519051"/>
                  </a:lnTo>
                  <a:lnTo>
                    <a:pt x="456723" y="2519051"/>
                  </a:lnTo>
                  <a:lnTo>
                    <a:pt x="456723" y="2521334"/>
                  </a:lnTo>
                  <a:lnTo>
                    <a:pt x="459007" y="2521334"/>
                  </a:lnTo>
                  <a:lnTo>
                    <a:pt x="459007" y="2523615"/>
                  </a:lnTo>
                  <a:lnTo>
                    <a:pt x="461290" y="2523615"/>
                  </a:lnTo>
                  <a:lnTo>
                    <a:pt x="461290" y="2525897"/>
                  </a:lnTo>
                  <a:lnTo>
                    <a:pt x="463575" y="2525897"/>
                  </a:lnTo>
                  <a:lnTo>
                    <a:pt x="463575" y="2528179"/>
                  </a:lnTo>
                  <a:lnTo>
                    <a:pt x="465857" y="2528179"/>
                  </a:lnTo>
                  <a:lnTo>
                    <a:pt x="465857" y="2530461"/>
                  </a:lnTo>
                  <a:lnTo>
                    <a:pt x="465857" y="2532743"/>
                  </a:lnTo>
                  <a:lnTo>
                    <a:pt x="468141" y="2532743"/>
                  </a:lnTo>
                  <a:lnTo>
                    <a:pt x="468141" y="2535025"/>
                  </a:lnTo>
                  <a:lnTo>
                    <a:pt x="468141" y="2537307"/>
                  </a:lnTo>
                  <a:lnTo>
                    <a:pt x="468141" y="2539589"/>
                  </a:lnTo>
                  <a:lnTo>
                    <a:pt x="470425" y="2539589"/>
                  </a:lnTo>
                  <a:lnTo>
                    <a:pt x="470425" y="2541870"/>
                  </a:lnTo>
                  <a:lnTo>
                    <a:pt x="470425" y="2544152"/>
                  </a:lnTo>
                  <a:lnTo>
                    <a:pt x="470425" y="2546434"/>
                  </a:lnTo>
                  <a:lnTo>
                    <a:pt x="470425" y="2548716"/>
                  </a:lnTo>
                  <a:lnTo>
                    <a:pt x="472708" y="2548716"/>
                  </a:lnTo>
                  <a:lnTo>
                    <a:pt x="472708" y="2550998"/>
                  </a:lnTo>
                  <a:lnTo>
                    <a:pt x="474992" y="2550998"/>
                  </a:lnTo>
                  <a:lnTo>
                    <a:pt x="474992" y="2553280"/>
                  </a:lnTo>
                  <a:lnTo>
                    <a:pt x="474992" y="2555562"/>
                  </a:lnTo>
                  <a:lnTo>
                    <a:pt x="477276" y="2555562"/>
                  </a:lnTo>
                  <a:lnTo>
                    <a:pt x="477276" y="2557844"/>
                  </a:lnTo>
                  <a:lnTo>
                    <a:pt x="479560" y="2557844"/>
                  </a:lnTo>
                  <a:lnTo>
                    <a:pt x="479560" y="2560126"/>
                  </a:lnTo>
                  <a:lnTo>
                    <a:pt x="479560" y="2562407"/>
                  </a:lnTo>
                  <a:lnTo>
                    <a:pt x="479560" y="2564690"/>
                  </a:lnTo>
                  <a:lnTo>
                    <a:pt x="481843" y="2564690"/>
                  </a:lnTo>
                  <a:lnTo>
                    <a:pt x="481843" y="2566971"/>
                  </a:lnTo>
                  <a:lnTo>
                    <a:pt x="484127" y="2566971"/>
                  </a:lnTo>
                  <a:lnTo>
                    <a:pt x="484127" y="2569253"/>
                  </a:lnTo>
                  <a:lnTo>
                    <a:pt x="486411" y="2569253"/>
                  </a:lnTo>
                  <a:lnTo>
                    <a:pt x="486411" y="2571535"/>
                  </a:lnTo>
                  <a:lnTo>
                    <a:pt x="486411" y="2573817"/>
                  </a:lnTo>
                  <a:lnTo>
                    <a:pt x="488693" y="2573817"/>
                  </a:lnTo>
                  <a:lnTo>
                    <a:pt x="488693" y="2576099"/>
                  </a:lnTo>
                  <a:lnTo>
                    <a:pt x="488693" y="2578381"/>
                  </a:lnTo>
                  <a:lnTo>
                    <a:pt x="488693" y="2580663"/>
                  </a:lnTo>
                  <a:lnTo>
                    <a:pt x="488693" y="2582945"/>
                  </a:lnTo>
                  <a:lnTo>
                    <a:pt x="490978" y="2582945"/>
                  </a:lnTo>
                  <a:lnTo>
                    <a:pt x="490978" y="2585226"/>
                  </a:lnTo>
                  <a:lnTo>
                    <a:pt x="493262" y="2585226"/>
                  </a:lnTo>
                  <a:lnTo>
                    <a:pt x="493262" y="2587508"/>
                  </a:lnTo>
                  <a:lnTo>
                    <a:pt x="493262" y="2589790"/>
                  </a:lnTo>
                  <a:lnTo>
                    <a:pt x="495544" y="2589790"/>
                  </a:lnTo>
                  <a:lnTo>
                    <a:pt x="495544" y="2592072"/>
                  </a:lnTo>
                  <a:lnTo>
                    <a:pt x="497828" y="2592072"/>
                  </a:lnTo>
                  <a:lnTo>
                    <a:pt x="497828" y="2594354"/>
                  </a:lnTo>
                  <a:lnTo>
                    <a:pt x="497828" y="2596636"/>
                  </a:lnTo>
                  <a:lnTo>
                    <a:pt x="497828" y="2598918"/>
                  </a:lnTo>
                  <a:lnTo>
                    <a:pt x="500112" y="2598918"/>
                  </a:lnTo>
                  <a:lnTo>
                    <a:pt x="500112" y="2601200"/>
                  </a:lnTo>
                  <a:lnTo>
                    <a:pt x="502396" y="2601200"/>
                  </a:lnTo>
                  <a:lnTo>
                    <a:pt x="502396" y="2603482"/>
                  </a:lnTo>
                  <a:lnTo>
                    <a:pt x="504680" y="2603482"/>
                  </a:lnTo>
                  <a:lnTo>
                    <a:pt x="504680" y="2605763"/>
                  </a:lnTo>
                  <a:lnTo>
                    <a:pt x="506963" y="2605763"/>
                  </a:lnTo>
                  <a:lnTo>
                    <a:pt x="506963" y="2608046"/>
                  </a:lnTo>
                  <a:lnTo>
                    <a:pt x="509247" y="2608046"/>
                  </a:lnTo>
                  <a:lnTo>
                    <a:pt x="509247" y="2610327"/>
                  </a:lnTo>
                  <a:lnTo>
                    <a:pt x="511529" y="2610327"/>
                  </a:lnTo>
                  <a:lnTo>
                    <a:pt x="511529" y="2612609"/>
                  </a:lnTo>
                  <a:lnTo>
                    <a:pt x="513814" y="2612609"/>
                  </a:lnTo>
                  <a:lnTo>
                    <a:pt x="513814" y="2614891"/>
                  </a:lnTo>
                  <a:lnTo>
                    <a:pt x="516098" y="2614891"/>
                  </a:lnTo>
                  <a:lnTo>
                    <a:pt x="516098" y="2617173"/>
                  </a:lnTo>
                  <a:lnTo>
                    <a:pt x="518381" y="2617173"/>
                  </a:lnTo>
                  <a:lnTo>
                    <a:pt x="518381" y="2619455"/>
                  </a:lnTo>
                  <a:lnTo>
                    <a:pt x="520665" y="2619455"/>
                  </a:lnTo>
                  <a:lnTo>
                    <a:pt x="520665" y="2621737"/>
                  </a:lnTo>
                  <a:lnTo>
                    <a:pt x="520665" y="2624019"/>
                  </a:lnTo>
                  <a:lnTo>
                    <a:pt x="522947" y="2624019"/>
                  </a:lnTo>
                  <a:lnTo>
                    <a:pt x="522947" y="2626301"/>
                  </a:lnTo>
                  <a:lnTo>
                    <a:pt x="522947" y="2628583"/>
                  </a:lnTo>
                  <a:lnTo>
                    <a:pt x="525231" y="2628583"/>
                  </a:lnTo>
                  <a:lnTo>
                    <a:pt x="527515" y="2628583"/>
                  </a:lnTo>
                  <a:lnTo>
                    <a:pt x="527515" y="2630864"/>
                  </a:lnTo>
                  <a:lnTo>
                    <a:pt x="527515" y="2633146"/>
                  </a:lnTo>
                  <a:lnTo>
                    <a:pt x="529799" y="2633146"/>
                  </a:lnTo>
                  <a:lnTo>
                    <a:pt x="529799" y="2635428"/>
                  </a:lnTo>
                  <a:lnTo>
                    <a:pt x="532083" y="2635428"/>
                  </a:lnTo>
                  <a:lnTo>
                    <a:pt x="532083" y="2637710"/>
                  </a:lnTo>
                  <a:lnTo>
                    <a:pt x="532083" y="2639992"/>
                  </a:lnTo>
                  <a:lnTo>
                    <a:pt x="534366" y="2639992"/>
                  </a:lnTo>
                  <a:lnTo>
                    <a:pt x="534366" y="2642274"/>
                  </a:lnTo>
                  <a:lnTo>
                    <a:pt x="534366" y="2644556"/>
                  </a:lnTo>
                  <a:lnTo>
                    <a:pt x="534366" y="2646838"/>
                  </a:lnTo>
                  <a:lnTo>
                    <a:pt x="536650" y="2646838"/>
                  </a:lnTo>
                  <a:lnTo>
                    <a:pt x="536650" y="2649119"/>
                  </a:lnTo>
                  <a:lnTo>
                    <a:pt x="536650" y="2651402"/>
                  </a:lnTo>
                  <a:lnTo>
                    <a:pt x="538933" y="2651402"/>
                  </a:lnTo>
                  <a:lnTo>
                    <a:pt x="538933" y="2653683"/>
                  </a:lnTo>
                  <a:lnTo>
                    <a:pt x="538933" y="2655965"/>
                  </a:lnTo>
                  <a:lnTo>
                    <a:pt x="541217" y="2655965"/>
                  </a:lnTo>
                  <a:lnTo>
                    <a:pt x="541217" y="2658247"/>
                  </a:lnTo>
                  <a:lnTo>
                    <a:pt x="541217" y="2660529"/>
                  </a:lnTo>
                  <a:lnTo>
                    <a:pt x="543501" y="2660529"/>
                  </a:lnTo>
                  <a:lnTo>
                    <a:pt x="543501" y="2662811"/>
                  </a:lnTo>
                  <a:lnTo>
                    <a:pt x="545784" y="2662811"/>
                  </a:lnTo>
                  <a:lnTo>
                    <a:pt x="545784" y="2665093"/>
                  </a:lnTo>
                  <a:lnTo>
                    <a:pt x="545784" y="2667375"/>
                  </a:lnTo>
                  <a:lnTo>
                    <a:pt x="548068" y="2667375"/>
                  </a:lnTo>
                  <a:lnTo>
                    <a:pt x="548068" y="2669657"/>
                  </a:lnTo>
                  <a:lnTo>
                    <a:pt x="550351" y="2669657"/>
                  </a:lnTo>
                  <a:lnTo>
                    <a:pt x="550351" y="2671939"/>
                  </a:lnTo>
                  <a:lnTo>
                    <a:pt x="550351" y="2674220"/>
                  </a:lnTo>
                  <a:lnTo>
                    <a:pt x="552635" y="2674220"/>
                  </a:lnTo>
                  <a:lnTo>
                    <a:pt x="552635" y="2676493"/>
                  </a:lnTo>
                  <a:lnTo>
                    <a:pt x="554919" y="2676493"/>
                  </a:lnTo>
                  <a:lnTo>
                    <a:pt x="554919" y="2678775"/>
                  </a:lnTo>
                  <a:lnTo>
                    <a:pt x="554919" y="2681057"/>
                  </a:lnTo>
                  <a:lnTo>
                    <a:pt x="554919" y="2683338"/>
                  </a:lnTo>
                  <a:lnTo>
                    <a:pt x="554919" y="2685620"/>
                  </a:lnTo>
                  <a:lnTo>
                    <a:pt x="557202" y="2685620"/>
                  </a:lnTo>
                  <a:lnTo>
                    <a:pt x="559486" y="2685620"/>
                  </a:lnTo>
                  <a:lnTo>
                    <a:pt x="559486" y="2687902"/>
                  </a:lnTo>
                  <a:lnTo>
                    <a:pt x="559486" y="2690184"/>
                  </a:lnTo>
                  <a:lnTo>
                    <a:pt x="559486" y="2692466"/>
                  </a:lnTo>
                  <a:lnTo>
                    <a:pt x="561769" y="2692466"/>
                  </a:lnTo>
                  <a:lnTo>
                    <a:pt x="561769" y="2694748"/>
                  </a:lnTo>
                  <a:lnTo>
                    <a:pt x="564053" y="2694748"/>
                  </a:lnTo>
                  <a:lnTo>
                    <a:pt x="566337" y="2694748"/>
                  </a:lnTo>
                  <a:lnTo>
                    <a:pt x="570904" y="2697030"/>
                  </a:lnTo>
                  <a:lnTo>
                    <a:pt x="573187" y="2697030"/>
                  </a:lnTo>
                  <a:lnTo>
                    <a:pt x="577755" y="2699312"/>
                  </a:lnTo>
                  <a:lnTo>
                    <a:pt x="580038" y="2699312"/>
                  </a:lnTo>
                  <a:lnTo>
                    <a:pt x="582322" y="2699312"/>
                  </a:lnTo>
                  <a:lnTo>
                    <a:pt x="586889" y="2701594"/>
                  </a:lnTo>
                  <a:lnTo>
                    <a:pt x="591456" y="2703875"/>
                  </a:lnTo>
                  <a:lnTo>
                    <a:pt x="589173" y="2697030"/>
                  </a:lnTo>
                  <a:lnTo>
                    <a:pt x="589173" y="2692466"/>
                  </a:lnTo>
                  <a:lnTo>
                    <a:pt x="586889" y="2687902"/>
                  </a:lnTo>
                  <a:lnTo>
                    <a:pt x="584605" y="2683338"/>
                  </a:lnTo>
                  <a:lnTo>
                    <a:pt x="582322" y="2676493"/>
                  </a:lnTo>
                  <a:lnTo>
                    <a:pt x="580038" y="2669657"/>
                  </a:lnTo>
                  <a:lnTo>
                    <a:pt x="582322" y="2665093"/>
                  </a:lnTo>
                  <a:lnTo>
                    <a:pt x="584605" y="2662811"/>
                  </a:lnTo>
                  <a:lnTo>
                    <a:pt x="586889" y="2662811"/>
                  </a:lnTo>
                  <a:lnTo>
                    <a:pt x="589173" y="2660529"/>
                  </a:lnTo>
                  <a:lnTo>
                    <a:pt x="591456" y="2658247"/>
                  </a:lnTo>
                  <a:lnTo>
                    <a:pt x="591456" y="2655965"/>
                  </a:lnTo>
                  <a:lnTo>
                    <a:pt x="593740" y="2655965"/>
                  </a:lnTo>
                  <a:lnTo>
                    <a:pt x="593740" y="2653683"/>
                  </a:lnTo>
                  <a:lnTo>
                    <a:pt x="596023" y="2651402"/>
                  </a:lnTo>
                  <a:lnTo>
                    <a:pt x="598308" y="2649119"/>
                  </a:lnTo>
                  <a:lnTo>
                    <a:pt x="600591" y="2649119"/>
                  </a:lnTo>
                  <a:lnTo>
                    <a:pt x="600591" y="2646838"/>
                  </a:lnTo>
                  <a:lnTo>
                    <a:pt x="602874" y="2644556"/>
                  </a:lnTo>
                  <a:lnTo>
                    <a:pt x="605158" y="2644556"/>
                  </a:lnTo>
                  <a:lnTo>
                    <a:pt x="607442" y="2644556"/>
                  </a:lnTo>
                  <a:lnTo>
                    <a:pt x="607442" y="2642274"/>
                  </a:lnTo>
                  <a:lnTo>
                    <a:pt x="607442" y="2639992"/>
                  </a:lnTo>
                  <a:lnTo>
                    <a:pt x="609726" y="2639992"/>
                  </a:lnTo>
                  <a:lnTo>
                    <a:pt x="609726" y="2637710"/>
                  </a:lnTo>
                  <a:lnTo>
                    <a:pt x="612010" y="2637710"/>
                  </a:lnTo>
                  <a:lnTo>
                    <a:pt x="614292" y="2635428"/>
                  </a:lnTo>
                  <a:lnTo>
                    <a:pt x="616576" y="2633146"/>
                  </a:lnTo>
                  <a:lnTo>
                    <a:pt x="618860" y="2633146"/>
                  </a:lnTo>
                  <a:lnTo>
                    <a:pt x="618860" y="2630864"/>
                  </a:lnTo>
                  <a:lnTo>
                    <a:pt x="616576" y="2628583"/>
                  </a:lnTo>
                  <a:lnTo>
                    <a:pt x="614292" y="2626301"/>
                  </a:lnTo>
                  <a:lnTo>
                    <a:pt x="612010" y="2624019"/>
                  </a:lnTo>
                  <a:lnTo>
                    <a:pt x="612010" y="2621737"/>
                  </a:lnTo>
                  <a:lnTo>
                    <a:pt x="609726" y="2619455"/>
                  </a:lnTo>
                  <a:lnTo>
                    <a:pt x="607442" y="2617173"/>
                  </a:lnTo>
                  <a:lnTo>
                    <a:pt x="605158" y="2614891"/>
                  </a:lnTo>
                  <a:lnTo>
                    <a:pt x="602874" y="2612609"/>
                  </a:lnTo>
                  <a:lnTo>
                    <a:pt x="600591" y="2610327"/>
                  </a:lnTo>
                  <a:lnTo>
                    <a:pt x="600591" y="2608046"/>
                  </a:lnTo>
                  <a:lnTo>
                    <a:pt x="598308" y="2608046"/>
                  </a:lnTo>
                  <a:lnTo>
                    <a:pt x="598308" y="2603482"/>
                  </a:lnTo>
                  <a:lnTo>
                    <a:pt x="598308" y="2601200"/>
                  </a:lnTo>
                  <a:lnTo>
                    <a:pt x="598308" y="2598918"/>
                  </a:lnTo>
                  <a:lnTo>
                    <a:pt x="598308" y="2596636"/>
                  </a:lnTo>
                  <a:lnTo>
                    <a:pt x="600591" y="2596636"/>
                  </a:lnTo>
                  <a:lnTo>
                    <a:pt x="602874" y="2596636"/>
                  </a:lnTo>
                  <a:lnTo>
                    <a:pt x="605158" y="2596636"/>
                  </a:lnTo>
                  <a:lnTo>
                    <a:pt x="607442" y="2596636"/>
                  </a:lnTo>
                  <a:lnTo>
                    <a:pt x="612010" y="2596636"/>
                  </a:lnTo>
                  <a:lnTo>
                    <a:pt x="614292" y="2594354"/>
                  </a:lnTo>
                  <a:lnTo>
                    <a:pt x="618860" y="2592072"/>
                  </a:lnTo>
                  <a:lnTo>
                    <a:pt x="623428" y="2592072"/>
                  </a:lnTo>
                  <a:lnTo>
                    <a:pt x="627994" y="2592072"/>
                  </a:lnTo>
                  <a:lnTo>
                    <a:pt x="630278" y="2589790"/>
                  </a:lnTo>
                  <a:lnTo>
                    <a:pt x="632562" y="2589790"/>
                  </a:lnTo>
                  <a:lnTo>
                    <a:pt x="634845" y="2589790"/>
                  </a:lnTo>
                  <a:lnTo>
                    <a:pt x="639413" y="2592072"/>
                  </a:lnTo>
                  <a:lnTo>
                    <a:pt x="639413" y="2589790"/>
                  </a:lnTo>
                  <a:lnTo>
                    <a:pt x="639413" y="2587508"/>
                  </a:lnTo>
                  <a:lnTo>
                    <a:pt x="639413" y="2585226"/>
                  </a:lnTo>
                  <a:lnTo>
                    <a:pt x="639413" y="2580663"/>
                  </a:lnTo>
                  <a:lnTo>
                    <a:pt x="639413" y="2576099"/>
                  </a:lnTo>
                  <a:lnTo>
                    <a:pt x="639413" y="2571535"/>
                  </a:lnTo>
                  <a:lnTo>
                    <a:pt x="637129" y="2566971"/>
                  </a:lnTo>
                  <a:lnTo>
                    <a:pt x="637129" y="2557844"/>
                  </a:lnTo>
                  <a:lnTo>
                    <a:pt x="637129" y="2553280"/>
                  </a:lnTo>
                  <a:lnTo>
                    <a:pt x="637129" y="2550998"/>
                  </a:lnTo>
                  <a:lnTo>
                    <a:pt x="637129" y="2548716"/>
                  </a:lnTo>
                  <a:lnTo>
                    <a:pt x="639413" y="2544152"/>
                  </a:lnTo>
                  <a:lnTo>
                    <a:pt x="639413" y="2541870"/>
                  </a:lnTo>
                  <a:lnTo>
                    <a:pt x="639413" y="2539589"/>
                  </a:lnTo>
                  <a:lnTo>
                    <a:pt x="641696" y="2537307"/>
                  </a:lnTo>
                  <a:lnTo>
                    <a:pt x="643980" y="2537307"/>
                  </a:lnTo>
                  <a:lnTo>
                    <a:pt x="646263" y="2537307"/>
                  </a:lnTo>
                  <a:lnTo>
                    <a:pt x="646263" y="2535025"/>
                  </a:lnTo>
                  <a:lnTo>
                    <a:pt x="648547" y="2535025"/>
                  </a:lnTo>
                  <a:lnTo>
                    <a:pt x="650831" y="2535025"/>
                  </a:lnTo>
                  <a:lnTo>
                    <a:pt x="655397" y="2532743"/>
                  </a:lnTo>
                  <a:lnTo>
                    <a:pt x="657681" y="2530461"/>
                  </a:lnTo>
                  <a:lnTo>
                    <a:pt x="666816" y="2535025"/>
                  </a:lnTo>
                  <a:lnTo>
                    <a:pt x="669099" y="2535025"/>
                  </a:lnTo>
                  <a:lnTo>
                    <a:pt x="671383" y="2537307"/>
                  </a:lnTo>
                  <a:lnTo>
                    <a:pt x="680517" y="2544152"/>
                  </a:lnTo>
                  <a:lnTo>
                    <a:pt x="689652" y="2550998"/>
                  </a:lnTo>
                  <a:lnTo>
                    <a:pt x="698786" y="2557844"/>
                  </a:lnTo>
                  <a:lnTo>
                    <a:pt x="701070" y="2557844"/>
                  </a:lnTo>
                  <a:lnTo>
                    <a:pt x="701070" y="2555562"/>
                  </a:lnTo>
                  <a:lnTo>
                    <a:pt x="703353" y="2555562"/>
                  </a:lnTo>
                  <a:lnTo>
                    <a:pt x="703353" y="2553280"/>
                  </a:lnTo>
                  <a:lnTo>
                    <a:pt x="705637" y="2553280"/>
                  </a:lnTo>
                  <a:lnTo>
                    <a:pt x="705637" y="2550998"/>
                  </a:lnTo>
                  <a:lnTo>
                    <a:pt x="707921" y="2550998"/>
                  </a:lnTo>
                  <a:lnTo>
                    <a:pt x="710204" y="2550998"/>
                  </a:lnTo>
                  <a:lnTo>
                    <a:pt x="712488" y="2548716"/>
                  </a:lnTo>
                  <a:lnTo>
                    <a:pt x="710204" y="2548716"/>
                  </a:lnTo>
                  <a:lnTo>
                    <a:pt x="710204" y="2546434"/>
                  </a:lnTo>
                  <a:lnTo>
                    <a:pt x="710204" y="2544152"/>
                  </a:lnTo>
                  <a:lnTo>
                    <a:pt x="707921" y="2544152"/>
                  </a:lnTo>
                  <a:lnTo>
                    <a:pt x="710204" y="2541870"/>
                  </a:lnTo>
                  <a:lnTo>
                    <a:pt x="712488" y="2541870"/>
                  </a:lnTo>
                  <a:lnTo>
                    <a:pt x="714772" y="2541870"/>
                  </a:lnTo>
                  <a:lnTo>
                    <a:pt x="717056" y="2541870"/>
                  </a:lnTo>
                  <a:lnTo>
                    <a:pt x="719339" y="2544152"/>
                  </a:lnTo>
                  <a:lnTo>
                    <a:pt x="721622" y="2544152"/>
                  </a:lnTo>
                  <a:lnTo>
                    <a:pt x="723906" y="2546434"/>
                  </a:lnTo>
                  <a:lnTo>
                    <a:pt x="728474" y="2546434"/>
                  </a:lnTo>
                  <a:lnTo>
                    <a:pt x="730757" y="2544152"/>
                  </a:lnTo>
                  <a:lnTo>
                    <a:pt x="733040" y="2544152"/>
                  </a:lnTo>
                  <a:lnTo>
                    <a:pt x="733040" y="2541870"/>
                  </a:lnTo>
                  <a:lnTo>
                    <a:pt x="733040" y="2539589"/>
                  </a:lnTo>
                  <a:lnTo>
                    <a:pt x="735324" y="2539589"/>
                  </a:lnTo>
                  <a:lnTo>
                    <a:pt x="735324" y="2537307"/>
                  </a:lnTo>
                  <a:lnTo>
                    <a:pt x="735324" y="2535025"/>
                  </a:lnTo>
                  <a:lnTo>
                    <a:pt x="737607" y="2535025"/>
                  </a:lnTo>
                  <a:lnTo>
                    <a:pt x="737607" y="2530461"/>
                  </a:lnTo>
                  <a:lnTo>
                    <a:pt x="739892" y="2528179"/>
                  </a:lnTo>
                  <a:lnTo>
                    <a:pt x="739892" y="2525897"/>
                  </a:lnTo>
                  <a:lnTo>
                    <a:pt x="742175" y="2523615"/>
                  </a:lnTo>
                  <a:lnTo>
                    <a:pt x="742175" y="2521334"/>
                  </a:lnTo>
                  <a:lnTo>
                    <a:pt x="744459" y="2519051"/>
                  </a:lnTo>
                  <a:lnTo>
                    <a:pt x="744459" y="2514497"/>
                  </a:lnTo>
                  <a:lnTo>
                    <a:pt x="746743" y="2514497"/>
                  </a:lnTo>
                  <a:lnTo>
                    <a:pt x="746743" y="2512215"/>
                  </a:lnTo>
                  <a:lnTo>
                    <a:pt x="746743" y="2509934"/>
                  </a:lnTo>
                  <a:lnTo>
                    <a:pt x="749025" y="2509934"/>
                  </a:lnTo>
                  <a:lnTo>
                    <a:pt x="753593" y="2496242"/>
                  </a:lnTo>
                  <a:lnTo>
                    <a:pt x="755877" y="2493960"/>
                  </a:lnTo>
                  <a:lnTo>
                    <a:pt x="758161" y="2491678"/>
                  </a:lnTo>
                  <a:lnTo>
                    <a:pt x="758161" y="2487114"/>
                  </a:lnTo>
                  <a:lnTo>
                    <a:pt x="760443" y="2484833"/>
                  </a:lnTo>
                  <a:lnTo>
                    <a:pt x="762728" y="2480269"/>
                  </a:lnTo>
                  <a:lnTo>
                    <a:pt x="765011" y="2477987"/>
                  </a:lnTo>
                  <a:lnTo>
                    <a:pt x="765011" y="2473423"/>
                  </a:lnTo>
                  <a:lnTo>
                    <a:pt x="762728" y="2446040"/>
                  </a:lnTo>
                  <a:lnTo>
                    <a:pt x="765011" y="2441477"/>
                  </a:lnTo>
                  <a:lnTo>
                    <a:pt x="767295" y="2439195"/>
                  </a:lnTo>
                  <a:lnTo>
                    <a:pt x="767295" y="2436913"/>
                  </a:lnTo>
                  <a:lnTo>
                    <a:pt x="769579" y="2434631"/>
                  </a:lnTo>
                  <a:lnTo>
                    <a:pt x="771862" y="2430067"/>
                  </a:lnTo>
                  <a:lnTo>
                    <a:pt x="771862" y="2427785"/>
                  </a:lnTo>
                  <a:lnTo>
                    <a:pt x="771862" y="2425503"/>
                  </a:lnTo>
                  <a:lnTo>
                    <a:pt x="774146" y="2423222"/>
                  </a:lnTo>
                  <a:lnTo>
                    <a:pt x="776429" y="2420939"/>
                  </a:lnTo>
                  <a:lnTo>
                    <a:pt x="776429" y="2418658"/>
                  </a:lnTo>
                  <a:lnTo>
                    <a:pt x="776429" y="2416376"/>
                  </a:lnTo>
                  <a:lnTo>
                    <a:pt x="774146" y="2414094"/>
                  </a:lnTo>
                  <a:lnTo>
                    <a:pt x="771862" y="2411812"/>
                  </a:lnTo>
                  <a:lnTo>
                    <a:pt x="771862" y="2409530"/>
                  </a:lnTo>
                  <a:lnTo>
                    <a:pt x="771862" y="2407248"/>
                  </a:lnTo>
                  <a:lnTo>
                    <a:pt x="769579" y="2404966"/>
                  </a:lnTo>
                  <a:lnTo>
                    <a:pt x="769579" y="2402684"/>
                  </a:lnTo>
                  <a:lnTo>
                    <a:pt x="767295" y="2402684"/>
                  </a:lnTo>
                  <a:lnTo>
                    <a:pt x="767295" y="2400402"/>
                  </a:lnTo>
                  <a:lnTo>
                    <a:pt x="765011" y="2398121"/>
                  </a:lnTo>
                  <a:lnTo>
                    <a:pt x="765011" y="2395839"/>
                  </a:lnTo>
                  <a:lnTo>
                    <a:pt x="765011" y="2393557"/>
                  </a:lnTo>
                  <a:lnTo>
                    <a:pt x="762728" y="2391275"/>
                  </a:lnTo>
                  <a:lnTo>
                    <a:pt x="765011" y="2391275"/>
                  </a:lnTo>
                  <a:lnTo>
                    <a:pt x="765011" y="2393557"/>
                  </a:lnTo>
                  <a:lnTo>
                    <a:pt x="767295" y="2395839"/>
                  </a:lnTo>
                  <a:lnTo>
                    <a:pt x="769579" y="2395839"/>
                  </a:lnTo>
                  <a:lnTo>
                    <a:pt x="771862" y="2398121"/>
                  </a:lnTo>
                  <a:lnTo>
                    <a:pt x="774146" y="2400402"/>
                  </a:lnTo>
                  <a:lnTo>
                    <a:pt x="776429" y="2400402"/>
                  </a:lnTo>
                  <a:lnTo>
                    <a:pt x="776429" y="2402684"/>
                  </a:lnTo>
                  <a:lnTo>
                    <a:pt x="778713" y="2404966"/>
                  </a:lnTo>
                  <a:lnTo>
                    <a:pt x="780997" y="2407248"/>
                  </a:lnTo>
                  <a:lnTo>
                    <a:pt x="783280" y="2407248"/>
                  </a:lnTo>
                  <a:lnTo>
                    <a:pt x="783280" y="2409530"/>
                  </a:lnTo>
                  <a:lnTo>
                    <a:pt x="787847" y="2411812"/>
                  </a:lnTo>
                  <a:lnTo>
                    <a:pt x="808400" y="2436913"/>
                  </a:lnTo>
                  <a:lnTo>
                    <a:pt x="810683" y="2439195"/>
                  </a:lnTo>
                  <a:lnTo>
                    <a:pt x="812967" y="2441477"/>
                  </a:lnTo>
                  <a:lnTo>
                    <a:pt x="815251" y="2443758"/>
                  </a:lnTo>
                  <a:lnTo>
                    <a:pt x="812967" y="2439195"/>
                  </a:lnTo>
                  <a:lnTo>
                    <a:pt x="810683" y="2434631"/>
                  </a:lnTo>
                  <a:lnTo>
                    <a:pt x="810683" y="2432349"/>
                  </a:lnTo>
                  <a:lnTo>
                    <a:pt x="808400" y="2427785"/>
                  </a:lnTo>
                  <a:lnTo>
                    <a:pt x="806116" y="2425503"/>
                  </a:lnTo>
                  <a:lnTo>
                    <a:pt x="806116" y="2423222"/>
                  </a:lnTo>
                  <a:lnTo>
                    <a:pt x="803833" y="2418658"/>
                  </a:lnTo>
                  <a:lnTo>
                    <a:pt x="801549" y="2414094"/>
                  </a:lnTo>
                  <a:lnTo>
                    <a:pt x="801549" y="2411812"/>
                  </a:lnTo>
                  <a:lnTo>
                    <a:pt x="801549" y="2409530"/>
                  </a:lnTo>
                  <a:lnTo>
                    <a:pt x="801549" y="2407248"/>
                  </a:lnTo>
                  <a:lnTo>
                    <a:pt x="803833" y="2404966"/>
                  </a:lnTo>
                  <a:lnTo>
                    <a:pt x="803833" y="2402684"/>
                  </a:lnTo>
                  <a:lnTo>
                    <a:pt x="803833" y="2400402"/>
                  </a:lnTo>
                  <a:lnTo>
                    <a:pt x="803833" y="2398121"/>
                  </a:lnTo>
                  <a:lnTo>
                    <a:pt x="803833" y="2395839"/>
                  </a:lnTo>
                  <a:lnTo>
                    <a:pt x="803833" y="2393557"/>
                  </a:lnTo>
                  <a:lnTo>
                    <a:pt x="803833" y="2391275"/>
                  </a:lnTo>
                  <a:lnTo>
                    <a:pt x="803833" y="2388993"/>
                  </a:lnTo>
                  <a:lnTo>
                    <a:pt x="806116" y="2386711"/>
                  </a:lnTo>
                  <a:lnTo>
                    <a:pt x="806116" y="2384429"/>
                  </a:lnTo>
                  <a:lnTo>
                    <a:pt x="806116" y="2382147"/>
                  </a:lnTo>
                  <a:lnTo>
                    <a:pt x="808400" y="2382147"/>
                  </a:lnTo>
                  <a:lnTo>
                    <a:pt x="808400" y="2379865"/>
                  </a:lnTo>
                  <a:lnTo>
                    <a:pt x="810683" y="2379865"/>
                  </a:lnTo>
                  <a:lnTo>
                    <a:pt x="812967" y="2379865"/>
                  </a:lnTo>
                  <a:lnTo>
                    <a:pt x="815251" y="2379865"/>
                  </a:lnTo>
                  <a:lnTo>
                    <a:pt x="815251" y="2377583"/>
                  </a:lnTo>
                  <a:lnTo>
                    <a:pt x="819818" y="2377583"/>
                  </a:lnTo>
                  <a:lnTo>
                    <a:pt x="822102" y="2377583"/>
                  </a:lnTo>
                  <a:lnTo>
                    <a:pt x="822102" y="2375302"/>
                  </a:lnTo>
                  <a:lnTo>
                    <a:pt x="824385" y="2375302"/>
                  </a:lnTo>
                  <a:lnTo>
                    <a:pt x="826669" y="2375302"/>
                  </a:lnTo>
                  <a:lnTo>
                    <a:pt x="828952" y="2375302"/>
                  </a:lnTo>
                  <a:lnTo>
                    <a:pt x="828952" y="2373020"/>
                  </a:lnTo>
                  <a:lnTo>
                    <a:pt x="831236" y="2375302"/>
                  </a:lnTo>
                  <a:lnTo>
                    <a:pt x="831236" y="2377583"/>
                  </a:lnTo>
                  <a:lnTo>
                    <a:pt x="833520" y="2377583"/>
                  </a:lnTo>
                  <a:lnTo>
                    <a:pt x="833520" y="2379865"/>
                  </a:lnTo>
                  <a:lnTo>
                    <a:pt x="840370" y="2388993"/>
                  </a:lnTo>
                  <a:lnTo>
                    <a:pt x="840370" y="2391275"/>
                  </a:lnTo>
                  <a:lnTo>
                    <a:pt x="844938" y="2393557"/>
                  </a:lnTo>
                  <a:lnTo>
                    <a:pt x="844938" y="2395839"/>
                  </a:lnTo>
                  <a:lnTo>
                    <a:pt x="847222" y="2398121"/>
                  </a:lnTo>
                  <a:lnTo>
                    <a:pt x="847222" y="2400402"/>
                  </a:lnTo>
                  <a:lnTo>
                    <a:pt x="849505" y="2400402"/>
                  </a:lnTo>
                  <a:lnTo>
                    <a:pt x="849505" y="2402684"/>
                  </a:lnTo>
                  <a:lnTo>
                    <a:pt x="851789" y="2404966"/>
                  </a:lnTo>
                  <a:lnTo>
                    <a:pt x="851789" y="2407248"/>
                  </a:lnTo>
                  <a:lnTo>
                    <a:pt x="854072" y="2409530"/>
                  </a:lnTo>
                  <a:lnTo>
                    <a:pt x="856356" y="2411812"/>
                  </a:lnTo>
                  <a:lnTo>
                    <a:pt x="856356" y="2414094"/>
                  </a:lnTo>
                  <a:lnTo>
                    <a:pt x="858640" y="2416376"/>
                  </a:lnTo>
                  <a:lnTo>
                    <a:pt x="858640" y="2418658"/>
                  </a:lnTo>
                  <a:lnTo>
                    <a:pt x="860923" y="2418658"/>
                  </a:lnTo>
                  <a:lnTo>
                    <a:pt x="860923" y="2420939"/>
                  </a:lnTo>
                  <a:lnTo>
                    <a:pt x="863207" y="2423222"/>
                  </a:lnTo>
                  <a:lnTo>
                    <a:pt x="867774" y="2423222"/>
                  </a:lnTo>
                  <a:lnTo>
                    <a:pt x="872341" y="2425503"/>
                  </a:lnTo>
                  <a:lnTo>
                    <a:pt x="874625" y="2425503"/>
                  </a:lnTo>
                  <a:lnTo>
                    <a:pt x="879192" y="2425503"/>
                  </a:lnTo>
                  <a:lnTo>
                    <a:pt x="883759" y="2425503"/>
                  </a:lnTo>
                  <a:lnTo>
                    <a:pt x="888327" y="2425503"/>
                  </a:lnTo>
                  <a:lnTo>
                    <a:pt x="890610" y="2425503"/>
                  </a:lnTo>
                  <a:lnTo>
                    <a:pt x="892894" y="2425503"/>
                  </a:lnTo>
                  <a:lnTo>
                    <a:pt x="895177" y="2425503"/>
                  </a:lnTo>
                  <a:lnTo>
                    <a:pt x="897461" y="2425503"/>
                  </a:lnTo>
                  <a:lnTo>
                    <a:pt x="902028" y="2425503"/>
                  </a:lnTo>
                  <a:lnTo>
                    <a:pt x="902028" y="2427785"/>
                  </a:lnTo>
                  <a:lnTo>
                    <a:pt x="904312" y="2430067"/>
                  </a:lnTo>
                  <a:lnTo>
                    <a:pt x="906595" y="2432349"/>
                  </a:lnTo>
                  <a:lnTo>
                    <a:pt x="906595" y="2434631"/>
                  </a:lnTo>
                  <a:lnTo>
                    <a:pt x="908879" y="2436913"/>
                  </a:lnTo>
                  <a:lnTo>
                    <a:pt x="911163" y="2439195"/>
                  </a:lnTo>
                  <a:lnTo>
                    <a:pt x="911163" y="2441477"/>
                  </a:lnTo>
                  <a:lnTo>
                    <a:pt x="913446" y="2443758"/>
                  </a:lnTo>
                  <a:lnTo>
                    <a:pt x="915730" y="2446040"/>
                  </a:lnTo>
                  <a:lnTo>
                    <a:pt x="915730" y="2448322"/>
                  </a:lnTo>
                  <a:lnTo>
                    <a:pt x="915730" y="2450604"/>
                  </a:lnTo>
                  <a:lnTo>
                    <a:pt x="915730" y="2452886"/>
                  </a:lnTo>
                  <a:lnTo>
                    <a:pt x="915730" y="2455168"/>
                  </a:lnTo>
                  <a:lnTo>
                    <a:pt x="915730" y="2457450"/>
                  </a:lnTo>
                  <a:lnTo>
                    <a:pt x="915730" y="2459732"/>
                  </a:lnTo>
                  <a:lnTo>
                    <a:pt x="918013" y="2462014"/>
                  </a:lnTo>
                  <a:lnTo>
                    <a:pt x="918013" y="2464295"/>
                  </a:lnTo>
                  <a:lnTo>
                    <a:pt x="918013" y="2466578"/>
                  </a:lnTo>
                  <a:lnTo>
                    <a:pt x="920297" y="2468859"/>
                  </a:lnTo>
                  <a:lnTo>
                    <a:pt x="927149" y="2473423"/>
                  </a:lnTo>
                  <a:lnTo>
                    <a:pt x="929431" y="2475705"/>
                  </a:lnTo>
                  <a:lnTo>
                    <a:pt x="931715" y="2477987"/>
                  </a:lnTo>
                  <a:lnTo>
                    <a:pt x="936282" y="2477987"/>
                  </a:lnTo>
                  <a:lnTo>
                    <a:pt x="936282" y="2480269"/>
                  </a:lnTo>
                  <a:lnTo>
                    <a:pt x="938567" y="2480269"/>
                  </a:lnTo>
                  <a:lnTo>
                    <a:pt x="940850" y="2482551"/>
                  </a:lnTo>
                  <a:lnTo>
                    <a:pt x="943133" y="2484833"/>
                  </a:lnTo>
                  <a:lnTo>
                    <a:pt x="945416" y="2484833"/>
                  </a:lnTo>
                  <a:lnTo>
                    <a:pt x="947700" y="2484833"/>
                  </a:lnTo>
                  <a:lnTo>
                    <a:pt x="947700" y="2487114"/>
                  </a:lnTo>
                  <a:lnTo>
                    <a:pt x="952269" y="2487114"/>
                  </a:lnTo>
                  <a:lnTo>
                    <a:pt x="954553" y="2487114"/>
                  </a:lnTo>
                  <a:lnTo>
                    <a:pt x="956836" y="2489396"/>
                  </a:lnTo>
                  <a:lnTo>
                    <a:pt x="959120" y="2489396"/>
                  </a:lnTo>
                  <a:lnTo>
                    <a:pt x="961404" y="2489396"/>
                  </a:lnTo>
                  <a:lnTo>
                    <a:pt x="963687" y="2491678"/>
                  </a:lnTo>
                  <a:lnTo>
                    <a:pt x="968254" y="2491678"/>
                  </a:lnTo>
                  <a:lnTo>
                    <a:pt x="972822" y="2491678"/>
                  </a:lnTo>
                  <a:lnTo>
                    <a:pt x="975105" y="2493960"/>
                  </a:lnTo>
                  <a:lnTo>
                    <a:pt x="975105" y="2496242"/>
                  </a:lnTo>
                  <a:lnTo>
                    <a:pt x="975105" y="2498524"/>
                  </a:lnTo>
                  <a:lnTo>
                    <a:pt x="977389" y="2500806"/>
                  </a:lnTo>
                  <a:lnTo>
                    <a:pt x="977389" y="2503088"/>
                  </a:lnTo>
                  <a:lnTo>
                    <a:pt x="977389" y="2507651"/>
                  </a:lnTo>
                  <a:lnTo>
                    <a:pt x="977389" y="2514497"/>
                  </a:lnTo>
                  <a:lnTo>
                    <a:pt x="979672" y="2516770"/>
                  </a:lnTo>
                  <a:lnTo>
                    <a:pt x="979672" y="2519051"/>
                  </a:lnTo>
                  <a:lnTo>
                    <a:pt x="981956" y="2539589"/>
                  </a:lnTo>
                  <a:lnTo>
                    <a:pt x="981956" y="2541870"/>
                  </a:lnTo>
                  <a:lnTo>
                    <a:pt x="981956" y="2544152"/>
                  </a:lnTo>
                  <a:lnTo>
                    <a:pt x="952269" y="2553280"/>
                  </a:lnTo>
                  <a:lnTo>
                    <a:pt x="952269" y="2555562"/>
                  </a:lnTo>
                  <a:lnTo>
                    <a:pt x="956836" y="2557844"/>
                  </a:lnTo>
                  <a:lnTo>
                    <a:pt x="961404" y="2560126"/>
                  </a:lnTo>
                  <a:lnTo>
                    <a:pt x="965971" y="2562407"/>
                  </a:lnTo>
                  <a:lnTo>
                    <a:pt x="970538" y="2564690"/>
                  </a:lnTo>
                  <a:lnTo>
                    <a:pt x="975105" y="2566971"/>
                  </a:lnTo>
                  <a:lnTo>
                    <a:pt x="979672" y="2569253"/>
                  </a:lnTo>
                  <a:lnTo>
                    <a:pt x="984240" y="2571535"/>
                  </a:lnTo>
                  <a:lnTo>
                    <a:pt x="986523" y="2571535"/>
                  </a:lnTo>
                  <a:lnTo>
                    <a:pt x="988807" y="2573817"/>
                  </a:lnTo>
                  <a:lnTo>
                    <a:pt x="993374" y="2576099"/>
                  </a:lnTo>
                  <a:lnTo>
                    <a:pt x="988807" y="2578381"/>
                  </a:lnTo>
                  <a:lnTo>
                    <a:pt x="986523" y="2580663"/>
                  </a:lnTo>
                  <a:lnTo>
                    <a:pt x="984240" y="2582945"/>
                  </a:lnTo>
                  <a:lnTo>
                    <a:pt x="979672" y="2582945"/>
                  </a:lnTo>
                  <a:lnTo>
                    <a:pt x="977389" y="2585226"/>
                  </a:lnTo>
                  <a:lnTo>
                    <a:pt x="975105" y="2587508"/>
                  </a:lnTo>
                  <a:lnTo>
                    <a:pt x="972822" y="2587508"/>
                  </a:lnTo>
                  <a:lnTo>
                    <a:pt x="968254" y="2592072"/>
                  </a:lnTo>
                  <a:lnTo>
                    <a:pt x="968254" y="2594354"/>
                  </a:lnTo>
                  <a:lnTo>
                    <a:pt x="968254" y="2596636"/>
                  </a:lnTo>
                  <a:lnTo>
                    <a:pt x="968254" y="2598918"/>
                  </a:lnTo>
                  <a:lnTo>
                    <a:pt x="968254" y="2603482"/>
                  </a:lnTo>
                  <a:lnTo>
                    <a:pt x="968254" y="2605763"/>
                  </a:lnTo>
                  <a:lnTo>
                    <a:pt x="968254" y="2608046"/>
                  </a:lnTo>
                  <a:lnTo>
                    <a:pt x="968254" y="2612609"/>
                  </a:lnTo>
                  <a:lnTo>
                    <a:pt x="968254" y="2614891"/>
                  </a:lnTo>
                  <a:lnTo>
                    <a:pt x="968254" y="2617173"/>
                  </a:lnTo>
                  <a:lnTo>
                    <a:pt x="968254" y="2619455"/>
                  </a:lnTo>
                  <a:lnTo>
                    <a:pt x="968254" y="2621737"/>
                  </a:lnTo>
                  <a:lnTo>
                    <a:pt x="970538" y="2621737"/>
                  </a:lnTo>
                  <a:lnTo>
                    <a:pt x="970538" y="2624019"/>
                  </a:lnTo>
                  <a:lnTo>
                    <a:pt x="970538" y="2626301"/>
                  </a:lnTo>
                  <a:lnTo>
                    <a:pt x="979672" y="2637710"/>
                  </a:lnTo>
                  <a:lnTo>
                    <a:pt x="981956" y="2639992"/>
                  </a:lnTo>
                  <a:lnTo>
                    <a:pt x="981956" y="2642274"/>
                  </a:lnTo>
                  <a:lnTo>
                    <a:pt x="984240" y="2646838"/>
                  </a:lnTo>
                  <a:lnTo>
                    <a:pt x="986523" y="2651402"/>
                  </a:lnTo>
                  <a:lnTo>
                    <a:pt x="986523" y="2653683"/>
                  </a:lnTo>
                  <a:lnTo>
                    <a:pt x="986523" y="2655965"/>
                  </a:lnTo>
                  <a:lnTo>
                    <a:pt x="986523" y="2658247"/>
                  </a:lnTo>
                  <a:lnTo>
                    <a:pt x="986523" y="2660529"/>
                  </a:lnTo>
                  <a:lnTo>
                    <a:pt x="986523" y="2662811"/>
                  </a:lnTo>
                  <a:lnTo>
                    <a:pt x="986523" y="2667375"/>
                  </a:lnTo>
                  <a:lnTo>
                    <a:pt x="986523" y="2669657"/>
                  </a:lnTo>
                  <a:lnTo>
                    <a:pt x="986523" y="2671939"/>
                  </a:lnTo>
                  <a:lnTo>
                    <a:pt x="988807" y="2674220"/>
                  </a:lnTo>
                  <a:lnTo>
                    <a:pt x="988807" y="2678775"/>
                  </a:lnTo>
                  <a:lnTo>
                    <a:pt x="988807" y="2681057"/>
                  </a:lnTo>
                  <a:lnTo>
                    <a:pt x="988807" y="2683338"/>
                  </a:lnTo>
                  <a:lnTo>
                    <a:pt x="988807" y="2685620"/>
                  </a:lnTo>
                  <a:lnTo>
                    <a:pt x="988807" y="2687902"/>
                  </a:lnTo>
                  <a:lnTo>
                    <a:pt x="988807" y="2690184"/>
                  </a:lnTo>
                  <a:lnTo>
                    <a:pt x="988807" y="2692466"/>
                  </a:lnTo>
                  <a:lnTo>
                    <a:pt x="988807" y="2694748"/>
                  </a:lnTo>
                  <a:lnTo>
                    <a:pt x="988807" y="2697030"/>
                  </a:lnTo>
                  <a:lnTo>
                    <a:pt x="988807" y="2699312"/>
                  </a:lnTo>
                  <a:lnTo>
                    <a:pt x="988807" y="2701594"/>
                  </a:lnTo>
                  <a:lnTo>
                    <a:pt x="991090" y="2701594"/>
                  </a:lnTo>
                  <a:lnTo>
                    <a:pt x="991090" y="2703875"/>
                  </a:lnTo>
                  <a:lnTo>
                    <a:pt x="991090" y="2706158"/>
                  </a:lnTo>
                  <a:lnTo>
                    <a:pt x="993374" y="2706158"/>
                  </a:lnTo>
                  <a:lnTo>
                    <a:pt x="993374" y="2708439"/>
                  </a:lnTo>
                  <a:lnTo>
                    <a:pt x="993374" y="2710721"/>
                  </a:lnTo>
                  <a:lnTo>
                    <a:pt x="995657" y="2713003"/>
                  </a:lnTo>
                  <a:lnTo>
                    <a:pt x="995657" y="2715285"/>
                  </a:lnTo>
                  <a:lnTo>
                    <a:pt x="997941" y="2715285"/>
                  </a:lnTo>
                  <a:lnTo>
                    <a:pt x="997941" y="2717567"/>
                  </a:lnTo>
                  <a:lnTo>
                    <a:pt x="1000225" y="2717567"/>
                  </a:lnTo>
                  <a:lnTo>
                    <a:pt x="1002508" y="2717567"/>
                  </a:lnTo>
                  <a:lnTo>
                    <a:pt x="1004792" y="2719849"/>
                  </a:lnTo>
                  <a:lnTo>
                    <a:pt x="1007076" y="2719849"/>
                  </a:lnTo>
                  <a:lnTo>
                    <a:pt x="1009359" y="2722131"/>
                  </a:lnTo>
                  <a:lnTo>
                    <a:pt x="1011643" y="2722131"/>
                  </a:lnTo>
                  <a:lnTo>
                    <a:pt x="1013926" y="2724413"/>
                  </a:lnTo>
                  <a:lnTo>
                    <a:pt x="1011643" y="2726695"/>
                  </a:lnTo>
                  <a:lnTo>
                    <a:pt x="1011643" y="2728976"/>
                  </a:lnTo>
                  <a:lnTo>
                    <a:pt x="1009359" y="2731258"/>
                  </a:lnTo>
                  <a:lnTo>
                    <a:pt x="1009359" y="2733540"/>
                  </a:lnTo>
                  <a:lnTo>
                    <a:pt x="1009359" y="2735822"/>
                  </a:lnTo>
                  <a:lnTo>
                    <a:pt x="1007076" y="2738104"/>
                  </a:lnTo>
                  <a:lnTo>
                    <a:pt x="1007076" y="2740386"/>
                  </a:lnTo>
                  <a:lnTo>
                    <a:pt x="1004792" y="2742668"/>
                  </a:lnTo>
                  <a:lnTo>
                    <a:pt x="1004792" y="2744950"/>
                  </a:lnTo>
                  <a:lnTo>
                    <a:pt x="1007076" y="2744950"/>
                  </a:lnTo>
                  <a:lnTo>
                    <a:pt x="1007076" y="2747231"/>
                  </a:lnTo>
                  <a:lnTo>
                    <a:pt x="1009359" y="2747231"/>
                  </a:lnTo>
                  <a:lnTo>
                    <a:pt x="1011643" y="2747231"/>
                  </a:lnTo>
                  <a:lnTo>
                    <a:pt x="1011643" y="2749514"/>
                  </a:lnTo>
                  <a:lnTo>
                    <a:pt x="1013926" y="2749514"/>
                  </a:lnTo>
                  <a:lnTo>
                    <a:pt x="1016210" y="2749514"/>
                  </a:lnTo>
                  <a:lnTo>
                    <a:pt x="1016210" y="2751795"/>
                  </a:lnTo>
                  <a:lnTo>
                    <a:pt x="1018493" y="2751795"/>
                  </a:lnTo>
                  <a:lnTo>
                    <a:pt x="1018493" y="2754077"/>
                  </a:lnTo>
                  <a:lnTo>
                    <a:pt x="1020777" y="2754077"/>
                  </a:lnTo>
                  <a:lnTo>
                    <a:pt x="1020777" y="2756359"/>
                  </a:lnTo>
                  <a:lnTo>
                    <a:pt x="1023061" y="2756359"/>
                  </a:lnTo>
                  <a:lnTo>
                    <a:pt x="1023061" y="2758641"/>
                  </a:lnTo>
                  <a:lnTo>
                    <a:pt x="1023061" y="2760923"/>
                  </a:lnTo>
                  <a:lnTo>
                    <a:pt x="1025344" y="2763205"/>
                  </a:lnTo>
                  <a:lnTo>
                    <a:pt x="1023061" y="2763205"/>
                  </a:lnTo>
                  <a:lnTo>
                    <a:pt x="1023061" y="2765487"/>
                  </a:lnTo>
                  <a:lnTo>
                    <a:pt x="1023061" y="2767769"/>
                  </a:lnTo>
                  <a:lnTo>
                    <a:pt x="1025344" y="2767769"/>
                  </a:lnTo>
                  <a:lnTo>
                    <a:pt x="1025344" y="2770051"/>
                  </a:lnTo>
                  <a:lnTo>
                    <a:pt x="1027628" y="2770051"/>
                  </a:lnTo>
                  <a:lnTo>
                    <a:pt x="1027628" y="2772332"/>
                  </a:lnTo>
                  <a:lnTo>
                    <a:pt x="1027628" y="2774614"/>
                  </a:lnTo>
                  <a:lnTo>
                    <a:pt x="1027628" y="2776896"/>
                  </a:lnTo>
                  <a:lnTo>
                    <a:pt x="1027628" y="2779178"/>
                  </a:lnTo>
                  <a:lnTo>
                    <a:pt x="1027628" y="2781460"/>
                  </a:lnTo>
                  <a:lnTo>
                    <a:pt x="1027628" y="2783742"/>
                  </a:lnTo>
                  <a:lnTo>
                    <a:pt x="1027628" y="2786024"/>
                  </a:lnTo>
                  <a:lnTo>
                    <a:pt x="1027628" y="2788306"/>
                  </a:lnTo>
                  <a:lnTo>
                    <a:pt x="1027628" y="2790588"/>
                  </a:lnTo>
                  <a:lnTo>
                    <a:pt x="1025344" y="2790588"/>
                  </a:lnTo>
                  <a:lnTo>
                    <a:pt x="1025344" y="2792870"/>
                  </a:lnTo>
                  <a:lnTo>
                    <a:pt x="1025344" y="2795151"/>
                  </a:lnTo>
                  <a:lnTo>
                    <a:pt x="1023061" y="2795151"/>
                  </a:lnTo>
                  <a:lnTo>
                    <a:pt x="1023061" y="2797433"/>
                  </a:lnTo>
                  <a:lnTo>
                    <a:pt x="1023061" y="2799715"/>
                  </a:lnTo>
                  <a:lnTo>
                    <a:pt x="1023061" y="2801997"/>
                  </a:lnTo>
                  <a:lnTo>
                    <a:pt x="1023061" y="2804279"/>
                  </a:lnTo>
                  <a:lnTo>
                    <a:pt x="1020777" y="2804279"/>
                  </a:lnTo>
                  <a:lnTo>
                    <a:pt x="1020777" y="2806561"/>
                  </a:lnTo>
                  <a:lnTo>
                    <a:pt x="1018493" y="2806561"/>
                  </a:lnTo>
                  <a:lnTo>
                    <a:pt x="1018493" y="2808843"/>
                  </a:lnTo>
                  <a:lnTo>
                    <a:pt x="1020777" y="2808843"/>
                  </a:lnTo>
                  <a:lnTo>
                    <a:pt x="1023061" y="2808843"/>
                  </a:lnTo>
                  <a:lnTo>
                    <a:pt x="1023061" y="2806561"/>
                  </a:lnTo>
                  <a:lnTo>
                    <a:pt x="1025344" y="2806561"/>
                  </a:lnTo>
                  <a:lnTo>
                    <a:pt x="1027628" y="2808843"/>
                  </a:lnTo>
                  <a:lnTo>
                    <a:pt x="1029911" y="2808843"/>
                  </a:lnTo>
                  <a:lnTo>
                    <a:pt x="1029911" y="2811125"/>
                  </a:lnTo>
                  <a:lnTo>
                    <a:pt x="1032195" y="2811125"/>
                  </a:lnTo>
                  <a:lnTo>
                    <a:pt x="1034479" y="2811125"/>
                  </a:lnTo>
                  <a:lnTo>
                    <a:pt x="1036762" y="2811125"/>
                  </a:lnTo>
                  <a:lnTo>
                    <a:pt x="1039046" y="2808843"/>
                  </a:lnTo>
                  <a:lnTo>
                    <a:pt x="1041329" y="2808843"/>
                  </a:lnTo>
                  <a:lnTo>
                    <a:pt x="1041329" y="2811125"/>
                  </a:lnTo>
                  <a:lnTo>
                    <a:pt x="1043613" y="2811125"/>
                  </a:lnTo>
                  <a:lnTo>
                    <a:pt x="1043613" y="2813407"/>
                  </a:lnTo>
                  <a:lnTo>
                    <a:pt x="1045897" y="2813407"/>
                  </a:lnTo>
                  <a:lnTo>
                    <a:pt x="1045897" y="2815688"/>
                  </a:lnTo>
                  <a:lnTo>
                    <a:pt x="1043613" y="2815688"/>
                  </a:lnTo>
                  <a:lnTo>
                    <a:pt x="1043613" y="2817970"/>
                  </a:lnTo>
                  <a:lnTo>
                    <a:pt x="1041329" y="2820252"/>
                  </a:lnTo>
                  <a:lnTo>
                    <a:pt x="1041329" y="2822534"/>
                  </a:lnTo>
                  <a:lnTo>
                    <a:pt x="1041329" y="2824816"/>
                  </a:lnTo>
                  <a:lnTo>
                    <a:pt x="1039046" y="2824816"/>
                  </a:lnTo>
                  <a:lnTo>
                    <a:pt x="1039046" y="2827088"/>
                  </a:lnTo>
                  <a:lnTo>
                    <a:pt x="1036762" y="2829370"/>
                  </a:lnTo>
                  <a:lnTo>
                    <a:pt x="1036762" y="2831652"/>
                  </a:lnTo>
                  <a:lnTo>
                    <a:pt x="1036762" y="2833934"/>
                  </a:lnTo>
                  <a:lnTo>
                    <a:pt x="1039046" y="2833934"/>
                  </a:lnTo>
                  <a:lnTo>
                    <a:pt x="1041329" y="2833934"/>
                  </a:lnTo>
                  <a:lnTo>
                    <a:pt x="1041329" y="2831652"/>
                  </a:lnTo>
                  <a:lnTo>
                    <a:pt x="1043613" y="2831652"/>
                  </a:lnTo>
                  <a:lnTo>
                    <a:pt x="1045897" y="2831652"/>
                  </a:lnTo>
                  <a:lnTo>
                    <a:pt x="1048180" y="2831652"/>
                  </a:lnTo>
                  <a:lnTo>
                    <a:pt x="1048180" y="2833934"/>
                  </a:lnTo>
                  <a:lnTo>
                    <a:pt x="1048180" y="2836216"/>
                  </a:lnTo>
                  <a:lnTo>
                    <a:pt x="1050464" y="2838498"/>
                  </a:lnTo>
                  <a:lnTo>
                    <a:pt x="1050464" y="2840780"/>
                  </a:lnTo>
                  <a:lnTo>
                    <a:pt x="1050464" y="2843062"/>
                  </a:lnTo>
                  <a:lnTo>
                    <a:pt x="1048180" y="2843062"/>
                  </a:lnTo>
                  <a:lnTo>
                    <a:pt x="1048180" y="2845343"/>
                  </a:lnTo>
                  <a:lnTo>
                    <a:pt x="1048180" y="2847626"/>
                  </a:lnTo>
                  <a:lnTo>
                    <a:pt x="1045897" y="2847626"/>
                  </a:lnTo>
                  <a:lnTo>
                    <a:pt x="1045897" y="2849907"/>
                  </a:lnTo>
                  <a:lnTo>
                    <a:pt x="1045897" y="2852189"/>
                  </a:lnTo>
                  <a:lnTo>
                    <a:pt x="1043613" y="2852189"/>
                  </a:lnTo>
                  <a:lnTo>
                    <a:pt x="1043613" y="2854471"/>
                  </a:lnTo>
                  <a:lnTo>
                    <a:pt x="1045897" y="2856753"/>
                  </a:lnTo>
                  <a:lnTo>
                    <a:pt x="1045897" y="2859035"/>
                  </a:lnTo>
                  <a:lnTo>
                    <a:pt x="1048180" y="2861317"/>
                  </a:lnTo>
                  <a:lnTo>
                    <a:pt x="1048180" y="2863599"/>
                  </a:lnTo>
                  <a:lnTo>
                    <a:pt x="1048180" y="2865881"/>
                  </a:lnTo>
                  <a:lnTo>
                    <a:pt x="1045897" y="2865881"/>
                  </a:lnTo>
                  <a:lnTo>
                    <a:pt x="1045897" y="2868163"/>
                  </a:lnTo>
                  <a:lnTo>
                    <a:pt x="1045897" y="2870444"/>
                  </a:lnTo>
                  <a:lnTo>
                    <a:pt x="1041329" y="2872726"/>
                  </a:lnTo>
                  <a:lnTo>
                    <a:pt x="1039046" y="2872726"/>
                  </a:lnTo>
                  <a:lnTo>
                    <a:pt x="1041329" y="2879572"/>
                  </a:lnTo>
                  <a:lnTo>
                    <a:pt x="1045897" y="2886418"/>
                  </a:lnTo>
                  <a:lnTo>
                    <a:pt x="1045897" y="2888700"/>
                  </a:lnTo>
                  <a:lnTo>
                    <a:pt x="1048180" y="2890982"/>
                  </a:lnTo>
                  <a:lnTo>
                    <a:pt x="1050464" y="2897827"/>
                  </a:lnTo>
                  <a:lnTo>
                    <a:pt x="1052747" y="2900109"/>
                  </a:lnTo>
                  <a:lnTo>
                    <a:pt x="1055031" y="2902391"/>
                  </a:lnTo>
                  <a:lnTo>
                    <a:pt x="1057315" y="2904673"/>
                  </a:lnTo>
                  <a:lnTo>
                    <a:pt x="1055031" y="2909237"/>
                  </a:lnTo>
                  <a:lnTo>
                    <a:pt x="1052747" y="2909237"/>
                  </a:lnTo>
                  <a:lnTo>
                    <a:pt x="1050464" y="2909237"/>
                  </a:lnTo>
                  <a:lnTo>
                    <a:pt x="1048180" y="2909237"/>
                  </a:lnTo>
                  <a:lnTo>
                    <a:pt x="1048180" y="2911519"/>
                  </a:lnTo>
                  <a:lnTo>
                    <a:pt x="1045897" y="2911519"/>
                  </a:lnTo>
                  <a:lnTo>
                    <a:pt x="1045897" y="2913800"/>
                  </a:lnTo>
                  <a:lnTo>
                    <a:pt x="1048180" y="2913800"/>
                  </a:lnTo>
                  <a:lnTo>
                    <a:pt x="1048180" y="2916082"/>
                  </a:lnTo>
                  <a:lnTo>
                    <a:pt x="1045897" y="2916082"/>
                  </a:lnTo>
                  <a:lnTo>
                    <a:pt x="1045897" y="2918364"/>
                  </a:lnTo>
                  <a:lnTo>
                    <a:pt x="1048180" y="2918364"/>
                  </a:lnTo>
                  <a:lnTo>
                    <a:pt x="1050464" y="2918364"/>
                  </a:lnTo>
                  <a:lnTo>
                    <a:pt x="1050464" y="2920646"/>
                  </a:lnTo>
                  <a:lnTo>
                    <a:pt x="1052747" y="2920646"/>
                  </a:lnTo>
                  <a:lnTo>
                    <a:pt x="1055031" y="2920646"/>
                  </a:lnTo>
                  <a:lnTo>
                    <a:pt x="1055031" y="2922928"/>
                  </a:lnTo>
                  <a:lnTo>
                    <a:pt x="1052747" y="2922928"/>
                  </a:lnTo>
                  <a:lnTo>
                    <a:pt x="1052747" y="2925210"/>
                  </a:lnTo>
                  <a:lnTo>
                    <a:pt x="1052747" y="2927492"/>
                  </a:lnTo>
                  <a:lnTo>
                    <a:pt x="1050464" y="2927492"/>
                  </a:lnTo>
                  <a:lnTo>
                    <a:pt x="1050464" y="2929774"/>
                  </a:lnTo>
                  <a:lnTo>
                    <a:pt x="1048180" y="2929774"/>
                  </a:lnTo>
                  <a:lnTo>
                    <a:pt x="1045897" y="2929774"/>
                  </a:lnTo>
                  <a:lnTo>
                    <a:pt x="1045897" y="2932056"/>
                  </a:lnTo>
                  <a:lnTo>
                    <a:pt x="1043613" y="2932056"/>
                  </a:lnTo>
                  <a:lnTo>
                    <a:pt x="1043613" y="2934338"/>
                  </a:lnTo>
                  <a:lnTo>
                    <a:pt x="1043613" y="2936619"/>
                  </a:lnTo>
                  <a:lnTo>
                    <a:pt x="1041329" y="2938901"/>
                  </a:lnTo>
                  <a:lnTo>
                    <a:pt x="1039046" y="2938901"/>
                  </a:lnTo>
                  <a:lnTo>
                    <a:pt x="1036762" y="2938901"/>
                  </a:lnTo>
                  <a:lnTo>
                    <a:pt x="1036762" y="2941183"/>
                  </a:lnTo>
                  <a:lnTo>
                    <a:pt x="1036762" y="2943465"/>
                  </a:lnTo>
                  <a:lnTo>
                    <a:pt x="1034479" y="2943465"/>
                  </a:lnTo>
                  <a:lnTo>
                    <a:pt x="1034479" y="2945747"/>
                  </a:lnTo>
                  <a:lnTo>
                    <a:pt x="1036762" y="2945747"/>
                  </a:lnTo>
                  <a:lnTo>
                    <a:pt x="1036762" y="2948029"/>
                  </a:lnTo>
                  <a:lnTo>
                    <a:pt x="1036762" y="2950311"/>
                  </a:lnTo>
                  <a:lnTo>
                    <a:pt x="1039046" y="2950311"/>
                  </a:lnTo>
                  <a:lnTo>
                    <a:pt x="1039046" y="2952593"/>
                  </a:lnTo>
                  <a:lnTo>
                    <a:pt x="1036762" y="2952593"/>
                  </a:lnTo>
                  <a:lnTo>
                    <a:pt x="1036762" y="2954875"/>
                  </a:lnTo>
                  <a:lnTo>
                    <a:pt x="1036762" y="2957156"/>
                  </a:lnTo>
                  <a:lnTo>
                    <a:pt x="1036762" y="2959438"/>
                  </a:lnTo>
                  <a:lnTo>
                    <a:pt x="1039046" y="2959438"/>
                  </a:lnTo>
                  <a:lnTo>
                    <a:pt x="1041329" y="2959438"/>
                  </a:lnTo>
                  <a:lnTo>
                    <a:pt x="1043613" y="2959438"/>
                  </a:lnTo>
                  <a:lnTo>
                    <a:pt x="1045897" y="2959438"/>
                  </a:lnTo>
                  <a:lnTo>
                    <a:pt x="1048180" y="2959438"/>
                  </a:lnTo>
                  <a:lnTo>
                    <a:pt x="1050464" y="2959438"/>
                  </a:lnTo>
                  <a:lnTo>
                    <a:pt x="1050464" y="2961720"/>
                  </a:lnTo>
                  <a:lnTo>
                    <a:pt x="1052747" y="2961720"/>
                  </a:lnTo>
                  <a:lnTo>
                    <a:pt x="1055031" y="2961720"/>
                  </a:lnTo>
                  <a:lnTo>
                    <a:pt x="1057315" y="2961720"/>
                  </a:lnTo>
                  <a:lnTo>
                    <a:pt x="1057315" y="2964002"/>
                  </a:lnTo>
                  <a:lnTo>
                    <a:pt x="1059598" y="2964002"/>
                  </a:lnTo>
                  <a:lnTo>
                    <a:pt x="1061882" y="2964002"/>
                  </a:lnTo>
                  <a:lnTo>
                    <a:pt x="1064165" y="2964002"/>
                  </a:lnTo>
                  <a:lnTo>
                    <a:pt x="1064165" y="2966284"/>
                  </a:lnTo>
                  <a:lnTo>
                    <a:pt x="1066449" y="2966284"/>
                  </a:lnTo>
                  <a:lnTo>
                    <a:pt x="1068733" y="2966284"/>
                  </a:lnTo>
                  <a:lnTo>
                    <a:pt x="1068733" y="2968566"/>
                  </a:lnTo>
                  <a:lnTo>
                    <a:pt x="1071016" y="2968566"/>
                  </a:lnTo>
                  <a:lnTo>
                    <a:pt x="1073300" y="2968566"/>
                  </a:lnTo>
                  <a:lnTo>
                    <a:pt x="1075583" y="2968566"/>
                  </a:lnTo>
                  <a:lnTo>
                    <a:pt x="1077867" y="2968566"/>
                  </a:lnTo>
                  <a:lnTo>
                    <a:pt x="1080151" y="2968566"/>
                  </a:lnTo>
                  <a:lnTo>
                    <a:pt x="1080151" y="2966284"/>
                  </a:lnTo>
                  <a:lnTo>
                    <a:pt x="1082434" y="2966284"/>
                  </a:lnTo>
                  <a:lnTo>
                    <a:pt x="1082434" y="2964002"/>
                  </a:lnTo>
                  <a:lnTo>
                    <a:pt x="1084718" y="2964002"/>
                  </a:lnTo>
                  <a:lnTo>
                    <a:pt x="1084718" y="2966284"/>
                  </a:lnTo>
                  <a:lnTo>
                    <a:pt x="1087001" y="2966284"/>
                  </a:lnTo>
                  <a:lnTo>
                    <a:pt x="1087001" y="2968566"/>
                  </a:lnTo>
                  <a:lnTo>
                    <a:pt x="1089285" y="2968566"/>
                  </a:lnTo>
                  <a:lnTo>
                    <a:pt x="1091569" y="2968566"/>
                  </a:lnTo>
                  <a:lnTo>
                    <a:pt x="1093852" y="2966284"/>
                  </a:lnTo>
                  <a:lnTo>
                    <a:pt x="1096136" y="2966284"/>
                  </a:lnTo>
                  <a:lnTo>
                    <a:pt x="1098419" y="2966284"/>
                  </a:lnTo>
                  <a:lnTo>
                    <a:pt x="1100703" y="2970848"/>
                  </a:lnTo>
                  <a:lnTo>
                    <a:pt x="1100703" y="2975412"/>
                  </a:lnTo>
                  <a:lnTo>
                    <a:pt x="1100703" y="2977694"/>
                  </a:lnTo>
                  <a:lnTo>
                    <a:pt x="1102987" y="2979975"/>
                  </a:lnTo>
                  <a:lnTo>
                    <a:pt x="1102987" y="2982257"/>
                  </a:lnTo>
                  <a:lnTo>
                    <a:pt x="1105270" y="2979975"/>
                  </a:lnTo>
                  <a:lnTo>
                    <a:pt x="1107554" y="2977694"/>
                  </a:lnTo>
                  <a:lnTo>
                    <a:pt x="1107554" y="2975412"/>
                  </a:lnTo>
                  <a:lnTo>
                    <a:pt x="1109837" y="2973130"/>
                  </a:lnTo>
                  <a:lnTo>
                    <a:pt x="1112121" y="2970848"/>
                  </a:lnTo>
                  <a:lnTo>
                    <a:pt x="1114405" y="2968566"/>
                  </a:lnTo>
                  <a:lnTo>
                    <a:pt x="1114405" y="2966284"/>
                  </a:lnTo>
                  <a:lnTo>
                    <a:pt x="1116688" y="2964002"/>
                  </a:lnTo>
                  <a:lnTo>
                    <a:pt x="1118972" y="2961720"/>
                  </a:lnTo>
                  <a:lnTo>
                    <a:pt x="1121255" y="2959438"/>
                  </a:lnTo>
                  <a:lnTo>
                    <a:pt x="1121255" y="2954875"/>
                  </a:lnTo>
                  <a:lnTo>
                    <a:pt x="1123539" y="2954875"/>
                  </a:lnTo>
                  <a:lnTo>
                    <a:pt x="1128106" y="2948029"/>
                  </a:lnTo>
                  <a:lnTo>
                    <a:pt x="1128106" y="2952593"/>
                  </a:lnTo>
                  <a:lnTo>
                    <a:pt x="1128106" y="2957156"/>
                  </a:lnTo>
                  <a:lnTo>
                    <a:pt x="1128106" y="2961720"/>
                  </a:lnTo>
                  <a:lnTo>
                    <a:pt x="1128106" y="2966284"/>
                  </a:lnTo>
                  <a:lnTo>
                    <a:pt x="1125823" y="2970848"/>
                  </a:lnTo>
                  <a:lnTo>
                    <a:pt x="1125823" y="2977694"/>
                  </a:lnTo>
                  <a:lnTo>
                    <a:pt x="1123539" y="2979975"/>
                  </a:lnTo>
                  <a:lnTo>
                    <a:pt x="1123539" y="2986821"/>
                  </a:lnTo>
                  <a:lnTo>
                    <a:pt x="1123539" y="2989094"/>
                  </a:lnTo>
                  <a:lnTo>
                    <a:pt x="1125823" y="2991375"/>
                  </a:lnTo>
                  <a:lnTo>
                    <a:pt x="1128106" y="2993657"/>
                  </a:lnTo>
                  <a:lnTo>
                    <a:pt x="1130390" y="2991375"/>
                  </a:lnTo>
                  <a:lnTo>
                    <a:pt x="1130390" y="2989094"/>
                  </a:lnTo>
                  <a:lnTo>
                    <a:pt x="1134957" y="2989094"/>
                  </a:lnTo>
                  <a:lnTo>
                    <a:pt x="1141808" y="2993657"/>
                  </a:lnTo>
                  <a:lnTo>
                    <a:pt x="1144091" y="2995939"/>
                  </a:lnTo>
                  <a:lnTo>
                    <a:pt x="1144091" y="2998221"/>
                  </a:lnTo>
                  <a:lnTo>
                    <a:pt x="1146375" y="3002785"/>
                  </a:lnTo>
                  <a:lnTo>
                    <a:pt x="1146375" y="3007349"/>
                  </a:lnTo>
                  <a:lnTo>
                    <a:pt x="1148658" y="3007349"/>
                  </a:lnTo>
                  <a:lnTo>
                    <a:pt x="1150942" y="3009631"/>
                  </a:lnTo>
                  <a:lnTo>
                    <a:pt x="1153226" y="3011913"/>
                  </a:lnTo>
                  <a:lnTo>
                    <a:pt x="1155509" y="3011913"/>
                  </a:lnTo>
                  <a:lnTo>
                    <a:pt x="1155509" y="3014194"/>
                  </a:lnTo>
                  <a:lnTo>
                    <a:pt x="1157793" y="3014194"/>
                  </a:lnTo>
                  <a:lnTo>
                    <a:pt x="1157793" y="3016476"/>
                  </a:lnTo>
                  <a:lnTo>
                    <a:pt x="1160076" y="3018758"/>
                  </a:lnTo>
                  <a:lnTo>
                    <a:pt x="1162360" y="3018758"/>
                  </a:lnTo>
                  <a:lnTo>
                    <a:pt x="1162360" y="3016476"/>
                  </a:lnTo>
                  <a:lnTo>
                    <a:pt x="1164644" y="3016476"/>
                  </a:lnTo>
                  <a:lnTo>
                    <a:pt x="1166927" y="3014194"/>
                  </a:lnTo>
                  <a:lnTo>
                    <a:pt x="1166927" y="3011913"/>
                  </a:lnTo>
                  <a:lnTo>
                    <a:pt x="1169211" y="3007349"/>
                  </a:lnTo>
                  <a:lnTo>
                    <a:pt x="1171494" y="3007349"/>
                  </a:lnTo>
                  <a:lnTo>
                    <a:pt x="1173778" y="3007349"/>
                  </a:lnTo>
                  <a:lnTo>
                    <a:pt x="1178345" y="3009631"/>
                  </a:lnTo>
                  <a:lnTo>
                    <a:pt x="1178345" y="3011913"/>
                  </a:lnTo>
                  <a:lnTo>
                    <a:pt x="1180629" y="3011913"/>
                  </a:lnTo>
                  <a:lnTo>
                    <a:pt x="1185196" y="3014194"/>
                  </a:lnTo>
                  <a:lnTo>
                    <a:pt x="1185196" y="3016476"/>
                  </a:lnTo>
                  <a:lnTo>
                    <a:pt x="1187480" y="3018758"/>
                  </a:lnTo>
                  <a:lnTo>
                    <a:pt x="1189763" y="3018758"/>
                  </a:lnTo>
                  <a:lnTo>
                    <a:pt x="1189763" y="3021040"/>
                  </a:lnTo>
                  <a:lnTo>
                    <a:pt x="1192047" y="3021040"/>
                  </a:lnTo>
                  <a:lnTo>
                    <a:pt x="1194330" y="3025604"/>
                  </a:lnTo>
                  <a:lnTo>
                    <a:pt x="1196614" y="3027886"/>
                  </a:lnTo>
                  <a:lnTo>
                    <a:pt x="1198898" y="3027886"/>
                  </a:lnTo>
                  <a:lnTo>
                    <a:pt x="1201181" y="3027886"/>
                  </a:lnTo>
                  <a:lnTo>
                    <a:pt x="1203465" y="3027886"/>
                  </a:lnTo>
                  <a:lnTo>
                    <a:pt x="1203465" y="3030168"/>
                  </a:lnTo>
                  <a:lnTo>
                    <a:pt x="1203465" y="3032450"/>
                  </a:lnTo>
                  <a:lnTo>
                    <a:pt x="1203465" y="3034731"/>
                  </a:lnTo>
                  <a:lnTo>
                    <a:pt x="1205748" y="3034731"/>
                  </a:lnTo>
                  <a:lnTo>
                    <a:pt x="1203465" y="3043859"/>
                  </a:lnTo>
                  <a:lnTo>
                    <a:pt x="1205748" y="3048423"/>
                  </a:lnTo>
                  <a:lnTo>
                    <a:pt x="1210316" y="3037013"/>
                  </a:lnTo>
                  <a:lnTo>
                    <a:pt x="1212599" y="3032450"/>
                  </a:lnTo>
                  <a:lnTo>
                    <a:pt x="1212599" y="3037013"/>
                  </a:lnTo>
                  <a:lnTo>
                    <a:pt x="1214883" y="3043859"/>
                  </a:lnTo>
                  <a:lnTo>
                    <a:pt x="1214883" y="3046141"/>
                  </a:lnTo>
                  <a:lnTo>
                    <a:pt x="1212599" y="3048423"/>
                  </a:lnTo>
                  <a:lnTo>
                    <a:pt x="1212599" y="3050705"/>
                  </a:lnTo>
                  <a:lnTo>
                    <a:pt x="1208032" y="3050705"/>
                  </a:lnTo>
                  <a:lnTo>
                    <a:pt x="1205748" y="3052987"/>
                  </a:lnTo>
                  <a:lnTo>
                    <a:pt x="1203465" y="3057550"/>
                  </a:lnTo>
                  <a:lnTo>
                    <a:pt x="1201181" y="3057550"/>
                  </a:lnTo>
                  <a:lnTo>
                    <a:pt x="1203465" y="3059832"/>
                  </a:lnTo>
                  <a:lnTo>
                    <a:pt x="1205748" y="3064396"/>
                  </a:lnTo>
                  <a:lnTo>
                    <a:pt x="1212599" y="3071242"/>
                  </a:lnTo>
                  <a:lnTo>
                    <a:pt x="1210316" y="3075806"/>
                  </a:lnTo>
                  <a:lnTo>
                    <a:pt x="1210316" y="3080369"/>
                  </a:lnTo>
                  <a:lnTo>
                    <a:pt x="1212599" y="3082651"/>
                  </a:lnTo>
                  <a:lnTo>
                    <a:pt x="1210316" y="3082651"/>
                  </a:lnTo>
                  <a:lnTo>
                    <a:pt x="1210316" y="3084933"/>
                  </a:lnTo>
                  <a:lnTo>
                    <a:pt x="1212599" y="3084933"/>
                  </a:lnTo>
                  <a:lnTo>
                    <a:pt x="1212599" y="3087215"/>
                  </a:lnTo>
                  <a:lnTo>
                    <a:pt x="1210316" y="3089497"/>
                  </a:lnTo>
                  <a:lnTo>
                    <a:pt x="1210316" y="3091779"/>
                  </a:lnTo>
                  <a:lnTo>
                    <a:pt x="1208032" y="3091779"/>
                  </a:lnTo>
                  <a:lnTo>
                    <a:pt x="1208032" y="3094061"/>
                  </a:lnTo>
                  <a:lnTo>
                    <a:pt x="1208032" y="3096343"/>
                  </a:lnTo>
                  <a:lnTo>
                    <a:pt x="1208032" y="3098625"/>
                  </a:lnTo>
                  <a:lnTo>
                    <a:pt x="1210316" y="3098625"/>
                  </a:lnTo>
                  <a:lnTo>
                    <a:pt x="1212599" y="3098625"/>
                  </a:lnTo>
                  <a:lnTo>
                    <a:pt x="1210316" y="3100907"/>
                  </a:lnTo>
                  <a:lnTo>
                    <a:pt x="1208032" y="3103188"/>
                  </a:lnTo>
                  <a:lnTo>
                    <a:pt x="1201181" y="3107752"/>
                  </a:lnTo>
                  <a:lnTo>
                    <a:pt x="1198898" y="3107752"/>
                  </a:lnTo>
                  <a:lnTo>
                    <a:pt x="1189763" y="3114598"/>
                  </a:lnTo>
                  <a:lnTo>
                    <a:pt x="1182912" y="3119162"/>
                  </a:lnTo>
                  <a:lnTo>
                    <a:pt x="1182912" y="3121443"/>
                  </a:lnTo>
                  <a:lnTo>
                    <a:pt x="1185196" y="3126007"/>
                  </a:lnTo>
                  <a:lnTo>
                    <a:pt x="1189763" y="3139689"/>
                  </a:lnTo>
                  <a:lnTo>
                    <a:pt x="1189763" y="3144253"/>
                  </a:lnTo>
                  <a:lnTo>
                    <a:pt x="1192047" y="3146535"/>
                  </a:lnTo>
                  <a:lnTo>
                    <a:pt x="1192047" y="3148817"/>
                  </a:lnTo>
                  <a:lnTo>
                    <a:pt x="1194330" y="3151099"/>
                  </a:lnTo>
                  <a:lnTo>
                    <a:pt x="1194330" y="3153381"/>
                  </a:lnTo>
                  <a:lnTo>
                    <a:pt x="1196614" y="3155662"/>
                  </a:lnTo>
                  <a:lnTo>
                    <a:pt x="1196614" y="3157944"/>
                  </a:lnTo>
                  <a:lnTo>
                    <a:pt x="1198898" y="3157944"/>
                  </a:lnTo>
                  <a:lnTo>
                    <a:pt x="1198898" y="3160226"/>
                  </a:lnTo>
                  <a:lnTo>
                    <a:pt x="1201181" y="3162508"/>
                  </a:lnTo>
                  <a:lnTo>
                    <a:pt x="1203465" y="3164790"/>
                  </a:lnTo>
                  <a:lnTo>
                    <a:pt x="1203465" y="3167072"/>
                  </a:lnTo>
                  <a:lnTo>
                    <a:pt x="1205748" y="3167072"/>
                  </a:lnTo>
                  <a:lnTo>
                    <a:pt x="1205748" y="3169354"/>
                  </a:lnTo>
                  <a:lnTo>
                    <a:pt x="1205748" y="3171636"/>
                  </a:lnTo>
                  <a:lnTo>
                    <a:pt x="1208032" y="3171636"/>
                  </a:lnTo>
                  <a:lnTo>
                    <a:pt x="1208032" y="3173918"/>
                  </a:lnTo>
                  <a:lnTo>
                    <a:pt x="1208032" y="3176199"/>
                  </a:lnTo>
                  <a:lnTo>
                    <a:pt x="1210316" y="3176199"/>
                  </a:lnTo>
                  <a:lnTo>
                    <a:pt x="1210316" y="3178482"/>
                  </a:lnTo>
                  <a:lnTo>
                    <a:pt x="1212599" y="3178482"/>
                  </a:lnTo>
                  <a:lnTo>
                    <a:pt x="1212599" y="3180763"/>
                  </a:lnTo>
                  <a:lnTo>
                    <a:pt x="1212599" y="3183045"/>
                  </a:lnTo>
                  <a:lnTo>
                    <a:pt x="1214883" y="3183045"/>
                  </a:lnTo>
                  <a:lnTo>
                    <a:pt x="1214883" y="3185327"/>
                  </a:lnTo>
                  <a:lnTo>
                    <a:pt x="1214883" y="3187609"/>
                  </a:lnTo>
                  <a:lnTo>
                    <a:pt x="1217166" y="3189891"/>
                  </a:lnTo>
                  <a:lnTo>
                    <a:pt x="1217166" y="3192173"/>
                  </a:lnTo>
                  <a:lnTo>
                    <a:pt x="1219450" y="3192173"/>
                  </a:lnTo>
                  <a:lnTo>
                    <a:pt x="1221734" y="3192173"/>
                  </a:lnTo>
                  <a:lnTo>
                    <a:pt x="1224017" y="3192173"/>
                  </a:lnTo>
                  <a:lnTo>
                    <a:pt x="1224017" y="3194455"/>
                  </a:lnTo>
                  <a:lnTo>
                    <a:pt x="1224017" y="3196737"/>
                  </a:lnTo>
                  <a:lnTo>
                    <a:pt x="1226301" y="3196737"/>
                  </a:lnTo>
                  <a:lnTo>
                    <a:pt x="1219450" y="3203582"/>
                  </a:lnTo>
                  <a:lnTo>
                    <a:pt x="1219450" y="3219555"/>
                  </a:lnTo>
                  <a:lnTo>
                    <a:pt x="1217166" y="3230965"/>
                  </a:lnTo>
                  <a:lnTo>
                    <a:pt x="1219450" y="3237811"/>
                  </a:lnTo>
                  <a:lnTo>
                    <a:pt x="1224017" y="3249220"/>
                  </a:lnTo>
                  <a:lnTo>
                    <a:pt x="1230868" y="3262911"/>
                  </a:lnTo>
                  <a:lnTo>
                    <a:pt x="1235435" y="3274321"/>
                  </a:lnTo>
                  <a:lnTo>
                    <a:pt x="1237719" y="3272039"/>
                  </a:lnTo>
                  <a:lnTo>
                    <a:pt x="1242286" y="3269757"/>
                  </a:lnTo>
                  <a:lnTo>
                    <a:pt x="1244569" y="3269757"/>
                  </a:lnTo>
                  <a:lnTo>
                    <a:pt x="1246853" y="3267475"/>
                  </a:lnTo>
                  <a:lnTo>
                    <a:pt x="1249137" y="3265194"/>
                  </a:lnTo>
                  <a:lnTo>
                    <a:pt x="1251420" y="3265194"/>
                  </a:lnTo>
                  <a:lnTo>
                    <a:pt x="1253704" y="3262911"/>
                  </a:lnTo>
                  <a:lnTo>
                    <a:pt x="1255988" y="3262911"/>
                  </a:lnTo>
                  <a:lnTo>
                    <a:pt x="1255988" y="3260630"/>
                  </a:lnTo>
                  <a:lnTo>
                    <a:pt x="1258271" y="3260630"/>
                  </a:lnTo>
                  <a:lnTo>
                    <a:pt x="1258271" y="3258348"/>
                  </a:lnTo>
                  <a:lnTo>
                    <a:pt x="1260555" y="3256066"/>
                  </a:lnTo>
                  <a:lnTo>
                    <a:pt x="1260555" y="3253784"/>
                  </a:lnTo>
                  <a:lnTo>
                    <a:pt x="1260555" y="3251502"/>
                  </a:lnTo>
                  <a:lnTo>
                    <a:pt x="1260555" y="3244656"/>
                  </a:lnTo>
                  <a:lnTo>
                    <a:pt x="1260555" y="3242375"/>
                  </a:lnTo>
                  <a:lnTo>
                    <a:pt x="1260555" y="3240093"/>
                  </a:lnTo>
                  <a:lnTo>
                    <a:pt x="1262838" y="3237811"/>
                  </a:lnTo>
                  <a:lnTo>
                    <a:pt x="1262838" y="3233247"/>
                  </a:lnTo>
                  <a:lnTo>
                    <a:pt x="1262838" y="3230965"/>
                  </a:lnTo>
                  <a:lnTo>
                    <a:pt x="1262838" y="3228683"/>
                  </a:lnTo>
                  <a:lnTo>
                    <a:pt x="1260555" y="3226401"/>
                  </a:lnTo>
                  <a:lnTo>
                    <a:pt x="1260555" y="3221838"/>
                  </a:lnTo>
                  <a:lnTo>
                    <a:pt x="1260555" y="3219555"/>
                  </a:lnTo>
                  <a:lnTo>
                    <a:pt x="1260555" y="3214992"/>
                  </a:lnTo>
                  <a:lnTo>
                    <a:pt x="1262838" y="3212710"/>
                  </a:lnTo>
                  <a:lnTo>
                    <a:pt x="1262838" y="3210428"/>
                  </a:lnTo>
                  <a:lnTo>
                    <a:pt x="1262838" y="3208146"/>
                  </a:lnTo>
                  <a:lnTo>
                    <a:pt x="1265122" y="3203582"/>
                  </a:lnTo>
                  <a:lnTo>
                    <a:pt x="1265122" y="3201300"/>
                  </a:lnTo>
                  <a:lnTo>
                    <a:pt x="1265122" y="3196737"/>
                  </a:lnTo>
                  <a:lnTo>
                    <a:pt x="1262838" y="3192173"/>
                  </a:lnTo>
                  <a:lnTo>
                    <a:pt x="1262838" y="3187609"/>
                  </a:lnTo>
                  <a:lnTo>
                    <a:pt x="1265122" y="3185327"/>
                  </a:lnTo>
                  <a:lnTo>
                    <a:pt x="1267406" y="3183045"/>
                  </a:lnTo>
                  <a:lnTo>
                    <a:pt x="1267406" y="3180763"/>
                  </a:lnTo>
                  <a:lnTo>
                    <a:pt x="1269689" y="3180763"/>
                  </a:lnTo>
                  <a:lnTo>
                    <a:pt x="1269689" y="3178482"/>
                  </a:lnTo>
                  <a:lnTo>
                    <a:pt x="1271973" y="3176199"/>
                  </a:lnTo>
                  <a:lnTo>
                    <a:pt x="1274256" y="3173918"/>
                  </a:lnTo>
                  <a:lnTo>
                    <a:pt x="1278823" y="3180763"/>
                  </a:lnTo>
                  <a:lnTo>
                    <a:pt x="1283391" y="3183045"/>
                  </a:lnTo>
                  <a:lnTo>
                    <a:pt x="1285674" y="3183045"/>
                  </a:lnTo>
                  <a:lnTo>
                    <a:pt x="1287958" y="3180763"/>
                  </a:lnTo>
                  <a:lnTo>
                    <a:pt x="1290241" y="3180763"/>
                  </a:lnTo>
                  <a:lnTo>
                    <a:pt x="1292525" y="3178482"/>
                  </a:lnTo>
                  <a:lnTo>
                    <a:pt x="1294809" y="3176199"/>
                  </a:lnTo>
                  <a:lnTo>
                    <a:pt x="1297092" y="3173918"/>
                  </a:lnTo>
                  <a:lnTo>
                    <a:pt x="1299376" y="3173918"/>
                  </a:lnTo>
                  <a:lnTo>
                    <a:pt x="1297092" y="3171636"/>
                  </a:lnTo>
                  <a:lnTo>
                    <a:pt x="1294809" y="3169354"/>
                  </a:lnTo>
                  <a:lnTo>
                    <a:pt x="1292525" y="3167072"/>
                  </a:lnTo>
                  <a:lnTo>
                    <a:pt x="1290241" y="3164790"/>
                  </a:lnTo>
                  <a:lnTo>
                    <a:pt x="1299376" y="3160226"/>
                  </a:lnTo>
                  <a:lnTo>
                    <a:pt x="1299376" y="3155662"/>
                  </a:lnTo>
                  <a:lnTo>
                    <a:pt x="1299376" y="3151099"/>
                  </a:lnTo>
                  <a:lnTo>
                    <a:pt x="1310794" y="3160226"/>
                  </a:lnTo>
                  <a:lnTo>
                    <a:pt x="1315361" y="3157944"/>
                  </a:lnTo>
                  <a:lnTo>
                    <a:pt x="1317645" y="3155662"/>
                  </a:lnTo>
                  <a:lnTo>
                    <a:pt x="1319928" y="3155662"/>
                  </a:lnTo>
                  <a:lnTo>
                    <a:pt x="1322212" y="3153381"/>
                  </a:lnTo>
                  <a:lnTo>
                    <a:pt x="1324495" y="3153381"/>
                  </a:lnTo>
                  <a:lnTo>
                    <a:pt x="1324495" y="3151099"/>
                  </a:lnTo>
                  <a:lnTo>
                    <a:pt x="1324495" y="3148817"/>
                  </a:lnTo>
                  <a:lnTo>
                    <a:pt x="1324495" y="3146535"/>
                  </a:lnTo>
                  <a:lnTo>
                    <a:pt x="1326779" y="3144253"/>
                  </a:lnTo>
                  <a:lnTo>
                    <a:pt x="1326779" y="3141971"/>
                  </a:lnTo>
                  <a:lnTo>
                    <a:pt x="1326779" y="3139689"/>
                  </a:lnTo>
                  <a:lnTo>
                    <a:pt x="1329063" y="3137417"/>
                  </a:lnTo>
                  <a:lnTo>
                    <a:pt x="1329063" y="3139689"/>
                  </a:lnTo>
                  <a:lnTo>
                    <a:pt x="1333630" y="3139689"/>
                  </a:lnTo>
                  <a:lnTo>
                    <a:pt x="1335913" y="3139689"/>
                  </a:lnTo>
                  <a:lnTo>
                    <a:pt x="1338197" y="3139689"/>
                  </a:lnTo>
                  <a:lnTo>
                    <a:pt x="1340481" y="3141971"/>
                  </a:lnTo>
                  <a:lnTo>
                    <a:pt x="1342764" y="3141971"/>
                  </a:lnTo>
                  <a:lnTo>
                    <a:pt x="1345048" y="3144253"/>
                  </a:lnTo>
                  <a:lnTo>
                    <a:pt x="1347331" y="3146535"/>
                  </a:lnTo>
                  <a:lnTo>
                    <a:pt x="1349615" y="3146535"/>
                  </a:lnTo>
                  <a:lnTo>
                    <a:pt x="1354182" y="3144253"/>
                  </a:lnTo>
                  <a:lnTo>
                    <a:pt x="1356466" y="3144253"/>
                  </a:lnTo>
                  <a:lnTo>
                    <a:pt x="1361033" y="3144253"/>
                  </a:lnTo>
                  <a:lnTo>
                    <a:pt x="1363317" y="3144253"/>
                  </a:lnTo>
                  <a:lnTo>
                    <a:pt x="1365600" y="3144253"/>
                  </a:lnTo>
                  <a:lnTo>
                    <a:pt x="1370167" y="3141971"/>
                  </a:lnTo>
                  <a:lnTo>
                    <a:pt x="1379302" y="3130571"/>
                  </a:lnTo>
                  <a:lnTo>
                    <a:pt x="1381585" y="3130571"/>
                  </a:lnTo>
                  <a:lnTo>
                    <a:pt x="1383869" y="3128289"/>
                  </a:lnTo>
                  <a:lnTo>
                    <a:pt x="1388436" y="3126007"/>
                  </a:lnTo>
                  <a:lnTo>
                    <a:pt x="1390720" y="3123725"/>
                  </a:lnTo>
                  <a:lnTo>
                    <a:pt x="1393003" y="3121443"/>
                  </a:lnTo>
                  <a:lnTo>
                    <a:pt x="1395287" y="3119162"/>
                  </a:lnTo>
                  <a:lnTo>
                    <a:pt x="1395287" y="3116880"/>
                  </a:lnTo>
                  <a:lnTo>
                    <a:pt x="1397570" y="3114598"/>
                  </a:lnTo>
                  <a:lnTo>
                    <a:pt x="1399854" y="3112316"/>
                  </a:lnTo>
                  <a:lnTo>
                    <a:pt x="1399854" y="3110034"/>
                  </a:lnTo>
                  <a:lnTo>
                    <a:pt x="1402138" y="3107752"/>
                  </a:lnTo>
                  <a:lnTo>
                    <a:pt x="1404421" y="3107752"/>
                  </a:lnTo>
                  <a:lnTo>
                    <a:pt x="1404421" y="3105470"/>
                  </a:lnTo>
                  <a:lnTo>
                    <a:pt x="1404421" y="3103188"/>
                  </a:lnTo>
                  <a:lnTo>
                    <a:pt x="1404421" y="3100907"/>
                  </a:lnTo>
                  <a:lnTo>
                    <a:pt x="1406705" y="3098625"/>
                  </a:lnTo>
                  <a:lnTo>
                    <a:pt x="1406705" y="3087215"/>
                  </a:lnTo>
                  <a:lnTo>
                    <a:pt x="1408988" y="3087215"/>
                  </a:lnTo>
                  <a:lnTo>
                    <a:pt x="1411272" y="3087215"/>
                  </a:lnTo>
                  <a:lnTo>
                    <a:pt x="1413556" y="3087215"/>
                  </a:lnTo>
                  <a:lnTo>
                    <a:pt x="1418123" y="3087215"/>
                  </a:lnTo>
                  <a:lnTo>
                    <a:pt x="1418123" y="3084933"/>
                  </a:lnTo>
                  <a:lnTo>
                    <a:pt x="1420406" y="3087215"/>
                  </a:lnTo>
                  <a:lnTo>
                    <a:pt x="1422690" y="3087215"/>
                  </a:lnTo>
                  <a:lnTo>
                    <a:pt x="1422690" y="3084933"/>
                  </a:lnTo>
                  <a:lnTo>
                    <a:pt x="1422690" y="3082651"/>
                  </a:lnTo>
                  <a:lnTo>
                    <a:pt x="1424974" y="3082651"/>
                  </a:lnTo>
                  <a:lnTo>
                    <a:pt x="1424974" y="3080369"/>
                  </a:lnTo>
                  <a:lnTo>
                    <a:pt x="1427257" y="3078087"/>
                  </a:lnTo>
                  <a:lnTo>
                    <a:pt x="1427257" y="3075806"/>
                  </a:lnTo>
                  <a:lnTo>
                    <a:pt x="1427257" y="3073524"/>
                  </a:lnTo>
                  <a:lnTo>
                    <a:pt x="1427257" y="3071242"/>
                  </a:lnTo>
                  <a:lnTo>
                    <a:pt x="1427257" y="3068960"/>
                  </a:lnTo>
                  <a:lnTo>
                    <a:pt x="1429541" y="3068960"/>
                  </a:lnTo>
                  <a:lnTo>
                    <a:pt x="1431824" y="3066678"/>
                  </a:lnTo>
                  <a:lnTo>
                    <a:pt x="1431824" y="3064396"/>
                  </a:lnTo>
                  <a:lnTo>
                    <a:pt x="1434108" y="3062114"/>
                  </a:lnTo>
                  <a:lnTo>
                    <a:pt x="1436392" y="3059832"/>
                  </a:lnTo>
                  <a:lnTo>
                    <a:pt x="1438675" y="3059832"/>
                  </a:lnTo>
                  <a:lnTo>
                    <a:pt x="1440959" y="3059832"/>
                  </a:lnTo>
                  <a:lnTo>
                    <a:pt x="1443242" y="3057550"/>
                  </a:lnTo>
                  <a:lnTo>
                    <a:pt x="1445526" y="3057550"/>
                  </a:lnTo>
                  <a:lnTo>
                    <a:pt x="1450093" y="3057550"/>
                  </a:lnTo>
                  <a:lnTo>
                    <a:pt x="1450093" y="3059832"/>
                  </a:lnTo>
                  <a:lnTo>
                    <a:pt x="1450093" y="3062114"/>
                  </a:lnTo>
                  <a:lnTo>
                    <a:pt x="1450093" y="3064396"/>
                  </a:lnTo>
                  <a:lnTo>
                    <a:pt x="1447810" y="3066678"/>
                  </a:lnTo>
                  <a:lnTo>
                    <a:pt x="1447810" y="3068960"/>
                  </a:lnTo>
                  <a:lnTo>
                    <a:pt x="1447810" y="3071242"/>
                  </a:lnTo>
                  <a:lnTo>
                    <a:pt x="1447810" y="3073524"/>
                  </a:lnTo>
                  <a:lnTo>
                    <a:pt x="1445526" y="3075806"/>
                  </a:lnTo>
                  <a:lnTo>
                    <a:pt x="1447810" y="3075806"/>
                  </a:lnTo>
                  <a:lnTo>
                    <a:pt x="1450093" y="3075806"/>
                  </a:lnTo>
                  <a:lnTo>
                    <a:pt x="1452377" y="3075806"/>
                  </a:lnTo>
                  <a:lnTo>
                    <a:pt x="1459227" y="3073524"/>
                  </a:lnTo>
                  <a:lnTo>
                    <a:pt x="1461511" y="3073524"/>
                  </a:lnTo>
                  <a:lnTo>
                    <a:pt x="1463795" y="3073524"/>
                  </a:lnTo>
                  <a:lnTo>
                    <a:pt x="1466078" y="3073524"/>
                  </a:lnTo>
                  <a:lnTo>
                    <a:pt x="1468362" y="3073524"/>
                  </a:lnTo>
                  <a:lnTo>
                    <a:pt x="1470646" y="3073524"/>
                  </a:lnTo>
                  <a:lnTo>
                    <a:pt x="1472929" y="3073524"/>
                  </a:lnTo>
                  <a:lnTo>
                    <a:pt x="1472929" y="3075806"/>
                  </a:lnTo>
                  <a:lnTo>
                    <a:pt x="1472929" y="3080369"/>
                  </a:lnTo>
                  <a:lnTo>
                    <a:pt x="1475213" y="3082651"/>
                  </a:lnTo>
                  <a:lnTo>
                    <a:pt x="1475213" y="3084933"/>
                  </a:lnTo>
                  <a:lnTo>
                    <a:pt x="1475213" y="3089497"/>
                  </a:lnTo>
                  <a:lnTo>
                    <a:pt x="1477496" y="3094061"/>
                  </a:lnTo>
                  <a:lnTo>
                    <a:pt x="1477496" y="3098625"/>
                  </a:lnTo>
                  <a:lnTo>
                    <a:pt x="1479780" y="3107752"/>
                  </a:lnTo>
                  <a:lnTo>
                    <a:pt x="1477496" y="3107752"/>
                  </a:lnTo>
                  <a:lnTo>
                    <a:pt x="1475213" y="3107752"/>
                  </a:lnTo>
                  <a:lnTo>
                    <a:pt x="1472929" y="3107752"/>
                  </a:lnTo>
                  <a:lnTo>
                    <a:pt x="1470646" y="3105470"/>
                  </a:lnTo>
                  <a:lnTo>
                    <a:pt x="1468362" y="3105470"/>
                  </a:lnTo>
                  <a:lnTo>
                    <a:pt x="1466078" y="3105470"/>
                  </a:lnTo>
                  <a:lnTo>
                    <a:pt x="1461511" y="3112316"/>
                  </a:lnTo>
                  <a:lnTo>
                    <a:pt x="1452377" y="3121443"/>
                  </a:lnTo>
                  <a:lnTo>
                    <a:pt x="1447810" y="3126007"/>
                  </a:lnTo>
                  <a:lnTo>
                    <a:pt x="1452377" y="3139689"/>
                  </a:lnTo>
                  <a:lnTo>
                    <a:pt x="1450093" y="3141971"/>
                  </a:lnTo>
                  <a:lnTo>
                    <a:pt x="1445526" y="3146535"/>
                  </a:lnTo>
                  <a:lnTo>
                    <a:pt x="1440959" y="3155662"/>
                  </a:lnTo>
                  <a:lnTo>
                    <a:pt x="1438675" y="3155662"/>
                  </a:lnTo>
                  <a:lnTo>
                    <a:pt x="1436392" y="3153381"/>
                  </a:lnTo>
                  <a:lnTo>
                    <a:pt x="1434108" y="3153381"/>
                  </a:lnTo>
                  <a:lnTo>
                    <a:pt x="1427257" y="3151099"/>
                  </a:lnTo>
                  <a:lnTo>
                    <a:pt x="1420406" y="3148817"/>
                  </a:lnTo>
                  <a:lnTo>
                    <a:pt x="1420406" y="3151099"/>
                  </a:lnTo>
                  <a:lnTo>
                    <a:pt x="1422690" y="3153381"/>
                  </a:lnTo>
                  <a:lnTo>
                    <a:pt x="1422690" y="3155662"/>
                  </a:lnTo>
                  <a:lnTo>
                    <a:pt x="1422690" y="3157944"/>
                  </a:lnTo>
                  <a:lnTo>
                    <a:pt x="1424974" y="3162508"/>
                  </a:lnTo>
                  <a:lnTo>
                    <a:pt x="1424974" y="3164790"/>
                  </a:lnTo>
                  <a:lnTo>
                    <a:pt x="1424974" y="3167072"/>
                  </a:lnTo>
                  <a:lnTo>
                    <a:pt x="1427257" y="3171636"/>
                  </a:lnTo>
                  <a:lnTo>
                    <a:pt x="1427257" y="3173918"/>
                  </a:lnTo>
                  <a:lnTo>
                    <a:pt x="1427257" y="3176199"/>
                  </a:lnTo>
                  <a:lnTo>
                    <a:pt x="1429541" y="3180763"/>
                  </a:lnTo>
                  <a:lnTo>
                    <a:pt x="1429541" y="3183045"/>
                  </a:lnTo>
                  <a:lnTo>
                    <a:pt x="1429541" y="3185327"/>
                  </a:lnTo>
                  <a:lnTo>
                    <a:pt x="1429541" y="3187609"/>
                  </a:lnTo>
                  <a:lnTo>
                    <a:pt x="1429541" y="3189891"/>
                  </a:lnTo>
                  <a:lnTo>
                    <a:pt x="1429541" y="3192173"/>
                  </a:lnTo>
                  <a:lnTo>
                    <a:pt x="1431824" y="3194455"/>
                  </a:lnTo>
                  <a:lnTo>
                    <a:pt x="1431824" y="3196737"/>
                  </a:lnTo>
                  <a:lnTo>
                    <a:pt x="1434108" y="3196737"/>
                  </a:lnTo>
                  <a:lnTo>
                    <a:pt x="1434108" y="3199018"/>
                  </a:lnTo>
                  <a:lnTo>
                    <a:pt x="1434108" y="3201300"/>
                  </a:lnTo>
                  <a:lnTo>
                    <a:pt x="1436392" y="3203582"/>
                  </a:lnTo>
                  <a:lnTo>
                    <a:pt x="1436392" y="3205864"/>
                  </a:lnTo>
                  <a:lnTo>
                    <a:pt x="1438675" y="3208146"/>
                  </a:lnTo>
                  <a:lnTo>
                    <a:pt x="1438675" y="3210428"/>
                  </a:lnTo>
                  <a:lnTo>
                    <a:pt x="1440959" y="3212710"/>
                  </a:lnTo>
                  <a:lnTo>
                    <a:pt x="1438675" y="3212710"/>
                  </a:lnTo>
                  <a:lnTo>
                    <a:pt x="1438675" y="3214992"/>
                  </a:lnTo>
                  <a:lnTo>
                    <a:pt x="1438675" y="3217274"/>
                  </a:lnTo>
                  <a:lnTo>
                    <a:pt x="1438675" y="3219555"/>
                  </a:lnTo>
                  <a:lnTo>
                    <a:pt x="1438675" y="3221838"/>
                  </a:lnTo>
                  <a:lnTo>
                    <a:pt x="1440959" y="3221838"/>
                  </a:lnTo>
                  <a:lnTo>
                    <a:pt x="1440959" y="3224119"/>
                  </a:lnTo>
                  <a:lnTo>
                    <a:pt x="1443242" y="3228683"/>
                  </a:lnTo>
                  <a:lnTo>
                    <a:pt x="1443242" y="3230965"/>
                  </a:lnTo>
                  <a:lnTo>
                    <a:pt x="1445526" y="3233247"/>
                  </a:lnTo>
                  <a:lnTo>
                    <a:pt x="1445526" y="3235529"/>
                  </a:lnTo>
                  <a:lnTo>
                    <a:pt x="1447810" y="3237811"/>
                  </a:lnTo>
                  <a:lnTo>
                    <a:pt x="1447810" y="3240093"/>
                  </a:lnTo>
                  <a:lnTo>
                    <a:pt x="1447810" y="3242375"/>
                  </a:lnTo>
                  <a:lnTo>
                    <a:pt x="1447810" y="3244656"/>
                  </a:lnTo>
                  <a:lnTo>
                    <a:pt x="1447810" y="3246938"/>
                  </a:lnTo>
                  <a:lnTo>
                    <a:pt x="1450093" y="3249220"/>
                  </a:lnTo>
                  <a:lnTo>
                    <a:pt x="1452377" y="3249220"/>
                  </a:lnTo>
                  <a:lnTo>
                    <a:pt x="1454660" y="3251502"/>
                  </a:lnTo>
                  <a:lnTo>
                    <a:pt x="1456944" y="3253784"/>
                  </a:lnTo>
                  <a:lnTo>
                    <a:pt x="1459227" y="3253784"/>
                  </a:lnTo>
                  <a:lnTo>
                    <a:pt x="1461511" y="3256066"/>
                  </a:lnTo>
                  <a:lnTo>
                    <a:pt x="1463795" y="3256066"/>
                  </a:lnTo>
                  <a:lnTo>
                    <a:pt x="1463795" y="3258348"/>
                  </a:lnTo>
                  <a:lnTo>
                    <a:pt x="1466078" y="3260630"/>
                  </a:lnTo>
                  <a:lnTo>
                    <a:pt x="1468362" y="3262911"/>
                  </a:lnTo>
                  <a:lnTo>
                    <a:pt x="1468362" y="3265194"/>
                  </a:lnTo>
                  <a:lnTo>
                    <a:pt x="1468362" y="3267475"/>
                  </a:lnTo>
                  <a:lnTo>
                    <a:pt x="1468362" y="3269757"/>
                  </a:lnTo>
                  <a:lnTo>
                    <a:pt x="1468362" y="3272039"/>
                  </a:lnTo>
                  <a:lnTo>
                    <a:pt x="1468362" y="3274321"/>
                  </a:lnTo>
                  <a:lnTo>
                    <a:pt x="1468362" y="3276603"/>
                  </a:lnTo>
                  <a:lnTo>
                    <a:pt x="1468362" y="3278885"/>
                  </a:lnTo>
                  <a:lnTo>
                    <a:pt x="1468362" y="3281167"/>
                  </a:lnTo>
                  <a:lnTo>
                    <a:pt x="1468362" y="3283449"/>
                  </a:lnTo>
                  <a:lnTo>
                    <a:pt x="1468362" y="3285731"/>
                  </a:lnTo>
                  <a:lnTo>
                    <a:pt x="1468362" y="3288012"/>
                  </a:lnTo>
                  <a:lnTo>
                    <a:pt x="1468362" y="3290294"/>
                  </a:lnTo>
                  <a:lnTo>
                    <a:pt x="1468362" y="3292576"/>
                  </a:lnTo>
                  <a:lnTo>
                    <a:pt x="1470646" y="3294858"/>
                  </a:lnTo>
                  <a:lnTo>
                    <a:pt x="1472929" y="3297130"/>
                  </a:lnTo>
                  <a:lnTo>
                    <a:pt x="1475213" y="3299412"/>
                  </a:lnTo>
                  <a:lnTo>
                    <a:pt x="1477496" y="3301694"/>
                  </a:lnTo>
                  <a:lnTo>
                    <a:pt x="1479780" y="3303976"/>
                  </a:lnTo>
                  <a:lnTo>
                    <a:pt x="1482064" y="3303976"/>
                  </a:lnTo>
                  <a:lnTo>
                    <a:pt x="1484347" y="3306258"/>
                  </a:lnTo>
                  <a:lnTo>
                    <a:pt x="1486631" y="3306258"/>
                  </a:lnTo>
                  <a:lnTo>
                    <a:pt x="1488914" y="3306258"/>
                  </a:lnTo>
                  <a:lnTo>
                    <a:pt x="1488914" y="3308540"/>
                  </a:lnTo>
                  <a:lnTo>
                    <a:pt x="1491198" y="3308540"/>
                  </a:lnTo>
                  <a:lnTo>
                    <a:pt x="1493481" y="3308540"/>
                  </a:lnTo>
                  <a:lnTo>
                    <a:pt x="1495765" y="3308540"/>
                  </a:lnTo>
                  <a:lnTo>
                    <a:pt x="1498049" y="3308540"/>
                  </a:lnTo>
                  <a:lnTo>
                    <a:pt x="1500332" y="3310822"/>
                  </a:lnTo>
                  <a:lnTo>
                    <a:pt x="1502616" y="3310822"/>
                  </a:lnTo>
                  <a:lnTo>
                    <a:pt x="1504899" y="3310822"/>
                  </a:lnTo>
                  <a:lnTo>
                    <a:pt x="1507183" y="3310822"/>
                  </a:lnTo>
                  <a:lnTo>
                    <a:pt x="1509467" y="3310822"/>
                  </a:lnTo>
                  <a:lnTo>
                    <a:pt x="1509467" y="3313104"/>
                  </a:lnTo>
                  <a:lnTo>
                    <a:pt x="1511750" y="3313104"/>
                  </a:lnTo>
                  <a:lnTo>
                    <a:pt x="1514034" y="3317667"/>
                  </a:lnTo>
                  <a:lnTo>
                    <a:pt x="1516317" y="3319950"/>
                  </a:lnTo>
                  <a:lnTo>
                    <a:pt x="1516317" y="3322231"/>
                  </a:lnTo>
                  <a:lnTo>
                    <a:pt x="1518601" y="3322231"/>
                  </a:lnTo>
                  <a:lnTo>
                    <a:pt x="1518601" y="3324513"/>
                  </a:lnTo>
                  <a:lnTo>
                    <a:pt x="1520885" y="3326795"/>
                  </a:lnTo>
                  <a:lnTo>
                    <a:pt x="1520885" y="3329077"/>
                  </a:lnTo>
                  <a:lnTo>
                    <a:pt x="1523168" y="3329077"/>
                  </a:lnTo>
                  <a:lnTo>
                    <a:pt x="1523168" y="3331359"/>
                  </a:lnTo>
                  <a:lnTo>
                    <a:pt x="1525452" y="3331359"/>
                  </a:lnTo>
                  <a:lnTo>
                    <a:pt x="1527735" y="3331359"/>
                  </a:lnTo>
                  <a:lnTo>
                    <a:pt x="1527735" y="3333641"/>
                  </a:lnTo>
                  <a:lnTo>
                    <a:pt x="1530019" y="3333641"/>
                  </a:lnTo>
                  <a:lnTo>
                    <a:pt x="1530019" y="3335923"/>
                  </a:lnTo>
                  <a:lnTo>
                    <a:pt x="1532303" y="3338205"/>
                  </a:lnTo>
                  <a:lnTo>
                    <a:pt x="1532303" y="3340487"/>
                  </a:lnTo>
                  <a:lnTo>
                    <a:pt x="1532303" y="3342768"/>
                  </a:lnTo>
                  <a:lnTo>
                    <a:pt x="1532303" y="3345050"/>
                  </a:lnTo>
                  <a:lnTo>
                    <a:pt x="1532303" y="3347332"/>
                  </a:lnTo>
                  <a:lnTo>
                    <a:pt x="1532303" y="3349614"/>
                  </a:lnTo>
                  <a:lnTo>
                    <a:pt x="1532303" y="3351896"/>
                  </a:lnTo>
                  <a:lnTo>
                    <a:pt x="1534586" y="3351896"/>
                  </a:lnTo>
                  <a:lnTo>
                    <a:pt x="1536870" y="3349614"/>
                  </a:lnTo>
                  <a:lnTo>
                    <a:pt x="1539153" y="3349614"/>
                  </a:lnTo>
                  <a:lnTo>
                    <a:pt x="1541437" y="3349614"/>
                  </a:lnTo>
                  <a:lnTo>
                    <a:pt x="1541437" y="3351896"/>
                  </a:lnTo>
                  <a:lnTo>
                    <a:pt x="1543721" y="3351896"/>
                  </a:lnTo>
                  <a:lnTo>
                    <a:pt x="1546004" y="3354178"/>
                  </a:lnTo>
                  <a:lnTo>
                    <a:pt x="1548288" y="3354178"/>
                  </a:lnTo>
                  <a:lnTo>
                    <a:pt x="1548288" y="3356460"/>
                  </a:lnTo>
                  <a:lnTo>
                    <a:pt x="1550571" y="3356460"/>
                  </a:lnTo>
                  <a:lnTo>
                    <a:pt x="1552855" y="3358742"/>
                  </a:lnTo>
                  <a:lnTo>
                    <a:pt x="1555139" y="3358742"/>
                  </a:lnTo>
                  <a:lnTo>
                    <a:pt x="1555139" y="3361023"/>
                  </a:lnTo>
                  <a:lnTo>
                    <a:pt x="1559706" y="3361023"/>
                  </a:lnTo>
                  <a:lnTo>
                    <a:pt x="1559706" y="3363306"/>
                  </a:lnTo>
                  <a:lnTo>
                    <a:pt x="1568840" y="3363306"/>
                  </a:lnTo>
                  <a:lnTo>
                    <a:pt x="1571124" y="3363306"/>
                  </a:lnTo>
                  <a:lnTo>
                    <a:pt x="1580258" y="3363306"/>
                  </a:lnTo>
                  <a:lnTo>
                    <a:pt x="1584825" y="3358742"/>
                  </a:lnTo>
                  <a:lnTo>
                    <a:pt x="1584825" y="3356460"/>
                  </a:lnTo>
                  <a:lnTo>
                    <a:pt x="1587109" y="3356460"/>
                  </a:lnTo>
                  <a:lnTo>
                    <a:pt x="1587109" y="3354178"/>
                  </a:lnTo>
                  <a:lnTo>
                    <a:pt x="1591676" y="3349614"/>
                  </a:lnTo>
                  <a:lnTo>
                    <a:pt x="1591676" y="3347332"/>
                  </a:lnTo>
                  <a:lnTo>
                    <a:pt x="1593960" y="3345050"/>
                  </a:lnTo>
                  <a:lnTo>
                    <a:pt x="1596243" y="3342768"/>
                  </a:lnTo>
                  <a:lnTo>
                    <a:pt x="1598527" y="3340487"/>
                  </a:lnTo>
                  <a:lnTo>
                    <a:pt x="1600810" y="3338205"/>
                  </a:lnTo>
                  <a:lnTo>
                    <a:pt x="1600810" y="3335923"/>
                  </a:lnTo>
                  <a:lnTo>
                    <a:pt x="1603094" y="3338205"/>
                  </a:lnTo>
                  <a:lnTo>
                    <a:pt x="1603094" y="3340487"/>
                  </a:lnTo>
                  <a:lnTo>
                    <a:pt x="1607661" y="3345050"/>
                  </a:lnTo>
                  <a:lnTo>
                    <a:pt x="1607661" y="3347332"/>
                  </a:lnTo>
                  <a:lnTo>
                    <a:pt x="1609945" y="3349614"/>
                  </a:lnTo>
                  <a:lnTo>
                    <a:pt x="1612228" y="3351896"/>
                  </a:lnTo>
                  <a:lnTo>
                    <a:pt x="1612228" y="3354178"/>
                  </a:lnTo>
                  <a:lnTo>
                    <a:pt x="1612228" y="3356460"/>
                  </a:lnTo>
                  <a:lnTo>
                    <a:pt x="1612228" y="3358742"/>
                  </a:lnTo>
                  <a:lnTo>
                    <a:pt x="1612228" y="3361023"/>
                  </a:lnTo>
                  <a:lnTo>
                    <a:pt x="1614512" y="3361023"/>
                  </a:lnTo>
                  <a:lnTo>
                    <a:pt x="1616796" y="3361023"/>
                  </a:lnTo>
                  <a:lnTo>
                    <a:pt x="1619079" y="3361023"/>
                  </a:lnTo>
                  <a:lnTo>
                    <a:pt x="1621363" y="3361023"/>
                  </a:lnTo>
                  <a:lnTo>
                    <a:pt x="1623647" y="3361023"/>
                  </a:lnTo>
                  <a:lnTo>
                    <a:pt x="1625930" y="3361023"/>
                  </a:lnTo>
                  <a:lnTo>
                    <a:pt x="1625930" y="3358742"/>
                  </a:lnTo>
                  <a:lnTo>
                    <a:pt x="1628214" y="3358742"/>
                  </a:lnTo>
                  <a:lnTo>
                    <a:pt x="1630497" y="3358742"/>
                  </a:lnTo>
                  <a:lnTo>
                    <a:pt x="1630497" y="3356460"/>
                  </a:lnTo>
                  <a:lnTo>
                    <a:pt x="1632781" y="3356460"/>
                  </a:lnTo>
                  <a:lnTo>
                    <a:pt x="1632781" y="3354178"/>
                  </a:lnTo>
                  <a:lnTo>
                    <a:pt x="1635064" y="3356460"/>
                  </a:lnTo>
                  <a:lnTo>
                    <a:pt x="1639632" y="3356460"/>
                  </a:lnTo>
                  <a:lnTo>
                    <a:pt x="1641915" y="3356460"/>
                  </a:lnTo>
                  <a:lnTo>
                    <a:pt x="1644199" y="3356460"/>
                  </a:lnTo>
                  <a:lnTo>
                    <a:pt x="1646482" y="3356460"/>
                  </a:lnTo>
                  <a:lnTo>
                    <a:pt x="1648766" y="3356460"/>
                  </a:lnTo>
                  <a:lnTo>
                    <a:pt x="1653333" y="3358742"/>
                  </a:lnTo>
                  <a:lnTo>
                    <a:pt x="1655617" y="3358742"/>
                  </a:lnTo>
                  <a:lnTo>
                    <a:pt x="1657900" y="3358742"/>
                  </a:lnTo>
                  <a:lnTo>
                    <a:pt x="1660193" y="3358742"/>
                  </a:lnTo>
                  <a:lnTo>
                    <a:pt x="1662468" y="3358742"/>
                  </a:lnTo>
                  <a:lnTo>
                    <a:pt x="1662468" y="3356460"/>
                  </a:lnTo>
                  <a:lnTo>
                    <a:pt x="1662468" y="3354178"/>
                  </a:lnTo>
                  <a:lnTo>
                    <a:pt x="1664751" y="3351896"/>
                  </a:lnTo>
                  <a:lnTo>
                    <a:pt x="1664751" y="3349614"/>
                  </a:lnTo>
                  <a:lnTo>
                    <a:pt x="1664751" y="3347332"/>
                  </a:lnTo>
                  <a:lnTo>
                    <a:pt x="1664751" y="3345050"/>
                  </a:lnTo>
                  <a:lnTo>
                    <a:pt x="1667035" y="3345050"/>
                  </a:lnTo>
                  <a:lnTo>
                    <a:pt x="1669318" y="3342768"/>
                  </a:lnTo>
                  <a:lnTo>
                    <a:pt x="1671602" y="3342768"/>
                  </a:lnTo>
                  <a:lnTo>
                    <a:pt x="1673895" y="3342768"/>
                  </a:lnTo>
                  <a:lnTo>
                    <a:pt x="1676169" y="3340487"/>
                  </a:lnTo>
                  <a:lnTo>
                    <a:pt x="1678453" y="3338205"/>
                  </a:lnTo>
                  <a:lnTo>
                    <a:pt x="1680746" y="3338205"/>
                  </a:lnTo>
                  <a:lnTo>
                    <a:pt x="1683020" y="3338205"/>
                  </a:lnTo>
                  <a:lnTo>
                    <a:pt x="1683020" y="3335923"/>
                  </a:lnTo>
                  <a:lnTo>
                    <a:pt x="1689880" y="3319950"/>
                  </a:lnTo>
                  <a:lnTo>
                    <a:pt x="1692154" y="3308540"/>
                  </a:lnTo>
                  <a:lnTo>
                    <a:pt x="1694447" y="3306258"/>
                  </a:lnTo>
                  <a:lnTo>
                    <a:pt x="1694447" y="3303976"/>
                  </a:lnTo>
                  <a:lnTo>
                    <a:pt x="1694447" y="3301694"/>
                  </a:lnTo>
                  <a:lnTo>
                    <a:pt x="1694447" y="3299412"/>
                  </a:lnTo>
                  <a:lnTo>
                    <a:pt x="1692154" y="3297130"/>
                  </a:lnTo>
                  <a:lnTo>
                    <a:pt x="1692154" y="3294858"/>
                  </a:lnTo>
                  <a:lnTo>
                    <a:pt x="1692154" y="3292576"/>
                  </a:lnTo>
                  <a:lnTo>
                    <a:pt x="1692154" y="3290294"/>
                  </a:lnTo>
                  <a:lnTo>
                    <a:pt x="1689880" y="3288012"/>
                  </a:lnTo>
                  <a:lnTo>
                    <a:pt x="1689880" y="3285731"/>
                  </a:lnTo>
                  <a:lnTo>
                    <a:pt x="1687597" y="3285731"/>
                  </a:lnTo>
                  <a:lnTo>
                    <a:pt x="1687597" y="3283449"/>
                  </a:lnTo>
                  <a:lnTo>
                    <a:pt x="1685313" y="3283449"/>
                  </a:lnTo>
                  <a:lnTo>
                    <a:pt x="1685313" y="3281167"/>
                  </a:lnTo>
                  <a:lnTo>
                    <a:pt x="1685313" y="3278885"/>
                  </a:lnTo>
                  <a:lnTo>
                    <a:pt x="1683020" y="3278885"/>
                  </a:lnTo>
                  <a:lnTo>
                    <a:pt x="1683020" y="3276603"/>
                  </a:lnTo>
                  <a:lnTo>
                    <a:pt x="1680746" y="3276603"/>
                  </a:lnTo>
                  <a:lnTo>
                    <a:pt x="1680746" y="3274321"/>
                  </a:lnTo>
                  <a:lnTo>
                    <a:pt x="1678453" y="3272039"/>
                  </a:lnTo>
                  <a:lnTo>
                    <a:pt x="1678453" y="3269757"/>
                  </a:lnTo>
                  <a:lnTo>
                    <a:pt x="1678453" y="3267475"/>
                  </a:lnTo>
                  <a:lnTo>
                    <a:pt x="1676169" y="3267475"/>
                  </a:lnTo>
                  <a:lnTo>
                    <a:pt x="1676169" y="3265194"/>
                  </a:lnTo>
                  <a:lnTo>
                    <a:pt x="1676169" y="3262911"/>
                  </a:lnTo>
                  <a:lnTo>
                    <a:pt x="1676169" y="3260630"/>
                  </a:lnTo>
                  <a:lnTo>
                    <a:pt x="1678453" y="3260630"/>
                  </a:lnTo>
                  <a:lnTo>
                    <a:pt x="1685313" y="3256066"/>
                  </a:lnTo>
                  <a:lnTo>
                    <a:pt x="1687597" y="3253784"/>
                  </a:lnTo>
                  <a:lnTo>
                    <a:pt x="1689880" y="3251502"/>
                  </a:lnTo>
                  <a:lnTo>
                    <a:pt x="1689880" y="3246938"/>
                  </a:lnTo>
                  <a:lnTo>
                    <a:pt x="1692154" y="3246938"/>
                  </a:lnTo>
                  <a:lnTo>
                    <a:pt x="1692154" y="3244656"/>
                  </a:lnTo>
                  <a:lnTo>
                    <a:pt x="1694447" y="3242375"/>
                  </a:lnTo>
                  <a:lnTo>
                    <a:pt x="1694447" y="3240093"/>
                  </a:lnTo>
                  <a:lnTo>
                    <a:pt x="1696722" y="3240093"/>
                  </a:lnTo>
                  <a:lnTo>
                    <a:pt x="1703582" y="3237811"/>
                  </a:lnTo>
                  <a:lnTo>
                    <a:pt x="1705856" y="3237811"/>
                  </a:lnTo>
                  <a:lnTo>
                    <a:pt x="1708149" y="3235529"/>
                  </a:lnTo>
                  <a:lnTo>
                    <a:pt x="1710433" y="3235529"/>
                  </a:lnTo>
                  <a:lnTo>
                    <a:pt x="1712716" y="3235529"/>
                  </a:lnTo>
                  <a:lnTo>
                    <a:pt x="1717283" y="3233247"/>
                  </a:lnTo>
                  <a:lnTo>
                    <a:pt x="1719557" y="3233247"/>
                  </a:lnTo>
                  <a:lnTo>
                    <a:pt x="1724134" y="3230965"/>
                  </a:lnTo>
                  <a:lnTo>
                    <a:pt x="1726418" y="3230965"/>
                  </a:lnTo>
                  <a:lnTo>
                    <a:pt x="1728701" y="3230965"/>
                  </a:lnTo>
                  <a:lnTo>
                    <a:pt x="1733269" y="3228683"/>
                  </a:lnTo>
                  <a:lnTo>
                    <a:pt x="1735552" y="3228683"/>
                  </a:lnTo>
                  <a:lnTo>
                    <a:pt x="1737836" y="3228683"/>
                  </a:lnTo>
                  <a:lnTo>
                    <a:pt x="1740119" y="3228683"/>
                  </a:lnTo>
                  <a:lnTo>
                    <a:pt x="1742403" y="3228683"/>
                  </a:lnTo>
                  <a:lnTo>
                    <a:pt x="1744687" y="3228683"/>
                  </a:lnTo>
                  <a:lnTo>
                    <a:pt x="1749254" y="3228683"/>
                  </a:lnTo>
                  <a:lnTo>
                    <a:pt x="1751537" y="3230965"/>
                  </a:lnTo>
                  <a:lnTo>
                    <a:pt x="1756105" y="3230965"/>
                  </a:lnTo>
                  <a:lnTo>
                    <a:pt x="1760672" y="3230965"/>
                  </a:lnTo>
                  <a:lnTo>
                    <a:pt x="1762955" y="3230965"/>
                  </a:lnTo>
                  <a:lnTo>
                    <a:pt x="1765239" y="3230965"/>
                  </a:lnTo>
                  <a:lnTo>
                    <a:pt x="1767522" y="3233247"/>
                  </a:lnTo>
                  <a:lnTo>
                    <a:pt x="1769806" y="3233247"/>
                  </a:lnTo>
                  <a:lnTo>
                    <a:pt x="1772090" y="3233247"/>
                  </a:lnTo>
                  <a:lnTo>
                    <a:pt x="1774373" y="3233247"/>
                  </a:lnTo>
                  <a:lnTo>
                    <a:pt x="1776657" y="3233247"/>
                  </a:lnTo>
                  <a:lnTo>
                    <a:pt x="1776657" y="3230965"/>
                  </a:lnTo>
                  <a:lnTo>
                    <a:pt x="1781224" y="3230965"/>
                  </a:lnTo>
                  <a:lnTo>
                    <a:pt x="1783508" y="3230965"/>
                  </a:lnTo>
                  <a:lnTo>
                    <a:pt x="1783508" y="3228683"/>
                  </a:lnTo>
                  <a:lnTo>
                    <a:pt x="1785791" y="3228683"/>
                  </a:lnTo>
                  <a:lnTo>
                    <a:pt x="1788075" y="3228683"/>
                  </a:lnTo>
                  <a:lnTo>
                    <a:pt x="1790359" y="3226401"/>
                  </a:lnTo>
                  <a:lnTo>
                    <a:pt x="1792642" y="3226401"/>
                  </a:lnTo>
                  <a:lnTo>
                    <a:pt x="1794926" y="3224119"/>
                  </a:lnTo>
                  <a:lnTo>
                    <a:pt x="1797209" y="3221838"/>
                  </a:lnTo>
                  <a:lnTo>
                    <a:pt x="1799493" y="3221838"/>
                  </a:lnTo>
                  <a:lnTo>
                    <a:pt x="1801777" y="3219555"/>
                  </a:lnTo>
                  <a:lnTo>
                    <a:pt x="1801777" y="3217274"/>
                  </a:lnTo>
                  <a:lnTo>
                    <a:pt x="1799493" y="3212710"/>
                  </a:lnTo>
                  <a:lnTo>
                    <a:pt x="1797209" y="3210428"/>
                  </a:lnTo>
                  <a:lnTo>
                    <a:pt x="1797209" y="3205864"/>
                  </a:lnTo>
                  <a:lnTo>
                    <a:pt x="1794926" y="3205864"/>
                  </a:lnTo>
                  <a:lnTo>
                    <a:pt x="1794926" y="3203582"/>
                  </a:lnTo>
                  <a:lnTo>
                    <a:pt x="1797209" y="3201300"/>
                  </a:lnTo>
                  <a:lnTo>
                    <a:pt x="1797209" y="3199018"/>
                  </a:lnTo>
                  <a:lnTo>
                    <a:pt x="1797209" y="3196737"/>
                  </a:lnTo>
                  <a:lnTo>
                    <a:pt x="1799493" y="3194455"/>
                  </a:lnTo>
                  <a:lnTo>
                    <a:pt x="1801777" y="3192173"/>
                  </a:lnTo>
                  <a:lnTo>
                    <a:pt x="1801777" y="3189891"/>
                  </a:lnTo>
                  <a:lnTo>
                    <a:pt x="1804060" y="3183045"/>
                  </a:lnTo>
                  <a:lnTo>
                    <a:pt x="1804060" y="3180763"/>
                  </a:lnTo>
                  <a:lnTo>
                    <a:pt x="1806344" y="3178482"/>
                  </a:lnTo>
                  <a:lnTo>
                    <a:pt x="1806344" y="3176199"/>
                  </a:lnTo>
                  <a:lnTo>
                    <a:pt x="1806344" y="3173918"/>
                  </a:lnTo>
                  <a:lnTo>
                    <a:pt x="1808627" y="3171636"/>
                  </a:lnTo>
                  <a:lnTo>
                    <a:pt x="1808627" y="3169354"/>
                  </a:lnTo>
                  <a:lnTo>
                    <a:pt x="1810911" y="3167072"/>
                  </a:lnTo>
                  <a:lnTo>
                    <a:pt x="1813194" y="3167072"/>
                  </a:lnTo>
                  <a:lnTo>
                    <a:pt x="1822329" y="3153381"/>
                  </a:lnTo>
                  <a:lnTo>
                    <a:pt x="1824612" y="3151099"/>
                  </a:lnTo>
                  <a:lnTo>
                    <a:pt x="1826896" y="3148817"/>
                  </a:lnTo>
                  <a:lnTo>
                    <a:pt x="1829180" y="3148817"/>
                  </a:lnTo>
                  <a:lnTo>
                    <a:pt x="1831463" y="3146535"/>
                  </a:lnTo>
                  <a:lnTo>
                    <a:pt x="1833747" y="3146535"/>
                  </a:lnTo>
                  <a:lnTo>
                    <a:pt x="1836031" y="3146535"/>
                  </a:lnTo>
                  <a:lnTo>
                    <a:pt x="1836031" y="3144253"/>
                  </a:lnTo>
                  <a:lnTo>
                    <a:pt x="1838314" y="3144253"/>
                  </a:lnTo>
                  <a:lnTo>
                    <a:pt x="1840598" y="3141971"/>
                  </a:lnTo>
                  <a:lnTo>
                    <a:pt x="1840598" y="3139689"/>
                  </a:lnTo>
                  <a:lnTo>
                    <a:pt x="1842881" y="3139689"/>
                  </a:lnTo>
                  <a:lnTo>
                    <a:pt x="1842881" y="3137417"/>
                  </a:lnTo>
                  <a:lnTo>
                    <a:pt x="1845165" y="3132853"/>
                  </a:lnTo>
                  <a:lnTo>
                    <a:pt x="1845165" y="3130571"/>
                  </a:lnTo>
                  <a:lnTo>
                    <a:pt x="1847448" y="3128289"/>
                  </a:lnTo>
                  <a:lnTo>
                    <a:pt x="1847448" y="3126007"/>
                  </a:lnTo>
                  <a:lnTo>
                    <a:pt x="1847448" y="3123725"/>
                  </a:lnTo>
                  <a:lnTo>
                    <a:pt x="1847448" y="3121443"/>
                  </a:lnTo>
                  <a:lnTo>
                    <a:pt x="1847448" y="3119162"/>
                  </a:lnTo>
                  <a:lnTo>
                    <a:pt x="1847448" y="3116880"/>
                  </a:lnTo>
                  <a:lnTo>
                    <a:pt x="1847448" y="3114598"/>
                  </a:lnTo>
                  <a:lnTo>
                    <a:pt x="1849732" y="3114598"/>
                  </a:lnTo>
                  <a:lnTo>
                    <a:pt x="1852016" y="3114598"/>
                  </a:lnTo>
                  <a:lnTo>
                    <a:pt x="1854299" y="3114598"/>
                  </a:lnTo>
                  <a:lnTo>
                    <a:pt x="1854299" y="3116880"/>
                  </a:lnTo>
                  <a:lnTo>
                    <a:pt x="1856583" y="3116880"/>
                  </a:lnTo>
                  <a:lnTo>
                    <a:pt x="1861150" y="3116880"/>
                  </a:lnTo>
                  <a:lnTo>
                    <a:pt x="1863434" y="3119162"/>
                  </a:lnTo>
                  <a:lnTo>
                    <a:pt x="1865717" y="3119162"/>
                  </a:lnTo>
                  <a:lnTo>
                    <a:pt x="1868001" y="3116880"/>
                  </a:lnTo>
                  <a:lnTo>
                    <a:pt x="1870284" y="3116880"/>
                  </a:lnTo>
                  <a:lnTo>
                    <a:pt x="1872568" y="3114598"/>
                  </a:lnTo>
                  <a:lnTo>
                    <a:pt x="1874852" y="3114598"/>
                  </a:lnTo>
                  <a:lnTo>
                    <a:pt x="1877135" y="3112316"/>
                  </a:lnTo>
                  <a:lnTo>
                    <a:pt x="1881702" y="3110034"/>
                  </a:lnTo>
                  <a:lnTo>
                    <a:pt x="1883986" y="3107752"/>
                  </a:lnTo>
                  <a:lnTo>
                    <a:pt x="1893120" y="3110034"/>
                  </a:lnTo>
                  <a:lnTo>
                    <a:pt x="1893120" y="3107752"/>
                  </a:lnTo>
                  <a:lnTo>
                    <a:pt x="1895404" y="3105470"/>
                  </a:lnTo>
                  <a:lnTo>
                    <a:pt x="1895404" y="3103188"/>
                  </a:lnTo>
                  <a:lnTo>
                    <a:pt x="1897688" y="3100907"/>
                  </a:lnTo>
                  <a:lnTo>
                    <a:pt x="1899971" y="3098625"/>
                  </a:lnTo>
                  <a:lnTo>
                    <a:pt x="1902255" y="3096343"/>
                  </a:lnTo>
                  <a:lnTo>
                    <a:pt x="1904538" y="3094061"/>
                  </a:lnTo>
                  <a:lnTo>
                    <a:pt x="1906822" y="3091779"/>
                  </a:lnTo>
                  <a:lnTo>
                    <a:pt x="1909106" y="3091779"/>
                  </a:lnTo>
                  <a:lnTo>
                    <a:pt x="1915956" y="3091779"/>
                  </a:lnTo>
                  <a:lnTo>
                    <a:pt x="1922807" y="3094061"/>
                  </a:lnTo>
                  <a:lnTo>
                    <a:pt x="1934225" y="3089497"/>
                  </a:lnTo>
                  <a:lnTo>
                    <a:pt x="1934225" y="3087215"/>
                  </a:lnTo>
                  <a:lnTo>
                    <a:pt x="1936509" y="3084933"/>
                  </a:lnTo>
                  <a:lnTo>
                    <a:pt x="1936509" y="3082651"/>
                  </a:lnTo>
                  <a:lnTo>
                    <a:pt x="1934225" y="3078087"/>
                  </a:lnTo>
                  <a:lnTo>
                    <a:pt x="1931942" y="3075806"/>
                  </a:lnTo>
                  <a:lnTo>
                    <a:pt x="1931942" y="3073524"/>
                  </a:lnTo>
                  <a:lnTo>
                    <a:pt x="1931942" y="3071242"/>
                  </a:lnTo>
                  <a:lnTo>
                    <a:pt x="1929658" y="3068960"/>
                  </a:lnTo>
                  <a:lnTo>
                    <a:pt x="1929658" y="3066678"/>
                  </a:lnTo>
                  <a:lnTo>
                    <a:pt x="1929658" y="3064396"/>
                  </a:lnTo>
                  <a:lnTo>
                    <a:pt x="1929658" y="3062114"/>
                  </a:lnTo>
                  <a:lnTo>
                    <a:pt x="1929658" y="3059832"/>
                  </a:lnTo>
                  <a:lnTo>
                    <a:pt x="1927374" y="3059832"/>
                  </a:lnTo>
                  <a:lnTo>
                    <a:pt x="1927374" y="3057550"/>
                  </a:lnTo>
                  <a:lnTo>
                    <a:pt x="1927374" y="3055269"/>
                  </a:lnTo>
                  <a:lnTo>
                    <a:pt x="1927374" y="3052987"/>
                  </a:lnTo>
                  <a:lnTo>
                    <a:pt x="1927374" y="3050705"/>
                  </a:lnTo>
                  <a:lnTo>
                    <a:pt x="1925091" y="3048423"/>
                  </a:lnTo>
                  <a:lnTo>
                    <a:pt x="1927374" y="3048423"/>
                  </a:lnTo>
                  <a:lnTo>
                    <a:pt x="1929658" y="3048423"/>
                  </a:lnTo>
                  <a:lnTo>
                    <a:pt x="1931942" y="3048423"/>
                  </a:lnTo>
                  <a:lnTo>
                    <a:pt x="1934225" y="3046141"/>
                  </a:lnTo>
                  <a:lnTo>
                    <a:pt x="1936509" y="3046141"/>
                  </a:lnTo>
                  <a:lnTo>
                    <a:pt x="1938792" y="3046141"/>
                  </a:lnTo>
                  <a:lnTo>
                    <a:pt x="1941076" y="3043859"/>
                  </a:lnTo>
                  <a:lnTo>
                    <a:pt x="1943360" y="3043859"/>
                  </a:lnTo>
                  <a:lnTo>
                    <a:pt x="1945643" y="3043859"/>
                  </a:lnTo>
                  <a:lnTo>
                    <a:pt x="1945643" y="3041577"/>
                  </a:lnTo>
                  <a:lnTo>
                    <a:pt x="1947927" y="3041577"/>
                  </a:lnTo>
                  <a:lnTo>
                    <a:pt x="1950210" y="3039295"/>
                  </a:lnTo>
                  <a:lnTo>
                    <a:pt x="1952494" y="3039295"/>
                  </a:lnTo>
                  <a:lnTo>
                    <a:pt x="1954777" y="3039295"/>
                  </a:lnTo>
                  <a:lnTo>
                    <a:pt x="1957061" y="3039295"/>
                  </a:lnTo>
                  <a:lnTo>
                    <a:pt x="1959345" y="3039295"/>
                  </a:lnTo>
                  <a:lnTo>
                    <a:pt x="1961628" y="3039295"/>
                  </a:lnTo>
                  <a:lnTo>
                    <a:pt x="1963912" y="3039295"/>
                  </a:lnTo>
                  <a:lnTo>
                    <a:pt x="1966195" y="3041577"/>
                  </a:lnTo>
                  <a:lnTo>
                    <a:pt x="1968479" y="3043859"/>
                  </a:lnTo>
                  <a:lnTo>
                    <a:pt x="1970763" y="3046141"/>
                  </a:lnTo>
                  <a:lnTo>
                    <a:pt x="1970763" y="3048423"/>
                  </a:lnTo>
                  <a:lnTo>
                    <a:pt x="1973046" y="3050705"/>
                  </a:lnTo>
                  <a:lnTo>
                    <a:pt x="1975330" y="3052987"/>
                  </a:lnTo>
                  <a:lnTo>
                    <a:pt x="1977613" y="3052987"/>
                  </a:lnTo>
                  <a:lnTo>
                    <a:pt x="1979897" y="3052987"/>
                  </a:lnTo>
                  <a:lnTo>
                    <a:pt x="1982181" y="3052987"/>
                  </a:lnTo>
                  <a:lnTo>
                    <a:pt x="1982181" y="3050705"/>
                  </a:lnTo>
                  <a:lnTo>
                    <a:pt x="1984464" y="3048423"/>
                  </a:lnTo>
                  <a:lnTo>
                    <a:pt x="1986748" y="3043859"/>
                  </a:lnTo>
                  <a:lnTo>
                    <a:pt x="1989031" y="3043859"/>
                  </a:lnTo>
                  <a:lnTo>
                    <a:pt x="1991315" y="3039295"/>
                  </a:lnTo>
                  <a:lnTo>
                    <a:pt x="1995882" y="3034731"/>
                  </a:lnTo>
                  <a:lnTo>
                    <a:pt x="1995882" y="3037013"/>
                  </a:lnTo>
                  <a:lnTo>
                    <a:pt x="1998166" y="3039295"/>
                  </a:lnTo>
                  <a:lnTo>
                    <a:pt x="2000449" y="3043859"/>
                  </a:lnTo>
                  <a:lnTo>
                    <a:pt x="2005017" y="3043859"/>
                  </a:lnTo>
                  <a:lnTo>
                    <a:pt x="2009584" y="3043859"/>
                  </a:lnTo>
                  <a:lnTo>
                    <a:pt x="2007300" y="3048423"/>
                  </a:lnTo>
                  <a:lnTo>
                    <a:pt x="2011867" y="3052987"/>
                  </a:lnTo>
                  <a:lnTo>
                    <a:pt x="2014151" y="3055269"/>
                  </a:lnTo>
                  <a:lnTo>
                    <a:pt x="2016435" y="3055269"/>
                  </a:lnTo>
                  <a:lnTo>
                    <a:pt x="2018718" y="3055269"/>
                  </a:lnTo>
                  <a:lnTo>
                    <a:pt x="2021002" y="3055269"/>
                  </a:lnTo>
                  <a:lnTo>
                    <a:pt x="2021002" y="3057550"/>
                  </a:lnTo>
                  <a:lnTo>
                    <a:pt x="2023285" y="3057550"/>
                  </a:lnTo>
                  <a:lnTo>
                    <a:pt x="2025569" y="3057550"/>
                  </a:lnTo>
                  <a:lnTo>
                    <a:pt x="2027852" y="3057550"/>
                  </a:lnTo>
                  <a:lnTo>
                    <a:pt x="2030136" y="3059832"/>
                  </a:lnTo>
                  <a:lnTo>
                    <a:pt x="2034703" y="3059832"/>
                  </a:lnTo>
                  <a:lnTo>
                    <a:pt x="2034703" y="3062114"/>
                  </a:lnTo>
                  <a:lnTo>
                    <a:pt x="2036987" y="3062114"/>
                  </a:lnTo>
                  <a:lnTo>
                    <a:pt x="2039271" y="3062114"/>
                  </a:lnTo>
                  <a:lnTo>
                    <a:pt x="2041554" y="3062114"/>
                  </a:lnTo>
                  <a:lnTo>
                    <a:pt x="2043838" y="3062114"/>
                  </a:lnTo>
                  <a:lnTo>
                    <a:pt x="2046121" y="3062114"/>
                  </a:lnTo>
                  <a:lnTo>
                    <a:pt x="2048405" y="3062114"/>
                  </a:lnTo>
                  <a:lnTo>
                    <a:pt x="2050689" y="3059832"/>
                  </a:lnTo>
                  <a:lnTo>
                    <a:pt x="2052972" y="3059832"/>
                  </a:lnTo>
                  <a:lnTo>
                    <a:pt x="2055256" y="3059832"/>
                  </a:lnTo>
                  <a:lnTo>
                    <a:pt x="2055256" y="3057550"/>
                  </a:lnTo>
                  <a:lnTo>
                    <a:pt x="2055256" y="3055269"/>
                  </a:lnTo>
                  <a:lnTo>
                    <a:pt x="2055256" y="3052987"/>
                  </a:lnTo>
                  <a:lnTo>
                    <a:pt x="2057539" y="3052987"/>
                  </a:lnTo>
                  <a:lnTo>
                    <a:pt x="2059823" y="3052987"/>
                  </a:lnTo>
                  <a:lnTo>
                    <a:pt x="2059823" y="3055269"/>
                  </a:lnTo>
                  <a:lnTo>
                    <a:pt x="2062106" y="3055269"/>
                  </a:lnTo>
                  <a:lnTo>
                    <a:pt x="2062106" y="3052987"/>
                  </a:lnTo>
                  <a:lnTo>
                    <a:pt x="2064390" y="3052987"/>
                  </a:lnTo>
                  <a:lnTo>
                    <a:pt x="2064390" y="3050705"/>
                  </a:lnTo>
                  <a:lnTo>
                    <a:pt x="2064390" y="3048423"/>
                  </a:lnTo>
                  <a:lnTo>
                    <a:pt x="2064390" y="3046141"/>
                  </a:lnTo>
                  <a:lnTo>
                    <a:pt x="2064390" y="3043859"/>
                  </a:lnTo>
                  <a:lnTo>
                    <a:pt x="2064390" y="3041577"/>
                  </a:lnTo>
                  <a:lnTo>
                    <a:pt x="2066674" y="3041577"/>
                  </a:lnTo>
                  <a:lnTo>
                    <a:pt x="2066674" y="3039295"/>
                  </a:lnTo>
                  <a:lnTo>
                    <a:pt x="2068957" y="3039295"/>
                  </a:lnTo>
                  <a:lnTo>
                    <a:pt x="2073524" y="3037013"/>
                  </a:lnTo>
                  <a:lnTo>
                    <a:pt x="2075808" y="3037013"/>
                  </a:lnTo>
                  <a:lnTo>
                    <a:pt x="2078092" y="3037013"/>
                  </a:lnTo>
                  <a:lnTo>
                    <a:pt x="2078092" y="3034731"/>
                  </a:lnTo>
                  <a:lnTo>
                    <a:pt x="2080375" y="3034731"/>
                  </a:lnTo>
                  <a:lnTo>
                    <a:pt x="2082659" y="3032450"/>
                  </a:lnTo>
                  <a:lnTo>
                    <a:pt x="2084942" y="3032450"/>
                  </a:lnTo>
                  <a:lnTo>
                    <a:pt x="2084942" y="3030168"/>
                  </a:lnTo>
                  <a:lnTo>
                    <a:pt x="2087226" y="3030168"/>
                  </a:lnTo>
                  <a:lnTo>
                    <a:pt x="2087226" y="3027886"/>
                  </a:lnTo>
                  <a:lnTo>
                    <a:pt x="2087226" y="3025604"/>
                  </a:lnTo>
                  <a:lnTo>
                    <a:pt x="2087226" y="3023322"/>
                  </a:lnTo>
                  <a:lnTo>
                    <a:pt x="2089510" y="3023322"/>
                  </a:lnTo>
                  <a:lnTo>
                    <a:pt x="2089510" y="3021040"/>
                  </a:lnTo>
                  <a:lnTo>
                    <a:pt x="2089510" y="3018758"/>
                  </a:lnTo>
                  <a:lnTo>
                    <a:pt x="2089510" y="3016476"/>
                  </a:lnTo>
                  <a:lnTo>
                    <a:pt x="2089510" y="3014194"/>
                  </a:lnTo>
                  <a:lnTo>
                    <a:pt x="2089510" y="3009631"/>
                  </a:lnTo>
                  <a:lnTo>
                    <a:pt x="2089510" y="3007349"/>
                  </a:lnTo>
                  <a:lnTo>
                    <a:pt x="2089510" y="3005067"/>
                  </a:lnTo>
                  <a:lnTo>
                    <a:pt x="2091793" y="3000503"/>
                  </a:lnTo>
                  <a:lnTo>
                    <a:pt x="2091793" y="2998221"/>
                  </a:lnTo>
                  <a:lnTo>
                    <a:pt x="2091793" y="2995939"/>
                  </a:lnTo>
                  <a:lnTo>
                    <a:pt x="2091793" y="2993657"/>
                  </a:lnTo>
                  <a:lnTo>
                    <a:pt x="2096360" y="2991375"/>
                  </a:lnTo>
                  <a:lnTo>
                    <a:pt x="2098644" y="2986821"/>
                  </a:lnTo>
                  <a:lnTo>
                    <a:pt x="2103211" y="2984539"/>
                  </a:lnTo>
                  <a:lnTo>
                    <a:pt x="2107778" y="2982257"/>
                  </a:lnTo>
                  <a:lnTo>
                    <a:pt x="2110062" y="2979975"/>
                  </a:lnTo>
                  <a:lnTo>
                    <a:pt x="2110062" y="2982257"/>
                  </a:lnTo>
                  <a:lnTo>
                    <a:pt x="2112346" y="2984539"/>
                  </a:lnTo>
                  <a:lnTo>
                    <a:pt x="2112346" y="2989094"/>
                  </a:lnTo>
                  <a:lnTo>
                    <a:pt x="2114629" y="2995939"/>
                  </a:lnTo>
                  <a:lnTo>
                    <a:pt x="2116913" y="2998221"/>
                  </a:lnTo>
                  <a:lnTo>
                    <a:pt x="2116913" y="3002785"/>
                  </a:lnTo>
                  <a:lnTo>
                    <a:pt x="2119196" y="3005067"/>
                  </a:lnTo>
                  <a:lnTo>
                    <a:pt x="2119196" y="3002785"/>
                  </a:lnTo>
                  <a:lnTo>
                    <a:pt x="2121480" y="2998221"/>
                  </a:lnTo>
                  <a:lnTo>
                    <a:pt x="2121480" y="2995939"/>
                  </a:lnTo>
                  <a:lnTo>
                    <a:pt x="2121480" y="2993657"/>
                  </a:lnTo>
                  <a:lnTo>
                    <a:pt x="2123764" y="2989094"/>
                  </a:lnTo>
                  <a:lnTo>
                    <a:pt x="2123764" y="2986821"/>
                  </a:lnTo>
                  <a:lnTo>
                    <a:pt x="2126047" y="2982257"/>
                  </a:lnTo>
                  <a:lnTo>
                    <a:pt x="2126047" y="2979975"/>
                  </a:lnTo>
                  <a:lnTo>
                    <a:pt x="2128331" y="2975412"/>
                  </a:lnTo>
                  <a:lnTo>
                    <a:pt x="2130614" y="2973130"/>
                  </a:lnTo>
                  <a:lnTo>
                    <a:pt x="2132898" y="2970848"/>
                  </a:lnTo>
                  <a:lnTo>
                    <a:pt x="2130614" y="2970848"/>
                  </a:lnTo>
                  <a:lnTo>
                    <a:pt x="2128331" y="2968566"/>
                  </a:lnTo>
                  <a:lnTo>
                    <a:pt x="2126047" y="2968566"/>
                  </a:lnTo>
                  <a:lnTo>
                    <a:pt x="2121480" y="2966284"/>
                  </a:lnTo>
                  <a:lnTo>
                    <a:pt x="2116913" y="2964002"/>
                  </a:lnTo>
                  <a:lnTo>
                    <a:pt x="2116913" y="2961720"/>
                  </a:lnTo>
                  <a:lnTo>
                    <a:pt x="2112346" y="2957156"/>
                  </a:lnTo>
                  <a:lnTo>
                    <a:pt x="2112346" y="2954875"/>
                  </a:lnTo>
                  <a:lnTo>
                    <a:pt x="2110062" y="2952593"/>
                  </a:lnTo>
                  <a:lnTo>
                    <a:pt x="2112346" y="2952593"/>
                  </a:lnTo>
                  <a:lnTo>
                    <a:pt x="2112346" y="2950311"/>
                  </a:lnTo>
                  <a:lnTo>
                    <a:pt x="2114629" y="2948029"/>
                  </a:lnTo>
                  <a:lnTo>
                    <a:pt x="2116913" y="2945747"/>
                  </a:lnTo>
                  <a:lnTo>
                    <a:pt x="2116913" y="2943465"/>
                  </a:lnTo>
                  <a:lnTo>
                    <a:pt x="2116913" y="2938901"/>
                  </a:lnTo>
                  <a:lnTo>
                    <a:pt x="2114629" y="2936619"/>
                  </a:lnTo>
                  <a:lnTo>
                    <a:pt x="2114629" y="2934338"/>
                  </a:lnTo>
                  <a:lnTo>
                    <a:pt x="2114629" y="2932056"/>
                  </a:lnTo>
                  <a:lnTo>
                    <a:pt x="2112346" y="2932056"/>
                  </a:lnTo>
                  <a:lnTo>
                    <a:pt x="2112346" y="2929774"/>
                  </a:lnTo>
                  <a:lnTo>
                    <a:pt x="2112346" y="2927492"/>
                  </a:lnTo>
                  <a:lnTo>
                    <a:pt x="2110062" y="2925210"/>
                  </a:lnTo>
                  <a:lnTo>
                    <a:pt x="2107778" y="2920646"/>
                  </a:lnTo>
                  <a:lnTo>
                    <a:pt x="2110062" y="2918364"/>
                  </a:lnTo>
                  <a:lnTo>
                    <a:pt x="2116913" y="2916082"/>
                  </a:lnTo>
                  <a:lnTo>
                    <a:pt x="2116913" y="2913800"/>
                  </a:lnTo>
                  <a:lnTo>
                    <a:pt x="2116913" y="2911519"/>
                  </a:lnTo>
                  <a:lnTo>
                    <a:pt x="2116913" y="2904673"/>
                  </a:lnTo>
                  <a:lnTo>
                    <a:pt x="2116913" y="2902391"/>
                  </a:lnTo>
                  <a:lnTo>
                    <a:pt x="2116913" y="2900109"/>
                  </a:lnTo>
                  <a:lnTo>
                    <a:pt x="2114629" y="2900109"/>
                  </a:lnTo>
                  <a:lnTo>
                    <a:pt x="2114629" y="2897827"/>
                  </a:lnTo>
                  <a:lnTo>
                    <a:pt x="2112346" y="2897827"/>
                  </a:lnTo>
                  <a:lnTo>
                    <a:pt x="2112346" y="2895545"/>
                  </a:lnTo>
                  <a:lnTo>
                    <a:pt x="2112346" y="2893263"/>
                  </a:lnTo>
                  <a:lnTo>
                    <a:pt x="2112346" y="2890982"/>
                  </a:lnTo>
                  <a:lnTo>
                    <a:pt x="2110062" y="2890982"/>
                  </a:lnTo>
                  <a:lnTo>
                    <a:pt x="2110062" y="2888700"/>
                  </a:lnTo>
                  <a:lnTo>
                    <a:pt x="2110062" y="2886418"/>
                  </a:lnTo>
                  <a:lnTo>
                    <a:pt x="2112346" y="2886418"/>
                  </a:lnTo>
                  <a:lnTo>
                    <a:pt x="2114629" y="2886418"/>
                  </a:lnTo>
                  <a:lnTo>
                    <a:pt x="2116913" y="2886418"/>
                  </a:lnTo>
                  <a:lnTo>
                    <a:pt x="2121480" y="2888700"/>
                  </a:lnTo>
                  <a:lnTo>
                    <a:pt x="2123764" y="2890982"/>
                  </a:lnTo>
                  <a:lnTo>
                    <a:pt x="2126047" y="2893263"/>
                  </a:lnTo>
                  <a:lnTo>
                    <a:pt x="2126047" y="2895545"/>
                  </a:lnTo>
                  <a:lnTo>
                    <a:pt x="2128331" y="2897827"/>
                  </a:lnTo>
                  <a:lnTo>
                    <a:pt x="2130614" y="2897827"/>
                  </a:lnTo>
                  <a:lnTo>
                    <a:pt x="2132898" y="2897827"/>
                  </a:lnTo>
                  <a:lnTo>
                    <a:pt x="2135182" y="2897827"/>
                  </a:lnTo>
                  <a:lnTo>
                    <a:pt x="2137465" y="2900109"/>
                  </a:lnTo>
                  <a:lnTo>
                    <a:pt x="2139749" y="2900109"/>
                  </a:lnTo>
                  <a:lnTo>
                    <a:pt x="2139749" y="2897827"/>
                  </a:lnTo>
                  <a:lnTo>
                    <a:pt x="2142032" y="2893263"/>
                  </a:lnTo>
                  <a:lnTo>
                    <a:pt x="2142032" y="2890982"/>
                  </a:lnTo>
                  <a:lnTo>
                    <a:pt x="2142032" y="2888700"/>
                  </a:lnTo>
                  <a:lnTo>
                    <a:pt x="2142032" y="2884136"/>
                  </a:lnTo>
                  <a:lnTo>
                    <a:pt x="2142032" y="2881854"/>
                  </a:lnTo>
                  <a:lnTo>
                    <a:pt x="2142032" y="2879572"/>
                  </a:lnTo>
                  <a:lnTo>
                    <a:pt x="2142032" y="2875008"/>
                  </a:lnTo>
                  <a:lnTo>
                    <a:pt x="2142032" y="2872726"/>
                  </a:lnTo>
                  <a:lnTo>
                    <a:pt x="2142032" y="2870444"/>
                  </a:lnTo>
                  <a:lnTo>
                    <a:pt x="2142032" y="2868163"/>
                  </a:lnTo>
                  <a:lnTo>
                    <a:pt x="2139749" y="2868163"/>
                  </a:lnTo>
                  <a:lnTo>
                    <a:pt x="2137465" y="2868163"/>
                  </a:lnTo>
                  <a:lnTo>
                    <a:pt x="2137465" y="2865881"/>
                  </a:lnTo>
                  <a:lnTo>
                    <a:pt x="2142032" y="2863599"/>
                  </a:lnTo>
                  <a:lnTo>
                    <a:pt x="2144316" y="2861317"/>
                  </a:lnTo>
                  <a:lnTo>
                    <a:pt x="2148883" y="2859035"/>
                  </a:lnTo>
                  <a:lnTo>
                    <a:pt x="2151167" y="2859035"/>
                  </a:lnTo>
                  <a:lnTo>
                    <a:pt x="2153450" y="2856753"/>
                  </a:lnTo>
                  <a:lnTo>
                    <a:pt x="2151167" y="2852189"/>
                  </a:lnTo>
                  <a:lnTo>
                    <a:pt x="2151167" y="2847626"/>
                  </a:lnTo>
                  <a:lnTo>
                    <a:pt x="2151167" y="2845343"/>
                  </a:lnTo>
                  <a:lnTo>
                    <a:pt x="2155734" y="2833934"/>
                  </a:lnTo>
                  <a:lnTo>
                    <a:pt x="2162585" y="2820252"/>
                  </a:lnTo>
                  <a:lnTo>
                    <a:pt x="2164868" y="2804279"/>
                  </a:lnTo>
                  <a:lnTo>
                    <a:pt x="2169436" y="2804279"/>
                  </a:lnTo>
                  <a:lnTo>
                    <a:pt x="2171719" y="2774614"/>
                  </a:lnTo>
                  <a:lnTo>
                    <a:pt x="2178570" y="2772332"/>
                  </a:lnTo>
                  <a:lnTo>
                    <a:pt x="2180854" y="2772332"/>
                  </a:lnTo>
                  <a:lnTo>
                    <a:pt x="2185421" y="2770051"/>
                  </a:lnTo>
                  <a:lnTo>
                    <a:pt x="2199122" y="2776896"/>
                  </a:lnTo>
                  <a:lnTo>
                    <a:pt x="2201406" y="2779178"/>
                  </a:lnTo>
                  <a:lnTo>
                    <a:pt x="2226525" y="2788306"/>
                  </a:lnTo>
                  <a:lnTo>
                    <a:pt x="2228809" y="2790588"/>
                  </a:lnTo>
                  <a:lnTo>
                    <a:pt x="2251645" y="2801997"/>
                  </a:lnTo>
                  <a:lnTo>
                    <a:pt x="2251645" y="2804279"/>
                  </a:lnTo>
                  <a:lnTo>
                    <a:pt x="2253929" y="2804279"/>
                  </a:lnTo>
                  <a:lnTo>
                    <a:pt x="2258496" y="2804279"/>
                  </a:lnTo>
                  <a:lnTo>
                    <a:pt x="2260779" y="2804279"/>
                  </a:lnTo>
                  <a:lnTo>
                    <a:pt x="2265347" y="2804279"/>
                  </a:lnTo>
                  <a:lnTo>
                    <a:pt x="2269914" y="2804279"/>
                  </a:lnTo>
                  <a:lnTo>
                    <a:pt x="2272197" y="2804279"/>
                  </a:lnTo>
                  <a:lnTo>
                    <a:pt x="2274481" y="2804279"/>
                  </a:lnTo>
                  <a:lnTo>
                    <a:pt x="2276765" y="2806561"/>
                  </a:lnTo>
                  <a:lnTo>
                    <a:pt x="2276765" y="2808843"/>
                  </a:lnTo>
                  <a:lnTo>
                    <a:pt x="2276765" y="2811125"/>
                  </a:lnTo>
                  <a:lnTo>
                    <a:pt x="2276765" y="2813407"/>
                  </a:lnTo>
                  <a:lnTo>
                    <a:pt x="2276765" y="2815688"/>
                  </a:lnTo>
                  <a:lnTo>
                    <a:pt x="2276765" y="2820252"/>
                  </a:lnTo>
                  <a:lnTo>
                    <a:pt x="2297317" y="2824816"/>
                  </a:lnTo>
                  <a:lnTo>
                    <a:pt x="2292750" y="2829370"/>
                  </a:lnTo>
                  <a:lnTo>
                    <a:pt x="2288183" y="2843062"/>
                  </a:lnTo>
                  <a:lnTo>
                    <a:pt x="2283615" y="2856753"/>
                  </a:lnTo>
                  <a:lnTo>
                    <a:pt x="2288183" y="2861317"/>
                  </a:lnTo>
                  <a:lnTo>
                    <a:pt x="2295033" y="2863599"/>
                  </a:lnTo>
                  <a:lnTo>
                    <a:pt x="2297317" y="2863599"/>
                  </a:lnTo>
                  <a:lnTo>
                    <a:pt x="2299601" y="2863599"/>
                  </a:lnTo>
                  <a:lnTo>
                    <a:pt x="2301884" y="2863599"/>
                  </a:lnTo>
                  <a:lnTo>
                    <a:pt x="2301884" y="2861317"/>
                  </a:lnTo>
                  <a:lnTo>
                    <a:pt x="2304168" y="2861317"/>
                  </a:lnTo>
                  <a:lnTo>
                    <a:pt x="2306451" y="2861317"/>
                  </a:lnTo>
                  <a:lnTo>
                    <a:pt x="2308735" y="2861317"/>
                  </a:lnTo>
                  <a:lnTo>
                    <a:pt x="2308735" y="2863599"/>
                  </a:lnTo>
                  <a:lnTo>
                    <a:pt x="2311019" y="2863599"/>
                  </a:lnTo>
                  <a:lnTo>
                    <a:pt x="2313302" y="2861317"/>
                  </a:lnTo>
                  <a:lnTo>
                    <a:pt x="2315586" y="2861317"/>
                  </a:lnTo>
                  <a:lnTo>
                    <a:pt x="2317869" y="2861317"/>
                  </a:lnTo>
                  <a:lnTo>
                    <a:pt x="2329287" y="2856753"/>
                  </a:lnTo>
                  <a:lnTo>
                    <a:pt x="2338422" y="2852189"/>
                  </a:lnTo>
                  <a:lnTo>
                    <a:pt x="2347556" y="2863599"/>
                  </a:lnTo>
                  <a:lnTo>
                    <a:pt x="2354407" y="2875008"/>
                  </a:lnTo>
                  <a:lnTo>
                    <a:pt x="2370392" y="2868163"/>
                  </a:lnTo>
                  <a:lnTo>
                    <a:pt x="2381810" y="2859035"/>
                  </a:lnTo>
                  <a:lnTo>
                    <a:pt x="2384094" y="2865881"/>
                  </a:lnTo>
                  <a:lnTo>
                    <a:pt x="2388661" y="2877290"/>
                  </a:lnTo>
                  <a:lnTo>
                    <a:pt x="2397795" y="2881854"/>
                  </a:lnTo>
                  <a:lnTo>
                    <a:pt x="2416064" y="2877290"/>
                  </a:lnTo>
                  <a:lnTo>
                    <a:pt x="2425198" y="2875008"/>
                  </a:lnTo>
                  <a:lnTo>
                    <a:pt x="2434333" y="2877290"/>
                  </a:lnTo>
                  <a:lnTo>
                    <a:pt x="2445751" y="2881854"/>
                  </a:lnTo>
                  <a:lnTo>
                    <a:pt x="2448034" y="2881854"/>
                  </a:lnTo>
                  <a:lnTo>
                    <a:pt x="2457169" y="2886418"/>
                  </a:lnTo>
                  <a:lnTo>
                    <a:pt x="2454885" y="2888700"/>
                  </a:lnTo>
                  <a:lnTo>
                    <a:pt x="2454885" y="2890982"/>
                  </a:lnTo>
                  <a:lnTo>
                    <a:pt x="2452601" y="2893263"/>
                  </a:lnTo>
                  <a:lnTo>
                    <a:pt x="2452601" y="2895545"/>
                  </a:lnTo>
                  <a:lnTo>
                    <a:pt x="2452601" y="2902391"/>
                  </a:lnTo>
                  <a:lnTo>
                    <a:pt x="2452601" y="2906955"/>
                  </a:lnTo>
                  <a:lnTo>
                    <a:pt x="2454885" y="2911519"/>
                  </a:lnTo>
                  <a:lnTo>
                    <a:pt x="2459452" y="2911519"/>
                  </a:lnTo>
                  <a:lnTo>
                    <a:pt x="2459452" y="2913800"/>
                  </a:lnTo>
                  <a:lnTo>
                    <a:pt x="2464020" y="2918364"/>
                  </a:lnTo>
                  <a:lnTo>
                    <a:pt x="2468587" y="2920646"/>
                  </a:lnTo>
                  <a:lnTo>
                    <a:pt x="2470870" y="2913800"/>
                  </a:lnTo>
                  <a:lnTo>
                    <a:pt x="2475437" y="2913800"/>
                  </a:lnTo>
                  <a:lnTo>
                    <a:pt x="2477721" y="2913800"/>
                  </a:lnTo>
                  <a:lnTo>
                    <a:pt x="2482288" y="2909237"/>
                  </a:lnTo>
                  <a:lnTo>
                    <a:pt x="2484572" y="2906955"/>
                  </a:lnTo>
                  <a:lnTo>
                    <a:pt x="2486855" y="2904673"/>
                  </a:lnTo>
                  <a:lnTo>
                    <a:pt x="2489139" y="2902391"/>
                  </a:lnTo>
                  <a:lnTo>
                    <a:pt x="2493706" y="2895545"/>
                  </a:lnTo>
                  <a:lnTo>
                    <a:pt x="2500557" y="2890982"/>
                  </a:lnTo>
                  <a:lnTo>
                    <a:pt x="2514259" y="2877290"/>
                  </a:lnTo>
                  <a:lnTo>
                    <a:pt x="2511975" y="2875008"/>
                  </a:lnTo>
                  <a:lnTo>
                    <a:pt x="2511975" y="2872726"/>
                  </a:lnTo>
                  <a:lnTo>
                    <a:pt x="2511975" y="2870444"/>
                  </a:lnTo>
                  <a:lnTo>
                    <a:pt x="2511975" y="2868163"/>
                  </a:lnTo>
                  <a:lnTo>
                    <a:pt x="2514259" y="2865881"/>
                  </a:lnTo>
                  <a:lnTo>
                    <a:pt x="2516542" y="2863599"/>
                  </a:lnTo>
                  <a:lnTo>
                    <a:pt x="2516542" y="2861317"/>
                  </a:lnTo>
                  <a:lnTo>
                    <a:pt x="2518826" y="2861317"/>
                  </a:lnTo>
                  <a:lnTo>
                    <a:pt x="2518826" y="2859035"/>
                  </a:lnTo>
                  <a:lnTo>
                    <a:pt x="2521109" y="2856753"/>
                  </a:lnTo>
                  <a:lnTo>
                    <a:pt x="2523393" y="2854471"/>
                  </a:lnTo>
                  <a:lnTo>
                    <a:pt x="2523393" y="2852189"/>
                  </a:lnTo>
                  <a:lnTo>
                    <a:pt x="2523393" y="2845343"/>
                  </a:lnTo>
                  <a:lnTo>
                    <a:pt x="2523393" y="2840780"/>
                  </a:lnTo>
                  <a:lnTo>
                    <a:pt x="2523393" y="2838498"/>
                  </a:lnTo>
                  <a:lnTo>
                    <a:pt x="2525676" y="2836216"/>
                  </a:lnTo>
                  <a:lnTo>
                    <a:pt x="2527960" y="2831652"/>
                  </a:lnTo>
                  <a:lnTo>
                    <a:pt x="2527960" y="2829370"/>
                  </a:lnTo>
                  <a:lnTo>
                    <a:pt x="2530244" y="2827088"/>
                  </a:lnTo>
                  <a:lnTo>
                    <a:pt x="2532527" y="2822534"/>
                  </a:lnTo>
                  <a:lnTo>
                    <a:pt x="2534811" y="2820252"/>
                  </a:lnTo>
                  <a:lnTo>
                    <a:pt x="2537095" y="2817970"/>
                  </a:lnTo>
                  <a:lnTo>
                    <a:pt x="2550796" y="2808843"/>
                  </a:lnTo>
                  <a:lnTo>
                    <a:pt x="2553080" y="2808843"/>
                  </a:lnTo>
                  <a:lnTo>
                    <a:pt x="2555363" y="2808843"/>
                  </a:lnTo>
                  <a:lnTo>
                    <a:pt x="2557647" y="2808843"/>
                  </a:lnTo>
                  <a:lnTo>
                    <a:pt x="2559930" y="2808843"/>
                  </a:lnTo>
                  <a:lnTo>
                    <a:pt x="2562214" y="2808843"/>
                  </a:lnTo>
                  <a:lnTo>
                    <a:pt x="2564498" y="2808843"/>
                  </a:lnTo>
                  <a:lnTo>
                    <a:pt x="2566781" y="2811125"/>
                  </a:lnTo>
                  <a:lnTo>
                    <a:pt x="2566781" y="2808843"/>
                  </a:lnTo>
                  <a:lnTo>
                    <a:pt x="2569065" y="2808843"/>
                  </a:lnTo>
                  <a:lnTo>
                    <a:pt x="2573632" y="2808843"/>
                  </a:lnTo>
                  <a:lnTo>
                    <a:pt x="2571349" y="2806561"/>
                  </a:lnTo>
                  <a:lnTo>
                    <a:pt x="2571349" y="2804279"/>
                  </a:lnTo>
                  <a:lnTo>
                    <a:pt x="2571349" y="2801997"/>
                  </a:lnTo>
                  <a:lnTo>
                    <a:pt x="2573632" y="2799715"/>
                  </a:lnTo>
                  <a:lnTo>
                    <a:pt x="2575916" y="2792870"/>
                  </a:lnTo>
                  <a:lnTo>
                    <a:pt x="2578199" y="2795151"/>
                  </a:lnTo>
                  <a:lnTo>
                    <a:pt x="2589617" y="2799715"/>
                  </a:lnTo>
                  <a:lnTo>
                    <a:pt x="2605603" y="2804279"/>
                  </a:lnTo>
                  <a:lnTo>
                    <a:pt x="2614737" y="2804279"/>
                  </a:lnTo>
                  <a:lnTo>
                    <a:pt x="2617020" y="2799715"/>
                  </a:lnTo>
                  <a:lnTo>
                    <a:pt x="2619304" y="2799715"/>
                  </a:lnTo>
                  <a:lnTo>
                    <a:pt x="2633005" y="2797433"/>
                  </a:lnTo>
                  <a:lnTo>
                    <a:pt x="2633005" y="2795151"/>
                  </a:lnTo>
                  <a:lnTo>
                    <a:pt x="2633005" y="2792870"/>
                  </a:lnTo>
                  <a:lnTo>
                    <a:pt x="2635289" y="2792870"/>
                  </a:lnTo>
                  <a:lnTo>
                    <a:pt x="2639856" y="2786024"/>
                  </a:lnTo>
                  <a:lnTo>
                    <a:pt x="2644424" y="2781460"/>
                  </a:lnTo>
                  <a:lnTo>
                    <a:pt x="2646707" y="2781460"/>
                  </a:lnTo>
                  <a:lnTo>
                    <a:pt x="2653558" y="2783742"/>
                  </a:lnTo>
                  <a:lnTo>
                    <a:pt x="2658125" y="2783742"/>
                  </a:lnTo>
                  <a:lnTo>
                    <a:pt x="2662692" y="2783742"/>
                  </a:lnTo>
                  <a:lnTo>
                    <a:pt x="2662692" y="2781460"/>
                  </a:lnTo>
                  <a:lnTo>
                    <a:pt x="2667259" y="2781460"/>
                  </a:lnTo>
                  <a:lnTo>
                    <a:pt x="2671827" y="2779178"/>
                  </a:lnTo>
                  <a:lnTo>
                    <a:pt x="2678678" y="2779178"/>
                  </a:lnTo>
                  <a:lnTo>
                    <a:pt x="2680961" y="2779178"/>
                  </a:lnTo>
                  <a:lnTo>
                    <a:pt x="2687812" y="2781460"/>
                  </a:lnTo>
                  <a:lnTo>
                    <a:pt x="2696946" y="2797433"/>
                  </a:lnTo>
                  <a:lnTo>
                    <a:pt x="2703797" y="2797433"/>
                  </a:lnTo>
                  <a:lnTo>
                    <a:pt x="2710648" y="2801997"/>
                  </a:lnTo>
                  <a:lnTo>
                    <a:pt x="2712932" y="2801997"/>
                  </a:lnTo>
                  <a:lnTo>
                    <a:pt x="2717499" y="2804279"/>
                  </a:lnTo>
                  <a:lnTo>
                    <a:pt x="2722066" y="2804279"/>
                  </a:lnTo>
                  <a:lnTo>
                    <a:pt x="2726633" y="2804279"/>
                  </a:lnTo>
                  <a:lnTo>
                    <a:pt x="2726633" y="2808843"/>
                  </a:lnTo>
                  <a:lnTo>
                    <a:pt x="2728917" y="2811125"/>
                  </a:lnTo>
                  <a:lnTo>
                    <a:pt x="2715215" y="2824816"/>
                  </a:lnTo>
                  <a:lnTo>
                    <a:pt x="2724349" y="2827088"/>
                  </a:lnTo>
                  <a:lnTo>
                    <a:pt x="2722066" y="2831652"/>
                  </a:lnTo>
                  <a:lnTo>
                    <a:pt x="2726633" y="2833934"/>
                  </a:lnTo>
                  <a:lnTo>
                    <a:pt x="2740335" y="2854471"/>
                  </a:lnTo>
                  <a:lnTo>
                    <a:pt x="2742618" y="2854471"/>
                  </a:lnTo>
                  <a:lnTo>
                    <a:pt x="2744902" y="2854471"/>
                  </a:lnTo>
                  <a:lnTo>
                    <a:pt x="2747185" y="2854471"/>
                  </a:lnTo>
                  <a:lnTo>
                    <a:pt x="2747185" y="2852189"/>
                  </a:lnTo>
                  <a:lnTo>
                    <a:pt x="2749469" y="2852189"/>
                  </a:lnTo>
                  <a:lnTo>
                    <a:pt x="2751753" y="2849907"/>
                  </a:lnTo>
                  <a:lnTo>
                    <a:pt x="2754036" y="2847626"/>
                  </a:lnTo>
                  <a:lnTo>
                    <a:pt x="2754036" y="2845343"/>
                  </a:lnTo>
                  <a:lnTo>
                    <a:pt x="2754036" y="2840780"/>
                  </a:lnTo>
                  <a:lnTo>
                    <a:pt x="2754036" y="2838498"/>
                  </a:lnTo>
                  <a:lnTo>
                    <a:pt x="2754036" y="2836216"/>
                  </a:lnTo>
                  <a:lnTo>
                    <a:pt x="2756320" y="2833934"/>
                  </a:lnTo>
                  <a:lnTo>
                    <a:pt x="2758603" y="2833934"/>
                  </a:lnTo>
                  <a:lnTo>
                    <a:pt x="2760887" y="2831652"/>
                  </a:lnTo>
                  <a:lnTo>
                    <a:pt x="2763171" y="2829370"/>
                  </a:lnTo>
                  <a:lnTo>
                    <a:pt x="2765454" y="2827088"/>
                  </a:lnTo>
                  <a:lnTo>
                    <a:pt x="2765454" y="2824816"/>
                  </a:lnTo>
                  <a:lnTo>
                    <a:pt x="2765454" y="2817970"/>
                  </a:lnTo>
                  <a:lnTo>
                    <a:pt x="2770021" y="2804279"/>
                  </a:lnTo>
                  <a:lnTo>
                    <a:pt x="2767738" y="2801997"/>
                  </a:lnTo>
                  <a:lnTo>
                    <a:pt x="2770021" y="2799715"/>
                  </a:lnTo>
                  <a:lnTo>
                    <a:pt x="2779165" y="2799715"/>
                  </a:lnTo>
                  <a:lnTo>
                    <a:pt x="2786007" y="2799715"/>
                  </a:lnTo>
                  <a:lnTo>
                    <a:pt x="2797425" y="2799715"/>
                  </a:lnTo>
                  <a:lnTo>
                    <a:pt x="2792867" y="2806561"/>
                  </a:lnTo>
                  <a:lnTo>
                    <a:pt x="2792867" y="2808843"/>
                  </a:lnTo>
                  <a:lnTo>
                    <a:pt x="2795150" y="2820252"/>
                  </a:lnTo>
                  <a:lnTo>
                    <a:pt x="2797425" y="2824816"/>
                  </a:lnTo>
                  <a:lnTo>
                    <a:pt x="2801992" y="2827088"/>
                  </a:lnTo>
                  <a:lnTo>
                    <a:pt x="2808852" y="2840780"/>
                  </a:lnTo>
                  <a:lnTo>
                    <a:pt x="2815703" y="2836216"/>
                  </a:lnTo>
                  <a:lnTo>
                    <a:pt x="2817977" y="2833934"/>
                  </a:lnTo>
                  <a:lnTo>
                    <a:pt x="2820261" y="2833934"/>
                  </a:lnTo>
                  <a:lnTo>
                    <a:pt x="2822554" y="2833934"/>
                  </a:lnTo>
                  <a:lnTo>
                    <a:pt x="2827111" y="2833934"/>
                  </a:lnTo>
                  <a:lnTo>
                    <a:pt x="2833971" y="2831652"/>
                  </a:lnTo>
                  <a:lnTo>
                    <a:pt x="2836255" y="2831652"/>
                  </a:lnTo>
                  <a:lnTo>
                    <a:pt x="2833971" y="2822534"/>
                  </a:lnTo>
                  <a:lnTo>
                    <a:pt x="2836255" y="2817970"/>
                  </a:lnTo>
                  <a:lnTo>
                    <a:pt x="2838539" y="2813407"/>
                  </a:lnTo>
                  <a:lnTo>
                    <a:pt x="2854524" y="2813407"/>
                  </a:lnTo>
                  <a:lnTo>
                    <a:pt x="2861375" y="2815688"/>
                  </a:lnTo>
                  <a:lnTo>
                    <a:pt x="2863658" y="2815688"/>
                  </a:lnTo>
                  <a:lnTo>
                    <a:pt x="2865942" y="2815688"/>
                  </a:lnTo>
                  <a:lnTo>
                    <a:pt x="2868225" y="2817970"/>
                  </a:lnTo>
                  <a:lnTo>
                    <a:pt x="2870509" y="2820252"/>
                  </a:lnTo>
                  <a:lnTo>
                    <a:pt x="2872793" y="2820252"/>
                  </a:lnTo>
                  <a:lnTo>
                    <a:pt x="2877360" y="2822534"/>
                  </a:lnTo>
                  <a:lnTo>
                    <a:pt x="2877360" y="2817970"/>
                  </a:lnTo>
                  <a:lnTo>
                    <a:pt x="2879644" y="2820252"/>
                  </a:lnTo>
                  <a:lnTo>
                    <a:pt x="2881927" y="2822534"/>
                  </a:lnTo>
                  <a:lnTo>
                    <a:pt x="2886494" y="2820252"/>
                  </a:lnTo>
                  <a:lnTo>
                    <a:pt x="2886494" y="2817970"/>
                  </a:lnTo>
                  <a:lnTo>
                    <a:pt x="2888778" y="2817970"/>
                  </a:lnTo>
                  <a:lnTo>
                    <a:pt x="2891061" y="2817970"/>
                  </a:lnTo>
                  <a:lnTo>
                    <a:pt x="2891061" y="2815688"/>
                  </a:lnTo>
                  <a:lnTo>
                    <a:pt x="2893345" y="2815688"/>
                  </a:lnTo>
                  <a:lnTo>
                    <a:pt x="2895629" y="2813407"/>
                  </a:lnTo>
                  <a:lnTo>
                    <a:pt x="2895629" y="2811125"/>
                  </a:lnTo>
                  <a:lnTo>
                    <a:pt x="2895629" y="2804279"/>
                  </a:lnTo>
                  <a:lnTo>
                    <a:pt x="2900196" y="2801997"/>
                  </a:lnTo>
                  <a:lnTo>
                    <a:pt x="2902479" y="2799715"/>
                  </a:lnTo>
                  <a:lnTo>
                    <a:pt x="2929883" y="2797433"/>
                  </a:lnTo>
                  <a:lnTo>
                    <a:pt x="2927599" y="2788306"/>
                  </a:lnTo>
                  <a:lnTo>
                    <a:pt x="2936733" y="2797433"/>
                  </a:lnTo>
                  <a:lnTo>
                    <a:pt x="2936733" y="2799715"/>
                  </a:lnTo>
                  <a:lnTo>
                    <a:pt x="2948151" y="2795151"/>
                  </a:lnTo>
                  <a:lnTo>
                    <a:pt x="2959569" y="2795151"/>
                  </a:lnTo>
                  <a:lnTo>
                    <a:pt x="2961853" y="2795151"/>
                  </a:lnTo>
                  <a:lnTo>
                    <a:pt x="2961853" y="2792870"/>
                  </a:lnTo>
                  <a:lnTo>
                    <a:pt x="2961853" y="2790588"/>
                  </a:lnTo>
                  <a:lnTo>
                    <a:pt x="2961853" y="2781460"/>
                  </a:lnTo>
                  <a:lnTo>
                    <a:pt x="2964137" y="2774614"/>
                  </a:lnTo>
                  <a:lnTo>
                    <a:pt x="2964137" y="2770051"/>
                  </a:lnTo>
                  <a:lnTo>
                    <a:pt x="2964137" y="2756359"/>
                  </a:lnTo>
                  <a:lnTo>
                    <a:pt x="2964137" y="2754077"/>
                  </a:lnTo>
                  <a:lnTo>
                    <a:pt x="2959569" y="2740386"/>
                  </a:lnTo>
                  <a:lnTo>
                    <a:pt x="2957286" y="2738104"/>
                  </a:lnTo>
                  <a:lnTo>
                    <a:pt x="2964137" y="2728976"/>
                  </a:lnTo>
                  <a:lnTo>
                    <a:pt x="2966420" y="2724413"/>
                  </a:lnTo>
                  <a:lnTo>
                    <a:pt x="2966420" y="2722131"/>
                  </a:lnTo>
                  <a:lnTo>
                    <a:pt x="2966420" y="2715285"/>
                  </a:lnTo>
                  <a:lnTo>
                    <a:pt x="2961853" y="2710721"/>
                  </a:lnTo>
                  <a:lnTo>
                    <a:pt x="2970987" y="2706158"/>
                  </a:lnTo>
                  <a:lnTo>
                    <a:pt x="2973271" y="2703875"/>
                  </a:lnTo>
                  <a:lnTo>
                    <a:pt x="2975554" y="2703875"/>
                  </a:lnTo>
                  <a:lnTo>
                    <a:pt x="2975554" y="2699312"/>
                  </a:lnTo>
                  <a:lnTo>
                    <a:pt x="2977838" y="2681057"/>
                  </a:lnTo>
                  <a:lnTo>
                    <a:pt x="2977838" y="2676493"/>
                  </a:lnTo>
                  <a:lnTo>
                    <a:pt x="2980122" y="2676493"/>
                  </a:lnTo>
                  <a:lnTo>
                    <a:pt x="2980122" y="2674220"/>
                  </a:lnTo>
                  <a:lnTo>
                    <a:pt x="2982405" y="2674220"/>
                  </a:lnTo>
                  <a:lnTo>
                    <a:pt x="2984689" y="2671939"/>
                  </a:lnTo>
                  <a:lnTo>
                    <a:pt x="2986973" y="2669657"/>
                  </a:lnTo>
                  <a:lnTo>
                    <a:pt x="2989256" y="2669657"/>
                  </a:lnTo>
                  <a:lnTo>
                    <a:pt x="2989256" y="2667375"/>
                  </a:lnTo>
                  <a:lnTo>
                    <a:pt x="2991540" y="2667375"/>
                  </a:lnTo>
                  <a:lnTo>
                    <a:pt x="2993823" y="2667375"/>
                  </a:lnTo>
                  <a:lnTo>
                    <a:pt x="2996107" y="2667375"/>
                  </a:lnTo>
                  <a:lnTo>
                    <a:pt x="2998390" y="2665093"/>
                  </a:lnTo>
                  <a:lnTo>
                    <a:pt x="3000674" y="2665093"/>
                  </a:lnTo>
                  <a:lnTo>
                    <a:pt x="3002958" y="2665093"/>
                  </a:lnTo>
                  <a:lnTo>
                    <a:pt x="3005241" y="2665093"/>
                  </a:lnTo>
                  <a:lnTo>
                    <a:pt x="3005241" y="2662811"/>
                  </a:lnTo>
                  <a:lnTo>
                    <a:pt x="3007525" y="2662811"/>
                  </a:lnTo>
                  <a:lnTo>
                    <a:pt x="3009808" y="2662811"/>
                  </a:lnTo>
                  <a:lnTo>
                    <a:pt x="3012092" y="2662811"/>
                  </a:lnTo>
                  <a:lnTo>
                    <a:pt x="3014376" y="2662811"/>
                  </a:lnTo>
                  <a:lnTo>
                    <a:pt x="3016659" y="2662811"/>
                  </a:lnTo>
                  <a:lnTo>
                    <a:pt x="3016659" y="2665093"/>
                  </a:lnTo>
                  <a:lnTo>
                    <a:pt x="3018943" y="2665093"/>
                  </a:lnTo>
                  <a:lnTo>
                    <a:pt x="3021227" y="2665093"/>
                  </a:lnTo>
                  <a:lnTo>
                    <a:pt x="3025794" y="2667375"/>
                  </a:lnTo>
                  <a:lnTo>
                    <a:pt x="3028077" y="2667375"/>
                  </a:lnTo>
                  <a:lnTo>
                    <a:pt x="3028077" y="2669657"/>
                  </a:lnTo>
                  <a:lnTo>
                    <a:pt x="3028077" y="2671939"/>
                  </a:lnTo>
                  <a:lnTo>
                    <a:pt x="3030361" y="2671939"/>
                  </a:lnTo>
                  <a:lnTo>
                    <a:pt x="3032644" y="2669657"/>
                  </a:lnTo>
                  <a:lnTo>
                    <a:pt x="3032644" y="2667375"/>
                  </a:lnTo>
                  <a:lnTo>
                    <a:pt x="3034928" y="2667375"/>
                  </a:lnTo>
                  <a:lnTo>
                    <a:pt x="3037212" y="2667375"/>
                  </a:lnTo>
                  <a:lnTo>
                    <a:pt x="3039495" y="2667375"/>
                  </a:lnTo>
                  <a:lnTo>
                    <a:pt x="3041779" y="2665093"/>
                  </a:lnTo>
                  <a:lnTo>
                    <a:pt x="3044062" y="2665093"/>
                  </a:lnTo>
                  <a:lnTo>
                    <a:pt x="3046346" y="2665093"/>
                  </a:lnTo>
                  <a:lnTo>
                    <a:pt x="3048630" y="2665093"/>
                  </a:lnTo>
                  <a:lnTo>
                    <a:pt x="3050913" y="2665093"/>
                  </a:lnTo>
                  <a:lnTo>
                    <a:pt x="3053197" y="2662811"/>
                  </a:lnTo>
                  <a:lnTo>
                    <a:pt x="3055480" y="2662811"/>
                  </a:lnTo>
                  <a:lnTo>
                    <a:pt x="3057764" y="2662811"/>
                  </a:lnTo>
                  <a:lnTo>
                    <a:pt x="3057764" y="2660529"/>
                  </a:lnTo>
                  <a:lnTo>
                    <a:pt x="3060048" y="2660529"/>
                  </a:lnTo>
                  <a:lnTo>
                    <a:pt x="3062331" y="2658247"/>
                  </a:lnTo>
                  <a:lnTo>
                    <a:pt x="3062331" y="2655965"/>
                  </a:lnTo>
                  <a:lnTo>
                    <a:pt x="3064615" y="2653683"/>
                  </a:lnTo>
                  <a:lnTo>
                    <a:pt x="3066898" y="2651402"/>
                  </a:lnTo>
                  <a:lnTo>
                    <a:pt x="3069182" y="2651402"/>
                  </a:lnTo>
                  <a:lnTo>
                    <a:pt x="3069182" y="2649119"/>
                  </a:lnTo>
                  <a:lnTo>
                    <a:pt x="3071466" y="2649119"/>
                  </a:lnTo>
                  <a:lnTo>
                    <a:pt x="3071466" y="2651402"/>
                  </a:lnTo>
                  <a:lnTo>
                    <a:pt x="3073749" y="2651402"/>
                  </a:lnTo>
                  <a:lnTo>
                    <a:pt x="3076033" y="2651402"/>
                  </a:lnTo>
                  <a:lnTo>
                    <a:pt x="3076033" y="2653683"/>
                  </a:lnTo>
                  <a:lnTo>
                    <a:pt x="3078316" y="2653683"/>
                  </a:lnTo>
                  <a:lnTo>
                    <a:pt x="3080600" y="2655965"/>
                  </a:lnTo>
                  <a:lnTo>
                    <a:pt x="3082883" y="2655965"/>
                  </a:lnTo>
                  <a:lnTo>
                    <a:pt x="3082883" y="2653683"/>
                  </a:lnTo>
                  <a:lnTo>
                    <a:pt x="3082883" y="2651402"/>
                  </a:lnTo>
                  <a:lnTo>
                    <a:pt x="3082883" y="2649119"/>
                  </a:lnTo>
                  <a:lnTo>
                    <a:pt x="3080600" y="2649119"/>
                  </a:lnTo>
                  <a:lnTo>
                    <a:pt x="3080600" y="2646838"/>
                  </a:lnTo>
                  <a:lnTo>
                    <a:pt x="3080600" y="2644556"/>
                  </a:lnTo>
                  <a:lnTo>
                    <a:pt x="3080600" y="2642274"/>
                  </a:lnTo>
                  <a:lnTo>
                    <a:pt x="3078316" y="2639992"/>
                  </a:lnTo>
                  <a:lnTo>
                    <a:pt x="3078316" y="2637710"/>
                  </a:lnTo>
                  <a:lnTo>
                    <a:pt x="3080600" y="2637710"/>
                  </a:lnTo>
                  <a:lnTo>
                    <a:pt x="3082883" y="2635428"/>
                  </a:lnTo>
                  <a:lnTo>
                    <a:pt x="3085167" y="2635428"/>
                  </a:lnTo>
                  <a:lnTo>
                    <a:pt x="3087451" y="2633146"/>
                  </a:lnTo>
                  <a:lnTo>
                    <a:pt x="3089734" y="2633146"/>
                  </a:lnTo>
                  <a:lnTo>
                    <a:pt x="3092018" y="2633146"/>
                  </a:lnTo>
                  <a:lnTo>
                    <a:pt x="3092018" y="2630864"/>
                  </a:lnTo>
                  <a:lnTo>
                    <a:pt x="3094302" y="2630864"/>
                  </a:lnTo>
                  <a:lnTo>
                    <a:pt x="3094302" y="2633146"/>
                  </a:lnTo>
                  <a:lnTo>
                    <a:pt x="3096585" y="2633146"/>
                  </a:lnTo>
                  <a:lnTo>
                    <a:pt x="3098869" y="2630864"/>
                  </a:lnTo>
                  <a:lnTo>
                    <a:pt x="3101152" y="2630864"/>
                  </a:lnTo>
                  <a:lnTo>
                    <a:pt x="3103436" y="2630864"/>
                  </a:lnTo>
                  <a:lnTo>
                    <a:pt x="3105720" y="2633146"/>
                  </a:lnTo>
                  <a:lnTo>
                    <a:pt x="3108003" y="2633146"/>
                  </a:lnTo>
                  <a:lnTo>
                    <a:pt x="3110287" y="2633146"/>
                  </a:lnTo>
                  <a:lnTo>
                    <a:pt x="3110287" y="2630864"/>
                  </a:lnTo>
                  <a:lnTo>
                    <a:pt x="3110287" y="2628583"/>
                  </a:lnTo>
                  <a:lnTo>
                    <a:pt x="3110287" y="2626301"/>
                  </a:lnTo>
                  <a:lnTo>
                    <a:pt x="3112570" y="2626301"/>
                  </a:lnTo>
                  <a:lnTo>
                    <a:pt x="3112570" y="2624019"/>
                  </a:lnTo>
                  <a:lnTo>
                    <a:pt x="3114854" y="2621737"/>
                  </a:lnTo>
                  <a:lnTo>
                    <a:pt x="3114854" y="2619455"/>
                  </a:lnTo>
                  <a:lnTo>
                    <a:pt x="3117137" y="2619455"/>
                  </a:lnTo>
                  <a:lnTo>
                    <a:pt x="3117137" y="2617173"/>
                  </a:lnTo>
                  <a:lnTo>
                    <a:pt x="3119421" y="2617173"/>
                  </a:lnTo>
                  <a:lnTo>
                    <a:pt x="3121705" y="2617173"/>
                  </a:lnTo>
                  <a:lnTo>
                    <a:pt x="3121705" y="2614891"/>
                  </a:lnTo>
                  <a:lnTo>
                    <a:pt x="3123988" y="2614891"/>
                  </a:lnTo>
                  <a:lnTo>
                    <a:pt x="3126272" y="2612609"/>
                  </a:lnTo>
                  <a:lnTo>
                    <a:pt x="3128556" y="2612609"/>
                  </a:lnTo>
                  <a:lnTo>
                    <a:pt x="3130839" y="2610327"/>
                  </a:lnTo>
                  <a:lnTo>
                    <a:pt x="3133123" y="2610327"/>
                  </a:lnTo>
                  <a:lnTo>
                    <a:pt x="3135406" y="2610327"/>
                  </a:lnTo>
                  <a:lnTo>
                    <a:pt x="3137690" y="2610327"/>
                  </a:lnTo>
                  <a:lnTo>
                    <a:pt x="3139973" y="2610327"/>
                  </a:lnTo>
                  <a:lnTo>
                    <a:pt x="3142257" y="2610327"/>
                  </a:lnTo>
                  <a:lnTo>
                    <a:pt x="3144541" y="2610327"/>
                  </a:lnTo>
                  <a:lnTo>
                    <a:pt x="3146824" y="2610327"/>
                  </a:lnTo>
                  <a:lnTo>
                    <a:pt x="3149108" y="2612609"/>
                  </a:lnTo>
                  <a:lnTo>
                    <a:pt x="3151391" y="2612609"/>
                  </a:lnTo>
                  <a:lnTo>
                    <a:pt x="3151391" y="2610327"/>
                  </a:lnTo>
                  <a:lnTo>
                    <a:pt x="3153675" y="2610327"/>
                  </a:lnTo>
                  <a:lnTo>
                    <a:pt x="3153675" y="2608046"/>
                  </a:lnTo>
                  <a:lnTo>
                    <a:pt x="3155959" y="2605763"/>
                  </a:lnTo>
                  <a:lnTo>
                    <a:pt x="3158242" y="2608046"/>
                  </a:lnTo>
                  <a:lnTo>
                    <a:pt x="3160526" y="2608046"/>
                  </a:lnTo>
                  <a:lnTo>
                    <a:pt x="3162810" y="2608046"/>
                  </a:lnTo>
                  <a:lnTo>
                    <a:pt x="3165093" y="2608046"/>
                  </a:lnTo>
                  <a:lnTo>
                    <a:pt x="3167377" y="2608046"/>
                  </a:lnTo>
                  <a:lnTo>
                    <a:pt x="3167377" y="2605763"/>
                  </a:lnTo>
                  <a:lnTo>
                    <a:pt x="3169660" y="2603482"/>
                  </a:lnTo>
                  <a:lnTo>
                    <a:pt x="3169660" y="2601200"/>
                  </a:lnTo>
                  <a:lnTo>
                    <a:pt x="3171944" y="2601200"/>
                  </a:lnTo>
                  <a:lnTo>
                    <a:pt x="3174227" y="2601200"/>
                  </a:lnTo>
                  <a:lnTo>
                    <a:pt x="3174227" y="2598918"/>
                  </a:lnTo>
                  <a:lnTo>
                    <a:pt x="3176511" y="2598918"/>
                  </a:lnTo>
                  <a:lnTo>
                    <a:pt x="3183362" y="2601200"/>
                  </a:lnTo>
                  <a:lnTo>
                    <a:pt x="3183362" y="2598918"/>
                  </a:lnTo>
                  <a:lnTo>
                    <a:pt x="3185645" y="2596636"/>
                  </a:lnTo>
                  <a:lnTo>
                    <a:pt x="3187929" y="2598918"/>
                  </a:lnTo>
                  <a:lnTo>
                    <a:pt x="3190212" y="2598918"/>
                  </a:lnTo>
                  <a:lnTo>
                    <a:pt x="3192496" y="2596636"/>
                  </a:lnTo>
                  <a:lnTo>
                    <a:pt x="3192496" y="2594354"/>
                  </a:lnTo>
                  <a:lnTo>
                    <a:pt x="3192496" y="2592072"/>
                  </a:lnTo>
                  <a:lnTo>
                    <a:pt x="3194780" y="2592072"/>
                  </a:lnTo>
                  <a:lnTo>
                    <a:pt x="3194780" y="2589790"/>
                  </a:lnTo>
                  <a:lnTo>
                    <a:pt x="3197063" y="2589790"/>
                  </a:lnTo>
                  <a:lnTo>
                    <a:pt x="3197063" y="2587508"/>
                  </a:lnTo>
                  <a:lnTo>
                    <a:pt x="3199347" y="2587508"/>
                  </a:lnTo>
                  <a:lnTo>
                    <a:pt x="3199347" y="2589790"/>
                  </a:lnTo>
                  <a:lnTo>
                    <a:pt x="3201631" y="2589790"/>
                  </a:lnTo>
                  <a:lnTo>
                    <a:pt x="3201631" y="2587508"/>
                  </a:lnTo>
                  <a:lnTo>
                    <a:pt x="3203914" y="2587508"/>
                  </a:lnTo>
                  <a:lnTo>
                    <a:pt x="3203914" y="2585226"/>
                  </a:lnTo>
                  <a:lnTo>
                    <a:pt x="3201631" y="2585226"/>
                  </a:lnTo>
                  <a:lnTo>
                    <a:pt x="3201631" y="2582945"/>
                  </a:lnTo>
                  <a:lnTo>
                    <a:pt x="3203914" y="2580663"/>
                  </a:lnTo>
                  <a:lnTo>
                    <a:pt x="3203914" y="2578381"/>
                  </a:lnTo>
                  <a:lnTo>
                    <a:pt x="3206198" y="2578381"/>
                  </a:lnTo>
                  <a:lnTo>
                    <a:pt x="3208481" y="2578381"/>
                  </a:lnTo>
                  <a:lnTo>
                    <a:pt x="3208481" y="2580663"/>
                  </a:lnTo>
                  <a:lnTo>
                    <a:pt x="3210765" y="2580663"/>
                  </a:lnTo>
                  <a:lnTo>
                    <a:pt x="3213049" y="2582945"/>
                  </a:lnTo>
                  <a:lnTo>
                    <a:pt x="3215332" y="2582945"/>
                  </a:lnTo>
                  <a:lnTo>
                    <a:pt x="3219899" y="2585226"/>
                  </a:lnTo>
                  <a:lnTo>
                    <a:pt x="3222183" y="2587508"/>
                  </a:lnTo>
                  <a:lnTo>
                    <a:pt x="3224466" y="2587508"/>
                  </a:lnTo>
                  <a:lnTo>
                    <a:pt x="3224466" y="2589790"/>
                  </a:lnTo>
                  <a:lnTo>
                    <a:pt x="3224466" y="2592072"/>
                  </a:lnTo>
                  <a:lnTo>
                    <a:pt x="3226750" y="2592072"/>
                  </a:lnTo>
                  <a:lnTo>
                    <a:pt x="3229034" y="2592072"/>
                  </a:lnTo>
                  <a:lnTo>
                    <a:pt x="3231317" y="2592072"/>
                  </a:lnTo>
                  <a:lnTo>
                    <a:pt x="3231317" y="2587508"/>
                  </a:lnTo>
                  <a:lnTo>
                    <a:pt x="3238168" y="2589790"/>
                  </a:lnTo>
                  <a:lnTo>
                    <a:pt x="3247302" y="2594354"/>
                  </a:lnTo>
                  <a:lnTo>
                    <a:pt x="3254153" y="2596636"/>
                  </a:lnTo>
                  <a:lnTo>
                    <a:pt x="3256437" y="2596636"/>
                  </a:lnTo>
                  <a:lnTo>
                    <a:pt x="3256437" y="2594354"/>
                  </a:lnTo>
                  <a:lnTo>
                    <a:pt x="3258720" y="2594354"/>
                  </a:lnTo>
                  <a:lnTo>
                    <a:pt x="3261004" y="2592072"/>
                  </a:lnTo>
                  <a:lnTo>
                    <a:pt x="3263288" y="2592072"/>
                  </a:lnTo>
                  <a:lnTo>
                    <a:pt x="3263288" y="2589790"/>
                  </a:lnTo>
                  <a:lnTo>
                    <a:pt x="3265571" y="2589790"/>
                  </a:lnTo>
                  <a:lnTo>
                    <a:pt x="3265571" y="2582945"/>
                  </a:lnTo>
                  <a:lnTo>
                    <a:pt x="3263288" y="2580663"/>
                  </a:lnTo>
                  <a:lnTo>
                    <a:pt x="3263288" y="2578381"/>
                  </a:lnTo>
                  <a:lnTo>
                    <a:pt x="3263288" y="2571535"/>
                  </a:lnTo>
                  <a:lnTo>
                    <a:pt x="3265571" y="2562407"/>
                  </a:lnTo>
                  <a:lnTo>
                    <a:pt x="3267855" y="2555562"/>
                  </a:lnTo>
                  <a:lnTo>
                    <a:pt x="3270139" y="2553280"/>
                  </a:lnTo>
                  <a:lnTo>
                    <a:pt x="3276989" y="2555562"/>
                  </a:lnTo>
                  <a:lnTo>
                    <a:pt x="3279273" y="2550998"/>
                  </a:lnTo>
                  <a:lnTo>
                    <a:pt x="3279273" y="2548716"/>
                  </a:lnTo>
                  <a:lnTo>
                    <a:pt x="3281556" y="2546434"/>
                  </a:lnTo>
                  <a:lnTo>
                    <a:pt x="3286124" y="2541870"/>
                  </a:lnTo>
                  <a:lnTo>
                    <a:pt x="3286124" y="2539589"/>
                  </a:lnTo>
                  <a:lnTo>
                    <a:pt x="3288407" y="2532743"/>
                  </a:lnTo>
                  <a:lnTo>
                    <a:pt x="3283840" y="2523615"/>
                  </a:lnTo>
                  <a:lnTo>
                    <a:pt x="3288407" y="2521334"/>
                  </a:lnTo>
                  <a:lnTo>
                    <a:pt x="3292974" y="2521334"/>
                  </a:lnTo>
                  <a:lnTo>
                    <a:pt x="3297541" y="2519051"/>
                  </a:lnTo>
                  <a:lnTo>
                    <a:pt x="3299825" y="2514497"/>
                  </a:lnTo>
                  <a:lnTo>
                    <a:pt x="3306676" y="2503088"/>
                  </a:lnTo>
                  <a:lnTo>
                    <a:pt x="3299825" y="2500806"/>
                  </a:lnTo>
                  <a:lnTo>
                    <a:pt x="3295258" y="2496242"/>
                  </a:lnTo>
                  <a:lnTo>
                    <a:pt x="3295258" y="2491678"/>
                  </a:lnTo>
                  <a:lnTo>
                    <a:pt x="3297541" y="2491678"/>
                  </a:lnTo>
                  <a:lnTo>
                    <a:pt x="3297541" y="2489396"/>
                  </a:lnTo>
                  <a:lnTo>
                    <a:pt x="3299825" y="2489396"/>
                  </a:lnTo>
                  <a:lnTo>
                    <a:pt x="3302109" y="2484833"/>
                  </a:lnTo>
                  <a:lnTo>
                    <a:pt x="3308960" y="2480269"/>
                  </a:lnTo>
                  <a:lnTo>
                    <a:pt x="3306676" y="2477987"/>
                  </a:lnTo>
                  <a:lnTo>
                    <a:pt x="3306676" y="2475705"/>
                  </a:lnTo>
                  <a:lnTo>
                    <a:pt x="3306676" y="2471141"/>
                  </a:lnTo>
                  <a:lnTo>
                    <a:pt x="3308960" y="2468859"/>
                  </a:lnTo>
                  <a:lnTo>
                    <a:pt x="3308960" y="2466578"/>
                  </a:lnTo>
                  <a:lnTo>
                    <a:pt x="3308960" y="2462014"/>
                  </a:lnTo>
                  <a:lnTo>
                    <a:pt x="3311243" y="2459732"/>
                  </a:lnTo>
                  <a:lnTo>
                    <a:pt x="3308960" y="2457450"/>
                  </a:lnTo>
                  <a:lnTo>
                    <a:pt x="3306676" y="2457450"/>
                  </a:lnTo>
                  <a:lnTo>
                    <a:pt x="3306676" y="2455168"/>
                  </a:lnTo>
                  <a:lnTo>
                    <a:pt x="3304392" y="2452886"/>
                  </a:lnTo>
                  <a:lnTo>
                    <a:pt x="3295258" y="2446040"/>
                  </a:lnTo>
                  <a:lnTo>
                    <a:pt x="3292974" y="2446040"/>
                  </a:lnTo>
                  <a:lnTo>
                    <a:pt x="3299825" y="2436913"/>
                  </a:lnTo>
                  <a:lnTo>
                    <a:pt x="3311243" y="2430067"/>
                  </a:lnTo>
                  <a:lnTo>
                    <a:pt x="3315810" y="2423222"/>
                  </a:lnTo>
                  <a:lnTo>
                    <a:pt x="3320378" y="2414094"/>
                  </a:lnTo>
                  <a:lnTo>
                    <a:pt x="3320378" y="2411812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</p:grpSp>
      <p:grpSp>
        <p:nvGrpSpPr>
          <p:cNvPr id="30" name="Graphic 2">
            <a:extLst>
              <a:ext uri="{FF2B5EF4-FFF2-40B4-BE49-F238E27FC236}">
                <a16:creationId xmlns:a16="http://schemas.microsoft.com/office/drawing/2014/main" id="{3E1C4832-9961-40CC-9B81-CE890C5C22A3}"/>
              </a:ext>
            </a:extLst>
          </p:cNvPr>
          <p:cNvGrpSpPr/>
          <p:nvPr/>
        </p:nvGrpSpPr>
        <p:grpSpPr>
          <a:xfrm>
            <a:off x="4038722" y="4368539"/>
            <a:ext cx="2216554" cy="1519909"/>
            <a:chOff x="3643803" y="4290387"/>
            <a:chExt cx="2299605" cy="1779774"/>
          </a:xfrm>
          <a:solidFill>
            <a:schemeClr val="accent2">
              <a:lumMod val="40000"/>
              <a:lumOff val="60000"/>
            </a:schemeClr>
          </a:solidFill>
        </p:grpSpPr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F6A0DDCE-EC5E-441A-A246-36CF3684C394}"/>
                </a:ext>
              </a:extLst>
            </p:cNvPr>
            <p:cNvSpPr/>
            <p:nvPr/>
          </p:nvSpPr>
          <p:spPr>
            <a:xfrm>
              <a:off x="3831059" y="5433550"/>
              <a:ext cx="2283" cy="2281"/>
            </a:xfrm>
            <a:custGeom>
              <a:avLst/>
              <a:gdLst>
                <a:gd name="connsiteX0" fmla="*/ 0 w 2283"/>
                <a:gd name="connsiteY0" fmla="*/ 0 h 2281"/>
                <a:gd name="connsiteX1" fmla="*/ 2284 w 2283"/>
                <a:gd name="connsiteY1" fmla="*/ 0 h 2281"/>
                <a:gd name="connsiteX2" fmla="*/ 2284 w 2283"/>
                <a:gd name="connsiteY2" fmla="*/ 2282 h 2281"/>
                <a:gd name="connsiteX3" fmla="*/ 0 w 2283"/>
                <a:gd name="connsiteY3" fmla="*/ 2282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" h="2281">
                  <a:moveTo>
                    <a:pt x="0" y="0"/>
                  </a:moveTo>
                  <a:lnTo>
                    <a:pt x="2284" y="0"/>
                  </a:lnTo>
                  <a:lnTo>
                    <a:pt x="2284" y="2282"/>
                  </a:lnTo>
                  <a:lnTo>
                    <a:pt x="0" y="2282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1D58BDDC-9A37-4035-8B0C-0D75F837A1A4}"/>
                </a:ext>
              </a:extLst>
            </p:cNvPr>
            <p:cNvSpPr/>
            <p:nvPr/>
          </p:nvSpPr>
          <p:spPr>
            <a:xfrm>
              <a:off x="3643803" y="4290387"/>
              <a:ext cx="2299605" cy="1779774"/>
            </a:xfrm>
            <a:custGeom>
              <a:avLst/>
              <a:gdLst>
                <a:gd name="connsiteX0" fmla="*/ 2295038 w 2299605"/>
                <a:gd name="connsiteY0" fmla="*/ 524808 h 1779774"/>
                <a:gd name="connsiteX1" fmla="*/ 2292755 w 2299605"/>
                <a:gd name="connsiteY1" fmla="*/ 522526 h 1779774"/>
                <a:gd name="connsiteX2" fmla="*/ 2290471 w 2299605"/>
                <a:gd name="connsiteY2" fmla="*/ 522526 h 1779774"/>
                <a:gd name="connsiteX3" fmla="*/ 2285904 w 2299605"/>
                <a:gd name="connsiteY3" fmla="*/ 517962 h 1779774"/>
                <a:gd name="connsiteX4" fmla="*/ 2288187 w 2299605"/>
                <a:gd name="connsiteY4" fmla="*/ 515680 h 1779774"/>
                <a:gd name="connsiteX5" fmla="*/ 2290471 w 2299605"/>
                <a:gd name="connsiteY5" fmla="*/ 513398 h 1779774"/>
                <a:gd name="connsiteX6" fmla="*/ 2288187 w 2299605"/>
                <a:gd name="connsiteY6" fmla="*/ 513398 h 1779774"/>
                <a:gd name="connsiteX7" fmla="*/ 2283620 w 2299605"/>
                <a:gd name="connsiteY7" fmla="*/ 508835 h 1779774"/>
                <a:gd name="connsiteX8" fmla="*/ 2276760 w 2299605"/>
                <a:gd name="connsiteY8" fmla="*/ 506552 h 1779774"/>
                <a:gd name="connsiteX9" fmla="*/ 2274486 w 2299605"/>
                <a:gd name="connsiteY9" fmla="*/ 504271 h 1779774"/>
                <a:gd name="connsiteX10" fmla="*/ 2272202 w 2299605"/>
                <a:gd name="connsiteY10" fmla="*/ 504271 h 1779774"/>
                <a:gd name="connsiteX11" fmla="*/ 2272202 w 2299605"/>
                <a:gd name="connsiteY11" fmla="*/ 506552 h 1779774"/>
                <a:gd name="connsiteX12" fmla="*/ 2267625 w 2299605"/>
                <a:gd name="connsiteY12" fmla="*/ 506552 h 1779774"/>
                <a:gd name="connsiteX13" fmla="*/ 2260784 w 2299605"/>
                <a:gd name="connsiteY13" fmla="*/ 508835 h 1779774"/>
                <a:gd name="connsiteX14" fmla="*/ 2258501 w 2299605"/>
                <a:gd name="connsiteY14" fmla="*/ 508835 h 1779774"/>
                <a:gd name="connsiteX15" fmla="*/ 2256208 w 2299605"/>
                <a:gd name="connsiteY15" fmla="*/ 508835 h 1779774"/>
                <a:gd name="connsiteX16" fmla="*/ 2256208 w 2299605"/>
                <a:gd name="connsiteY16" fmla="*/ 499707 h 1779774"/>
                <a:gd name="connsiteX17" fmla="*/ 2258501 w 2299605"/>
                <a:gd name="connsiteY17" fmla="*/ 499707 h 1779774"/>
                <a:gd name="connsiteX18" fmla="*/ 2263058 w 2299605"/>
                <a:gd name="connsiteY18" fmla="*/ 483734 h 1779774"/>
                <a:gd name="connsiteX19" fmla="*/ 2269918 w 2299605"/>
                <a:gd name="connsiteY19" fmla="*/ 486015 h 1779774"/>
                <a:gd name="connsiteX20" fmla="*/ 2272202 w 2299605"/>
                <a:gd name="connsiteY20" fmla="*/ 486015 h 1779774"/>
                <a:gd name="connsiteX21" fmla="*/ 2272202 w 2299605"/>
                <a:gd name="connsiteY21" fmla="*/ 483734 h 1779774"/>
                <a:gd name="connsiteX22" fmla="*/ 2274486 w 2299605"/>
                <a:gd name="connsiteY22" fmla="*/ 483734 h 1779774"/>
                <a:gd name="connsiteX23" fmla="*/ 2274486 w 2299605"/>
                <a:gd name="connsiteY23" fmla="*/ 481452 h 1779774"/>
                <a:gd name="connsiteX24" fmla="*/ 2274486 w 2299605"/>
                <a:gd name="connsiteY24" fmla="*/ 472324 h 1779774"/>
                <a:gd name="connsiteX25" fmla="*/ 2276760 w 2299605"/>
                <a:gd name="connsiteY25" fmla="*/ 472324 h 1779774"/>
                <a:gd name="connsiteX26" fmla="*/ 2281337 w 2299605"/>
                <a:gd name="connsiteY26" fmla="*/ 472324 h 1779774"/>
                <a:gd name="connsiteX27" fmla="*/ 2283620 w 2299605"/>
                <a:gd name="connsiteY27" fmla="*/ 470042 h 1779774"/>
                <a:gd name="connsiteX28" fmla="*/ 2283620 w 2299605"/>
                <a:gd name="connsiteY28" fmla="*/ 467760 h 1779774"/>
                <a:gd name="connsiteX29" fmla="*/ 2272202 w 2299605"/>
                <a:gd name="connsiteY29" fmla="*/ 463196 h 1779774"/>
                <a:gd name="connsiteX30" fmla="*/ 2272202 w 2299605"/>
                <a:gd name="connsiteY30" fmla="*/ 460915 h 1779774"/>
                <a:gd name="connsiteX31" fmla="*/ 2272202 w 2299605"/>
                <a:gd name="connsiteY31" fmla="*/ 458633 h 1779774"/>
                <a:gd name="connsiteX32" fmla="*/ 2269918 w 2299605"/>
                <a:gd name="connsiteY32" fmla="*/ 458633 h 1779774"/>
                <a:gd name="connsiteX33" fmla="*/ 2263058 w 2299605"/>
                <a:gd name="connsiteY33" fmla="*/ 460915 h 1779774"/>
                <a:gd name="connsiteX34" fmla="*/ 2258501 w 2299605"/>
                <a:gd name="connsiteY34" fmla="*/ 460915 h 1779774"/>
                <a:gd name="connsiteX35" fmla="*/ 2256208 w 2299605"/>
                <a:gd name="connsiteY35" fmla="*/ 460915 h 1779774"/>
                <a:gd name="connsiteX36" fmla="*/ 2253924 w 2299605"/>
                <a:gd name="connsiteY36" fmla="*/ 460915 h 1779774"/>
                <a:gd name="connsiteX37" fmla="*/ 2251650 w 2299605"/>
                <a:gd name="connsiteY37" fmla="*/ 463196 h 1779774"/>
                <a:gd name="connsiteX38" fmla="*/ 2244799 w 2299605"/>
                <a:gd name="connsiteY38" fmla="*/ 467760 h 1779774"/>
                <a:gd name="connsiteX39" fmla="*/ 2237939 w 2299605"/>
                <a:gd name="connsiteY39" fmla="*/ 454069 h 1779774"/>
                <a:gd name="connsiteX40" fmla="*/ 2233372 w 2299605"/>
                <a:gd name="connsiteY40" fmla="*/ 451796 h 1779774"/>
                <a:gd name="connsiteX41" fmla="*/ 2231097 w 2299605"/>
                <a:gd name="connsiteY41" fmla="*/ 447233 h 1779774"/>
                <a:gd name="connsiteX42" fmla="*/ 2228814 w 2299605"/>
                <a:gd name="connsiteY42" fmla="*/ 435823 h 1779774"/>
                <a:gd name="connsiteX43" fmla="*/ 2228814 w 2299605"/>
                <a:gd name="connsiteY43" fmla="*/ 433541 h 1779774"/>
                <a:gd name="connsiteX44" fmla="*/ 2233372 w 2299605"/>
                <a:gd name="connsiteY44" fmla="*/ 426696 h 1779774"/>
                <a:gd name="connsiteX45" fmla="*/ 2221954 w 2299605"/>
                <a:gd name="connsiteY45" fmla="*/ 426696 h 1779774"/>
                <a:gd name="connsiteX46" fmla="*/ 2215112 w 2299605"/>
                <a:gd name="connsiteY46" fmla="*/ 426696 h 1779774"/>
                <a:gd name="connsiteX47" fmla="*/ 2205968 w 2299605"/>
                <a:gd name="connsiteY47" fmla="*/ 426696 h 1779774"/>
                <a:gd name="connsiteX48" fmla="*/ 2203685 w 2299605"/>
                <a:gd name="connsiteY48" fmla="*/ 428978 h 1779774"/>
                <a:gd name="connsiteX49" fmla="*/ 2205968 w 2299605"/>
                <a:gd name="connsiteY49" fmla="*/ 431259 h 1779774"/>
                <a:gd name="connsiteX50" fmla="*/ 2201401 w 2299605"/>
                <a:gd name="connsiteY50" fmla="*/ 444951 h 1779774"/>
                <a:gd name="connsiteX51" fmla="*/ 2201401 w 2299605"/>
                <a:gd name="connsiteY51" fmla="*/ 451796 h 1779774"/>
                <a:gd name="connsiteX52" fmla="*/ 2201401 w 2299605"/>
                <a:gd name="connsiteY52" fmla="*/ 454069 h 1779774"/>
                <a:gd name="connsiteX53" fmla="*/ 2199118 w 2299605"/>
                <a:gd name="connsiteY53" fmla="*/ 456351 h 1779774"/>
                <a:gd name="connsiteX54" fmla="*/ 2196834 w 2299605"/>
                <a:gd name="connsiteY54" fmla="*/ 458633 h 1779774"/>
                <a:gd name="connsiteX55" fmla="*/ 2194550 w 2299605"/>
                <a:gd name="connsiteY55" fmla="*/ 460915 h 1779774"/>
                <a:gd name="connsiteX56" fmla="*/ 2192267 w 2299605"/>
                <a:gd name="connsiteY56" fmla="*/ 460915 h 1779774"/>
                <a:gd name="connsiteX57" fmla="*/ 2189983 w 2299605"/>
                <a:gd name="connsiteY57" fmla="*/ 463196 h 1779774"/>
                <a:gd name="connsiteX58" fmla="*/ 2189983 w 2299605"/>
                <a:gd name="connsiteY58" fmla="*/ 465478 h 1779774"/>
                <a:gd name="connsiteX59" fmla="*/ 2189983 w 2299605"/>
                <a:gd name="connsiteY59" fmla="*/ 467760 h 1779774"/>
                <a:gd name="connsiteX60" fmla="*/ 2189983 w 2299605"/>
                <a:gd name="connsiteY60" fmla="*/ 472324 h 1779774"/>
                <a:gd name="connsiteX61" fmla="*/ 2189983 w 2299605"/>
                <a:gd name="connsiteY61" fmla="*/ 474606 h 1779774"/>
                <a:gd name="connsiteX62" fmla="*/ 2187700 w 2299605"/>
                <a:gd name="connsiteY62" fmla="*/ 476888 h 1779774"/>
                <a:gd name="connsiteX63" fmla="*/ 2185416 w 2299605"/>
                <a:gd name="connsiteY63" fmla="*/ 479170 h 1779774"/>
                <a:gd name="connsiteX64" fmla="*/ 2183132 w 2299605"/>
                <a:gd name="connsiteY64" fmla="*/ 479170 h 1779774"/>
                <a:gd name="connsiteX65" fmla="*/ 2183132 w 2299605"/>
                <a:gd name="connsiteY65" fmla="*/ 481452 h 1779774"/>
                <a:gd name="connsiteX66" fmla="*/ 2180849 w 2299605"/>
                <a:gd name="connsiteY66" fmla="*/ 481452 h 1779774"/>
                <a:gd name="connsiteX67" fmla="*/ 2178565 w 2299605"/>
                <a:gd name="connsiteY67" fmla="*/ 481452 h 1779774"/>
                <a:gd name="connsiteX68" fmla="*/ 2176282 w 2299605"/>
                <a:gd name="connsiteY68" fmla="*/ 481452 h 1779774"/>
                <a:gd name="connsiteX69" fmla="*/ 2162580 w 2299605"/>
                <a:gd name="connsiteY69" fmla="*/ 460915 h 1779774"/>
                <a:gd name="connsiteX70" fmla="*/ 2158013 w 2299605"/>
                <a:gd name="connsiteY70" fmla="*/ 458633 h 1779774"/>
                <a:gd name="connsiteX71" fmla="*/ 2160296 w 2299605"/>
                <a:gd name="connsiteY71" fmla="*/ 454069 h 1779774"/>
                <a:gd name="connsiteX72" fmla="*/ 2151162 w 2299605"/>
                <a:gd name="connsiteY72" fmla="*/ 451796 h 1779774"/>
                <a:gd name="connsiteX73" fmla="*/ 2164864 w 2299605"/>
                <a:gd name="connsiteY73" fmla="*/ 438105 h 1779774"/>
                <a:gd name="connsiteX74" fmla="*/ 2162580 w 2299605"/>
                <a:gd name="connsiteY74" fmla="*/ 435823 h 1779774"/>
                <a:gd name="connsiteX75" fmla="*/ 2162580 w 2299605"/>
                <a:gd name="connsiteY75" fmla="*/ 431259 h 1779774"/>
                <a:gd name="connsiteX76" fmla="*/ 2158013 w 2299605"/>
                <a:gd name="connsiteY76" fmla="*/ 431259 h 1779774"/>
                <a:gd name="connsiteX77" fmla="*/ 2153446 w 2299605"/>
                <a:gd name="connsiteY77" fmla="*/ 431259 h 1779774"/>
                <a:gd name="connsiteX78" fmla="*/ 2148879 w 2299605"/>
                <a:gd name="connsiteY78" fmla="*/ 428978 h 1779774"/>
                <a:gd name="connsiteX79" fmla="*/ 2146595 w 2299605"/>
                <a:gd name="connsiteY79" fmla="*/ 428978 h 1779774"/>
                <a:gd name="connsiteX80" fmla="*/ 2139744 w 2299605"/>
                <a:gd name="connsiteY80" fmla="*/ 424414 h 1779774"/>
                <a:gd name="connsiteX81" fmla="*/ 2132893 w 2299605"/>
                <a:gd name="connsiteY81" fmla="*/ 424414 h 1779774"/>
                <a:gd name="connsiteX82" fmla="*/ 2123759 w 2299605"/>
                <a:gd name="connsiteY82" fmla="*/ 408440 h 1779774"/>
                <a:gd name="connsiteX83" fmla="*/ 2116908 w 2299605"/>
                <a:gd name="connsiteY83" fmla="*/ 406159 h 1779774"/>
                <a:gd name="connsiteX84" fmla="*/ 2114625 w 2299605"/>
                <a:gd name="connsiteY84" fmla="*/ 406159 h 1779774"/>
                <a:gd name="connsiteX85" fmla="*/ 2107774 w 2299605"/>
                <a:gd name="connsiteY85" fmla="*/ 406159 h 1779774"/>
                <a:gd name="connsiteX86" fmla="*/ 2103206 w 2299605"/>
                <a:gd name="connsiteY86" fmla="*/ 408440 h 1779774"/>
                <a:gd name="connsiteX87" fmla="*/ 2098639 w 2299605"/>
                <a:gd name="connsiteY87" fmla="*/ 408440 h 1779774"/>
                <a:gd name="connsiteX88" fmla="*/ 2098639 w 2299605"/>
                <a:gd name="connsiteY88" fmla="*/ 410723 h 1779774"/>
                <a:gd name="connsiteX89" fmla="*/ 2094072 w 2299605"/>
                <a:gd name="connsiteY89" fmla="*/ 410723 h 1779774"/>
                <a:gd name="connsiteX90" fmla="*/ 2089505 w 2299605"/>
                <a:gd name="connsiteY90" fmla="*/ 410723 h 1779774"/>
                <a:gd name="connsiteX91" fmla="*/ 2082654 w 2299605"/>
                <a:gd name="connsiteY91" fmla="*/ 408440 h 1779774"/>
                <a:gd name="connsiteX92" fmla="*/ 2080370 w 2299605"/>
                <a:gd name="connsiteY92" fmla="*/ 408440 h 1779774"/>
                <a:gd name="connsiteX93" fmla="*/ 2075803 w 2299605"/>
                <a:gd name="connsiteY93" fmla="*/ 413004 h 1779774"/>
                <a:gd name="connsiteX94" fmla="*/ 2071236 w 2299605"/>
                <a:gd name="connsiteY94" fmla="*/ 419850 h 1779774"/>
                <a:gd name="connsiteX95" fmla="*/ 2068952 w 2299605"/>
                <a:gd name="connsiteY95" fmla="*/ 419850 h 1779774"/>
                <a:gd name="connsiteX96" fmla="*/ 2068952 w 2299605"/>
                <a:gd name="connsiteY96" fmla="*/ 422132 h 1779774"/>
                <a:gd name="connsiteX97" fmla="*/ 2068952 w 2299605"/>
                <a:gd name="connsiteY97" fmla="*/ 424414 h 1779774"/>
                <a:gd name="connsiteX98" fmla="*/ 2055251 w 2299605"/>
                <a:gd name="connsiteY98" fmla="*/ 426696 h 1779774"/>
                <a:gd name="connsiteX99" fmla="*/ 2052967 w 2299605"/>
                <a:gd name="connsiteY99" fmla="*/ 426696 h 1779774"/>
                <a:gd name="connsiteX100" fmla="*/ 2050684 w 2299605"/>
                <a:gd name="connsiteY100" fmla="*/ 431259 h 1779774"/>
                <a:gd name="connsiteX101" fmla="*/ 2041549 w 2299605"/>
                <a:gd name="connsiteY101" fmla="*/ 431259 h 1779774"/>
                <a:gd name="connsiteX102" fmla="*/ 2025564 w 2299605"/>
                <a:gd name="connsiteY102" fmla="*/ 426696 h 1779774"/>
                <a:gd name="connsiteX103" fmla="*/ 2014146 w 2299605"/>
                <a:gd name="connsiteY103" fmla="*/ 422132 h 1779774"/>
                <a:gd name="connsiteX104" fmla="*/ 2011862 w 2299605"/>
                <a:gd name="connsiteY104" fmla="*/ 419850 h 1779774"/>
                <a:gd name="connsiteX105" fmla="*/ 2009579 w 2299605"/>
                <a:gd name="connsiteY105" fmla="*/ 426696 h 1779774"/>
                <a:gd name="connsiteX106" fmla="*/ 2007295 w 2299605"/>
                <a:gd name="connsiteY106" fmla="*/ 428978 h 1779774"/>
                <a:gd name="connsiteX107" fmla="*/ 2007295 w 2299605"/>
                <a:gd name="connsiteY107" fmla="*/ 431259 h 1779774"/>
                <a:gd name="connsiteX108" fmla="*/ 2007295 w 2299605"/>
                <a:gd name="connsiteY108" fmla="*/ 433541 h 1779774"/>
                <a:gd name="connsiteX109" fmla="*/ 2009579 w 2299605"/>
                <a:gd name="connsiteY109" fmla="*/ 435823 h 1779774"/>
                <a:gd name="connsiteX110" fmla="*/ 2005012 w 2299605"/>
                <a:gd name="connsiteY110" fmla="*/ 435823 h 1779774"/>
                <a:gd name="connsiteX111" fmla="*/ 2002728 w 2299605"/>
                <a:gd name="connsiteY111" fmla="*/ 435823 h 1779774"/>
                <a:gd name="connsiteX112" fmla="*/ 2002728 w 2299605"/>
                <a:gd name="connsiteY112" fmla="*/ 438105 h 1779774"/>
                <a:gd name="connsiteX113" fmla="*/ 2000445 w 2299605"/>
                <a:gd name="connsiteY113" fmla="*/ 435823 h 1779774"/>
                <a:gd name="connsiteX114" fmla="*/ 1998161 w 2299605"/>
                <a:gd name="connsiteY114" fmla="*/ 435823 h 1779774"/>
                <a:gd name="connsiteX115" fmla="*/ 1995877 w 2299605"/>
                <a:gd name="connsiteY115" fmla="*/ 435823 h 1779774"/>
                <a:gd name="connsiteX116" fmla="*/ 1993594 w 2299605"/>
                <a:gd name="connsiteY116" fmla="*/ 435823 h 1779774"/>
                <a:gd name="connsiteX117" fmla="*/ 1991310 w 2299605"/>
                <a:gd name="connsiteY117" fmla="*/ 435823 h 1779774"/>
                <a:gd name="connsiteX118" fmla="*/ 1989027 w 2299605"/>
                <a:gd name="connsiteY118" fmla="*/ 435823 h 1779774"/>
                <a:gd name="connsiteX119" fmla="*/ 1986743 w 2299605"/>
                <a:gd name="connsiteY119" fmla="*/ 435823 h 1779774"/>
                <a:gd name="connsiteX120" fmla="*/ 1973041 w 2299605"/>
                <a:gd name="connsiteY120" fmla="*/ 444951 h 1779774"/>
                <a:gd name="connsiteX121" fmla="*/ 1970758 w 2299605"/>
                <a:gd name="connsiteY121" fmla="*/ 447233 h 1779774"/>
                <a:gd name="connsiteX122" fmla="*/ 1968474 w 2299605"/>
                <a:gd name="connsiteY122" fmla="*/ 449515 h 1779774"/>
                <a:gd name="connsiteX123" fmla="*/ 1966191 w 2299605"/>
                <a:gd name="connsiteY123" fmla="*/ 454069 h 1779774"/>
                <a:gd name="connsiteX124" fmla="*/ 1963907 w 2299605"/>
                <a:gd name="connsiteY124" fmla="*/ 456351 h 1779774"/>
                <a:gd name="connsiteX125" fmla="*/ 1963907 w 2299605"/>
                <a:gd name="connsiteY125" fmla="*/ 458633 h 1779774"/>
                <a:gd name="connsiteX126" fmla="*/ 1961623 w 2299605"/>
                <a:gd name="connsiteY126" fmla="*/ 463196 h 1779774"/>
                <a:gd name="connsiteX127" fmla="*/ 1959340 w 2299605"/>
                <a:gd name="connsiteY127" fmla="*/ 465478 h 1779774"/>
                <a:gd name="connsiteX128" fmla="*/ 1959340 w 2299605"/>
                <a:gd name="connsiteY128" fmla="*/ 467760 h 1779774"/>
                <a:gd name="connsiteX129" fmla="*/ 1959340 w 2299605"/>
                <a:gd name="connsiteY129" fmla="*/ 472324 h 1779774"/>
                <a:gd name="connsiteX130" fmla="*/ 1959340 w 2299605"/>
                <a:gd name="connsiteY130" fmla="*/ 479170 h 1779774"/>
                <a:gd name="connsiteX131" fmla="*/ 1959340 w 2299605"/>
                <a:gd name="connsiteY131" fmla="*/ 481452 h 1779774"/>
                <a:gd name="connsiteX132" fmla="*/ 1957056 w 2299605"/>
                <a:gd name="connsiteY132" fmla="*/ 483734 h 1779774"/>
                <a:gd name="connsiteX133" fmla="*/ 1954773 w 2299605"/>
                <a:gd name="connsiteY133" fmla="*/ 486015 h 1779774"/>
                <a:gd name="connsiteX134" fmla="*/ 1954773 w 2299605"/>
                <a:gd name="connsiteY134" fmla="*/ 488297 h 1779774"/>
                <a:gd name="connsiteX135" fmla="*/ 1952489 w 2299605"/>
                <a:gd name="connsiteY135" fmla="*/ 488297 h 1779774"/>
                <a:gd name="connsiteX136" fmla="*/ 1952489 w 2299605"/>
                <a:gd name="connsiteY136" fmla="*/ 490579 h 1779774"/>
                <a:gd name="connsiteX137" fmla="*/ 1950206 w 2299605"/>
                <a:gd name="connsiteY137" fmla="*/ 492861 h 1779774"/>
                <a:gd name="connsiteX138" fmla="*/ 1947922 w 2299605"/>
                <a:gd name="connsiteY138" fmla="*/ 495143 h 1779774"/>
                <a:gd name="connsiteX139" fmla="*/ 1947922 w 2299605"/>
                <a:gd name="connsiteY139" fmla="*/ 497425 h 1779774"/>
                <a:gd name="connsiteX140" fmla="*/ 1947922 w 2299605"/>
                <a:gd name="connsiteY140" fmla="*/ 499707 h 1779774"/>
                <a:gd name="connsiteX141" fmla="*/ 1947922 w 2299605"/>
                <a:gd name="connsiteY141" fmla="*/ 501989 h 1779774"/>
                <a:gd name="connsiteX142" fmla="*/ 1950206 w 2299605"/>
                <a:gd name="connsiteY142" fmla="*/ 504271 h 1779774"/>
                <a:gd name="connsiteX143" fmla="*/ 1936504 w 2299605"/>
                <a:gd name="connsiteY143" fmla="*/ 517962 h 1779774"/>
                <a:gd name="connsiteX144" fmla="*/ 1929653 w 2299605"/>
                <a:gd name="connsiteY144" fmla="*/ 522526 h 1779774"/>
                <a:gd name="connsiteX145" fmla="*/ 1925086 w 2299605"/>
                <a:gd name="connsiteY145" fmla="*/ 529371 h 1779774"/>
                <a:gd name="connsiteX146" fmla="*/ 1922802 w 2299605"/>
                <a:gd name="connsiteY146" fmla="*/ 531653 h 1779774"/>
                <a:gd name="connsiteX147" fmla="*/ 1920519 w 2299605"/>
                <a:gd name="connsiteY147" fmla="*/ 533935 h 1779774"/>
                <a:gd name="connsiteX148" fmla="*/ 1918235 w 2299605"/>
                <a:gd name="connsiteY148" fmla="*/ 536217 h 1779774"/>
                <a:gd name="connsiteX149" fmla="*/ 1913668 w 2299605"/>
                <a:gd name="connsiteY149" fmla="*/ 540781 h 1779774"/>
                <a:gd name="connsiteX150" fmla="*/ 1911384 w 2299605"/>
                <a:gd name="connsiteY150" fmla="*/ 540781 h 1779774"/>
                <a:gd name="connsiteX151" fmla="*/ 1906817 w 2299605"/>
                <a:gd name="connsiteY151" fmla="*/ 540781 h 1779774"/>
                <a:gd name="connsiteX152" fmla="*/ 1904533 w 2299605"/>
                <a:gd name="connsiteY152" fmla="*/ 547627 h 1779774"/>
                <a:gd name="connsiteX153" fmla="*/ 1899966 w 2299605"/>
                <a:gd name="connsiteY153" fmla="*/ 545345 h 1779774"/>
                <a:gd name="connsiteX154" fmla="*/ 1895399 w 2299605"/>
                <a:gd name="connsiteY154" fmla="*/ 540781 h 1779774"/>
                <a:gd name="connsiteX155" fmla="*/ 1895399 w 2299605"/>
                <a:gd name="connsiteY155" fmla="*/ 538499 h 1779774"/>
                <a:gd name="connsiteX156" fmla="*/ 1890832 w 2299605"/>
                <a:gd name="connsiteY156" fmla="*/ 538499 h 1779774"/>
                <a:gd name="connsiteX157" fmla="*/ 1888548 w 2299605"/>
                <a:gd name="connsiteY157" fmla="*/ 533935 h 1779774"/>
                <a:gd name="connsiteX158" fmla="*/ 1888548 w 2299605"/>
                <a:gd name="connsiteY158" fmla="*/ 529371 h 1779774"/>
                <a:gd name="connsiteX159" fmla="*/ 1888548 w 2299605"/>
                <a:gd name="connsiteY159" fmla="*/ 522526 h 1779774"/>
                <a:gd name="connsiteX160" fmla="*/ 1888548 w 2299605"/>
                <a:gd name="connsiteY160" fmla="*/ 520244 h 1779774"/>
                <a:gd name="connsiteX161" fmla="*/ 1890832 w 2299605"/>
                <a:gd name="connsiteY161" fmla="*/ 517962 h 1779774"/>
                <a:gd name="connsiteX162" fmla="*/ 1890832 w 2299605"/>
                <a:gd name="connsiteY162" fmla="*/ 515680 h 1779774"/>
                <a:gd name="connsiteX163" fmla="*/ 1893116 w 2299605"/>
                <a:gd name="connsiteY163" fmla="*/ 513398 h 1779774"/>
                <a:gd name="connsiteX164" fmla="*/ 1883981 w 2299605"/>
                <a:gd name="connsiteY164" fmla="*/ 508835 h 1779774"/>
                <a:gd name="connsiteX165" fmla="*/ 1881698 w 2299605"/>
                <a:gd name="connsiteY165" fmla="*/ 508835 h 1779774"/>
                <a:gd name="connsiteX166" fmla="*/ 1870280 w 2299605"/>
                <a:gd name="connsiteY166" fmla="*/ 504271 h 1779774"/>
                <a:gd name="connsiteX167" fmla="*/ 1861145 w 2299605"/>
                <a:gd name="connsiteY167" fmla="*/ 501989 h 1779774"/>
                <a:gd name="connsiteX168" fmla="*/ 1852011 w 2299605"/>
                <a:gd name="connsiteY168" fmla="*/ 504271 h 1779774"/>
                <a:gd name="connsiteX169" fmla="*/ 1833742 w 2299605"/>
                <a:gd name="connsiteY169" fmla="*/ 508835 h 1779774"/>
                <a:gd name="connsiteX170" fmla="*/ 1824608 w 2299605"/>
                <a:gd name="connsiteY170" fmla="*/ 504271 h 1779774"/>
                <a:gd name="connsiteX171" fmla="*/ 1820040 w 2299605"/>
                <a:gd name="connsiteY171" fmla="*/ 492861 h 1779774"/>
                <a:gd name="connsiteX172" fmla="*/ 1817757 w 2299605"/>
                <a:gd name="connsiteY172" fmla="*/ 486015 h 1779774"/>
                <a:gd name="connsiteX173" fmla="*/ 1806339 w 2299605"/>
                <a:gd name="connsiteY173" fmla="*/ 495143 h 1779774"/>
                <a:gd name="connsiteX174" fmla="*/ 1790354 w 2299605"/>
                <a:gd name="connsiteY174" fmla="*/ 501989 h 1779774"/>
                <a:gd name="connsiteX175" fmla="*/ 1783503 w 2299605"/>
                <a:gd name="connsiteY175" fmla="*/ 490579 h 1779774"/>
                <a:gd name="connsiteX176" fmla="*/ 1774369 w 2299605"/>
                <a:gd name="connsiteY176" fmla="*/ 479170 h 1779774"/>
                <a:gd name="connsiteX177" fmla="*/ 1765234 w 2299605"/>
                <a:gd name="connsiteY177" fmla="*/ 483734 h 1779774"/>
                <a:gd name="connsiteX178" fmla="*/ 1753816 w 2299605"/>
                <a:gd name="connsiteY178" fmla="*/ 488297 h 1779774"/>
                <a:gd name="connsiteX179" fmla="*/ 1751533 w 2299605"/>
                <a:gd name="connsiteY179" fmla="*/ 488297 h 1779774"/>
                <a:gd name="connsiteX180" fmla="*/ 1749249 w 2299605"/>
                <a:gd name="connsiteY180" fmla="*/ 488297 h 1779774"/>
                <a:gd name="connsiteX181" fmla="*/ 1746965 w 2299605"/>
                <a:gd name="connsiteY181" fmla="*/ 490579 h 1779774"/>
                <a:gd name="connsiteX182" fmla="*/ 1744682 w 2299605"/>
                <a:gd name="connsiteY182" fmla="*/ 490579 h 1779774"/>
                <a:gd name="connsiteX183" fmla="*/ 1744682 w 2299605"/>
                <a:gd name="connsiteY183" fmla="*/ 488297 h 1779774"/>
                <a:gd name="connsiteX184" fmla="*/ 1742398 w 2299605"/>
                <a:gd name="connsiteY184" fmla="*/ 488297 h 1779774"/>
                <a:gd name="connsiteX185" fmla="*/ 1740115 w 2299605"/>
                <a:gd name="connsiteY185" fmla="*/ 488297 h 1779774"/>
                <a:gd name="connsiteX186" fmla="*/ 1737831 w 2299605"/>
                <a:gd name="connsiteY186" fmla="*/ 488297 h 1779774"/>
                <a:gd name="connsiteX187" fmla="*/ 1737831 w 2299605"/>
                <a:gd name="connsiteY187" fmla="*/ 490579 h 1779774"/>
                <a:gd name="connsiteX188" fmla="*/ 1735548 w 2299605"/>
                <a:gd name="connsiteY188" fmla="*/ 490579 h 1779774"/>
                <a:gd name="connsiteX189" fmla="*/ 1733264 w 2299605"/>
                <a:gd name="connsiteY189" fmla="*/ 490579 h 1779774"/>
                <a:gd name="connsiteX190" fmla="*/ 1730980 w 2299605"/>
                <a:gd name="connsiteY190" fmla="*/ 490579 h 1779774"/>
                <a:gd name="connsiteX191" fmla="*/ 1724129 w 2299605"/>
                <a:gd name="connsiteY191" fmla="*/ 488297 h 1779774"/>
                <a:gd name="connsiteX192" fmla="*/ 1719562 w 2299605"/>
                <a:gd name="connsiteY192" fmla="*/ 483734 h 1779774"/>
                <a:gd name="connsiteX193" fmla="*/ 1724129 w 2299605"/>
                <a:gd name="connsiteY193" fmla="*/ 470042 h 1779774"/>
                <a:gd name="connsiteX194" fmla="*/ 1728697 w 2299605"/>
                <a:gd name="connsiteY194" fmla="*/ 456351 h 1779774"/>
                <a:gd name="connsiteX195" fmla="*/ 1733264 w 2299605"/>
                <a:gd name="connsiteY195" fmla="*/ 451796 h 1779774"/>
                <a:gd name="connsiteX196" fmla="*/ 1712711 w 2299605"/>
                <a:gd name="connsiteY196" fmla="*/ 447233 h 1779774"/>
                <a:gd name="connsiteX197" fmla="*/ 1712711 w 2299605"/>
                <a:gd name="connsiteY197" fmla="*/ 442669 h 1779774"/>
                <a:gd name="connsiteX198" fmla="*/ 1712711 w 2299605"/>
                <a:gd name="connsiteY198" fmla="*/ 440387 h 1779774"/>
                <a:gd name="connsiteX199" fmla="*/ 1712711 w 2299605"/>
                <a:gd name="connsiteY199" fmla="*/ 438105 h 1779774"/>
                <a:gd name="connsiteX200" fmla="*/ 1712711 w 2299605"/>
                <a:gd name="connsiteY200" fmla="*/ 435823 h 1779774"/>
                <a:gd name="connsiteX201" fmla="*/ 1712711 w 2299605"/>
                <a:gd name="connsiteY201" fmla="*/ 433541 h 1779774"/>
                <a:gd name="connsiteX202" fmla="*/ 1710428 w 2299605"/>
                <a:gd name="connsiteY202" fmla="*/ 431259 h 1779774"/>
                <a:gd name="connsiteX203" fmla="*/ 1708144 w 2299605"/>
                <a:gd name="connsiteY203" fmla="*/ 431259 h 1779774"/>
                <a:gd name="connsiteX204" fmla="*/ 1705861 w 2299605"/>
                <a:gd name="connsiteY204" fmla="*/ 431259 h 1779774"/>
                <a:gd name="connsiteX205" fmla="*/ 1701294 w 2299605"/>
                <a:gd name="connsiteY205" fmla="*/ 431259 h 1779774"/>
                <a:gd name="connsiteX206" fmla="*/ 1696726 w 2299605"/>
                <a:gd name="connsiteY206" fmla="*/ 431259 h 1779774"/>
                <a:gd name="connsiteX207" fmla="*/ 1694443 w 2299605"/>
                <a:gd name="connsiteY207" fmla="*/ 431259 h 1779774"/>
                <a:gd name="connsiteX208" fmla="*/ 1689876 w 2299605"/>
                <a:gd name="connsiteY208" fmla="*/ 431259 h 1779774"/>
                <a:gd name="connsiteX209" fmla="*/ 1687592 w 2299605"/>
                <a:gd name="connsiteY209" fmla="*/ 431259 h 1779774"/>
                <a:gd name="connsiteX210" fmla="*/ 1687592 w 2299605"/>
                <a:gd name="connsiteY210" fmla="*/ 428978 h 1779774"/>
                <a:gd name="connsiteX211" fmla="*/ 1664756 w 2299605"/>
                <a:gd name="connsiteY211" fmla="*/ 417568 h 1779774"/>
                <a:gd name="connsiteX212" fmla="*/ 1662472 w 2299605"/>
                <a:gd name="connsiteY212" fmla="*/ 415286 h 1779774"/>
                <a:gd name="connsiteX213" fmla="*/ 1637353 w 2299605"/>
                <a:gd name="connsiteY213" fmla="*/ 406159 h 1779774"/>
                <a:gd name="connsiteX214" fmla="*/ 1635069 w 2299605"/>
                <a:gd name="connsiteY214" fmla="*/ 403877 h 1779774"/>
                <a:gd name="connsiteX215" fmla="*/ 1621368 w 2299605"/>
                <a:gd name="connsiteY215" fmla="*/ 397031 h 1779774"/>
                <a:gd name="connsiteX216" fmla="*/ 1616800 w 2299605"/>
                <a:gd name="connsiteY216" fmla="*/ 399313 h 1779774"/>
                <a:gd name="connsiteX217" fmla="*/ 1614517 w 2299605"/>
                <a:gd name="connsiteY217" fmla="*/ 399313 h 1779774"/>
                <a:gd name="connsiteX218" fmla="*/ 1607666 w 2299605"/>
                <a:gd name="connsiteY218" fmla="*/ 401595 h 1779774"/>
                <a:gd name="connsiteX219" fmla="*/ 1605382 w 2299605"/>
                <a:gd name="connsiteY219" fmla="*/ 431259 h 1779774"/>
                <a:gd name="connsiteX220" fmla="*/ 1600815 w 2299605"/>
                <a:gd name="connsiteY220" fmla="*/ 431259 h 1779774"/>
                <a:gd name="connsiteX221" fmla="*/ 1598532 w 2299605"/>
                <a:gd name="connsiteY221" fmla="*/ 447233 h 1779774"/>
                <a:gd name="connsiteX222" fmla="*/ 1591681 w 2299605"/>
                <a:gd name="connsiteY222" fmla="*/ 460915 h 1779774"/>
                <a:gd name="connsiteX223" fmla="*/ 1587114 w 2299605"/>
                <a:gd name="connsiteY223" fmla="*/ 472324 h 1779774"/>
                <a:gd name="connsiteX224" fmla="*/ 1587114 w 2299605"/>
                <a:gd name="connsiteY224" fmla="*/ 474606 h 1779774"/>
                <a:gd name="connsiteX225" fmla="*/ 1587114 w 2299605"/>
                <a:gd name="connsiteY225" fmla="*/ 479170 h 1779774"/>
                <a:gd name="connsiteX226" fmla="*/ 1589397 w 2299605"/>
                <a:gd name="connsiteY226" fmla="*/ 483734 h 1779774"/>
                <a:gd name="connsiteX227" fmla="*/ 1587114 w 2299605"/>
                <a:gd name="connsiteY227" fmla="*/ 486015 h 1779774"/>
                <a:gd name="connsiteX228" fmla="*/ 1584830 w 2299605"/>
                <a:gd name="connsiteY228" fmla="*/ 486015 h 1779774"/>
                <a:gd name="connsiteX229" fmla="*/ 1580263 w 2299605"/>
                <a:gd name="connsiteY229" fmla="*/ 488297 h 1779774"/>
                <a:gd name="connsiteX230" fmla="*/ 1577979 w 2299605"/>
                <a:gd name="connsiteY230" fmla="*/ 490579 h 1779774"/>
                <a:gd name="connsiteX231" fmla="*/ 1573412 w 2299605"/>
                <a:gd name="connsiteY231" fmla="*/ 492861 h 1779774"/>
                <a:gd name="connsiteX232" fmla="*/ 1573412 w 2299605"/>
                <a:gd name="connsiteY232" fmla="*/ 495143 h 1779774"/>
                <a:gd name="connsiteX233" fmla="*/ 1575696 w 2299605"/>
                <a:gd name="connsiteY233" fmla="*/ 495143 h 1779774"/>
                <a:gd name="connsiteX234" fmla="*/ 1577979 w 2299605"/>
                <a:gd name="connsiteY234" fmla="*/ 495143 h 1779774"/>
                <a:gd name="connsiteX235" fmla="*/ 1577979 w 2299605"/>
                <a:gd name="connsiteY235" fmla="*/ 497425 h 1779774"/>
                <a:gd name="connsiteX236" fmla="*/ 1577979 w 2299605"/>
                <a:gd name="connsiteY236" fmla="*/ 499707 h 1779774"/>
                <a:gd name="connsiteX237" fmla="*/ 1577979 w 2299605"/>
                <a:gd name="connsiteY237" fmla="*/ 501989 h 1779774"/>
                <a:gd name="connsiteX238" fmla="*/ 1577979 w 2299605"/>
                <a:gd name="connsiteY238" fmla="*/ 506552 h 1779774"/>
                <a:gd name="connsiteX239" fmla="*/ 1577979 w 2299605"/>
                <a:gd name="connsiteY239" fmla="*/ 508835 h 1779774"/>
                <a:gd name="connsiteX240" fmla="*/ 1577979 w 2299605"/>
                <a:gd name="connsiteY240" fmla="*/ 511116 h 1779774"/>
                <a:gd name="connsiteX241" fmla="*/ 1577979 w 2299605"/>
                <a:gd name="connsiteY241" fmla="*/ 515680 h 1779774"/>
                <a:gd name="connsiteX242" fmla="*/ 1577979 w 2299605"/>
                <a:gd name="connsiteY242" fmla="*/ 517962 h 1779774"/>
                <a:gd name="connsiteX243" fmla="*/ 1577979 w 2299605"/>
                <a:gd name="connsiteY243" fmla="*/ 520244 h 1779774"/>
                <a:gd name="connsiteX244" fmla="*/ 1575696 w 2299605"/>
                <a:gd name="connsiteY244" fmla="*/ 524808 h 1779774"/>
                <a:gd name="connsiteX245" fmla="*/ 1575696 w 2299605"/>
                <a:gd name="connsiteY245" fmla="*/ 527090 h 1779774"/>
                <a:gd name="connsiteX246" fmla="*/ 1573412 w 2299605"/>
                <a:gd name="connsiteY246" fmla="*/ 527090 h 1779774"/>
                <a:gd name="connsiteX247" fmla="*/ 1571128 w 2299605"/>
                <a:gd name="connsiteY247" fmla="*/ 524808 h 1779774"/>
                <a:gd name="connsiteX248" fmla="*/ 1568845 w 2299605"/>
                <a:gd name="connsiteY248" fmla="*/ 524808 h 1779774"/>
                <a:gd name="connsiteX249" fmla="*/ 1566561 w 2299605"/>
                <a:gd name="connsiteY249" fmla="*/ 524808 h 1779774"/>
                <a:gd name="connsiteX250" fmla="*/ 1564278 w 2299605"/>
                <a:gd name="connsiteY250" fmla="*/ 524808 h 1779774"/>
                <a:gd name="connsiteX251" fmla="*/ 1561994 w 2299605"/>
                <a:gd name="connsiteY251" fmla="*/ 522526 h 1779774"/>
                <a:gd name="connsiteX252" fmla="*/ 1561994 w 2299605"/>
                <a:gd name="connsiteY252" fmla="*/ 520244 h 1779774"/>
                <a:gd name="connsiteX253" fmla="*/ 1559711 w 2299605"/>
                <a:gd name="connsiteY253" fmla="*/ 517962 h 1779774"/>
                <a:gd name="connsiteX254" fmla="*/ 1557427 w 2299605"/>
                <a:gd name="connsiteY254" fmla="*/ 515680 h 1779774"/>
                <a:gd name="connsiteX255" fmla="*/ 1552860 w 2299605"/>
                <a:gd name="connsiteY255" fmla="*/ 513398 h 1779774"/>
                <a:gd name="connsiteX256" fmla="*/ 1550576 w 2299605"/>
                <a:gd name="connsiteY256" fmla="*/ 513398 h 1779774"/>
                <a:gd name="connsiteX257" fmla="*/ 1548293 w 2299605"/>
                <a:gd name="connsiteY257" fmla="*/ 513398 h 1779774"/>
                <a:gd name="connsiteX258" fmla="*/ 1546009 w 2299605"/>
                <a:gd name="connsiteY258" fmla="*/ 513398 h 1779774"/>
                <a:gd name="connsiteX259" fmla="*/ 1546009 w 2299605"/>
                <a:gd name="connsiteY259" fmla="*/ 515680 h 1779774"/>
                <a:gd name="connsiteX260" fmla="*/ 1546009 w 2299605"/>
                <a:gd name="connsiteY260" fmla="*/ 517962 h 1779774"/>
                <a:gd name="connsiteX261" fmla="*/ 1548293 w 2299605"/>
                <a:gd name="connsiteY261" fmla="*/ 517962 h 1779774"/>
                <a:gd name="connsiteX262" fmla="*/ 1548293 w 2299605"/>
                <a:gd name="connsiteY262" fmla="*/ 520244 h 1779774"/>
                <a:gd name="connsiteX263" fmla="*/ 1548293 w 2299605"/>
                <a:gd name="connsiteY263" fmla="*/ 522526 h 1779774"/>
                <a:gd name="connsiteX264" fmla="*/ 1548293 w 2299605"/>
                <a:gd name="connsiteY264" fmla="*/ 524808 h 1779774"/>
                <a:gd name="connsiteX265" fmla="*/ 1550576 w 2299605"/>
                <a:gd name="connsiteY265" fmla="*/ 524808 h 1779774"/>
                <a:gd name="connsiteX266" fmla="*/ 1550576 w 2299605"/>
                <a:gd name="connsiteY266" fmla="*/ 527090 h 1779774"/>
                <a:gd name="connsiteX267" fmla="*/ 1552860 w 2299605"/>
                <a:gd name="connsiteY267" fmla="*/ 527090 h 1779774"/>
                <a:gd name="connsiteX268" fmla="*/ 1552860 w 2299605"/>
                <a:gd name="connsiteY268" fmla="*/ 529371 h 1779774"/>
                <a:gd name="connsiteX269" fmla="*/ 1552860 w 2299605"/>
                <a:gd name="connsiteY269" fmla="*/ 531653 h 1779774"/>
                <a:gd name="connsiteX270" fmla="*/ 1552860 w 2299605"/>
                <a:gd name="connsiteY270" fmla="*/ 538499 h 1779774"/>
                <a:gd name="connsiteX271" fmla="*/ 1552860 w 2299605"/>
                <a:gd name="connsiteY271" fmla="*/ 540781 h 1779774"/>
                <a:gd name="connsiteX272" fmla="*/ 1552860 w 2299605"/>
                <a:gd name="connsiteY272" fmla="*/ 543063 h 1779774"/>
                <a:gd name="connsiteX273" fmla="*/ 1546009 w 2299605"/>
                <a:gd name="connsiteY273" fmla="*/ 545345 h 1779774"/>
                <a:gd name="connsiteX274" fmla="*/ 1543725 w 2299605"/>
                <a:gd name="connsiteY274" fmla="*/ 547627 h 1779774"/>
                <a:gd name="connsiteX275" fmla="*/ 1546009 w 2299605"/>
                <a:gd name="connsiteY275" fmla="*/ 552191 h 1779774"/>
                <a:gd name="connsiteX276" fmla="*/ 1548293 w 2299605"/>
                <a:gd name="connsiteY276" fmla="*/ 554472 h 1779774"/>
                <a:gd name="connsiteX277" fmla="*/ 1548293 w 2299605"/>
                <a:gd name="connsiteY277" fmla="*/ 556754 h 1779774"/>
                <a:gd name="connsiteX278" fmla="*/ 1548293 w 2299605"/>
                <a:gd name="connsiteY278" fmla="*/ 559036 h 1779774"/>
                <a:gd name="connsiteX279" fmla="*/ 1550576 w 2299605"/>
                <a:gd name="connsiteY279" fmla="*/ 559036 h 1779774"/>
                <a:gd name="connsiteX280" fmla="*/ 1550576 w 2299605"/>
                <a:gd name="connsiteY280" fmla="*/ 561318 h 1779774"/>
                <a:gd name="connsiteX281" fmla="*/ 1550576 w 2299605"/>
                <a:gd name="connsiteY281" fmla="*/ 563600 h 1779774"/>
                <a:gd name="connsiteX282" fmla="*/ 1552860 w 2299605"/>
                <a:gd name="connsiteY282" fmla="*/ 565882 h 1779774"/>
                <a:gd name="connsiteX283" fmla="*/ 1552860 w 2299605"/>
                <a:gd name="connsiteY283" fmla="*/ 570446 h 1779774"/>
                <a:gd name="connsiteX284" fmla="*/ 1552860 w 2299605"/>
                <a:gd name="connsiteY284" fmla="*/ 572728 h 1779774"/>
                <a:gd name="connsiteX285" fmla="*/ 1550576 w 2299605"/>
                <a:gd name="connsiteY285" fmla="*/ 575009 h 1779774"/>
                <a:gd name="connsiteX286" fmla="*/ 1548293 w 2299605"/>
                <a:gd name="connsiteY286" fmla="*/ 577291 h 1779774"/>
                <a:gd name="connsiteX287" fmla="*/ 1548293 w 2299605"/>
                <a:gd name="connsiteY287" fmla="*/ 579573 h 1779774"/>
                <a:gd name="connsiteX288" fmla="*/ 1546009 w 2299605"/>
                <a:gd name="connsiteY288" fmla="*/ 579573 h 1779774"/>
                <a:gd name="connsiteX289" fmla="*/ 1548293 w 2299605"/>
                <a:gd name="connsiteY289" fmla="*/ 581855 h 1779774"/>
                <a:gd name="connsiteX290" fmla="*/ 1548293 w 2299605"/>
                <a:gd name="connsiteY290" fmla="*/ 584137 h 1779774"/>
                <a:gd name="connsiteX291" fmla="*/ 1552860 w 2299605"/>
                <a:gd name="connsiteY291" fmla="*/ 588701 h 1779774"/>
                <a:gd name="connsiteX292" fmla="*/ 1552860 w 2299605"/>
                <a:gd name="connsiteY292" fmla="*/ 590983 h 1779774"/>
                <a:gd name="connsiteX293" fmla="*/ 1557427 w 2299605"/>
                <a:gd name="connsiteY293" fmla="*/ 593264 h 1779774"/>
                <a:gd name="connsiteX294" fmla="*/ 1561994 w 2299605"/>
                <a:gd name="connsiteY294" fmla="*/ 595547 h 1779774"/>
                <a:gd name="connsiteX295" fmla="*/ 1564278 w 2299605"/>
                <a:gd name="connsiteY295" fmla="*/ 595547 h 1779774"/>
                <a:gd name="connsiteX296" fmla="*/ 1566561 w 2299605"/>
                <a:gd name="connsiteY296" fmla="*/ 597828 h 1779774"/>
                <a:gd name="connsiteX297" fmla="*/ 1568845 w 2299605"/>
                <a:gd name="connsiteY297" fmla="*/ 597828 h 1779774"/>
                <a:gd name="connsiteX298" fmla="*/ 1566561 w 2299605"/>
                <a:gd name="connsiteY298" fmla="*/ 600110 h 1779774"/>
                <a:gd name="connsiteX299" fmla="*/ 1564278 w 2299605"/>
                <a:gd name="connsiteY299" fmla="*/ 602392 h 1779774"/>
                <a:gd name="connsiteX300" fmla="*/ 1561994 w 2299605"/>
                <a:gd name="connsiteY300" fmla="*/ 606956 h 1779774"/>
                <a:gd name="connsiteX301" fmla="*/ 1561994 w 2299605"/>
                <a:gd name="connsiteY301" fmla="*/ 609238 h 1779774"/>
                <a:gd name="connsiteX302" fmla="*/ 1559711 w 2299605"/>
                <a:gd name="connsiteY302" fmla="*/ 613802 h 1779774"/>
                <a:gd name="connsiteX303" fmla="*/ 1559711 w 2299605"/>
                <a:gd name="connsiteY303" fmla="*/ 616074 h 1779774"/>
                <a:gd name="connsiteX304" fmla="*/ 1557427 w 2299605"/>
                <a:gd name="connsiteY304" fmla="*/ 620638 h 1779774"/>
                <a:gd name="connsiteX305" fmla="*/ 1557427 w 2299605"/>
                <a:gd name="connsiteY305" fmla="*/ 622920 h 1779774"/>
                <a:gd name="connsiteX306" fmla="*/ 1557427 w 2299605"/>
                <a:gd name="connsiteY306" fmla="*/ 625202 h 1779774"/>
                <a:gd name="connsiteX307" fmla="*/ 1555143 w 2299605"/>
                <a:gd name="connsiteY307" fmla="*/ 629765 h 1779774"/>
                <a:gd name="connsiteX308" fmla="*/ 1555143 w 2299605"/>
                <a:gd name="connsiteY308" fmla="*/ 632047 h 1779774"/>
                <a:gd name="connsiteX309" fmla="*/ 1552860 w 2299605"/>
                <a:gd name="connsiteY309" fmla="*/ 629765 h 1779774"/>
                <a:gd name="connsiteX310" fmla="*/ 1552860 w 2299605"/>
                <a:gd name="connsiteY310" fmla="*/ 625202 h 1779774"/>
                <a:gd name="connsiteX311" fmla="*/ 1550576 w 2299605"/>
                <a:gd name="connsiteY311" fmla="*/ 622920 h 1779774"/>
                <a:gd name="connsiteX312" fmla="*/ 1548293 w 2299605"/>
                <a:gd name="connsiteY312" fmla="*/ 616074 h 1779774"/>
                <a:gd name="connsiteX313" fmla="*/ 1548293 w 2299605"/>
                <a:gd name="connsiteY313" fmla="*/ 611520 h 1779774"/>
                <a:gd name="connsiteX314" fmla="*/ 1546009 w 2299605"/>
                <a:gd name="connsiteY314" fmla="*/ 609238 h 1779774"/>
                <a:gd name="connsiteX315" fmla="*/ 1546009 w 2299605"/>
                <a:gd name="connsiteY315" fmla="*/ 606956 h 1779774"/>
                <a:gd name="connsiteX316" fmla="*/ 1543725 w 2299605"/>
                <a:gd name="connsiteY316" fmla="*/ 609238 h 1779774"/>
                <a:gd name="connsiteX317" fmla="*/ 1539158 w 2299605"/>
                <a:gd name="connsiteY317" fmla="*/ 611520 h 1779774"/>
                <a:gd name="connsiteX318" fmla="*/ 1534591 w 2299605"/>
                <a:gd name="connsiteY318" fmla="*/ 613802 h 1779774"/>
                <a:gd name="connsiteX319" fmla="*/ 1532307 w 2299605"/>
                <a:gd name="connsiteY319" fmla="*/ 618356 h 1779774"/>
                <a:gd name="connsiteX320" fmla="*/ 1527740 w 2299605"/>
                <a:gd name="connsiteY320" fmla="*/ 620638 h 1779774"/>
                <a:gd name="connsiteX321" fmla="*/ 1527740 w 2299605"/>
                <a:gd name="connsiteY321" fmla="*/ 622920 h 1779774"/>
                <a:gd name="connsiteX322" fmla="*/ 1527740 w 2299605"/>
                <a:gd name="connsiteY322" fmla="*/ 625202 h 1779774"/>
                <a:gd name="connsiteX323" fmla="*/ 1527740 w 2299605"/>
                <a:gd name="connsiteY323" fmla="*/ 627483 h 1779774"/>
                <a:gd name="connsiteX324" fmla="*/ 1525457 w 2299605"/>
                <a:gd name="connsiteY324" fmla="*/ 632047 h 1779774"/>
                <a:gd name="connsiteX325" fmla="*/ 1525457 w 2299605"/>
                <a:gd name="connsiteY325" fmla="*/ 634329 h 1779774"/>
                <a:gd name="connsiteX326" fmla="*/ 1525457 w 2299605"/>
                <a:gd name="connsiteY326" fmla="*/ 636611 h 1779774"/>
                <a:gd name="connsiteX327" fmla="*/ 1525457 w 2299605"/>
                <a:gd name="connsiteY327" fmla="*/ 641175 h 1779774"/>
                <a:gd name="connsiteX328" fmla="*/ 1525457 w 2299605"/>
                <a:gd name="connsiteY328" fmla="*/ 643457 h 1779774"/>
                <a:gd name="connsiteX329" fmla="*/ 1525457 w 2299605"/>
                <a:gd name="connsiteY329" fmla="*/ 645739 h 1779774"/>
                <a:gd name="connsiteX330" fmla="*/ 1525457 w 2299605"/>
                <a:gd name="connsiteY330" fmla="*/ 648020 h 1779774"/>
                <a:gd name="connsiteX331" fmla="*/ 1525457 w 2299605"/>
                <a:gd name="connsiteY331" fmla="*/ 650303 h 1779774"/>
                <a:gd name="connsiteX332" fmla="*/ 1523173 w 2299605"/>
                <a:gd name="connsiteY332" fmla="*/ 650303 h 1779774"/>
                <a:gd name="connsiteX333" fmla="*/ 1523173 w 2299605"/>
                <a:gd name="connsiteY333" fmla="*/ 652584 h 1779774"/>
                <a:gd name="connsiteX334" fmla="*/ 1523173 w 2299605"/>
                <a:gd name="connsiteY334" fmla="*/ 654866 h 1779774"/>
                <a:gd name="connsiteX335" fmla="*/ 1523173 w 2299605"/>
                <a:gd name="connsiteY335" fmla="*/ 657148 h 1779774"/>
                <a:gd name="connsiteX336" fmla="*/ 1520889 w 2299605"/>
                <a:gd name="connsiteY336" fmla="*/ 657148 h 1779774"/>
                <a:gd name="connsiteX337" fmla="*/ 1520889 w 2299605"/>
                <a:gd name="connsiteY337" fmla="*/ 659430 h 1779774"/>
                <a:gd name="connsiteX338" fmla="*/ 1518606 w 2299605"/>
                <a:gd name="connsiteY338" fmla="*/ 659430 h 1779774"/>
                <a:gd name="connsiteX339" fmla="*/ 1516322 w 2299605"/>
                <a:gd name="connsiteY339" fmla="*/ 661712 h 1779774"/>
                <a:gd name="connsiteX340" fmla="*/ 1514039 w 2299605"/>
                <a:gd name="connsiteY340" fmla="*/ 661712 h 1779774"/>
                <a:gd name="connsiteX341" fmla="*/ 1514039 w 2299605"/>
                <a:gd name="connsiteY341" fmla="*/ 663994 h 1779774"/>
                <a:gd name="connsiteX342" fmla="*/ 1511755 w 2299605"/>
                <a:gd name="connsiteY342" fmla="*/ 663994 h 1779774"/>
                <a:gd name="connsiteX343" fmla="*/ 1509471 w 2299605"/>
                <a:gd name="connsiteY343" fmla="*/ 663994 h 1779774"/>
                <a:gd name="connsiteX344" fmla="*/ 1504904 w 2299605"/>
                <a:gd name="connsiteY344" fmla="*/ 666276 h 1779774"/>
                <a:gd name="connsiteX345" fmla="*/ 1502621 w 2299605"/>
                <a:gd name="connsiteY345" fmla="*/ 666276 h 1779774"/>
                <a:gd name="connsiteX346" fmla="*/ 1502621 w 2299605"/>
                <a:gd name="connsiteY346" fmla="*/ 668558 h 1779774"/>
                <a:gd name="connsiteX347" fmla="*/ 1500337 w 2299605"/>
                <a:gd name="connsiteY347" fmla="*/ 668558 h 1779774"/>
                <a:gd name="connsiteX348" fmla="*/ 1500337 w 2299605"/>
                <a:gd name="connsiteY348" fmla="*/ 670840 h 1779774"/>
                <a:gd name="connsiteX349" fmla="*/ 1500337 w 2299605"/>
                <a:gd name="connsiteY349" fmla="*/ 673121 h 1779774"/>
                <a:gd name="connsiteX350" fmla="*/ 1500337 w 2299605"/>
                <a:gd name="connsiteY350" fmla="*/ 675403 h 1779774"/>
                <a:gd name="connsiteX351" fmla="*/ 1500337 w 2299605"/>
                <a:gd name="connsiteY351" fmla="*/ 677685 h 1779774"/>
                <a:gd name="connsiteX352" fmla="*/ 1500337 w 2299605"/>
                <a:gd name="connsiteY352" fmla="*/ 679967 h 1779774"/>
                <a:gd name="connsiteX353" fmla="*/ 1498053 w 2299605"/>
                <a:gd name="connsiteY353" fmla="*/ 679967 h 1779774"/>
                <a:gd name="connsiteX354" fmla="*/ 1498053 w 2299605"/>
                <a:gd name="connsiteY354" fmla="*/ 682249 h 1779774"/>
                <a:gd name="connsiteX355" fmla="*/ 1495770 w 2299605"/>
                <a:gd name="connsiteY355" fmla="*/ 682249 h 1779774"/>
                <a:gd name="connsiteX356" fmla="*/ 1495770 w 2299605"/>
                <a:gd name="connsiteY356" fmla="*/ 679967 h 1779774"/>
                <a:gd name="connsiteX357" fmla="*/ 1493486 w 2299605"/>
                <a:gd name="connsiteY357" fmla="*/ 679967 h 1779774"/>
                <a:gd name="connsiteX358" fmla="*/ 1491203 w 2299605"/>
                <a:gd name="connsiteY358" fmla="*/ 679967 h 1779774"/>
                <a:gd name="connsiteX359" fmla="*/ 1491203 w 2299605"/>
                <a:gd name="connsiteY359" fmla="*/ 682249 h 1779774"/>
                <a:gd name="connsiteX360" fmla="*/ 1491203 w 2299605"/>
                <a:gd name="connsiteY360" fmla="*/ 684531 h 1779774"/>
                <a:gd name="connsiteX361" fmla="*/ 1491203 w 2299605"/>
                <a:gd name="connsiteY361" fmla="*/ 686813 h 1779774"/>
                <a:gd name="connsiteX362" fmla="*/ 1488919 w 2299605"/>
                <a:gd name="connsiteY362" fmla="*/ 686813 h 1779774"/>
                <a:gd name="connsiteX363" fmla="*/ 1486636 w 2299605"/>
                <a:gd name="connsiteY363" fmla="*/ 686813 h 1779774"/>
                <a:gd name="connsiteX364" fmla="*/ 1484352 w 2299605"/>
                <a:gd name="connsiteY364" fmla="*/ 689095 h 1779774"/>
                <a:gd name="connsiteX365" fmla="*/ 1482068 w 2299605"/>
                <a:gd name="connsiteY365" fmla="*/ 689095 h 1779774"/>
                <a:gd name="connsiteX366" fmla="*/ 1479785 w 2299605"/>
                <a:gd name="connsiteY366" fmla="*/ 689095 h 1779774"/>
                <a:gd name="connsiteX367" fmla="*/ 1477501 w 2299605"/>
                <a:gd name="connsiteY367" fmla="*/ 689095 h 1779774"/>
                <a:gd name="connsiteX368" fmla="*/ 1475218 w 2299605"/>
                <a:gd name="connsiteY368" fmla="*/ 689095 h 1779774"/>
                <a:gd name="connsiteX369" fmla="*/ 1472934 w 2299605"/>
                <a:gd name="connsiteY369" fmla="*/ 689095 h 1779774"/>
                <a:gd name="connsiteX370" fmla="*/ 1470650 w 2299605"/>
                <a:gd name="connsiteY370" fmla="*/ 689095 h 1779774"/>
                <a:gd name="connsiteX371" fmla="*/ 1470650 w 2299605"/>
                <a:gd name="connsiteY371" fmla="*/ 686813 h 1779774"/>
                <a:gd name="connsiteX372" fmla="*/ 1466083 w 2299605"/>
                <a:gd name="connsiteY372" fmla="*/ 686813 h 1779774"/>
                <a:gd name="connsiteX373" fmla="*/ 1463799 w 2299605"/>
                <a:gd name="connsiteY373" fmla="*/ 684531 h 1779774"/>
                <a:gd name="connsiteX374" fmla="*/ 1461516 w 2299605"/>
                <a:gd name="connsiteY374" fmla="*/ 684531 h 1779774"/>
                <a:gd name="connsiteX375" fmla="*/ 1459232 w 2299605"/>
                <a:gd name="connsiteY375" fmla="*/ 684531 h 1779774"/>
                <a:gd name="connsiteX376" fmla="*/ 1456949 w 2299605"/>
                <a:gd name="connsiteY376" fmla="*/ 684531 h 1779774"/>
                <a:gd name="connsiteX377" fmla="*/ 1456949 w 2299605"/>
                <a:gd name="connsiteY377" fmla="*/ 682249 h 1779774"/>
                <a:gd name="connsiteX378" fmla="*/ 1454665 w 2299605"/>
                <a:gd name="connsiteY378" fmla="*/ 682249 h 1779774"/>
                <a:gd name="connsiteX379" fmla="*/ 1452382 w 2299605"/>
                <a:gd name="connsiteY379" fmla="*/ 682249 h 1779774"/>
                <a:gd name="connsiteX380" fmla="*/ 1450098 w 2299605"/>
                <a:gd name="connsiteY380" fmla="*/ 682249 h 1779774"/>
                <a:gd name="connsiteX381" fmla="*/ 1447814 w 2299605"/>
                <a:gd name="connsiteY381" fmla="*/ 679967 h 1779774"/>
                <a:gd name="connsiteX382" fmla="*/ 1443247 w 2299605"/>
                <a:gd name="connsiteY382" fmla="*/ 675403 h 1779774"/>
                <a:gd name="connsiteX383" fmla="*/ 1445531 w 2299605"/>
                <a:gd name="connsiteY383" fmla="*/ 670840 h 1779774"/>
                <a:gd name="connsiteX384" fmla="*/ 1440964 w 2299605"/>
                <a:gd name="connsiteY384" fmla="*/ 670840 h 1779774"/>
                <a:gd name="connsiteX385" fmla="*/ 1436396 w 2299605"/>
                <a:gd name="connsiteY385" fmla="*/ 670840 h 1779774"/>
                <a:gd name="connsiteX386" fmla="*/ 1434113 w 2299605"/>
                <a:gd name="connsiteY386" fmla="*/ 666276 h 1779774"/>
                <a:gd name="connsiteX387" fmla="*/ 1431829 w 2299605"/>
                <a:gd name="connsiteY387" fmla="*/ 663994 h 1779774"/>
                <a:gd name="connsiteX388" fmla="*/ 1431829 w 2299605"/>
                <a:gd name="connsiteY388" fmla="*/ 661712 h 1779774"/>
                <a:gd name="connsiteX389" fmla="*/ 1427262 w 2299605"/>
                <a:gd name="connsiteY389" fmla="*/ 666276 h 1779774"/>
                <a:gd name="connsiteX390" fmla="*/ 1424978 w 2299605"/>
                <a:gd name="connsiteY390" fmla="*/ 670840 h 1779774"/>
                <a:gd name="connsiteX391" fmla="*/ 1422695 w 2299605"/>
                <a:gd name="connsiteY391" fmla="*/ 670840 h 1779774"/>
                <a:gd name="connsiteX392" fmla="*/ 1420411 w 2299605"/>
                <a:gd name="connsiteY392" fmla="*/ 675403 h 1779774"/>
                <a:gd name="connsiteX393" fmla="*/ 1418128 w 2299605"/>
                <a:gd name="connsiteY393" fmla="*/ 677685 h 1779774"/>
                <a:gd name="connsiteX394" fmla="*/ 1418128 w 2299605"/>
                <a:gd name="connsiteY394" fmla="*/ 679967 h 1779774"/>
                <a:gd name="connsiteX395" fmla="*/ 1415844 w 2299605"/>
                <a:gd name="connsiteY395" fmla="*/ 679967 h 1779774"/>
                <a:gd name="connsiteX396" fmla="*/ 1413560 w 2299605"/>
                <a:gd name="connsiteY396" fmla="*/ 679967 h 1779774"/>
                <a:gd name="connsiteX397" fmla="*/ 1411277 w 2299605"/>
                <a:gd name="connsiteY397" fmla="*/ 679967 h 1779774"/>
                <a:gd name="connsiteX398" fmla="*/ 1408993 w 2299605"/>
                <a:gd name="connsiteY398" fmla="*/ 677685 h 1779774"/>
                <a:gd name="connsiteX399" fmla="*/ 1406710 w 2299605"/>
                <a:gd name="connsiteY399" fmla="*/ 675403 h 1779774"/>
                <a:gd name="connsiteX400" fmla="*/ 1406710 w 2299605"/>
                <a:gd name="connsiteY400" fmla="*/ 673121 h 1779774"/>
                <a:gd name="connsiteX401" fmla="*/ 1404426 w 2299605"/>
                <a:gd name="connsiteY401" fmla="*/ 670840 h 1779774"/>
                <a:gd name="connsiteX402" fmla="*/ 1402142 w 2299605"/>
                <a:gd name="connsiteY402" fmla="*/ 668558 h 1779774"/>
                <a:gd name="connsiteX403" fmla="*/ 1399859 w 2299605"/>
                <a:gd name="connsiteY403" fmla="*/ 666276 h 1779774"/>
                <a:gd name="connsiteX404" fmla="*/ 1397575 w 2299605"/>
                <a:gd name="connsiteY404" fmla="*/ 666276 h 1779774"/>
                <a:gd name="connsiteX405" fmla="*/ 1395292 w 2299605"/>
                <a:gd name="connsiteY405" fmla="*/ 666276 h 1779774"/>
                <a:gd name="connsiteX406" fmla="*/ 1393008 w 2299605"/>
                <a:gd name="connsiteY406" fmla="*/ 666276 h 1779774"/>
                <a:gd name="connsiteX407" fmla="*/ 1390724 w 2299605"/>
                <a:gd name="connsiteY407" fmla="*/ 666276 h 1779774"/>
                <a:gd name="connsiteX408" fmla="*/ 1388441 w 2299605"/>
                <a:gd name="connsiteY408" fmla="*/ 666276 h 1779774"/>
                <a:gd name="connsiteX409" fmla="*/ 1386157 w 2299605"/>
                <a:gd name="connsiteY409" fmla="*/ 666276 h 1779774"/>
                <a:gd name="connsiteX410" fmla="*/ 1383874 w 2299605"/>
                <a:gd name="connsiteY410" fmla="*/ 668558 h 1779774"/>
                <a:gd name="connsiteX411" fmla="*/ 1381590 w 2299605"/>
                <a:gd name="connsiteY411" fmla="*/ 668558 h 1779774"/>
                <a:gd name="connsiteX412" fmla="*/ 1381590 w 2299605"/>
                <a:gd name="connsiteY412" fmla="*/ 670840 h 1779774"/>
                <a:gd name="connsiteX413" fmla="*/ 1379307 w 2299605"/>
                <a:gd name="connsiteY413" fmla="*/ 670840 h 1779774"/>
                <a:gd name="connsiteX414" fmla="*/ 1377023 w 2299605"/>
                <a:gd name="connsiteY414" fmla="*/ 670840 h 1779774"/>
                <a:gd name="connsiteX415" fmla="*/ 1374739 w 2299605"/>
                <a:gd name="connsiteY415" fmla="*/ 673121 h 1779774"/>
                <a:gd name="connsiteX416" fmla="*/ 1372456 w 2299605"/>
                <a:gd name="connsiteY416" fmla="*/ 673121 h 1779774"/>
                <a:gd name="connsiteX417" fmla="*/ 1370172 w 2299605"/>
                <a:gd name="connsiteY417" fmla="*/ 673121 h 1779774"/>
                <a:gd name="connsiteX418" fmla="*/ 1367889 w 2299605"/>
                <a:gd name="connsiteY418" fmla="*/ 675403 h 1779774"/>
                <a:gd name="connsiteX419" fmla="*/ 1365605 w 2299605"/>
                <a:gd name="connsiteY419" fmla="*/ 675403 h 1779774"/>
                <a:gd name="connsiteX420" fmla="*/ 1363321 w 2299605"/>
                <a:gd name="connsiteY420" fmla="*/ 675403 h 1779774"/>
                <a:gd name="connsiteX421" fmla="*/ 1361038 w 2299605"/>
                <a:gd name="connsiteY421" fmla="*/ 675403 h 1779774"/>
                <a:gd name="connsiteX422" fmla="*/ 1363321 w 2299605"/>
                <a:gd name="connsiteY422" fmla="*/ 677685 h 1779774"/>
                <a:gd name="connsiteX423" fmla="*/ 1363321 w 2299605"/>
                <a:gd name="connsiteY423" fmla="*/ 679967 h 1779774"/>
                <a:gd name="connsiteX424" fmla="*/ 1363321 w 2299605"/>
                <a:gd name="connsiteY424" fmla="*/ 682249 h 1779774"/>
                <a:gd name="connsiteX425" fmla="*/ 1363321 w 2299605"/>
                <a:gd name="connsiteY425" fmla="*/ 684531 h 1779774"/>
                <a:gd name="connsiteX426" fmla="*/ 1363321 w 2299605"/>
                <a:gd name="connsiteY426" fmla="*/ 686813 h 1779774"/>
                <a:gd name="connsiteX427" fmla="*/ 1365605 w 2299605"/>
                <a:gd name="connsiteY427" fmla="*/ 686813 h 1779774"/>
                <a:gd name="connsiteX428" fmla="*/ 1365605 w 2299605"/>
                <a:gd name="connsiteY428" fmla="*/ 689095 h 1779774"/>
                <a:gd name="connsiteX429" fmla="*/ 1365605 w 2299605"/>
                <a:gd name="connsiteY429" fmla="*/ 691376 h 1779774"/>
                <a:gd name="connsiteX430" fmla="*/ 1365605 w 2299605"/>
                <a:gd name="connsiteY430" fmla="*/ 693659 h 1779774"/>
                <a:gd name="connsiteX431" fmla="*/ 1365605 w 2299605"/>
                <a:gd name="connsiteY431" fmla="*/ 695940 h 1779774"/>
                <a:gd name="connsiteX432" fmla="*/ 1367889 w 2299605"/>
                <a:gd name="connsiteY432" fmla="*/ 698222 h 1779774"/>
                <a:gd name="connsiteX433" fmla="*/ 1367889 w 2299605"/>
                <a:gd name="connsiteY433" fmla="*/ 700504 h 1779774"/>
                <a:gd name="connsiteX434" fmla="*/ 1367889 w 2299605"/>
                <a:gd name="connsiteY434" fmla="*/ 702786 h 1779774"/>
                <a:gd name="connsiteX435" fmla="*/ 1370172 w 2299605"/>
                <a:gd name="connsiteY435" fmla="*/ 705068 h 1779774"/>
                <a:gd name="connsiteX436" fmla="*/ 1372456 w 2299605"/>
                <a:gd name="connsiteY436" fmla="*/ 709632 h 1779774"/>
                <a:gd name="connsiteX437" fmla="*/ 1372456 w 2299605"/>
                <a:gd name="connsiteY437" fmla="*/ 711914 h 1779774"/>
                <a:gd name="connsiteX438" fmla="*/ 1370172 w 2299605"/>
                <a:gd name="connsiteY438" fmla="*/ 714196 h 1779774"/>
                <a:gd name="connsiteX439" fmla="*/ 1370172 w 2299605"/>
                <a:gd name="connsiteY439" fmla="*/ 716477 h 1779774"/>
                <a:gd name="connsiteX440" fmla="*/ 1358754 w 2299605"/>
                <a:gd name="connsiteY440" fmla="*/ 721041 h 1779774"/>
                <a:gd name="connsiteX441" fmla="*/ 1351903 w 2299605"/>
                <a:gd name="connsiteY441" fmla="*/ 718759 h 1779774"/>
                <a:gd name="connsiteX442" fmla="*/ 1345053 w 2299605"/>
                <a:gd name="connsiteY442" fmla="*/ 718759 h 1779774"/>
                <a:gd name="connsiteX443" fmla="*/ 1342769 w 2299605"/>
                <a:gd name="connsiteY443" fmla="*/ 718759 h 1779774"/>
                <a:gd name="connsiteX444" fmla="*/ 1340485 w 2299605"/>
                <a:gd name="connsiteY444" fmla="*/ 721041 h 1779774"/>
                <a:gd name="connsiteX445" fmla="*/ 1338202 w 2299605"/>
                <a:gd name="connsiteY445" fmla="*/ 723323 h 1779774"/>
                <a:gd name="connsiteX446" fmla="*/ 1335918 w 2299605"/>
                <a:gd name="connsiteY446" fmla="*/ 725605 h 1779774"/>
                <a:gd name="connsiteX447" fmla="*/ 1333635 w 2299605"/>
                <a:gd name="connsiteY447" fmla="*/ 727887 h 1779774"/>
                <a:gd name="connsiteX448" fmla="*/ 1331351 w 2299605"/>
                <a:gd name="connsiteY448" fmla="*/ 730169 h 1779774"/>
                <a:gd name="connsiteX449" fmla="*/ 1331351 w 2299605"/>
                <a:gd name="connsiteY449" fmla="*/ 732451 h 1779774"/>
                <a:gd name="connsiteX450" fmla="*/ 1329067 w 2299605"/>
                <a:gd name="connsiteY450" fmla="*/ 734732 h 1779774"/>
                <a:gd name="connsiteX451" fmla="*/ 1329067 w 2299605"/>
                <a:gd name="connsiteY451" fmla="*/ 737015 h 1779774"/>
                <a:gd name="connsiteX452" fmla="*/ 1319933 w 2299605"/>
                <a:gd name="connsiteY452" fmla="*/ 734732 h 1779774"/>
                <a:gd name="connsiteX453" fmla="*/ 1317649 w 2299605"/>
                <a:gd name="connsiteY453" fmla="*/ 737015 h 1779774"/>
                <a:gd name="connsiteX454" fmla="*/ 1313082 w 2299605"/>
                <a:gd name="connsiteY454" fmla="*/ 739296 h 1779774"/>
                <a:gd name="connsiteX455" fmla="*/ 1310799 w 2299605"/>
                <a:gd name="connsiteY455" fmla="*/ 741578 h 1779774"/>
                <a:gd name="connsiteX456" fmla="*/ 1308515 w 2299605"/>
                <a:gd name="connsiteY456" fmla="*/ 741578 h 1779774"/>
                <a:gd name="connsiteX457" fmla="*/ 1306231 w 2299605"/>
                <a:gd name="connsiteY457" fmla="*/ 743860 h 1779774"/>
                <a:gd name="connsiteX458" fmla="*/ 1303948 w 2299605"/>
                <a:gd name="connsiteY458" fmla="*/ 743860 h 1779774"/>
                <a:gd name="connsiteX459" fmla="*/ 1301664 w 2299605"/>
                <a:gd name="connsiteY459" fmla="*/ 746142 h 1779774"/>
                <a:gd name="connsiteX460" fmla="*/ 1299381 w 2299605"/>
                <a:gd name="connsiteY460" fmla="*/ 746142 h 1779774"/>
                <a:gd name="connsiteX461" fmla="*/ 1297097 w 2299605"/>
                <a:gd name="connsiteY461" fmla="*/ 743860 h 1779774"/>
                <a:gd name="connsiteX462" fmla="*/ 1292530 w 2299605"/>
                <a:gd name="connsiteY462" fmla="*/ 743860 h 1779774"/>
                <a:gd name="connsiteX463" fmla="*/ 1290246 w 2299605"/>
                <a:gd name="connsiteY463" fmla="*/ 743860 h 1779774"/>
                <a:gd name="connsiteX464" fmla="*/ 1290246 w 2299605"/>
                <a:gd name="connsiteY464" fmla="*/ 741578 h 1779774"/>
                <a:gd name="connsiteX465" fmla="*/ 1287963 w 2299605"/>
                <a:gd name="connsiteY465" fmla="*/ 741578 h 1779774"/>
                <a:gd name="connsiteX466" fmla="*/ 1285679 w 2299605"/>
                <a:gd name="connsiteY466" fmla="*/ 741578 h 1779774"/>
                <a:gd name="connsiteX467" fmla="*/ 1283395 w 2299605"/>
                <a:gd name="connsiteY467" fmla="*/ 741578 h 1779774"/>
                <a:gd name="connsiteX468" fmla="*/ 1283395 w 2299605"/>
                <a:gd name="connsiteY468" fmla="*/ 743860 h 1779774"/>
                <a:gd name="connsiteX469" fmla="*/ 1283395 w 2299605"/>
                <a:gd name="connsiteY469" fmla="*/ 746142 h 1779774"/>
                <a:gd name="connsiteX470" fmla="*/ 1283395 w 2299605"/>
                <a:gd name="connsiteY470" fmla="*/ 748424 h 1779774"/>
                <a:gd name="connsiteX471" fmla="*/ 1283395 w 2299605"/>
                <a:gd name="connsiteY471" fmla="*/ 750706 h 1779774"/>
                <a:gd name="connsiteX472" fmla="*/ 1283395 w 2299605"/>
                <a:gd name="connsiteY472" fmla="*/ 752988 h 1779774"/>
                <a:gd name="connsiteX473" fmla="*/ 1283395 w 2299605"/>
                <a:gd name="connsiteY473" fmla="*/ 755270 h 1779774"/>
                <a:gd name="connsiteX474" fmla="*/ 1281112 w 2299605"/>
                <a:gd name="connsiteY474" fmla="*/ 757552 h 1779774"/>
                <a:gd name="connsiteX475" fmla="*/ 1281112 w 2299605"/>
                <a:gd name="connsiteY475" fmla="*/ 759833 h 1779774"/>
                <a:gd name="connsiteX476" fmla="*/ 1278828 w 2299605"/>
                <a:gd name="connsiteY476" fmla="*/ 764397 h 1779774"/>
                <a:gd name="connsiteX477" fmla="*/ 1278828 w 2299605"/>
                <a:gd name="connsiteY477" fmla="*/ 766670 h 1779774"/>
                <a:gd name="connsiteX478" fmla="*/ 1276545 w 2299605"/>
                <a:gd name="connsiteY478" fmla="*/ 766670 h 1779774"/>
                <a:gd name="connsiteX479" fmla="*/ 1276545 w 2299605"/>
                <a:gd name="connsiteY479" fmla="*/ 768951 h 1779774"/>
                <a:gd name="connsiteX480" fmla="*/ 1274261 w 2299605"/>
                <a:gd name="connsiteY480" fmla="*/ 771233 h 1779774"/>
                <a:gd name="connsiteX481" fmla="*/ 1271977 w 2299605"/>
                <a:gd name="connsiteY481" fmla="*/ 771233 h 1779774"/>
                <a:gd name="connsiteX482" fmla="*/ 1271977 w 2299605"/>
                <a:gd name="connsiteY482" fmla="*/ 773515 h 1779774"/>
                <a:gd name="connsiteX483" fmla="*/ 1269694 w 2299605"/>
                <a:gd name="connsiteY483" fmla="*/ 773515 h 1779774"/>
                <a:gd name="connsiteX484" fmla="*/ 1267410 w 2299605"/>
                <a:gd name="connsiteY484" fmla="*/ 773515 h 1779774"/>
                <a:gd name="connsiteX485" fmla="*/ 1265127 w 2299605"/>
                <a:gd name="connsiteY485" fmla="*/ 775797 h 1779774"/>
                <a:gd name="connsiteX486" fmla="*/ 1262843 w 2299605"/>
                <a:gd name="connsiteY486" fmla="*/ 775797 h 1779774"/>
                <a:gd name="connsiteX487" fmla="*/ 1260559 w 2299605"/>
                <a:gd name="connsiteY487" fmla="*/ 778079 h 1779774"/>
                <a:gd name="connsiteX488" fmla="*/ 1258276 w 2299605"/>
                <a:gd name="connsiteY488" fmla="*/ 780361 h 1779774"/>
                <a:gd name="connsiteX489" fmla="*/ 1249141 w 2299605"/>
                <a:gd name="connsiteY489" fmla="*/ 794052 h 1779774"/>
                <a:gd name="connsiteX490" fmla="*/ 1246858 w 2299605"/>
                <a:gd name="connsiteY490" fmla="*/ 794052 h 1779774"/>
                <a:gd name="connsiteX491" fmla="*/ 1244574 w 2299605"/>
                <a:gd name="connsiteY491" fmla="*/ 796334 h 1779774"/>
                <a:gd name="connsiteX492" fmla="*/ 1244574 w 2299605"/>
                <a:gd name="connsiteY492" fmla="*/ 798616 h 1779774"/>
                <a:gd name="connsiteX493" fmla="*/ 1242291 w 2299605"/>
                <a:gd name="connsiteY493" fmla="*/ 800898 h 1779774"/>
                <a:gd name="connsiteX494" fmla="*/ 1242291 w 2299605"/>
                <a:gd name="connsiteY494" fmla="*/ 803180 h 1779774"/>
                <a:gd name="connsiteX495" fmla="*/ 1242291 w 2299605"/>
                <a:gd name="connsiteY495" fmla="*/ 805462 h 1779774"/>
                <a:gd name="connsiteX496" fmla="*/ 1240007 w 2299605"/>
                <a:gd name="connsiteY496" fmla="*/ 807744 h 1779774"/>
                <a:gd name="connsiteX497" fmla="*/ 1240007 w 2299605"/>
                <a:gd name="connsiteY497" fmla="*/ 810026 h 1779774"/>
                <a:gd name="connsiteX498" fmla="*/ 1237723 w 2299605"/>
                <a:gd name="connsiteY498" fmla="*/ 816871 h 1779774"/>
                <a:gd name="connsiteX499" fmla="*/ 1237723 w 2299605"/>
                <a:gd name="connsiteY499" fmla="*/ 819153 h 1779774"/>
                <a:gd name="connsiteX500" fmla="*/ 1235440 w 2299605"/>
                <a:gd name="connsiteY500" fmla="*/ 821435 h 1779774"/>
                <a:gd name="connsiteX501" fmla="*/ 1233156 w 2299605"/>
                <a:gd name="connsiteY501" fmla="*/ 823717 h 1779774"/>
                <a:gd name="connsiteX502" fmla="*/ 1233156 w 2299605"/>
                <a:gd name="connsiteY502" fmla="*/ 825999 h 1779774"/>
                <a:gd name="connsiteX503" fmla="*/ 1233156 w 2299605"/>
                <a:gd name="connsiteY503" fmla="*/ 828281 h 1779774"/>
                <a:gd name="connsiteX504" fmla="*/ 1230873 w 2299605"/>
                <a:gd name="connsiteY504" fmla="*/ 830563 h 1779774"/>
                <a:gd name="connsiteX505" fmla="*/ 1230873 w 2299605"/>
                <a:gd name="connsiteY505" fmla="*/ 832844 h 1779774"/>
                <a:gd name="connsiteX506" fmla="*/ 1233156 w 2299605"/>
                <a:gd name="connsiteY506" fmla="*/ 832844 h 1779774"/>
                <a:gd name="connsiteX507" fmla="*/ 1233156 w 2299605"/>
                <a:gd name="connsiteY507" fmla="*/ 837408 h 1779774"/>
                <a:gd name="connsiteX508" fmla="*/ 1235440 w 2299605"/>
                <a:gd name="connsiteY508" fmla="*/ 839690 h 1779774"/>
                <a:gd name="connsiteX509" fmla="*/ 1237723 w 2299605"/>
                <a:gd name="connsiteY509" fmla="*/ 844254 h 1779774"/>
                <a:gd name="connsiteX510" fmla="*/ 1237723 w 2299605"/>
                <a:gd name="connsiteY510" fmla="*/ 846536 h 1779774"/>
                <a:gd name="connsiteX511" fmla="*/ 1235440 w 2299605"/>
                <a:gd name="connsiteY511" fmla="*/ 848818 h 1779774"/>
                <a:gd name="connsiteX512" fmla="*/ 1233156 w 2299605"/>
                <a:gd name="connsiteY512" fmla="*/ 848818 h 1779774"/>
                <a:gd name="connsiteX513" fmla="*/ 1230873 w 2299605"/>
                <a:gd name="connsiteY513" fmla="*/ 851100 h 1779774"/>
                <a:gd name="connsiteX514" fmla="*/ 1228589 w 2299605"/>
                <a:gd name="connsiteY514" fmla="*/ 853382 h 1779774"/>
                <a:gd name="connsiteX515" fmla="*/ 1226306 w 2299605"/>
                <a:gd name="connsiteY515" fmla="*/ 853382 h 1779774"/>
                <a:gd name="connsiteX516" fmla="*/ 1224022 w 2299605"/>
                <a:gd name="connsiteY516" fmla="*/ 855664 h 1779774"/>
                <a:gd name="connsiteX517" fmla="*/ 1221738 w 2299605"/>
                <a:gd name="connsiteY517" fmla="*/ 855664 h 1779774"/>
                <a:gd name="connsiteX518" fmla="*/ 1219455 w 2299605"/>
                <a:gd name="connsiteY518" fmla="*/ 855664 h 1779774"/>
                <a:gd name="connsiteX519" fmla="*/ 1219455 w 2299605"/>
                <a:gd name="connsiteY519" fmla="*/ 857945 h 1779774"/>
                <a:gd name="connsiteX520" fmla="*/ 1217171 w 2299605"/>
                <a:gd name="connsiteY520" fmla="*/ 857945 h 1779774"/>
                <a:gd name="connsiteX521" fmla="*/ 1212604 w 2299605"/>
                <a:gd name="connsiteY521" fmla="*/ 857945 h 1779774"/>
                <a:gd name="connsiteX522" fmla="*/ 1212604 w 2299605"/>
                <a:gd name="connsiteY522" fmla="*/ 860227 h 1779774"/>
                <a:gd name="connsiteX523" fmla="*/ 1210320 w 2299605"/>
                <a:gd name="connsiteY523" fmla="*/ 860227 h 1779774"/>
                <a:gd name="connsiteX524" fmla="*/ 1208037 w 2299605"/>
                <a:gd name="connsiteY524" fmla="*/ 860227 h 1779774"/>
                <a:gd name="connsiteX525" fmla="*/ 1205753 w 2299605"/>
                <a:gd name="connsiteY525" fmla="*/ 860227 h 1779774"/>
                <a:gd name="connsiteX526" fmla="*/ 1203469 w 2299605"/>
                <a:gd name="connsiteY526" fmla="*/ 860227 h 1779774"/>
                <a:gd name="connsiteX527" fmla="*/ 1201186 w 2299605"/>
                <a:gd name="connsiteY527" fmla="*/ 857945 h 1779774"/>
                <a:gd name="connsiteX528" fmla="*/ 1198902 w 2299605"/>
                <a:gd name="connsiteY528" fmla="*/ 857945 h 1779774"/>
                <a:gd name="connsiteX529" fmla="*/ 1196619 w 2299605"/>
                <a:gd name="connsiteY529" fmla="*/ 857945 h 1779774"/>
                <a:gd name="connsiteX530" fmla="*/ 1192052 w 2299605"/>
                <a:gd name="connsiteY530" fmla="*/ 857945 h 1779774"/>
                <a:gd name="connsiteX531" fmla="*/ 1187484 w 2299605"/>
                <a:gd name="connsiteY531" fmla="*/ 857945 h 1779774"/>
                <a:gd name="connsiteX532" fmla="*/ 1185201 w 2299605"/>
                <a:gd name="connsiteY532" fmla="*/ 855664 h 1779774"/>
                <a:gd name="connsiteX533" fmla="*/ 1180634 w 2299605"/>
                <a:gd name="connsiteY533" fmla="*/ 855664 h 1779774"/>
                <a:gd name="connsiteX534" fmla="*/ 1178350 w 2299605"/>
                <a:gd name="connsiteY534" fmla="*/ 855664 h 1779774"/>
                <a:gd name="connsiteX535" fmla="*/ 1176066 w 2299605"/>
                <a:gd name="connsiteY535" fmla="*/ 855664 h 1779774"/>
                <a:gd name="connsiteX536" fmla="*/ 1173783 w 2299605"/>
                <a:gd name="connsiteY536" fmla="*/ 855664 h 1779774"/>
                <a:gd name="connsiteX537" fmla="*/ 1171499 w 2299605"/>
                <a:gd name="connsiteY537" fmla="*/ 855664 h 1779774"/>
                <a:gd name="connsiteX538" fmla="*/ 1169216 w 2299605"/>
                <a:gd name="connsiteY538" fmla="*/ 855664 h 1779774"/>
                <a:gd name="connsiteX539" fmla="*/ 1164648 w 2299605"/>
                <a:gd name="connsiteY539" fmla="*/ 857945 h 1779774"/>
                <a:gd name="connsiteX540" fmla="*/ 1162365 w 2299605"/>
                <a:gd name="connsiteY540" fmla="*/ 857945 h 1779774"/>
                <a:gd name="connsiteX541" fmla="*/ 1160081 w 2299605"/>
                <a:gd name="connsiteY541" fmla="*/ 857945 h 1779774"/>
                <a:gd name="connsiteX542" fmla="*/ 1155504 w 2299605"/>
                <a:gd name="connsiteY542" fmla="*/ 860227 h 1779774"/>
                <a:gd name="connsiteX543" fmla="*/ 1153230 w 2299605"/>
                <a:gd name="connsiteY543" fmla="*/ 860227 h 1779774"/>
                <a:gd name="connsiteX544" fmla="*/ 1148663 w 2299605"/>
                <a:gd name="connsiteY544" fmla="*/ 862509 h 1779774"/>
                <a:gd name="connsiteX545" fmla="*/ 1146380 w 2299605"/>
                <a:gd name="connsiteY545" fmla="*/ 862509 h 1779774"/>
                <a:gd name="connsiteX546" fmla="*/ 1144096 w 2299605"/>
                <a:gd name="connsiteY546" fmla="*/ 862509 h 1779774"/>
                <a:gd name="connsiteX547" fmla="*/ 1141803 w 2299605"/>
                <a:gd name="connsiteY547" fmla="*/ 864791 h 1779774"/>
                <a:gd name="connsiteX548" fmla="*/ 1139529 w 2299605"/>
                <a:gd name="connsiteY548" fmla="*/ 864791 h 1779774"/>
                <a:gd name="connsiteX549" fmla="*/ 1132669 w 2299605"/>
                <a:gd name="connsiteY549" fmla="*/ 867073 h 1779774"/>
                <a:gd name="connsiteX550" fmla="*/ 1130394 w 2299605"/>
                <a:gd name="connsiteY550" fmla="*/ 867073 h 1779774"/>
                <a:gd name="connsiteX551" fmla="*/ 1130394 w 2299605"/>
                <a:gd name="connsiteY551" fmla="*/ 869355 h 1779774"/>
                <a:gd name="connsiteX552" fmla="*/ 1128101 w 2299605"/>
                <a:gd name="connsiteY552" fmla="*/ 871637 h 1779774"/>
                <a:gd name="connsiteX553" fmla="*/ 1128101 w 2299605"/>
                <a:gd name="connsiteY553" fmla="*/ 873919 h 1779774"/>
                <a:gd name="connsiteX554" fmla="*/ 1125827 w 2299605"/>
                <a:gd name="connsiteY554" fmla="*/ 873919 h 1779774"/>
                <a:gd name="connsiteX555" fmla="*/ 1125827 w 2299605"/>
                <a:gd name="connsiteY555" fmla="*/ 878483 h 1779774"/>
                <a:gd name="connsiteX556" fmla="*/ 1123544 w 2299605"/>
                <a:gd name="connsiteY556" fmla="*/ 880764 h 1779774"/>
                <a:gd name="connsiteX557" fmla="*/ 1121260 w 2299605"/>
                <a:gd name="connsiteY557" fmla="*/ 883046 h 1779774"/>
                <a:gd name="connsiteX558" fmla="*/ 1114400 w 2299605"/>
                <a:gd name="connsiteY558" fmla="*/ 887610 h 1779774"/>
                <a:gd name="connsiteX559" fmla="*/ 1112116 w 2299605"/>
                <a:gd name="connsiteY559" fmla="*/ 887610 h 1779774"/>
                <a:gd name="connsiteX560" fmla="*/ 1112116 w 2299605"/>
                <a:gd name="connsiteY560" fmla="*/ 889892 h 1779774"/>
                <a:gd name="connsiteX561" fmla="*/ 1112116 w 2299605"/>
                <a:gd name="connsiteY561" fmla="*/ 892174 h 1779774"/>
                <a:gd name="connsiteX562" fmla="*/ 1112116 w 2299605"/>
                <a:gd name="connsiteY562" fmla="*/ 894456 h 1779774"/>
                <a:gd name="connsiteX563" fmla="*/ 1114400 w 2299605"/>
                <a:gd name="connsiteY563" fmla="*/ 894456 h 1779774"/>
                <a:gd name="connsiteX564" fmla="*/ 1114400 w 2299605"/>
                <a:gd name="connsiteY564" fmla="*/ 896738 h 1779774"/>
                <a:gd name="connsiteX565" fmla="*/ 1114400 w 2299605"/>
                <a:gd name="connsiteY565" fmla="*/ 899020 h 1779774"/>
                <a:gd name="connsiteX566" fmla="*/ 1116693 w 2299605"/>
                <a:gd name="connsiteY566" fmla="*/ 901301 h 1779774"/>
                <a:gd name="connsiteX567" fmla="*/ 1116693 w 2299605"/>
                <a:gd name="connsiteY567" fmla="*/ 903583 h 1779774"/>
                <a:gd name="connsiteX568" fmla="*/ 1118967 w 2299605"/>
                <a:gd name="connsiteY568" fmla="*/ 903583 h 1779774"/>
                <a:gd name="connsiteX569" fmla="*/ 1118967 w 2299605"/>
                <a:gd name="connsiteY569" fmla="*/ 905865 h 1779774"/>
                <a:gd name="connsiteX570" fmla="*/ 1121260 w 2299605"/>
                <a:gd name="connsiteY570" fmla="*/ 905865 h 1779774"/>
                <a:gd name="connsiteX571" fmla="*/ 1121260 w 2299605"/>
                <a:gd name="connsiteY571" fmla="*/ 908147 h 1779774"/>
                <a:gd name="connsiteX572" fmla="*/ 1121260 w 2299605"/>
                <a:gd name="connsiteY572" fmla="*/ 910429 h 1779774"/>
                <a:gd name="connsiteX573" fmla="*/ 1123544 w 2299605"/>
                <a:gd name="connsiteY573" fmla="*/ 910429 h 1779774"/>
                <a:gd name="connsiteX574" fmla="*/ 1123544 w 2299605"/>
                <a:gd name="connsiteY574" fmla="*/ 912711 h 1779774"/>
                <a:gd name="connsiteX575" fmla="*/ 1125827 w 2299605"/>
                <a:gd name="connsiteY575" fmla="*/ 912711 h 1779774"/>
                <a:gd name="connsiteX576" fmla="*/ 1125827 w 2299605"/>
                <a:gd name="connsiteY576" fmla="*/ 914993 h 1779774"/>
                <a:gd name="connsiteX577" fmla="*/ 1128101 w 2299605"/>
                <a:gd name="connsiteY577" fmla="*/ 917275 h 1779774"/>
                <a:gd name="connsiteX578" fmla="*/ 1128101 w 2299605"/>
                <a:gd name="connsiteY578" fmla="*/ 919557 h 1779774"/>
                <a:gd name="connsiteX579" fmla="*/ 1128101 w 2299605"/>
                <a:gd name="connsiteY579" fmla="*/ 921839 h 1779774"/>
                <a:gd name="connsiteX580" fmla="*/ 1128101 w 2299605"/>
                <a:gd name="connsiteY580" fmla="*/ 924111 h 1779774"/>
                <a:gd name="connsiteX581" fmla="*/ 1130394 w 2299605"/>
                <a:gd name="connsiteY581" fmla="*/ 926393 h 1779774"/>
                <a:gd name="connsiteX582" fmla="*/ 1130394 w 2299605"/>
                <a:gd name="connsiteY582" fmla="*/ 928675 h 1779774"/>
                <a:gd name="connsiteX583" fmla="*/ 1130394 w 2299605"/>
                <a:gd name="connsiteY583" fmla="*/ 930957 h 1779774"/>
                <a:gd name="connsiteX584" fmla="*/ 1130394 w 2299605"/>
                <a:gd name="connsiteY584" fmla="*/ 933239 h 1779774"/>
                <a:gd name="connsiteX585" fmla="*/ 1128101 w 2299605"/>
                <a:gd name="connsiteY585" fmla="*/ 935520 h 1779774"/>
                <a:gd name="connsiteX586" fmla="*/ 1125827 w 2299605"/>
                <a:gd name="connsiteY586" fmla="*/ 946930 h 1779774"/>
                <a:gd name="connsiteX587" fmla="*/ 1118967 w 2299605"/>
                <a:gd name="connsiteY587" fmla="*/ 962903 h 1779774"/>
                <a:gd name="connsiteX588" fmla="*/ 1118967 w 2299605"/>
                <a:gd name="connsiteY588" fmla="*/ 965185 h 1779774"/>
                <a:gd name="connsiteX589" fmla="*/ 1116693 w 2299605"/>
                <a:gd name="connsiteY589" fmla="*/ 965185 h 1779774"/>
                <a:gd name="connsiteX590" fmla="*/ 1114400 w 2299605"/>
                <a:gd name="connsiteY590" fmla="*/ 965185 h 1779774"/>
                <a:gd name="connsiteX591" fmla="*/ 1112116 w 2299605"/>
                <a:gd name="connsiteY591" fmla="*/ 967467 h 1779774"/>
                <a:gd name="connsiteX592" fmla="*/ 1109842 w 2299605"/>
                <a:gd name="connsiteY592" fmla="*/ 969749 h 1779774"/>
                <a:gd name="connsiteX593" fmla="*/ 1107549 w 2299605"/>
                <a:gd name="connsiteY593" fmla="*/ 969749 h 1779774"/>
                <a:gd name="connsiteX594" fmla="*/ 1105265 w 2299605"/>
                <a:gd name="connsiteY594" fmla="*/ 969749 h 1779774"/>
                <a:gd name="connsiteX595" fmla="*/ 1102982 w 2299605"/>
                <a:gd name="connsiteY595" fmla="*/ 972031 h 1779774"/>
                <a:gd name="connsiteX596" fmla="*/ 1100698 w 2299605"/>
                <a:gd name="connsiteY596" fmla="*/ 972031 h 1779774"/>
                <a:gd name="connsiteX597" fmla="*/ 1100698 w 2299605"/>
                <a:gd name="connsiteY597" fmla="*/ 974313 h 1779774"/>
                <a:gd name="connsiteX598" fmla="*/ 1100698 w 2299605"/>
                <a:gd name="connsiteY598" fmla="*/ 976595 h 1779774"/>
                <a:gd name="connsiteX599" fmla="*/ 1100698 w 2299605"/>
                <a:gd name="connsiteY599" fmla="*/ 978876 h 1779774"/>
                <a:gd name="connsiteX600" fmla="*/ 1098415 w 2299605"/>
                <a:gd name="connsiteY600" fmla="*/ 981158 h 1779774"/>
                <a:gd name="connsiteX601" fmla="*/ 1098415 w 2299605"/>
                <a:gd name="connsiteY601" fmla="*/ 983440 h 1779774"/>
                <a:gd name="connsiteX602" fmla="*/ 1098415 w 2299605"/>
                <a:gd name="connsiteY602" fmla="*/ 985722 h 1779774"/>
                <a:gd name="connsiteX603" fmla="*/ 1096140 w 2299605"/>
                <a:gd name="connsiteY603" fmla="*/ 985722 h 1779774"/>
                <a:gd name="connsiteX604" fmla="*/ 1093847 w 2299605"/>
                <a:gd name="connsiteY604" fmla="*/ 985722 h 1779774"/>
                <a:gd name="connsiteX605" fmla="*/ 1091564 w 2299605"/>
                <a:gd name="connsiteY605" fmla="*/ 985722 h 1779774"/>
                <a:gd name="connsiteX606" fmla="*/ 1089280 w 2299605"/>
                <a:gd name="connsiteY606" fmla="*/ 985722 h 1779774"/>
                <a:gd name="connsiteX607" fmla="*/ 1084713 w 2299605"/>
                <a:gd name="connsiteY607" fmla="*/ 983440 h 1779774"/>
                <a:gd name="connsiteX608" fmla="*/ 1082429 w 2299605"/>
                <a:gd name="connsiteY608" fmla="*/ 983440 h 1779774"/>
                <a:gd name="connsiteX609" fmla="*/ 1080146 w 2299605"/>
                <a:gd name="connsiteY609" fmla="*/ 983440 h 1779774"/>
                <a:gd name="connsiteX610" fmla="*/ 1077862 w 2299605"/>
                <a:gd name="connsiteY610" fmla="*/ 983440 h 1779774"/>
                <a:gd name="connsiteX611" fmla="*/ 1075579 w 2299605"/>
                <a:gd name="connsiteY611" fmla="*/ 983440 h 1779774"/>
                <a:gd name="connsiteX612" fmla="*/ 1071011 w 2299605"/>
                <a:gd name="connsiteY612" fmla="*/ 983440 h 1779774"/>
                <a:gd name="connsiteX613" fmla="*/ 1068728 w 2299605"/>
                <a:gd name="connsiteY613" fmla="*/ 981158 h 1779774"/>
                <a:gd name="connsiteX614" fmla="*/ 1068728 w 2299605"/>
                <a:gd name="connsiteY614" fmla="*/ 983440 h 1779774"/>
                <a:gd name="connsiteX615" fmla="*/ 1066444 w 2299605"/>
                <a:gd name="connsiteY615" fmla="*/ 983440 h 1779774"/>
                <a:gd name="connsiteX616" fmla="*/ 1066444 w 2299605"/>
                <a:gd name="connsiteY616" fmla="*/ 985722 h 1779774"/>
                <a:gd name="connsiteX617" fmla="*/ 1064161 w 2299605"/>
                <a:gd name="connsiteY617" fmla="*/ 985722 h 1779774"/>
                <a:gd name="connsiteX618" fmla="*/ 1061877 w 2299605"/>
                <a:gd name="connsiteY618" fmla="*/ 985722 h 1779774"/>
                <a:gd name="connsiteX619" fmla="*/ 1061877 w 2299605"/>
                <a:gd name="connsiteY619" fmla="*/ 988004 h 1779774"/>
                <a:gd name="connsiteX620" fmla="*/ 1059594 w 2299605"/>
                <a:gd name="connsiteY620" fmla="*/ 988004 h 1779774"/>
                <a:gd name="connsiteX621" fmla="*/ 1057310 w 2299605"/>
                <a:gd name="connsiteY621" fmla="*/ 988004 h 1779774"/>
                <a:gd name="connsiteX622" fmla="*/ 1055026 w 2299605"/>
                <a:gd name="connsiteY622" fmla="*/ 988004 h 1779774"/>
                <a:gd name="connsiteX623" fmla="*/ 1052743 w 2299605"/>
                <a:gd name="connsiteY623" fmla="*/ 988004 h 1779774"/>
                <a:gd name="connsiteX624" fmla="*/ 1050459 w 2299605"/>
                <a:gd name="connsiteY624" fmla="*/ 988004 h 1779774"/>
                <a:gd name="connsiteX625" fmla="*/ 1048175 w 2299605"/>
                <a:gd name="connsiteY625" fmla="*/ 988004 h 1779774"/>
                <a:gd name="connsiteX626" fmla="*/ 1048175 w 2299605"/>
                <a:gd name="connsiteY626" fmla="*/ 985722 h 1779774"/>
                <a:gd name="connsiteX627" fmla="*/ 1048175 w 2299605"/>
                <a:gd name="connsiteY627" fmla="*/ 983440 h 1779774"/>
                <a:gd name="connsiteX628" fmla="*/ 1048175 w 2299605"/>
                <a:gd name="connsiteY628" fmla="*/ 981158 h 1779774"/>
                <a:gd name="connsiteX629" fmla="*/ 1048175 w 2299605"/>
                <a:gd name="connsiteY629" fmla="*/ 978876 h 1779774"/>
                <a:gd name="connsiteX630" fmla="*/ 1045892 w 2299605"/>
                <a:gd name="connsiteY630" fmla="*/ 976595 h 1779774"/>
                <a:gd name="connsiteX631" fmla="*/ 1043608 w 2299605"/>
                <a:gd name="connsiteY631" fmla="*/ 974313 h 1779774"/>
                <a:gd name="connsiteX632" fmla="*/ 1043608 w 2299605"/>
                <a:gd name="connsiteY632" fmla="*/ 972031 h 1779774"/>
                <a:gd name="connsiteX633" fmla="*/ 1039041 w 2299605"/>
                <a:gd name="connsiteY633" fmla="*/ 967467 h 1779774"/>
                <a:gd name="connsiteX634" fmla="*/ 1039041 w 2299605"/>
                <a:gd name="connsiteY634" fmla="*/ 965185 h 1779774"/>
                <a:gd name="connsiteX635" fmla="*/ 1036757 w 2299605"/>
                <a:gd name="connsiteY635" fmla="*/ 962903 h 1779774"/>
                <a:gd name="connsiteX636" fmla="*/ 1036757 w 2299605"/>
                <a:gd name="connsiteY636" fmla="*/ 965185 h 1779774"/>
                <a:gd name="connsiteX637" fmla="*/ 1034474 w 2299605"/>
                <a:gd name="connsiteY637" fmla="*/ 967467 h 1779774"/>
                <a:gd name="connsiteX638" fmla="*/ 1032190 w 2299605"/>
                <a:gd name="connsiteY638" fmla="*/ 969749 h 1779774"/>
                <a:gd name="connsiteX639" fmla="*/ 1029907 w 2299605"/>
                <a:gd name="connsiteY639" fmla="*/ 972031 h 1779774"/>
                <a:gd name="connsiteX640" fmla="*/ 1027623 w 2299605"/>
                <a:gd name="connsiteY640" fmla="*/ 974313 h 1779774"/>
                <a:gd name="connsiteX641" fmla="*/ 1027623 w 2299605"/>
                <a:gd name="connsiteY641" fmla="*/ 976595 h 1779774"/>
                <a:gd name="connsiteX642" fmla="*/ 1023056 w 2299605"/>
                <a:gd name="connsiteY642" fmla="*/ 981158 h 1779774"/>
                <a:gd name="connsiteX643" fmla="*/ 1023056 w 2299605"/>
                <a:gd name="connsiteY643" fmla="*/ 983440 h 1779774"/>
                <a:gd name="connsiteX644" fmla="*/ 1020772 w 2299605"/>
                <a:gd name="connsiteY644" fmla="*/ 983440 h 1779774"/>
                <a:gd name="connsiteX645" fmla="*/ 1020772 w 2299605"/>
                <a:gd name="connsiteY645" fmla="*/ 985722 h 1779774"/>
                <a:gd name="connsiteX646" fmla="*/ 1016205 w 2299605"/>
                <a:gd name="connsiteY646" fmla="*/ 990286 h 1779774"/>
                <a:gd name="connsiteX647" fmla="*/ 1007071 w 2299605"/>
                <a:gd name="connsiteY647" fmla="*/ 990286 h 1779774"/>
                <a:gd name="connsiteX648" fmla="*/ 1004787 w 2299605"/>
                <a:gd name="connsiteY648" fmla="*/ 990286 h 1779774"/>
                <a:gd name="connsiteX649" fmla="*/ 995653 w 2299605"/>
                <a:gd name="connsiteY649" fmla="*/ 990286 h 1779774"/>
                <a:gd name="connsiteX650" fmla="*/ 995653 w 2299605"/>
                <a:gd name="connsiteY650" fmla="*/ 988004 h 1779774"/>
                <a:gd name="connsiteX651" fmla="*/ 991086 w 2299605"/>
                <a:gd name="connsiteY651" fmla="*/ 988004 h 1779774"/>
                <a:gd name="connsiteX652" fmla="*/ 991086 w 2299605"/>
                <a:gd name="connsiteY652" fmla="*/ 985722 h 1779774"/>
                <a:gd name="connsiteX653" fmla="*/ 988802 w 2299605"/>
                <a:gd name="connsiteY653" fmla="*/ 985722 h 1779774"/>
                <a:gd name="connsiteX654" fmla="*/ 986518 w 2299605"/>
                <a:gd name="connsiteY654" fmla="*/ 983440 h 1779774"/>
                <a:gd name="connsiteX655" fmla="*/ 984235 w 2299605"/>
                <a:gd name="connsiteY655" fmla="*/ 983440 h 1779774"/>
                <a:gd name="connsiteX656" fmla="*/ 984235 w 2299605"/>
                <a:gd name="connsiteY656" fmla="*/ 981158 h 1779774"/>
                <a:gd name="connsiteX657" fmla="*/ 981951 w 2299605"/>
                <a:gd name="connsiteY657" fmla="*/ 981158 h 1779774"/>
                <a:gd name="connsiteX658" fmla="*/ 979668 w 2299605"/>
                <a:gd name="connsiteY658" fmla="*/ 978876 h 1779774"/>
                <a:gd name="connsiteX659" fmla="*/ 977384 w 2299605"/>
                <a:gd name="connsiteY659" fmla="*/ 978876 h 1779774"/>
                <a:gd name="connsiteX660" fmla="*/ 977384 w 2299605"/>
                <a:gd name="connsiteY660" fmla="*/ 976595 h 1779774"/>
                <a:gd name="connsiteX661" fmla="*/ 975100 w 2299605"/>
                <a:gd name="connsiteY661" fmla="*/ 976595 h 1779774"/>
                <a:gd name="connsiteX662" fmla="*/ 972817 w 2299605"/>
                <a:gd name="connsiteY662" fmla="*/ 976595 h 1779774"/>
                <a:gd name="connsiteX663" fmla="*/ 970533 w 2299605"/>
                <a:gd name="connsiteY663" fmla="*/ 978876 h 1779774"/>
                <a:gd name="connsiteX664" fmla="*/ 968250 w 2299605"/>
                <a:gd name="connsiteY664" fmla="*/ 978876 h 1779774"/>
                <a:gd name="connsiteX665" fmla="*/ 968250 w 2299605"/>
                <a:gd name="connsiteY665" fmla="*/ 976595 h 1779774"/>
                <a:gd name="connsiteX666" fmla="*/ 968250 w 2299605"/>
                <a:gd name="connsiteY666" fmla="*/ 974313 h 1779774"/>
                <a:gd name="connsiteX667" fmla="*/ 968250 w 2299605"/>
                <a:gd name="connsiteY667" fmla="*/ 972031 h 1779774"/>
                <a:gd name="connsiteX668" fmla="*/ 968250 w 2299605"/>
                <a:gd name="connsiteY668" fmla="*/ 969749 h 1779774"/>
                <a:gd name="connsiteX669" fmla="*/ 968250 w 2299605"/>
                <a:gd name="connsiteY669" fmla="*/ 967467 h 1779774"/>
                <a:gd name="connsiteX670" fmla="*/ 968250 w 2299605"/>
                <a:gd name="connsiteY670" fmla="*/ 965185 h 1779774"/>
                <a:gd name="connsiteX671" fmla="*/ 965966 w 2299605"/>
                <a:gd name="connsiteY671" fmla="*/ 962903 h 1779774"/>
                <a:gd name="connsiteX672" fmla="*/ 965966 w 2299605"/>
                <a:gd name="connsiteY672" fmla="*/ 960621 h 1779774"/>
                <a:gd name="connsiteX673" fmla="*/ 963682 w 2299605"/>
                <a:gd name="connsiteY673" fmla="*/ 960621 h 1779774"/>
                <a:gd name="connsiteX674" fmla="*/ 963682 w 2299605"/>
                <a:gd name="connsiteY674" fmla="*/ 958339 h 1779774"/>
                <a:gd name="connsiteX675" fmla="*/ 961399 w 2299605"/>
                <a:gd name="connsiteY675" fmla="*/ 958339 h 1779774"/>
                <a:gd name="connsiteX676" fmla="*/ 959115 w 2299605"/>
                <a:gd name="connsiteY676" fmla="*/ 958339 h 1779774"/>
                <a:gd name="connsiteX677" fmla="*/ 959115 w 2299605"/>
                <a:gd name="connsiteY677" fmla="*/ 956058 h 1779774"/>
                <a:gd name="connsiteX678" fmla="*/ 956832 w 2299605"/>
                <a:gd name="connsiteY678" fmla="*/ 956058 h 1779774"/>
                <a:gd name="connsiteX679" fmla="*/ 956832 w 2299605"/>
                <a:gd name="connsiteY679" fmla="*/ 953776 h 1779774"/>
                <a:gd name="connsiteX680" fmla="*/ 954548 w 2299605"/>
                <a:gd name="connsiteY680" fmla="*/ 951494 h 1779774"/>
                <a:gd name="connsiteX681" fmla="*/ 954548 w 2299605"/>
                <a:gd name="connsiteY681" fmla="*/ 949212 h 1779774"/>
                <a:gd name="connsiteX682" fmla="*/ 952264 w 2299605"/>
                <a:gd name="connsiteY682" fmla="*/ 949212 h 1779774"/>
                <a:gd name="connsiteX683" fmla="*/ 952264 w 2299605"/>
                <a:gd name="connsiteY683" fmla="*/ 946930 h 1779774"/>
                <a:gd name="connsiteX684" fmla="*/ 949981 w 2299605"/>
                <a:gd name="connsiteY684" fmla="*/ 944648 h 1779774"/>
                <a:gd name="connsiteX685" fmla="*/ 947697 w 2299605"/>
                <a:gd name="connsiteY685" fmla="*/ 940084 h 1779774"/>
                <a:gd name="connsiteX686" fmla="*/ 945414 w 2299605"/>
                <a:gd name="connsiteY686" fmla="*/ 940084 h 1779774"/>
                <a:gd name="connsiteX687" fmla="*/ 945414 w 2299605"/>
                <a:gd name="connsiteY687" fmla="*/ 937802 h 1779774"/>
                <a:gd name="connsiteX688" fmla="*/ 943130 w 2299605"/>
                <a:gd name="connsiteY688" fmla="*/ 937802 h 1779774"/>
                <a:gd name="connsiteX689" fmla="*/ 940846 w 2299605"/>
                <a:gd name="connsiteY689" fmla="*/ 937802 h 1779774"/>
                <a:gd name="connsiteX690" fmla="*/ 938563 w 2299605"/>
                <a:gd name="connsiteY690" fmla="*/ 937802 h 1779774"/>
                <a:gd name="connsiteX691" fmla="*/ 936279 w 2299605"/>
                <a:gd name="connsiteY691" fmla="*/ 937802 h 1779774"/>
                <a:gd name="connsiteX692" fmla="*/ 933996 w 2299605"/>
                <a:gd name="connsiteY692" fmla="*/ 935520 h 1779774"/>
                <a:gd name="connsiteX693" fmla="*/ 931712 w 2299605"/>
                <a:gd name="connsiteY693" fmla="*/ 935520 h 1779774"/>
                <a:gd name="connsiteX694" fmla="*/ 929428 w 2299605"/>
                <a:gd name="connsiteY694" fmla="*/ 935520 h 1779774"/>
                <a:gd name="connsiteX695" fmla="*/ 927145 w 2299605"/>
                <a:gd name="connsiteY695" fmla="*/ 935520 h 1779774"/>
                <a:gd name="connsiteX696" fmla="*/ 924861 w 2299605"/>
                <a:gd name="connsiteY696" fmla="*/ 935520 h 1779774"/>
                <a:gd name="connsiteX697" fmla="*/ 924861 w 2299605"/>
                <a:gd name="connsiteY697" fmla="*/ 933239 h 1779774"/>
                <a:gd name="connsiteX698" fmla="*/ 922578 w 2299605"/>
                <a:gd name="connsiteY698" fmla="*/ 933239 h 1779774"/>
                <a:gd name="connsiteX699" fmla="*/ 920294 w 2299605"/>
                <a:gd name="connsiteY699" fmla="*/ 933239 h 1779774"/>
                <a:gd name="connsiteX700" fmla="*/ 918010 w 2299605"/>
                <a:gd name="connsiteY700" fmla="*/ 930957 h 1779774"/>
                <a:gd name="connsiteX701" fmla="*/ 915727 w 2299605"/>
                <a:gd name="connsiteY701" fmla="*/ 930957 h 1779774"/>
                <a:gd name="connsiteX702" fmla="*/ 913443 w 2299605"/>
                <a:gd name="connsiteY702" fmla="*/ 928675 h 1779774"/>
                <a:gd name="connsiteX703" fmla="*/ 911160 w 2299605"/>
                <a:gd name="connsiteY703" fmla="*/ 926393 h 1779774"/>
                <a:gd name="connsiteX704" fmla="*/ 908876 w 2299605"/>
                <a:gd name="connsiteY704" fmla="*/ 924111 h 1779774"/>
                <a:gd name="connsiteX705" fmla="*/ 906593 w 2299605"/>
                <a:gd name="connsiteY705" fmla="*/ 921839 h 1779774"/>
                <a:gd name="connsiteX706" fmla="*/ 904309 w 2299605"/>
                <a:gd name="connsiteY706" fmla="*/ 919557 h 1779774"/>
                <a:gd name="connsiteX707" fmla="*/ 904309 w 2299605"/>
                <a:gd name="connsiteY707" fmla="*/ 917275 h 1779774"/>
                <a:gd name="connsiteX708" fmla="*/ 904309 w 2299605"/>
                <a:gd name="connsiteY708" fmla="*/ 914993 h 1779774"/>
                <a:gd name="connsiteX709" fmla="*/ 904309 w 2299605"/>
                <a:gd name="connsiteY709" fmla="*/ 912711 h 1779774"/>
                <a:gd name="connsiteX710" fmla="*/ 904309 w 2299605"/>
                <a:gd name="connsiteY710" fmla="*/ 910429 h 1779774"/>
                <a:gd name="connsiteX711" fmla="*/ 904309 w 2299605"/>
                <a:gd name="connsiteY711" fmla="*/ 908147 h 1779774"/>
                <a:gd name="connsiteX712" fmla="*/ 904309 w 2299605"/>
                <a:gd name="connsiteY712" fmla="*/ 905865 h 1779774"/>
                <a:gd name="connsiteX713" fmla="*/ 904309 w 2299605"/>
                <a:gd name="connsiteY713" fmla="*/ 903583 h 1779774"/>
                <a:gd name="connsiteX714" fmla="*/ 904309 w 2299605"/>
                <a:gd name="connsiteY714" fmla="*/ 901301 h 1779774"/>
                <a:gd name="connsiteX715" fmla="*/ 904309 w 2299605"/>
                <a:gd name="connsiteY715" fmla="*/ 899020 h 1779774"/>
                <a:gd name="connsiteX716" fmla="*/ 904309 w 2299605"/>
                <a:gd name="connsiteY716" fmla="*/ 896738 h 1779774"/>
                <a:gd name="connsiteX717" fmla="*/ 904309 w 2299605"/>
                <a:gd name="connsiteY717" fmla="*/ 894456 h 1779774"/>
                <a:gd name="connsiteX718" fmla="*/ 904309 w 2299605"/>
                <a:gd name="connsiteY718" fmla="*/ 892174 h 1779774"/>
                <a:gd name="connsiteX719" fmla="*/ 904309 w 2299605"/>
                <a:gd name="connsiteY719" fmla="*/ 889892 h 1779774"/>
                <a:gd name="connsiteX720" fmla="*/ 902025 w 2299605"/>
                <a:gd name="connsiteY720" fmla="*/ 887610 h 1779774"/>
                <a:gd name="connsiteX721" fmla="*/ 899742 w 2299605"/>
                <a:gd name="connsiteY721" fmla="*/ 885328 h 1779774"/>
                <a:gd name="connsiteX722" fmla="*/ 899742 w 2299605"/>
                <a:gd name="connsiteY722" fmla="*/ 883046 h 1779774"/>
                <a:gd name="connsiteX723" fmla="*/ 897458 w 2299605"/>
                <a:gd name="connsiteY723" fmla="*/ 883046 h 1779774"/>
                <a:gd name="connsiteX724" fmla="*/ 895174 w 2299605"/>
                <a:gd name="connsiteY724" fmla="*/ 880764 h 1779774"/>
                <a:gd name="connsiteX725" fmla="*/ 892891 w 2299605"/>
                <a:gd name="connsiteY725" fmla="*/ 880764 h 1779774"/>
                <a:gd name="connsiteX726" fmla="*/ 890607 w 2299605"/>
                <a:gd name="connsiteY726" fmla="*/ 878483 h 1779774"/>
                <a:gd name="connsiteX727" fmla="*/ 888324 w 2299605"/>
                <a:gd name="connsiteY727" fmla="*/ 876201 h 1779774"/>
                <a:gd name="connsiteX728" fmla="*/ 886040 w 2299605"/>
                <a:gd name="connsiteY728" fmla="*/ 876201 h 1779774"/>
                <a:gd name="connsiteX729" fmla="*/ 883756 w 2299605"/>
                <a:gd name="connsiteY729" fmla="*/ 873919 h 1779774"/>
                <a:gd name="connsiteX730" fmla="*/ 883756 w 2299605"/>
                <a:gd name="connsiteY730" fmla="*/ 871637 h 1779774"/>
                <a:gd name="connsiteX731" fmla="*/ 883756 w 2299605"/>
                <a:gd name="connsiteY731" fmla="*/ 869355 h 1779774"/>
                <a:gd name="connsiteX732" fmla="*/ 883756 w 2299605"/>
                <a:gd name="connsiteY732" fmla="*/ 867073 h 1779774"/>
                <a:gd name="connsiteX733" fmla="*/ 883756 w 2299605"/>
                <a:gd name="connsiteY733" fmla="*/ 864791 h 1779774"/>
                <a:gd name="connsiteX734" fmla="*/ 881473 w 2299605"/>
                <a:gd name="connsiteY734" fmla="*/ 862509 h 1779774"/>
                <a:gd name="connsiteX735" fmla="*/ 881473 w 2299605"/>
                <a:gd name="connsiteY735" fmla="*/ 860227 h 1779774"/>
                <a:gd name="connsiteX736" fmla="*/ 879189 w 2299605"/>
                <a:gd name="connsiteY736" fmla="*/ 857945 h 1779774"/>
                <a:gd name="connsiteX737" fmla="*/ 879189 w 2299605"/>
                <a:gd name="connsiteY737" fmla="*/ 855664 h 1779774"/>
                <a:gd name="connsiteX738" fmla="*/ 876906 w 2299605"/>
                <a:gd name="connsiteY738" fmla="*/ 851100 h 1779774"/>
                <a:gd name="connsiteX739" fmla="*/ 876906 w 2299605"/>
                <a:gd name="connsiteY739" fmla="*/ 848818 h 1779774"/>
                <a:gd name="connsiteX740" fmla="*/ 874622 w 2299605"/>
                <a:gd name="connsiteY740" fmla="*/ 848818 h 1779774"/>
                <a:gd name="connsiteX741" fmla="*/ 874622 w 2299605"/>
                <a:gd name="connsiteY741" fmla="*/ 846536 h 1779774"/>
                <a:gd name="connsiteX742" fmla="*/ 874622 w 2299605"/>
                <a:gd name="connsiteY742" fmla="*/ 844254 h 1779774"/>
                <a:gd name="connsiteX743" fmla="*/ 874622 w 2299605"/>
                <a:gd name="connsiteY743" fmla="*/ 841972 h 1779774"/>
                <a:gd name="connsiteX744" fmla="*/ 874622 w 2299605"/>
                <a:gd name="connsiteY744" fmla="*/ 839690 h 1779774"/>
                <a:gd name="connsiteX745" fmla="*/ 876906 w 2299605"/>
                <a:gd name="connsiteY745" fmla="*/ 839690 h 1779774"/>
                <a:gd name="connsiteX746" fmla="*/ 874622 w 2299605"/>
                <a:gd name="connsiteY746" fmla="*/ 837408 h 1779774"/>
                <a:gd name="connsiteX747" fmla="*/ 874622 w 2299605"/>
                <a:gd name="connsiteY747" fmla="*/ 835127 h 1779774"/>
                <a:gd name="connsiteX748" fmla="*/ 872339 w 2299605"/>
                <a:gd name="connsiteY748" fmla="*/ 832844 h 1779774"/>
                <a:gd name="connsiteX749" fmla="*/ 872339 w 2299605"/>
                <a:gd name="connsiteY749" fmla="*/ 830563 h 1779774"/>
                <a:gd name="connsiteX750" fmla="*/ 870055 w 2299605"/>
                <a:gd name="connsiteY750" fmla="*/ 828281 h 1779774"/>
                <a:gd name="connsiteX751" fmla="*/ 870055 w 2299605"/>
                <a:gd name="connsiteY751" fmla="*/ 825999 h 1779774"/>
                <a:gd name="connsiteX752" fmla="*/ 870055 w 2299605"/>
                <a:gd name="connsiteY752" fmla="*/ 823717 h 1779774"/>
                <a:gd name="connsiteX753" fmla="*/ 867771 w 2299605"/>
                <a:gd name="connsiteY753" fmla="*/ 823717 h 1779774"/>
                <a:gd name="connsiteX754" fmla="*/ 867771 w 2299605"/>
                <a:gd name="connsiteY754" fmla="*/ 821435 h 1779774"/>
                <a:gd name="connsiteX755" fmla="*/ 865488 w 2299605"/>
                <a:gd name="connsiteY755" fmla="*/ 819153 h 1779774"/>
                <a:gd name="connsiteX756" fmla="*/ 865488 w 2299605"/>
                <a:gd name="connsiteY756" fmla="*/ 816871 h 1779774"/>
                <a:gd name="connsiteX757" fmla="*/ 865488 w 2299605"/>
                <a:gd name="connsiteY757" fmla="*/ 814589 h 1779774"/>
                <a:gd name="connsiteX758" fmla="*/ 865488 w 2299605"/>
                <a:gd name="connsiteY758" fmla="*/ 812308 h 1779774"/>
                <a:gd name="connsiteX759" fmla="*/ 865488 w 2299605"/>
                <a:gd name="connsiteY759" fmla="*/ 810026 h 1779774"/>
                <a:gd name="connsiteX760" fmla="*/ 865488 w 2299605"/>
                <a:gd name="connsiteY760" fmla="*/ 807744 h 1779774"/>
                <a:gd name="connsiteX761" fmla="*/ 863204 w 2299605"/>
                <a:gd name="connsiteY761" fmla="*/ 803180 h 1779774"/>
                <a:gd name="connsiteX762" fmla="*/ 863204 w 2299605"/>
                <a:gd name="connsiteY762" fmla="*/ 800898 h 1779774"/>
                <a:gd name="connsiteX763" fmla="*/ 863204 w 2299605"/>
                <a:gd name="connsiteY763" fmla="*/ 798616 h 1779774"/>
                <a:gd name="connsiteX764" fmla="*/ 860921 w 2299605"/>
                <a:gd name="connsiteY764" fmla="*/ 794052 h 1779774"/>
                <a:gd name="connsiteX765" fmla="*/ 860921 w 2299605"/>
                <a:gd name="connsiteY765" fmla="*/ 791771 h 1779774"/>
                <a:gd name="connsiteX766" fmla="*/ 860921 w 2299605"/>
                <a:gd name="connsiteY766" fmla="*/ 789488 h 1779774"/>
                <a:gd name="connsiteX767" fmla="*/ 858637 w 2299605"/>
                <a:gd name="connsiteY767" fmla="*/ 784925 h 1779774"/>
                <a:gd name="connsiteX768" fmla="*/ 858637 w 2299605"/>
                <a:gd name="connsiteY768" fmla="*/ 782643 h 1779774"/>
                <a:gd name="connsiteX769" fmla="*/ 858637 w 2299605"/>
                <a:gd name="connsiteY769" fmla="*/ 780361 h 1779774"/>
                <a:gd name="connsiteX770" fmla="*/ 856353 w 2299605"/>
                <a:gd name="connsiteY770" fmla="*/ 778079 h 1779774"/>
                <a:gd name="connsiteX771" fmla="*/ 856353 w 2299605"/>
                <a:gd name="connsiteY771" fmla="*/ 775797 h 1779774"/>
                <a:gd name="connsiteX772" fmla="*/ 863204 w 2299605"/>
                <a:gd name="connsiteY772" fmla="*/ 778079 h 1779774"/>
                <a:gd name="connsiteX773" fmla="*/ 870055 w 2299605"/>
                <a:gd name="connsiteY773" fmla="*/ 780361 h 1779774"/>
                <a:gd name="connsiteX774" fmla="*/ 872339 w 2299605"/>
                <a:gd name="connsiteY774" fmla="*/ 780361 h 1779774"/>
                <a:gd name="connsiteX775" fmla="*/ 874622 w 2299605"/>
                <a:gd name="connsiteY775" fmla="*/ 782643 h 1779774"/>
                <a:gd name="connsiteX776" fmla="*/ 876906 w 2299605"/>
                <a:gd name="connsiteY776" fmla="*/ 782643 h 1779774"/>
                <a:gd name="connsiteX777" fmla="*/ 881473 w 2299605"/>
                <a:gd name="connsiteY777" fmla="*/ 773515 h 1779774"/>
                <a:gd name="connsiteX778" fmla="*/ 886040 w 2299605"/>
                <a:gd name="connsiteY778" fmla="*/ 768951 h 1779774"/>
                <a:gd name="connsiteX779" fmla="*/ 888324 w 2299605"/>
                <a:gd name="connsiteY779" fmla="*/ 766670 h 1779774"/>
                <a:gd name="connsiteX780" fmla="*/ 883756 w 2299605"/>
                <a:gd name="connsiteY780" fmla="*/ 752988 h 1779774"/>
                <a:gd name="connsiteX781" fmla="*/ 888324 w 2299605"/>
                <a:gd name="connsiteY781" fmla="*/ 748424 h 1779774"/>
                <a:gd name="connsiteX782" fmla="*/ 897458 w 2299605"/>
                <a:gd name="connsiteY782" fmla="*/ 739296 h 1779774"/>
                <a:gd name="connsiteX783" fmla="*/ 902025 w 2299605"/>
                <a:gd name="connsiteY783" fmla="*/ 732451 h 1779774"/>
                <a:gd name="connsiteX784" fmla="*/ 904309 w 2299605"/>
                <a:gd name="connsiteY784" fmla="*/ 732451 h 1779774"/>
                <a:gd name="connsiteX785" fmla="*/ 906593 w 2299605"/>
                <a:gd name="connsiteY785" fmla="*/ 732451 h 1779774"/>
                <a:gd name="connsiteX786" fmla="*/ 908876 w 2299605"/>
                <a:gd name="connsiteY786" fmla="*/ 734732 h 1779774"/>
                <a:gd name="connsiteX787" fmla="*/ 911160 w 2299605"/>
                <a:gd name="connsiteY787" fmla="*/ 734732 h 1779774"/>
                <a:gd name="connsiteX788" fmla="*/ 913443 w 2299605"/>
                <a:gd name="connsiteY788" fmla="*/ 734732 h 1779774"/>
                <a:gd name="connsiteX789" fmla="*/ 915727 w 2299605"/>
                <a:gd name="connsiteY789" fmla="*/ 734732 h 1779774"/>
                <a:gd name="connsiteX790" fmla="*/ 913443 w 2299605"/>
                <a:gd name="connsiteY790" fmla="*/ 725605 h 1779774"/>
                <a:gd name="connsiteX791" fmla="*/ 913443 w 2299605"/>
                <a:gd name="connsiteY791" fmla="*/ 721041 h 1779774"/>
                <a:gd name="connsiteX792" fmla="*/ 911160 w 2299605"/>
                <a:gd name="connsiteY792" fmla="*/ 716477 h 1779774"/>
                <a:gd name="connsiteX793" fmla="*/ 911160 w 2299605"/>
                <a:gd name="connsiteY793" fmla="*/ 711914 h 1779774"/>
                <a:gd name="connsiteX794" fmla="*/ 911160 w 2299605"/>
                <a:gd name="connsiteY794" fmla="*/ 709632 h 1779774"/>
                <a:gd name="connsiteX795" fmla="*/ 908876 w 2299605"/>
                <a:gd name="connsiteY795" fmla="*/ 707350 h 1779774"/>
                <a:gd name="connsiteX796" fmla="*/ 908876 w 2299605"/>
                <a:gd name="connsiteY796" fmla="*/ 702786 h 1779774"/>
                <a:gd name="connsiteX797" fmla="*/ 908876 w 2299605"/>
                <a:gd name="connsiteY797" fmla="*/ 700504 h 1779774"/>
                <a:gd name="connsiteX798" fmla="*/ 906593 w 2299605"/>
                <a:gd name="connsiteY798" fmla="*/ 700504 h 1779774"/>
                <a:gd name="connsiteX799" fmla="*/ 904309 w 2299605"/>
                <a:gd name="connsiteY799" fmla="*/ 700504 h 1779774"/>
                <a:gd name="connsiteX800" fmla="*/ 902025 w 2299605"/>
                <a:gd name="connsiteY800" fmla="*/ 700504 h 1779774"/>
                <a:gd name="connsiteX801" fmla="*/ 899742 w 2299605"/>
                <a:gd name="connsiteY801" fmla="*/ 700504 h 1779774"/>
                <a:gd name="connsiteX802" fmla="*/ 897458 w 2299605"/>
                <a:gd name="connsiteY802" fmla="*/ 700504 h 1779774"/>
                <a:gd name="connsiteX803" fmla="*/ 895174 w 2299605"/>
                <a:gd name="connsiteY803" fmla="*/ 700504 h 1779774"/>
                <a:gd name="connsiteX804" fmla="*/ 888324 w 2299605"/>
                <a:gd name="connsiteY804" fmla="*/ 702786 h 1779774"/>
                <a:gd name="connsiteX805" fmla="*/ 886040 w 2299605"/>
                <a:gd name="connsiteY805" fmla="*/ 702786 h 1779774"/>
                <a:gd name="connsiteX806" fmla="*/ 883756 w 2299605"/>
                <a:gd name="connsiteY806" fmla="*/ 702786 h 1779774"/>
                <a:gd name="connsiteX807" fmla="*/ 881473 w 2299605"/>
                <a:gd name="connsiteY807" fmla="*/ 702786 h 1779774"/>
                <a:gd name="connsiteX808" fmla="*/ 883756 w 2299605"/>
                <a:gd name="connsiteY808" fmla="*/ 700504 h 1779774"/>
                <a:gd name="connsiteX809" fmla="*/ 883756 w 2299605"/>
                <a:gd name="connsiteY809" fmla="*/ 698222 h 1779774"/>
                <a:gd name="connsiteX810" fmla="*/ 883756 w 2299605"/>
                <a:gd name="connsiteY810" fmla="*/ 695940 h 1779774"/>
                <a:gd name="connsiteX811" fmla="*/ 883756 w 2299605"/>
                <a:gd name="connsiteY811" fmla="*/ 693659 h 1779774"/>
                <a:gd name="connsiteX812" fmla="*/ 886040 w 2299605"/>
                <a:gd name="connsiteY812" fmla="*/ 691376 h 1779774"/>
                <a:gd name="connsiteX813" fmla="*/ 886040 w 2299605"/>
                <a:gd name="connsiteY813" fmla="*/ 689095 h 1779774"/>
                <a:gd name="connsiteX814" fmla="*/ 886040 w 2299605"/>
                <a:gd name="connsiteY814" fmla="*/ 686813 h 1779774"/>
                <a:gd name="connsiteX815" fmla="*/ 886040 w 2299605"/>
                <a:gd name="connsiteY815" fmla="*/ 684531 h 1779774"/>
                <a:gd name="connsiteX816" fmla="*/ 881473 w 2299605"/>
                <a:gd name="connsiteY816" fmla="*/ 684531 h 1779774"/>
                <a:gd name="connsiteX817" fmla="*/ 879189 w 2299605"/>
                <a:gd name="connsiteY817" fmla="*/ 684531 h 1779774"/>
                <a:gd name="connsiteX818" fmla="*/ 876906 w 2299605"/>
                <a:gd name="connsiteY818" fmla="*/ 686813 h 1779774"/>
                <a:gd name="connsiteX819" fmla="*/ 874622 w 2299605"/>
                <a:gd name="connsiteY819" fmla="*/ 686813 h 1779774"/>
                <a:gd name="connsiteX820" fmla="*/ 872339 w 2299605"/>
                <a:gd name="connsiteY820" fmla="*/ 686813 h 1779774"/>
                <a:gd name="connsiteX821" fmla="*/ 870055 w 2299605"/>
                <a:gd name="connsiteY821" fmla="*/ 689095 h 1779774"/>
                <a:gd name="connsiteX822" fmla="*/ 867771 w 2299605"/>
                <a:gd name="connsiteY822" fmla="*/ 691376 h 1779774"/>
                <a:gd name="connsiteX823" fmla="*/ 867771 w 2299605"/>
                <a:gd name="connsiteY823" fmla="*/ 693659 h 1779774"/>
                <a:gd name="connsiteX824" fmla="*/ 865488 w 2299605"/>
                <a:gd name="connsiteY824" fmla="*/ 695940 h 1779774"/>
                <a:gd name="connsiteX825" fmla="*/ 863204 w 2299605"/>
                <a:gd name="connsiteY825" fmla="*/ 695940 h 1779774"/>
                <a:gd name="connsiteX826" fmla="*/ 863204 w 2299605"/>
                <a:gd name="connsiteY826" fmla="*/ 698222 h 1779774"/>
                <a:gd name="connsiteX827" fmla="*/ 863204 w 2299605"/>
                <a:gd name="connsiteY827" fmla="*/ 700504 h 1779774"/>
                <a:gd name="connsiteX828" fmla="*/ 863204 w 2299605"/>
                <a:gd name="connsiteY828" fmla="*/ 702786 h 1779774"/>
                <a:gd name="connsiteX829" fmla="*/ 863204 w 2299605"/>
                <a:gd name="connsiteY829" fmla="*/ 705068 h 1779774"/>
                <a:gd name="connsiteX830" fmla="*/ 860921 w 2299605"/>
                <a:gd name="connsiteY830" fmla="*/ 707350 h 1779774"/>
                <a:gd name="connsiteX831" fmla="*/ 860921 w 2299605"/>
                <a:gd name="connsiteY831" fmla="*/ 709632 h 1779774"/>
                <a:gd name="connsiteX832" fmla="*/ 858637 w 2299605"/>
                <a:gd name="connsiteY832" fmla="*/ 709632 h 1779774"/>
                <a:gd name="connsiteX833" fmla="*/ 858637 w 2299605"/>
                <a:gd name="connsiteY833" fmla="*/ 711914 h 1779774"/>
                <a:gd name="connsiteX834" fmla="*/ 858637 w 2299605"/>
                <a:gd name="connsiteY834" fmla="*/ 714196 h 1779774"/>
                <a:gd name="connsiteX835" fmla="*/ 856353 w 2299605"/>
                <a:gd name="connsiteY835" fmla="*/ 714196 h 1779774"/>
                <a:gd name="connsiteX836" fmla="*/ 854070 w 2299605"/>
                <a:gd name="connsiteY836" fmla="*/ 711914 h 1779774"/>
                <a:gd name="connsiteX837" fmla="*/ 854070 w 2299605"/>
                <a:gd name="connsiteY837" fmla="*/ 714196 h 1779774"/>
                <a:gd name="connsiteX838" fmla="*/ 849503 w 2299605"/>
                <a:gd name="connsiteY838" fmla="*/ 714196 h 1779774"/>
                <a:gd name="connsiteX839" fmla="*/ 847219 w 2299605"/>
                <a:gd name="connsiteY839" fmla="*/ 714196 h 1779774"/>
                <a:gd name="connsiteX840" fmla="*/ 844935 w 2299605"/>
                <a:gd name="connsiteY840" fmla="*/ 714196 h 1779774"/>
                <a:gd name="connsiteX841" fmla="*/ 842652 w 2299605"/>
                <a:gd name="connsiteY841" fmla="*/ 714196 h 1779774"/>
                <a:gd name="connsiteX842" fmla="*/ 842652 w 2299605"/>
                <a:gd name="connsiteY842" fmla="*/ 725605 h 1779774"/>
                <a:gd name="connsiteX843" fmla="*/ 840368 w 2299605"/>
                <a:gd name="connsiteY843" fmla="*/ 727887 h 1779774"/>
                <a:gd name="connsiteX844" fmla="*/ 840368 w 2299605"/>
                <a:gd name="connsiteY844" fmla="*/ 730169 h 1779774"/>
                <a:gd name="connsiteX845" fmla="*/ 840368 w 2299605"/>
                <a:gd name="connsiteY845" fmla="*/ 732451 h 1779774"/>
                <a:gd name="connsiteX846" fmla="*/ 840368 w 2299605"/>
                <a:gd name="connsiteY846" fmla="*/ 734732 h 1779774"/>
                <a:gd name="connsiteX847" fmla="*/ 838085 w 2299605"/>
                <a:gd name="connsiteY847" fmla="*/ 734732 h 1779774"/>
                <a:gd name="connsiteX848" fmla="*/ 835801 w 2299605"/>
                <a:gd name="connsiteY848" fmla="*/ 737015 h 1779774"/>
                <a:gd name="connsiteX849" fmla="*/ 835801 w 2299605"/>
                <a:gd name="connsiteY849" fmla="*/ 739296 h 1779774"/>
                <a:gd name="connsiteX850" fmla="*/ 833517 w 2299605"/>
                <a:gd name="connsiteY850" fmla="*/ 741578 h 1779774"/>
                <a:gd name="connsiteX851" fmla="*/ 831234 w 2299605"/>
                <a:gd name="connsiteY851" fmla="*/ 743860 h 1779774"/>
                <a:gd name="connsiteX852" fmla="*/ 831234 w 2299605"/>
                <a:gd name="connsiteY852" fmla="*/ 746142 h 1779774"/>
                <a:gd name="connsiteX853" fmla="*/ 828950 w 2299605"/>
                <a:gd name="connsiteY853" fmla="*/ 748424 h 1779774"/>
                <a:gd name="connsiteX854" fmla="*/ 826667 w 2299605"/>
                <a:gd name="connsiteY854" fmla="*/ 750706 h 1779774"/>
                <a:gd name="connsiteX855" fmla="*/ 824383 w 2299605"/>
                <a:gd name="connsiteY855" fmla="*/ 752988 h 1779774"/>
                <a:gd name="connsiteX856" fmla="*/ 819816 w 2299605"/>
                <a:gd name="connsiteY856" fmla="*/ 755270 h 1779774"/>
                <a:gd name="connsiteX857" fmla="*/ 817532 w 2299605"/>
                <a:gd name="connsiteY857" fmla="*/ 757552 h 1779774"/>
                <a:gd name="connsiteX858" fmla="*/ 815249 w 2299605"/>
                <a:gd name="connsiteY858" fmla="*/ 757552 h 1779774"/>
                <a:gd name="connsiteX859" fmla="*/ 806114 w 2299605"/>
                <a:gd name="connsiteY859" fmla="*/ 768951 h 1779774"/>
                <a:gd name="connsiteX860" fmla="*/ 801547 w 2299605"/>
                <a:gd name="connsiteY860" fmla="*/ 771233 h 1779774"/>
                <a:gd name="connsiteX861" fmla="*/ 799264 w 2299605"/>
                <a:gd name="connsiteY861" fmla="*/ 771233 h 1779774"/>
                <a:gd name="connsiteX862" fmla="*/ 796980 w 2299605"/>
                <a:gd name="connsiteY862" fmla="*/ 771233 h 1779774"/>
                <a:gd name="connsiteX863" fmla="*/ 792413 w 2299605"/>
                <a:gd name="connsiteY863" fmla="*/ 771233 h 1779774"/>
                <a:gd name="connsiteX864" fmla="*/ 790129 w 2299605"/>
                <a:gd name="connsiteY864" fmla="*/ 771233 h 1779774"/>
                <a:gd name="connsiteX865" fmla="*/ 785562 w 2299605"/>
                <a:gd name="connsiteY865" fmla="*/ 773515 h 1779774"/>
                <a:gd name="connsiteX866" fmla="*/ 783278 w 2299605"/>
                <a:gd name="connsiteY866" fmla="*/ 773515 h 1779774"/>
                <a:gd name="connsiteX867" fmla="*/ 780995 w 2299605"/>
                <a:gd name="connsiteY867" fmla="*/ 771233 h 1779774"/>
                <a:gd name="connsiteX868" fmla="*/ 778711 w 2299605"/>
                <a:gd name="connsiteY868" fmla="*/ 768951 h 1779774"/>
                <a:gd name="connsiteX869" fmla="*/ 776427 w 2299605"/>
                <a:gd name="connsiteY869" fmla="*/ 768951 h 1779774"/>
                <a:gd name="connsiteX870" fmla="*/ 774144 w 2299605"/>
                <a:gd name="connsiteY870" fmla="*/ 766670 h 1779774"/>
                <a:gd name="connsiteX871" fmla="*/ 771860 w 2299605"/>
                <a:gd name="connsiteY871" fmla="*/ 766670 h 1779774"/>
                <a:gd name="connsiteX872" fmla="*/ 769577 w 2299605"/>
                <a:gd name="connsiteY872" fmla="*/ 766670 h 1779774"/>
                <a:gd name="connsiteX873" fmla="*/ 765010 w 2299605"/>
                <a:gd name="connsiteY873" fmla="*/ 766670 h 1779774"/>
                <a:gd name="connsiteX874" fmla="*/ 765010 w 2299605"/>
                <a:gd name="connsiteY874" fmla="*/ 764397 h 1779774"/>
                <a:gd name="connsiteX875" fmla="*/ 762726 w 2299605"/>
                <a:gd name="connsiteY875" fmla="*/ 766670 h 1779774"/>
                <a:gd name="connsiteX876" fmla="*/ 762726 w 2299605"/>
                <a:gd name="connsiteY876" fmla="*/ 768951 h 1779774"/>
                <a:gd name="connsiteX877" fmla="*/ 762726 w 2299605"/>
                <a:gd name="connsiteY877" fmla="*/ 771233 h 1779774"/>
                <a:gd name="connsiteX878" fmla="*/ 760442 w 2299605"/>
                <a:gd name="connsiteY878" fmla="*/ 773515 h 1779774"/>
                <a:gd name="connsiteX879" fmla="*/ 760442 w 2299605"/>
                <a:gd name="connsiteY879" fmla="*/ 775797 h 1779774"/>
                <a:gd name="connsiteX880" fmla="*/ 760442 w 2299605"/>
                <a:gd name="connsiteY880" fmla="*/ 778079 h 1779774"/>
                <a:gd name="connsiteX881" fmla="*/ 760442 w 2299605"/>
                <a:gd name="connsiteY881" fmla="*/ 780361 h 1779774"/>
                <a:gd name="connsiteX882" fmla="*/ 758159 w 2299605"/>
                <a:gd name="connsiteY882" fmla="*/ 780361 h 1779774"/>
                <a:gd name="connsiteX883" fmla="*/ 755875 w 2299605"/>
                <a:gd name="connsiteY883" fmla="*/ 782643 h 1779774"/>
                <a:gd name="connsiteX884" fmla="*/ 753592 w 2299605"/>
                <a:gd name="connsiteY884" fmla="*/ 782643 h 1779774"/>
                <a:gd name="connsiteX885" fmla="*/ 751308 w 2299605"/>
                <a:gd name="connsiteY885" fmla="*/ 784925 h 1779774"/>
                <a:gd name="connsiteX886" fmla="*/ 746741 w 2299605"/>
                <a:gd name="connsiteY886" fmla="*/ 787207 h 1779774"/>
                <a:gd name="connsiteX887" fmla="*/ 735323 w 2299605"/>
                <a:gd name="connsiteY887" fmla="*/ 778079 h 1779774"/>
                <a:gd name="connsiteX888" fmla="*/ 735323 w 2299605"/>
                <a:gd name="connsiteY888" fmla="*/ 782643 h 1779774"/>
                <a:gd name="connsiteX889" fmla="*/ 735323 w 2299605"/>
                <a:gd name="connsiteY889" fmla="*/ 787207 h 1779774"/>
                <a:gd name="connsiteX890" fmla="*/ 726188 w 2299605"/>
                <a:gd name="connsiteY890" fmla="*/ 791771 h 1779774"/>
                <a:gd name="connsiteX891" fmla="*/ 728472 w 2299605"/>
                <a:gd name="connsiteY891" fmla="*/ 794052 h 1779774"/>
                <a:gd name="connsiteX892" fmla="*/ 730756 w 2299605"/>
                <a:gd name="connsiteY892" fmla="*/ 796334 h 1779774"/>
                <a:gd name="connsiteX893" fmla="*/ 733039 w 2299605"/>
                <a:gd name="connsiteY893" fmla="*/ 798616 h 1779774"/>
                <a:gd name="connsiteX894" fmla="*/ 735323 w 2299605"/>
                <a:gd name="connsiteY894" fmla="*/ 800898 h 1779774"/>
                <a:gd name="connsiteX895" fmla="*/ 733039 w 2299605"/>
                <a:gd name="connsiteY895" fmla="*/ 800898 h 1779774"/>
                <a:gd name="connsiteX896" fmla="*/ 730756 w 2299605"/>
                <a:gd name="connsiteY896" fmla="*/ 803180 h 1779774"/>
                <a:gd name="connsiteX897" fmla="*/ 728472 w 2299605"/>
                <a:gd name="connsiteY897" fmla="*/ 805462 h 1779774"/>
                <a:gd name="connsiteX898" fmla="*/ 726188 w 2299605"/>
                <a:gd name="connsiteY898" fmla="*/ 807744 h 1779774"/>
                <a:gd name="connsiteX899" fmla="*/ 723905 w 2299605"/>
                <a:gd name="connsiteY899" fmla="*/ 807744 h 1779774"/>
                <a:gd name="connsiteX900" fmla="*/ 721621 w 2299605"/>
                <a:gd name="connsiteY900" fmla="*/ 810026 h 1779774"/>
                <a:gd name="connsiteX901" fmla="*/ 719338 w 2299605"/>
                <a:gd name="connsiteY901" fmla="*/ 810026 h 1779774"/>
                <a:gd name="connsiteX902" fmla="*/ 714770 w 2299605"/>
                <a:gd name="connsiteY902" fmla="*/ 807744 h 1779774"/>
                <a:gd name="connsiteX903" fmla="*/ 710203 w 2299605"/>
                <a:gd name="connsiteY903" fmla="*/ 800898 h 1779774"/>
                <a:gd name="connsiteX904" fmla="*/ 707920 w 2299605"/>
                <a:gd name="connsiteY904" fmla="*/ 803180 h 1779774"/>
                <a:gd name="connsiteX905" fmla="*/ 705636 w 2299605"/>
                <a:gd name="connsiteY905" fmla="*/ 805462 h 1779774"/>
                <a:gd name="connsiteX906" fmla="*/ 705636 w 2299605"/>
                <a:gd name="connsiteY906" fmla="*/ 807744 h 1779774"/>
                <a:gd name="connsiteX907" fmla="*/ 703352 w 2299605"/>
                <a:gd name="connsiteY907" fmla="*/ 807744 h 1779774"/>
                <a:gd name="connsiteX908" fmla="*/ 703352 w 2299605"/>
                <a:gd name="connsiteY908" fmla="*/ 810026 h 1779774"/>
                <a:gd name="connsiteX909" fmla="*/ 701069 w 2299605"/>
                <a:gd name="connsiteY909" fmla="*/ 812308 h 1779774"/>
                <a:gd name="connsiteX910" fmla="*/ 698785 w 2299605"/>
                <a:gd name="connsiteY910" fmla="*/ 814589 h 1779774"/>
                <a:gd name="connsiteX911" fmla="*/ 698785 w 2299605"/>
                <a:gd name="connsiteY911" fmla="*/ 819153 h 1779774"/>
                <a:gd name="connsiteX912" fmla="*/ 701069 w 2299605"/>
                <a:gd name="connsiteY912" fmla="*/ 823717 h 1779774"/>
                <a:gd name="connsiteX913" fmla="*/ 701069 w 2299605"/>
                <a:gd name="connsiteY913" fmla="*/ 828281 h 1779774"/>
                <a:gd name="connsiteX914" fmla="*/ 701069 w 2299605"/>
                <a:gd name="connsiteY914" fmla="*/ 830563 h 1779774"/>
                <a:gd name="connsiteX915" fmla="*/ 698785 w 2299605"/>
                <a:gd name="connsiteY915" fmla="*/ 835127 h 1779774"/>
                <a:gd name="connsiteX916" fmla="*/ 698785 w 2299605"/>
                <a:gd name="connsiteY916" fmla="*/ 837408 h 1779774"/>
                <a:gd name="connsiteX917" fmla="*/ 698785 w 2299605"/>
                <a:gd name="connsiteY917" fmla="*/ 839690 h 1779774"/>
                <a:gd name="connsiteX918" fmla="*/ 696502 w 2299605"/>
                <a:gd name="connsiteY918" fmla="*/ 841972 h 1779774"/>
                <a:gd name="connsiteX919" fmla="*/ 696502 w 2299605"/>
                <a:gd name="connsiteY919" fmla="*/ 846536 h 1779774"/>
                <a:gd name="connsiteX920" fmla="*/ 696502 w 2299605"/>
                <a:gd name="connsiteY920" fmla="*/ 848818 h 1779774"/>
                <a:gd name="connsiteX921" fmla="*/ 696502 w 2299605"/>
                <a:gd name="connsiteY921" fmla="*/ 853382 h 1779774"/>
                <a:gd name="connsiteX922" fmla="*/ 698785 w 2299605"/>
                <a:gd name="connsiteY922" fmla="*/ 855664 h 1779774"/>
                <a:gd name="connsiteX923" fmla="*/ 698785 w 2299605"/>
                <a:gd name="connsiteY923" fmla="*/ 857945 h 1779774"/>
                <a:gd name="connsiteX924" fmla="*/ 698785 w 2299605"/>
                <a:gd name="connsiteY924" fmla="*/ 860227 h 1779774"/>
                <a:gd name="connsiteX925" fmla="*/ 698785 w 2299605"/>
                <a:gd name="connsiteY925" fmla="*/ 864791 h 1779774"/>
                <a:gd name="connsiteX926" fmla="*/ 696502 w 2299605"/>
                <a:gd name="connsiteY926" fmla="*/ 867073 h 1779774"/>
                <a:gd name="connsiteX927" fmla="*/ 696502 w 2299605"/>
                <a:gd name="connsiteY927" fmla="*/ 869355 h 1779774"/>
                <a:gd name="connsiteX928" fmla="*/ 696502 w 2299605"/>
                <a:gd name="connsiteY928" fmla="*/ 871637 h 1779774"/>
                <a:gd name="connsiteX929" fmla="*/ 696502 w 2299605"/>
                <a:gd name="connsiteY929" fmla="*/ 878483 h 1779774"/>
                <a:gd name="connsiteX930" fmla="*/ 696502 w 2299605"/>
                <a:gd name="connsiteY930" fmla="*/ 880764 h 1779774"/>
                <a:gd name="connsiteX931" fmla="*/ 696502 w 2299605"/>
                <a:gd name="connsiteY931" fmla="*/ 883046 h 1779774"/>
                <a:gd name="connsiteX932" fmla="*/ 694218 w 2299605"/>
                <a:gd name="connsiteY932" fmla="*/ 885328 h 1779774"/>
                <a:gd name="connsiteX933" fmla="*/ 694218 w 2299605"/>
                <a:gd name="connsiteY933" fmla="*/ 887610 h 1779774"/>
                <a:gd name="connsiteX934" fmla="*/ 691935 w 2299605"/>
                <a:gd name="connsiteY934" fmla="*/ 887610 h 1779774"/>
                <a:gd name="connsiteX935" fmla="*/ 691935 w 2299605"/>
                <a:gd name="connsiteY935" fmla="*/ 889892 h 1779774"/>
                <a:gd name="connsiteX936" fmla="*/ 689651 w 2299605"/>
                <a:gd name="connsiteY936" fmla="*/ 889892 h 1779774"/>
                <a:gd name="connsiteX937" fmla="*/ 687367 w 2299605"/>
                <a:gd name="connsiteY937" fmla="*/ 892174 h 1779774"/>
                <a:gd name="connsiteX938" fmla="*/ 685084 w 2299605"/>
                <a:gd name="connsiteY938" fmla="*/ 892174 h 1779774"/>
                <a:gd name="connsiteX939" fmla="*/ 682800 w 2299605"/>
                <a:gd name="connsiteY939" fmla="*/ 894456 h 1779774"/>
                <a:gd name="connsiteX940" fmla="*/ 680516 w 2299605"/>
                <a:gd name="connsiteY940" fmla="*/ 896738 h 1779774"/>
                <a:gd name="connsiteX941" fmla="*/ 678233 w 2299605"/>
                <a:gd name="connsiteY941" fmla="*/ 896738 h 1779774"/>
                <a:gd name="connsiteX942" fmla="*/ 673666 w 2299605"/>
                <a:gd name="connsiteY942" fmla="*/ 899020 h 1779774"/>
                <a:gd name="connsiteX943" fmla="*/ 671382 w 2299605"/>
                <a:gd name="connsiteY943" fmla="*/ 901301 h 1779774"/>
                <a:gd name="connsiteX944" fmla="*/ 666815 w 2299605"/>
                <a:gd name="connsiteY944" fmla="*/ 889892 h 1779774"/>
                <a:gd name="connsiteX945" fmla="*/ 659964 w 2299605"/>
                <a:gd name="connsiteY945" fmla="*/ 876201 h 1779774"/>
                <a:gd name="connsiteX946" fmla="*/ 655397 w 2299605"/>
                <a:gd name="connsiteY946" fmla="*/ 864791 h 1779774"/>
                <a:gd name="connsiteX947" fmla="*/ 653113 w 2299605"/>
                <a:gd name="connsiteY947" fmla="*/ 857945 h 1779774"/>
                <a:gd name="connsiteX948" fmla="*/ 655397 w 2299605"/>
                <a:gd name="connsiteY948" fmla="*/ 846536 h 1779774"/>
                <a:gd name="connsiteX949" fmla="*/ 655397 w 2299605"/>
                <a:gd name="connsiteY949" fmla="*/ 830563 h 1779774"/>
                <a:gd name="connsiteX950" fmla="*/ 662248 w 2299605"/>
                <a:gd name="connsiteY950" fmla="*/ 823717 h 1779774"/>
                <a:gd name="connsiteX951" fmla="*/ 659964 w 2299605"/>
                <a:gd name="connsiteY951" fmla="*/ 823717 h 1779774"/>
                <a:gd name="connsiteX952" fmla="*/ 659964 w 2299605"/>
                <a:gd name="connsiteY952" fmla="*/ 821435 h 1779774"/>
                <a:gd name="connsiteX953" fmla="*/ 659964 w 2299605"/>
                <a:gd name="connsiteY953" fmla="*/ 819153 h 1779774"/>
                <a:gd name="connsiteX954" fmla="*/ 657681 w 2299605"/>
                <a:gd name="connsiteY954" fmla="*/ 819153 h 1779774"/>
                <a:gd name="connsiteX955" fmla="*/ 655397 w 2299605"/>
                <a:gd name="connsiteY955" fmla="*/ 819153 h 1779774"/>
                <a:gd name="connsiteX956" fmla="*/ 653113 w 2299605"/>
                <a:gd name="connsiteY956" fmla="*/ 819153 h 1779774"/>
                <a:gd name="connsiteX957" fmla="*/ 653113 w 2299605"/>
                <a:gd name="connsiteY957" fmla="*/ 816871 h 1779774"/>
                <a:gd name="connsiteX958" fmla="*/ 650830 w 2299605"/>
                <a:gd name="connsiteY958" fmla="*/ 814589 h 1779774"/>
                <a:gd name="connsiteX959" fmla="*/ 650830 w 2299605"/>
                <a:gd name="connsiteY959" fmla="*/ 812308 h 1779774"/>
                <a:gd name="connsiteX960" fmla="*/ 650830 w 2299605"/>
                <a:gd name="connsiteY960" fmla="*/ 810026 h 1779774"/>
                <a:gd name="connsiteX961" fmla="*/ 648546 w 2299605"/>
                <a:gd name="connsiteY961" fmla="*/ 810026 h 1779774"/>
                <a:gd name="connsiteX962" fmla="*/ 648546 w 2299605"/>
                <a:gd name="connsiteY962" fmla="*/ 807744 h 1779774"/>
                <a:gd name="connsiteX963" fmla="*/ 648546 w 2299605"/>
                <a:gd name="connsiteY963" fmla="*/ 805462 h 1779774"/>
                <a:gd name="connsiteX964" fmla="*/ 646262 w 2299605"/>
                <a:gd name="connsiteY964" fmla="*/ 805462 h 1779774"/>
                <a:gd name="connsiteX965" fmla="*/ 646262 w 2299605"/>
                <a:gd name="connsiteY965" fmla="*/ 803180 h 1779774"/>
                <a:gd name="connsiteX966" fmla="*/ 643979 w 2299605"/>
                <a:gd name="connsiteY966" fmla="*/ 803180 h 1779774"/>
                <a:gd name="connsiteX967" fmla="*/ 643979 w 2299605"/>
                <a:gd name="connsiteY967" fmla="*/ 800898 h 1779774"/>
                <a:gd name="connsiteX968" fmla="*/ 643979 w 2299605"/>
                <a:gd name="connsiteY968" fmla="*/ 798616 h 1779774"/>
                <a:gd name="connsiteX969" fmla="*/ 641695 w 2299605"/>
                <a:gd name="connsiteY969" fmla="*/ 798616 h 1779774"/>
                <a:gd name="connsiteX970" fmla="*/ 641695 w 2299605"/>
                <a:gd name="connsiteY970" fmla="*/ 796334 h 1779774"/>
                <a:gd name="connsiteX971" fmla="*/ 641695 w 2299605"/>
                <a:gd name="connsiteY971" fmla="*/ 794052 h 1779774"/>
                <a:gd name="connsiteX972" fmla="*/ 639412 w 2299605"/>
                <a:gd name="connsiteY972" fmla="*/ 794052 h 1779774"/>
                <a:gd name="connsiteX973" fmla="*/ 639412 w 2299605"/>
                <a:gd name="connsiteY973" fmla="*/ 791771 h 1779774"/>
                <a:gd name="connsiteX974" fmla="*/ 637128 w 2299605"/>
                <a:gd name="connsiteY974" fmla="*/ 789488 h 1779774"/>
                <a:gd name="connsiteX975" fmla="*/ 634845 w 2299605"/>
                <a:gd name="connsiteY975" fmla="*/ 787207 h 1779774"/>
                <a:gd name="connsiteX976" fmla="*/ 634845 w 2299605"/>
                <a:gd name="connsiteY976" fmla="*/ 784925 h 1779774"/>
                <a:gd name="connsiteX977" fmla="*/ 632561 w 2299605"/>
                <a:gd name="connsiteY977" fmla="*/ 784925 h 1779774"/>
                <a:gd name="connsiteX978" fmla="*/ 632561 w 2299605"/>
                <a:gd name="connsiteY978" fmla="*/ 782643 h 1779774"/>
                <a:gd name="connsiteX979" fmla="*/ 630277 w 2299605"/>
                <a:gd name="connsiteY979" fmla="*/ 780361 h 1779774"/>
                <a:gd name="connsiteX980" fmla="*/ 630277 w 2299605"/>
                <a:gd name="connsiteY980" fmla="*/ 778079 h 1779774"/>
                <a:gd name="connsiteX981" fmla="*/ 627994 w 2299605"/>
                <a:gd name="connsiteY981" fmla="*/ 775797 h 1779774"/>
                <a:gd name="connsiteX982" fmla="*/ 627994 w 2299605"/>
                <a:gd name="connsiteY982" fmla="*/ 773515 h 1779774"/>
                <a:gd name="connsiteX983" fmla="*/ 625710 w 2299605"/>
                <a:gd name="connsiteY983" fmla="*/ 771233 h 1779774"/>
                <a:gd name="connsiteX984" fmla="*/ 625710 w 2299605"/>
                <a:gd name="connsiteY984" fmla="*/ 766670 h 1779774"/>
                <a:gd name="connsiteX985" fmla="*/ 621143 w 2299605"/>
                <a:gd name="connsiteY985" fmla="*/ 752988 h 1779774"/>
                <a:gd name="connsiteX986" fmla="*/ 618859 w 2299605"/>
                <a:gd name="connsiteY986" fmla="*/ 748424 h 1779774"/>
                <a:gd name="connsiteX987" fmla="*/ 618859 w 2299605"/>
                <a:gd name="connsiteY987" fmla="*/ 746142 h 1779774"/>
                <a:gd name="connsiteX988" fmla="*/ 625710 w 2299605"/>
                <a:gd name="connsiteY988" fmla="*/ 741578 h 1779774"/>
                <a:gd name="connsiteX989" fmla="*/ 634845 w 2299605"/>
                <a:gd name="connsiteY989" fmla="*/ 734732 h 1779774"/>
                <a:gd name="connsiteX990" fmla="*/ 637128 w 2299605"/>
                <a:gd name="connsiteY990" fmla="*/ 734732 h 1779774"/>
                <a:gd name="connsiteX991" fmla="*/ 643979 w 2299605"/>
                <a:gd name="connsiteY991" fmla="*/ 730169 h 1779774"/>
                <a:gd name="connsiteX992" fmla="*/ 646262 w 2299605"/>
                <a:gd name="connsiteY992" fmla="*/ 727887 h 1779774"/>
                <a:gd name="connsiteX993" fmla="*/ 648546 w 2299605"/>
                <a:gd name="connsiteY993" fmla="*/ 725605 h 1779774"/>
                <a:gd name="connsiteX994" fmla="*/ 646262 w 2299605"/>
                <a:gd name="connsiteY994" fmla="*/ 725605 h 1779774"/>
                <a:gd name="connsiteX995" fmla="*/ 643979 w 2299605"/>
                <a:gd name="connsiteY995" fmla="*/ 725605 h 1779774"/>
                <a:gd name="connsiteX996" fmla="*/ 643979 w 2299605"/>
                <a:gd name="connsiteY996" fmla="*/ 723323 h 1779774"/>
                <a:gd name="connsiteX997" fmla="*/ 643979 w 2299605"/>
                <a:gd name="connsiteY997" fmla="*/ 721041 h 1779774"/>
                <a:gd name="connsiteX998" fmla="*/ 643979 w 2299605"/>
                <a:gd name="connsiteY998" fmla="*/ 718759 h 1779774"/>
                <a:gd name="connsiteX999" fmla="*/ 646262 w 2299605"/>
                <a:gd name="connsiteY999" fmla="*/ 718759 h 1779774"/>
                <a:gd name="connsiteX1000" fmla="*/ 646262 w 2299605"/>
                <a:gd name="connsiteY1000" fmla="*/ 716477 h 1779774"/>
                <a:gd name="connsiteX1001" fmla="*/ 648546 w 2299605"/>
                <a:gd name="connsiteY1001" fmla="*/ 714196 h 1779774"/>
                <a:gd name="connsiteX1002" fmla="*/ 648546 w 2299605"/>
                <a:gd name="connsiteY1002" fmla="*/ 711914 h 1779774"/>
                <a:gd name="connsiteX1003" fmla="*/ 646262 w 2299605"/>
                <a:gd name="connsiteY1003" fmla="*/ 711914 h 1779774"/>
                <a:gd name="connsiteX1004" fmla="*/ 646262 w 2299605"/>
                <a:gd name="connsiteY1004" fmla="*/ 709632 h 1779774"/>
                <a:gd name="connsiteX1005" fmla="*/ 648546 w 2299605"/>
                <a:gd name="connsiteY1005" fmla="*/ 709632 h 1779774"/>
                <a:gd name="connsiteX1006" fmla="*/ 646262 w 2299605"/>
                <a:gd name="connsiteY1006" fmla="*/ 707350 h 1779774"/>
                <a:gd name="connsiteX1007" fmla="*/ 646262 w 2299605"/>
                <a:gd name="connsiteY1007" fmla="*/ 702786 h 1779774"/>
                <a:gd name="connsiteX1008" fmla="*/ 648546 w 2299605"/>
                <a:gd name="connsiteY1008" fmla="*/ 698222 h 1779774"/>
                <a:gd name="connsiteX1009" fmla="*/ 641695 w 2299605"/>
                <a:gd name="connsiteY1009" fmla="*/ 691376 h 1779774"/>
                <a:gd name="connsiteX1010" fmla="*/ 639412 w 2299605"/>
                <a:gd name="connsiteY1010" fmla="*/ 686813 h 1779774"/>
                <a:gd name="connsiteX1011" fmla="*/ 637128 w 2299605"/>
                <a:gd name="connsiteY1011" fmla="*/ 684531 h 1779774"/>
                <a:gd name="connsiteX1012" fmla="*/ 639412 w 2299605"/>
                <a:gd name="connsiteY1012" fmla="*/ 684531 h 1779774"/>
                <a:gd name="connsiteX1013" fmla="*/ 641695 w 2299605"/>
                <a:gd name="connsiteY1013" fmla="*/ 679967 h 1779774"/>
                <a:gd name="connsiteX1014" fmla="*/ 643979 w 2299605"/>
                <a:gd name="connsiteY1014" fmla="*/ 677685 h 1779774"/>
                <a:gd name="connsiteX1015" fmla="*/ 648546 w 2299605"/>
                <a:gd name="connsiteY1015" fmla="*/ 677685 h 1779774"/>
                <a:gd name="connsiteX1016" fmla="*/ 648546 w 2299605"/>
                <a:gd name="connsiteY1016" fmla="*/ 675403 h 1779774"/>
                <a:gd name="connsiteX1017" fmla="*/ 650830 w 2299605"/>
                <a:gd name="connsiteY1017" fmla="*/ 673121 h 1779774"/>
                <a:gd name="connsiteX1018" fmla="*/ 650830 w 2299605"/>
                <a:gd name="connsiteY1018" fmla="*/ 670840 h 1779774"/>
                <a:gd name="connsiteX1019" fmla="*/ 648546 w 2299605"/>
                <a:gd name="connsiteY1019" fmla="*/ 663994 h 1779774"/>
                <a:gd name="connsiteX1020" fmla="*/ 648546 w 2299605"/>
                <a:gd name="connsiteY1020" fmla="*/ 659430 h 1779774"/>
                <a:gd name="connsiteX1021" fmla="*/ 646262 w 2299605"/>
                <a:gd name="connsiteY1021" fmla="*/ 663994 h 1779774"/>
                <a:gd name="connsiteX1022" fmla="*/ 641695 w 2299605"/>
                <a:gd name="connsiteY1022" fmla="*/ 675403 h 1779774"/>
                <a:gd name="connsiteX1023" fmla="*/ 639412 w 2299605"/>
                <a:gd name="connsiteY1023" fmla="*/ 670840 h 1779774"/>
                <a:gd name="connsiteX1024" fmla="*/ 641695 w 2299605"/>
                <a:gd name="connsiteY1024" fmla="*/ 661712 h 1779774"/>
                <a:gd name="connsiteX1025" fmla="*/ 639412 w 2299605"/>
                <a:gd name="connsiteY1025" fmla="*/ 661712 h 1779774"/>
                <a:gd name="connsiteX1026" fmla="*/ 639412 w 2299605"/>
                <a:gd name="connsiteY1026" fmla="*/ 659430 h 1779774"/>
                <a:gd name="connsiteX1027" fmla="*/ 639412 w 2299605"/>
                <a:gd name="connsiteY1027" fmla="*/ 657148 h 1779774"/>
                <a:gd name="connsiteX1028" fmla="*/ 639412 w 2299605"/>
                <a:gd name="connsiteY1028" fmla="*/ 654866 h 1779774"/>
                <a:gd name="connsiteX1029" fmla="*/ 637128 w 2299605"/>
                <a:gd name="connsiteY1029" fmla="*/ 654866 h 1779774"/>
                <a:gd name="connsiteX1030" fmla="*/ 634845 w 2299605"/>
                <a:gd name="connsiteY1030" fmla="*/ 654866 h 1779774"/>
                <a:gd name="connsiteX1031" fmla="*/ 632561 w 2299605"/>
                <a:gd name="connsiteY1031" fmla="*/ 654866 h 1779774"/>
                <a:gd name="connsiteX1032" fmla="*/ 630277 w 2299605"/>
                <a:gd name="connsiteY1032" fmla="*/ 652584 h 1779774"/>
                <a:gd name="connsiteX1033" fmla="*/ 627994 w 2299605"/>
                <a:gd name="connsiteY1033" fmla="*/ 648020 h 1779774"/>
                <a:gd name="connsiteX1034" fmla="*/ 625710 w 2299605"/>
                <a:gd name="connsiteY1034" fmla="*/ 648020 h 1779774"/>
                <a:gd name="connsiteX1035" fmla="*/ 625710 w 2299605"/>
                <a:gd name="connsiteY1035" fmla="*/ 645739 h 1779774"/>
                <a:gd name="connsiteX1036" fmla="*/ 623427 w 2299605"/>
                <a:gd name="connsiteY1036" fmla="*/ 645739 h 1779774"/>
                <a:gd name="connsiteX1037" fmla="*/ 621143 w 2299605"/>
                <a:gd name="connsiteY1037" fmla="*/ 643457 h 1779774"/>
                <a:gd name="connsiteX1038" fmla="*/ 621143 w 2299605"/>
                <a:gd name="connsiteY1038" fmla="*/ 641175 h 1779774"/>
                <a:gd name="connsiteX1039" fmla="*/ 616576 w 2299605"/>
                <a:gd name="connsiteY1039" fmla="*/ 638893 h 1779774"/>
                <a:gd name="connsiteX1040" fmla="*/ 614292 w 2299605"/>
                <a:gd name="connsiteY1040" fmla="*/ 638893 h 1779774"/>
                <a:gd name="connsiteX1041" fmla="*/ 614292 w 2299605"/>
                <a:gd name="connsiteY1041" fmla="*/ 636611 h 1779774"/>
                <a:gd name="connsiteX1042" fmla="*/ 609725 w 2299605"/>
                <a:gd name="connsiteY1042" fmla="*/ 634329 h 1779774"/>
                <a:gd name="connsiteX1043" fmla="*/ 607441 w 2299605"/>
                <a:gd name="connsiteY1043" fmla="*/ 634329 h 1779774"/>
                <a:gd name="connsiteX1044" fmla="*/ 605158 w 2299605"/>
                <a:gd name="connsiteY1044" fmla="*/ 634329 h 1779774"/>
                <a:gd name="connsiteX1045" fmla="*/ 602874 w 2299605"/>
                <a:gd name="connsiteY1045" fmla="*/ 638893 h 1779774"/>
                <a:gd name="connsiteX1046" fmla="*/ 602874 w 2299605"/>
                <a:gd name="connsiteY1046" fmla="*/ 641175 h 1779774"/>
                <a:gd name="connsiteX1047" fmla="*/ 600591 w 2299605"/>
                <a:gd name="connsiteY1047" fmla="*/ 643457 h 1779774"/>
                <a:gd name="connsiteX1048" fmla="*/ 598307 w 2299605"/>
                <a:gd name="connsiteY1048" fmla="*/ 643457 h 1779774"/>
                <a:gd name="connsiteX1049" fmla="*/ 598307 w 2299605"/>
                <a:gd name="connsiteY1049" fmla="*/ 645739 h 1779774"/>
                <a:gd name="connsiteX1050" fmla="*/ 596023 w 2299605"/>
                <a:gd name="connsiteY1050" fmla="*/ 645739 h 1779774"/>
                <a:gd name="connsiteX1051" fmla="*/ 593740 w 2299605"/>
                <a:gd name="connsiteY1051" fmla="*/ 643457 h 1779774"/>
                <a:gd name="connsiteX1052" fmla="*/ 593740 w 2299605"/>
                <a:gd name="connsiteY1052" fmla="*/ 641175 h 1779774"/>
                <a:gd name="connsiteX1053" fmla="*/ 591456 w 2299605"/>
                <a:gd name="connsiteY1053" fmla="*/ 641175 h 1779774"/>
                <a:gd name="connsiteX1054" fmla="*/ 591456 w 2299605"/>
                <a:gd name="connsiteY1054" fmla="*/ 638893 h 1779774"/>
                <a:gd name="connsiteX1055" fmla="*/ 589173 w 2299605"/>
                <a:gd name="connsiteY1055" fmla="*/ 638893 h 1779774"/>
                <a:gd name="connsiteX1056" fmla="*/ 586889 w 2299605"/>
                <a:gd name="connsiteY1056" fmla="*/ 636611 h 1779774"/>
                <a:gd name="connsiteX1057" fmla="*/ 584605 w 2299605"/>
                <a:gd name="connsiteY1057" fmla="*/ 634329 h 1779774"/>
                <a:gd name="connsiteX1058" fmla="*/ 582322 w 2299605"/>
                <a:gd name="connsiteY1058" fmla="*/ 634329 h 1779774"/>
                <a:gd name="connsiteX1059" fmla="*/ 582322 w 2299605"/>
                <a:gd name="connsiteY1059" fmla="*/ 629765 h 1779774"/>
                <a:gd name="connsiteX1060" fmla="*/ 580038 w 2299605"/>
                <a:gd name="connsiteY1060" fmla="*/ 625202 h 1779774"/>
                <a:gd name="connsiteX1061" fmla="*/ 580038 w 2299605"/>
                <a:gd name="connsiteY1061" fmla="*/ 622920 h 1779774"/>
                <a:gd name="connsiteX1062" fmla="*/ 577755 w 2299605"/>
                <a:gd name="connsiteY1062" fmla="*/ 620638 h 1779774"/>
                <a:gd name="connsiteX1063" fmla="*/ 570904 w 2299605"/>
                <a:gd name="connsiteY1063" fmla="*/ 616074 h 1779774"/>
                <a:gd name="connsiteX1064" fmla="*/ 566337 w 2299605"/>
                <a:gd name="connsiteY1064" fmla="*/ 616074 h 1779774"/>
                <a:gd name="connsiteX1065" fmla="*/ 566337 w 2299605"/>
                <a:gd name="connsiteY1065" fmla="*/ 618356 h 1779774"/>
                <a:gd name="connsiteX1066" fmla="*/ 564053 w 2299605"/>
                <a:gd name="connsiteY1066" fmla="*/ 620638 h 1779774"/>
                <a:gd name="connsiteX1067" fmla="*/ 561769 w 2299605"/>
                <a:gd name="connsiteY1067" fmla="*/ 618356 h 1779774"/>
                <a:gd name="connsiteX1068" fmla="*/ 559486 w 2299605"/>
                <a:gd name="connsiteY1068" fmla="*/ 616074 h 1779774"/>
                <a:gd name="connsiteX1069" fmla="*/ 559486 w 2299605"/>
                <a:gd name="connsiteY1069" fmla="*/ 613802 h 1779774"/>
                <a:gd name="connsiteX1070" fmla="*/ 559486 w 2299605"/>
                <a:gd name="connsiteY1070" fmla="*/ 606956 h 1779774"/>
                <a:gd name="connsiteX1071" fmla="*/ 561769 w 2299605"/>
                <a:gd name="connsiteY1071" fmla="*/ 604674 h 1779774"/>
                <a:gd name="connsiteX1072" fmla="*/ 561769 w 2299605"/>
                <a:gd name="connsiteY1072" fmla="*/ 597828 h 1779774"/>
                <a:gd name="connsiteX1073" fmla="*/ 564053 w 2299605"/>
                <a:gd name="connsiteY1073" fmla="*/ 593264 h 1779774"/>
                <a:gd name="connsiteX1074" fmla="*/ 564053 w 2299605"/>
                <a:gd name="connsiteY1074" fmla="*/ 588701 h 1779774"/>
                <a:gd name="connsiteX1075" fmla="*/ 564053 w 2299605"/>
                <a:gd name="connsiteY1075" fmla="*/ 584137 h 1779774"/>
                <a:gd name="connsiteX1076" fmla="*/ 564053 w 2299605"/>
                <a:gd name="connsiteY1076" fmla="*/ 579573 h 1779774"/>
                <a:gd name="connsiteX1077" fmla="*/ 564053 w 2299605"/>
                <a:gd name="connsiteY1077" fmla="*/ 575009 h 1779774"/>
                <a:gd name="connsiteX1078" fmla="*/ 559486 w 2299605"/>
                <a:gd name="connsiteY1078" fmla="*/ 581855 h 1779774"/>
                <a:gd name="connsiteX1079" fmla="*/ 557202 w 2299605"/>
                <a:gd name="connsiteY1079" fmla="*/ 581855 h 1779774"/>
                <a:gd name="connsiteX1080" fmla="*/ 557202 w 2299605"/>
                <a:gd name="connsiteY1080" fmla="*/ 586419 h 1779774"/>
                <a:gd name="connsiteX1081" fmla="*/ 554919 w 2299605"/>
                <a:gd name="connsiteY1081" fmla="*/ 588701 h 1779774"/>
                <a:gd name="connsiteX1082" fmla="*/ 552635 w 2299605"/>
                <a:gd name="connsiteY1082" fmla="*/ 590983 h 1779774"/>
                <a:gd name="connsiteX1083" fmla="*/ 550352 w 2299605"/>
                <a:gd name="connsiteY1083" fmla="*/ 593264 h 1779774"/>
                <a:gd name="connsiteX1084" fmla="*/ 550352 w 2299605"/>
                <a:gd name="connsiteY1084" fmla="*/ 595547 h 1779774"/>
                <a:gd name="connsiteX1085" fmla="*/ 548068 w 2299605"/>
                <a:gd name="connsiteY1085" fmla="*/ 597828 h 1779774"/>
                <a:gd name="connsiteX1086" fmla="*/ 545784 w 2299605"/>
                <a:gd name="connsiteY1086" fmla="*/ 600110 h 1779774"/>
                <a:gd name="connsiteX1087" fmla="*/ 543501 w 2299605"/>
                <a:gd name="connsiteY1087" fmla="*/ 602392 h 1779774"/>
                <a:gd name="connsiteX1088" fmla="*/ 543501 w 2299605"/>
                <a:gd name="connsiteY1088" fmla="*/ 604674 h 1779774"/>
                <a:gd name="connsiteX1089" fmla="*/ 541217 w 2299605"/>
                <a:gd name="connsiteY1089" fmla="*/ 606956 h 1779774"/>
                <a:gd name="connsiteX1090" fmla="*/ 538933 w 2299605"/>
                <a:gd name="connsiteY1090" fmla="*/ 609238 h 1779774"/>
                <a:gd name="connsiteX1091" fmla="*/ 538933 w 2299605"/>
                <a:gd name="connsiteY1091" fmla="*/ 606956 h 1779774"/>
                <a:gd name="connsiteX1092" fmla="*/ 536650 w 2299605"/>
                <a:gd name="connsiteY1092" fmla="*/ 604674 h 1779774"/>
                <a:gd name="connsiteX1093" fmla="*/ 536650 w 2299605"/>
                <a:gd name="connsiteY1093" fmla="*/ 602392 h 1779774"/>
                <a:gd name="connsiteX1094" fmla="*/ 536650 w 2299605"/>
                <a:gd name="connsiteY1094" fmla="*/ 597828 h 1779774"/>
                <a:gd name="connsiteX1095" fmla="*/ 534366 w 2299605"/>
                <a:gd name="connsiteY1095" fmla="*/ 593264 h 1779774"/>
                <a:gd name="connsiteX1096" fmla="*/ 532083 w 2299605"/>
                <a:gd name="connsiteY1096" fmla="*/ 593264 h 1779774"/>
                <a:gd name="connsiteX1097" fmla="*/ 529799 w 2299605"/>
                <a:gd name="connsiteY1097" fmla="*/ 593264 h 1779774"/>
                <a:gd name="connsiteX1098" fmla="*/ 527516 w 2299605"/>
                <a:gd name="connsiteY1098" fmla="*/ 595547 h 1779774"/>
                <a:gd name="connsiteX1099" fmla="*/ 525232 w 2299605"/>
                <a:gd name="connsiteY1099" fmla="*/ 595547 h 1779774"/>
                <a:gd name="connsiteX1100" fmla="*/ 522948 w 2299605"/>
                <a:gd name="connsiteY1100" fmla="*/ 595547 h 1779774"/>
                <a:gd name="connsiteX1101" fmla="*/ 522948 w 2299605"/>
                <a:gd name="connsiteY1101" fmla="*/ 593264 h 1779774"/>
                <a:gd name="connsiteX1102" fmla="*/ 520665 w 2299605"/>
                <a:gd name="connsiteY1102" fmla="*/ 593264 h 1779774"/>
                <a:gd name="connsiteX1103" fmla="*/ 520665 w 2299605"/>
                <a:gd name="connsiteY1103" fmla="*/ 590983 h 1779774"/>
                <a:gd name="connsiteX1104" fmla="*/ 518381 w 2299605"/>
                <a:gd name="connsiteY1104" fmla="*/ 590983 h 1779774"/>
                <a:gd name="connsiteX1105" fmla="*/ 518381 w 2299605"/>
                <a:gd name="connsiteY1105" fmla="*/ 593264 h 1779774"/>
                <a:gd name="connsiteX1106" fmla="*/ 516098 w 2299605"/>
                <a:gd name="connsiteY1106" fmla="*/ 593264 h 1779774"/>
                <a:gd name="connsiteX1107" fmla="*/ 516098 w 2299605"/>
                <a:gd name="connsiteY1107" fmla="*/ 595547 h 1779774"/>
                <a:gd name="connsiteX1108" fmla="*/ 513814 w 2299605"/>
                <a:gd name="connsiteY1108" fmla="*/ 595547 h 1779774"/>
                <a:gd name="connsiteX1109" fmla="*/ 511530 w 2299605"/>
                <a:gd name="connsiteY1109" fmla="*/ 595547 h 1779774"/>
                <a:gd name="connsiteX1110" fmla="*/ 509247 w 2299605"/>
                <a:gd name="connsiteY1110" fmla="*/ 595547 h 1779774"/>
                <a:gd name="connsiteX1111" fmla="*/ 506963 w 2299605"/>
                <a:gd name="connsiteY1111" fmla="*/ 595547 h 1779774"/>
                <a:gd name="connsiteX1112" fmla="*/ 504680 w 2299605"/>
                <a:gd name="connsiteY1112" fmla="*/ 595547 h 1779774"/>
                <a:gd name="connsiteX1113" fmla="*/ 504680 w 2299605"/>
                <a:gd name="connsiteY1113" fmla="*/ 593264 h 1779774"/>
                <a:gd name="connsiteX1114" fmla="*/ 502396 w 2299605"/>
                <a:gd name="connsiteY1114" fmla="*/ 593264 h 1779774"/>
                <a:gd name="connsiteX1115" fmla="*/ 500112 w 2299605"/>
                <a:gd name="connsiteY1115" fmla="*/ 593264 h 1779774"/>
                <a:gd name="connsiteX1116" fmla="*/ 500112 w 2299605"/>
                <a:gd name="connsiteY1116" fmla="*/ 590983 h 1779774"/>
                <a:gd name="connsiteX1117" fmla="*/ 497829 w 2299605"/>
                <a:gd name="connsiteY1117" fmla="*/ 590983 h 1779774"/>
                <a:gd name="connsiteX1118" fmla="*/ 495545 w 2299605"/>
                <a:gd name="connsiteY1118" fmla="*/ 590983 h 1779774"/>
                <a:gd name="connsiteX1119" fmla="*/ 493262 w 2299605"/>
                <a:gd name="connsiteY1119" fmla="*/ 590983 h 1779774"/>
                <a:gd name="connsiteX1120" fmla="*/ 493262 w 2299605"/>
                <a:gd name="connsiteY1120" fmla="*/ 588701 h 1779774"/>
                <a:gd name="connsiteX1121" fmla="*/ 490978 w 2299605"/>
                <a:gd name="connsiteY1121" fmla="*/ 588701 h 1779774"/>
                <a:gd name="connsiteX1122" fmla="*/ 488694 w 2299605"/>
                <a:gd name="connsiteY1122" fmla="*/ 588701 h 1779774"/>
                <a:gd name="connsiteX1123" fmla="*/ 486411 w 2299605"/>
                <a:gd name="connsiteY1123" fmla="*/ 588701 h 1779774"/>
                <a:gd name="connsiteX1124" fmla="*/ 486411 w 2299605"/>
                <a:gd name="connsiteY1124" fmla="*/ 586419 h 1779774"/>
                <a:gd name="connsiteX1125" fmla="*/ 484127 w 2299605"/>
                <a:gd name="connsiteY1125" fmla="*/ 586419 h 1779774"/>
                <a:gd name="connsiteX1126" fmla="*/ 481844 w 2299605"/>
                <a:gd name="connsiteY1126" fmla="*/ 586419 h 1779774"/>
                <a:gd name="connsiteX1127" fmla="*/ 479560 w 2299605"/>
                <a:gd name="connsiteY1127" fmla="*/ 586419 h 1779774"/>
                <a:gd name="connsiteX1128" fmla="*/ 477276 w 2299605"/>
                <a:gd name="connsiteY1128" fmla="*/ 586419 h 1779774"/>
                <a:gd name="connsiteX1129" fmla="*/ 474993 w 2299605"/>
                <a:gd name="connsiteY1129" fmla="*/ 586419 h 1779774"/>
                <a:gd name="connsiteX1130" fmla="*/ 472709 w 2299605"/>
                <a:gd name="connsiteY1130" fmla="*/ 586419 h 1779774"/>
                <a:gd name="connsiteX1131" fmla="*/ 472709 w 2299605"/>
                <a:gd name="connsiteY1131" fmla="*/ 584137 h 1779774"/>
                <a:gd name="connsiteX1132" fmla="*/ 472709 w 2299605"/>
                <a:gd name="connsiteY1132" fmla="*/ 581855 h 1779774"/>
                <a:gd name="connsiteX1133" fmla="*/ 472709 w 2299605"/>
                <a:gd name="connsiteY1133" fmla="*/ 579573 h 1779774"/>
                <a:gd name="connsiteX1134" fmla="*/ 474993 w 2299605"/>
                <a:gd name="connsiteY1134" fmla="*/ 579573 h 1779774"/>
                <a:gd name="connsiteX1135" fmla="*/ 474993 w 2299605"/>
                <a:gd name="connsiteY1135" fmla="*/ 577291 h 1779774"/>
                <a:gd name="connsiteX1136" fmla="*/ 472709 w 2299605"/>
                <a:gd name="connsiteY1136" fmla="*/ 577291 h 1779774"/>
                <a:gd name="connsiteX1137" fmla="*/ 472709 w 2299605"/>
                <a:gd name="connsiteY1137" fmla="*/ 575009 h 1779774"/>
                <a:gd name="connsiteX1138" fmla="*/ 472709 w 2299605"/>
                <a:gd name="connsiteY1138" fmla="*/ 572728 h 1779774"/>
                <a:gd name="connsiteX1139" fmla="*/ 470426 w 2299605"/>
                <a:gd name="connsiteY1139" fmla="*/ 572728 h 1779774"/>
                <a:gd name="connsiteX1140" fmla="*/ 470426 w 2299605"/>
                <a:gd name="connsiteY1140" fmla="*/ 570446 h 1779774"/>
                <a:gd name="connsiteX1141" fmla="*/ 472709 w 2299605"/>
                <a:gd name="connsiteY1141" fmla="*/ 570446 h 1779774"/>
                <a:gd name="connsiteX1142" fmla="*/ 472709 w 2299605"/>
                <a:gd name="connsiteY1142" fmla="*/ 568164 h 1779774"/>
                <a:gd name="connsiteX1143" fmla="*/ 472709 w 2299605"/>
                <a:gd name="connsiteY1143" fmla="*/ 565882 h 1779774"/>
                <a:gd name="connsiteX1144" fmla="*/ 474993 w 2299605"/>
                <a:gd name="connsiteY1144" fmla="*/ 565882 h 1779774"/>
                <a:gd name="connsiteX1145" fmla="*/ 477276 w 2299605"/>
                <a:gd name="connsiteY1145" fmla="*/ 565882 h 1779774"/>
                <a:gd name="connsiteX1146" fmla="*/ 479560 w 2299605"/>
                <a:gd name="connsiteY1146" fmla="*/ 563600 h 1779774"/>
                <a:gd name="connsiteX1147" fmla="*/ 479560 w 2299605"/>
                <a:gd name="connsiteY1147" fmla="*/ 561318 h 1779774"/>
                <a:gd name="connsiteX1148" fmla="*/ 479560 w 2299605"/>
                <a:gd name="connsiteY1148" fmla="*/ 559036 h 1779774"/>
                <a:gd name="connsiteX1149" fmla="*/ 481844 w 2299605"/>
                <a:gd name="connsiteY1149" fmla="*/ 559036 h 1779774"/>
                <a:gd name="connsiteX1150" fmla="*/ 481844 w 2299605"/>
                <a:gd name="connsiteY1150" fmla="*/ 556754 h 1779774"/>
                <a:gd name="connsiteX1151" fmla="*/ 484127 w 2299605"/>
                <a:gd name="connsiteY1151" fmla="*/ 556754 h 1779774"/>
                <a:gd name="connsiteX1152" fmla="*/ 486411 w 2299605"/>
                <a:gd name="connsiteY1152" fmla="*/ 556754 h 1779774"/>
                <a:gd name="connsiteX1153" fmla="*/ 486411 w 2299605"/>
                <a:gd name="connsiteY1153" fmla="*/ 554472 h 1779774"/>
                <a:gd name="connsiteX1154" fmla="*/ 488694 w 2299605"/>
                <a:gd name="connsiteY1154" fmla="*/ 554472 h 1779774"/>
                <a:gd name="connsiteX1155" fmla="*/ 488694 w 2299605"/>
                <a:gd name="connsiteY1155" fmla="*/ 552191 h 1779774"/>
                <a:gd name="connsiteX1156" fmla="*/ 488694 w 2299605"/>
                <a:gd name="connsiteY1156" fmla="*/ 549908 h 1779774"/>
                <a:gd name="connsiteX1157" fmla="*/ 490978 w 2299605"/>
                <a:gd name="connsiteY1157" fmla="*/ 549908 h 1779774"/>
                <a:gd name="connsiteX1158" fmla="*/ 490978 w 2299605"/>
                <a:gd name="connsiteY1158" fmla="*/ 547627 h 1779774"/>
                <a:gd name="connsiteX1159" fmla="*/ 488694 w 2299605"/>
                <a:gd name="connsiteY1159" fmla="*/ 547627 h 1779774"/>
                <a:gd name="connsiteX1160" fmla="*/ 486411 w 2299605"/>
                <a:gd name="connsiteY1160" fmla="*/ 547627 h 1779774"/>
                <a:gd name="connsiteX1161" fmla="*/ 486411 w 2299605"/>
                <a:gd name="connsiteY1161" fmla="*/ 545345 h 1779774"/>
                <a:gd name="connsiteX1162" fmla="*/ 484127 w 2299605"/>
                <a:gd name="connsiteY1162" fmla="*/ 545345 h 1779774"/>
                <a:gd name="connsiteX1163" fmla="*/ 481844 w 2299605"/>
                <a:gd name="connsiteY1163" fmla="*/ 545345 h 1779774"/>
                <a:gd name="connsiteX1164" fmla="*/ 481844 w 2299605"/>
                <a:gd name="connsiteY1164" fmla="*/ 543063 h 1779774"/>
                <a:gd name="connsiteX1165" fmla="*/ 484127 w 2299605"/>
                <a:gd name="connsiteY1165" fmla="*/ 543063 h 1779774"/>
                <a:gd name="connsiteX1166" fmla="*/ 484127 w 2299605"/>
                <a:gd name="connsiteY1166" fmla="*/ 540781 h 1779774"/>
                <a:gd name="connsiteX1167" fmla="*/ 481844 w 2299605"/>
                <a:gd name="connsiteY1167" fmla="*/ 540781 h 1779774"/>
                <a:gd name="connsiteX1168" fmla="*/ 481844 w 2299605"/>
                <a:gd name="connsiteY1168" fmla="*/ 538499 h 1779774"/>
                <a:gd name="connsiteX1169" fmla="*/ 484127 w 2299605"/>
                <a:gd name="connsiteY1169" fmla="*/ 538499 h 1779774"/>
                <a:gd name="connsiteX1170" fmla="*/ 484127 w 2299605"/>
                <a:gd name="connsiteY1170" fmla="*/ 536217 h 1779774"/>
                <a:gd name="connsiteX1171" fmla="*/ 486411 w 2299605"/>
                <a:gd name="connsiteY1171" fmla="*/ 536217 h 1779774"/>
                <a:gd name="connsiteX1172" fmla="*/ 488694 w 2299605"/>
                <a:gd name="connsiteY1172" fmla="*/ 536217 h 1779774"/>
                <a:gd name="connsiteX1173" fmla="*/ 490978 w 2299605"/>
                <a:gd name="connsiteY1173" fmla="*/ 536217 h 1779774"/>
                <a:gd name="connsiteX1174" fmla="*/ 493262 w 2299605"/>
                <a:gd name="connsiteY1174" fmla="*/ 531653 h 1779774"/>
                <a:gd name="connsiteX1175" fmla="*/ 490978 w 2299605"/>
                <a:gd name="connsiteY1175" fmla="*/ 529371 h 1779774"/>
                <a:gd name="connsiteX1176" fmla="*/ 488694 w 2299605"/>
                <a:gd name="connsiteY1176" fmla="*/ 527090 h 1779774"/>
                <a:gd name="connsiteX1177" fmla="*/ 486411 w 2299605"/>
                <a:gd name="connsiteY1177" fmla="*/ 524808 h 1779774"/>
                <a:gd name="connsiteX1178" fmla="*/ 484127 w 2299605"/>
                <a:gd name="connsiteY1178" fmla="*/ 517962 h 1779774"/>
                <a:gd name="connsiteX1179" fmla="*/ 481844 w 2299605"/>
                <a:gd name="connsiteY1179" fmla="*/ 515680 h 1779774"/>
                <a:gd name="connsiteX1180" fmla="*/ 481844 w 2299605"/>
                <a:gd name="connsiteY1180" fmla="*/ 513398 h 1779774"/>
                <a:gd name="connsiteX1181" fmla="*/ 477276 w 2299605"/>
                <a:gd name="connsiteY1181" fmla="*/ 506552 h 1779774"/>
                <a:gd name="connsiteX1182" fmla="*/ 474993 w 2299605"/>
                <a:gd name="connsiteY1182" fmla="*/ 499707 h 1779774"/>
                <a:gd name="connsiteX1183" fmla="*/ 477276 w 2299605"/>
                <a:gd name="connsiteY1183" fmla="*/ 499707 h 1779774"/>
                <a:gd name="connsiteX1184" fmla="*/ 481844 w 2299605"/>
                <a:gd name="connsiteY1184" fmla="*/ 497425 h 1779774"/>
                <a:gd name="connsiteX1185" fmla="*/ 481844 w 2299605"/>
                <a:gd name="connsiteY1185" fmla="*/ 495143 h 1779774"/>
                <a:gd name="connsiteX1186" fmla="*/ 481844 w 2299605"/>
                <a:gd name="connsiteY1186" fmla="*/ 492861 h 1779774"/>
                <a:gd name="connsiteX1187" fmla="*/ 484127 w 2299605"/>
                <a:gd name="connsiteY1187" fmla="*/ 492861 h 1779774"/>
                <a:gd name="connsiteX1188" fmla="*/ 484127 w 2299605"/>
                <a:gd name="connsiteY1188" fmla="*/ 490579 h 1779774"/>
                <a:gd name="connsiteX1189" fmla="*/ 484127 w 2299605"/>
                <a:gd name="connsiteY1189" fmla="*/ 488297 h 1779774"/>
                <a:gd name="connsiteX1190" fmla="*/ 481844 w 2299605"/>
                <a:gd name="connsiteY1190" fmla="*/ 486015 h 1779774"/>
                <a:gd name="connsiteX1191" fmla="*/ 481844 w 2299605"/>
                <a:gd name="connsiteY1191" fmla="*/ 483734 h 1779774"/>
                <a:gd name="connsiteX1192" fmla="*/ 479560 w 2299605"/>
                <a:gd name="connsiteY1192" fmla="*/ 481452 h 1779774"/>
                <a:gd name="connsiteX1193" fmla="*/ 479560 w 2299605"/>
                <a:gd name="connsiteY1193" fmla="*/ 479170 h 1779774"/>
                <a:gd name="connsiteX1194" fmla="*/ 481844 w 2299605"/>
                <a:gd name="connsiteY1194" fmla="*/ 479170 h 1779774"/>
                <a:gd name="connsiteX1195" fmla="*/ 481844 w 2299605"/>
                <a:gd name="connsiteY1195" fmla="*/ 476888 h 1779774"/>
                <a:gd name="connsiteX1196" fmla="*/ 481844 w 2299605"/>
                <a:gd name="connsiteY1196" fmla="*/ 474606 h 1779774"/>
                <a:gd name="connsiteX1197" fmla="*/ 484127 w 2299605"/>
                <a:gd name="connsiteY1197" fmla="*/ 474606 h 1779774"/>
                <a:gd name="connsiteX1198" fmla="*/ 484127 w 2299605"/>
                <a:gd name="connsiteY1198" fmla="*/ 472324 h 1779774"/>
                <a:gd name="connsiteX1199" fmla="*/ 484127 w 2299605"/>
                <a:gd name="connsiteY1199" fmla="*/ 470042 h 1779774"/>
                <a:gd name="connsiteX1200" fmla="*/ 486411 w 2299605"/>
                <a:gd name="connsiteY1200" fmla="*/ 470042 h 1779774"/>
                <a:gd name="connsiteX1201" fmla="*/ 486411 w 2299605"/>
                <a:gd name="connsiteY1201" fmla="*/ 467760 h 1779774"/>
                <a:gd name="connsiteX1202" fmla="*/ 486411 w 2299605"/>
                <a:gd name="connsiteY1202" fmla="*/ 465478 h 1779774"/>
                <a:gd name="connsiteX1203" fmla="*/ 484127 w 2299605"/>
                <a:gd name="connsiteY1203" fmla="*/ 463196 h 1779774"/>
                <a:gd name="connsiteX1204" fmla="*/ 484127 w 2299605"/>
                <a:gd name="connsiteY1204" fmla="*/ 460915 h 1779774"/>
                <a:gd name="connsiteX1205" fmla="*/ 484127 w 2299605"/>
                <a:gd name="connsiteY1205" fmla="*/ 458633 h 1779774"/>
                <a:gd name="connsiteX1206" fmla="*/ 481844 w 2299605"/>
                <a:gd name="connsiteY1206" fmla="*/ 458633 h 1779774"/>
                <a:gd name="connsiteX1207" fmla="*/ 479560 w 2299605"/>
                <a:gd name="connsiteY1207" fmla="*/ 458633 h 1779774"/>
                <a:gd name="connsiteX1208" fmla="*/ 477276 w 2299605"/>
                <a:gd name="connsiteY1208" fmla="*/ 458633 h 1779774"/>
                <a:gd name="connsiteX1209" fmla="*/ 477276 w 2299605"/>
                <a:gd name="connsiteY1209" fmla="*/ 460915 h 1779774"/>
                <a:gd name="connsiteX1210" fmla="*/ 474993 w 2299605"/>
                <a:gd name="connsiteY1210" fmla="*/ 460915 h 1779774"/>
                <a:gd name="connsiteX1211" fmla="*/ 472709 w 2299605"/>
                <a:gd name="connsiteY1211" fmla="*/ 460915 h 1779774"/>
                <a:gd name="connsiteX1212" fmla="*/ 472709 w 2299605"/>
                <a:gd name="connsiteY1212" fmla="*/ 458633 h 1779774"/>
                <a:gd name="connsiteX1213" fmla="*/ 472709 w 2299605"/>
                <a:gd name="connsiteY1213" fmla="*/ 456351 h 1779774"/>
                <a:gd name="connsiteX1214" fmla="*/ 474993 w 2299605"/>
                <a:gd name="connsiteY1214" fmla="*/ 454069 h 1779774"/>
                <a:gd name="connsiteX1215" fmla="*/ 474993 w 2299605"/>
                <a:gd name="connsiteY1215" fmla="*/ 451796 h 1779774"/>
                <a:gd name="connsiteX1216" fmla="*/ 477276 w 2299605"/>
                <a:gd name="connsiteY1216" fmla="*/ 451796 h 1779774"/>
                <a:gd name="connsiteX1217" fmla="*/ 477276 w 2299605"/>
                <a:gd name="connsiteY1217" fmla="*/ 449515 h 1779774"/>
                <a:gd name="connsiteX1218" fmla="*/ 477276 w 2299605"/>
                <a:gd name="connsiteY1218" fmla="*/ 447233 h 1779774"/>
                <a:gd name="connsiteX1219" fmla="*/ 479560 w 2299605"/>
                <a:gd name="connsiteY1219" fmla="*/ 444951 h 1779774"/>
                <a:gd name="connsiteX1220" fmla="*/ 479560 w 2299605"/>
                <a:gd name="connsiteY1220" fmla="*/ 442669 h 1779774"/>
                <a:gd name="connsiteX1221" fmla="*/ 481844 w 2299605"/>
                <a:gd name="connsiteY1221" fmla="*/ 442669 h 1779774"/>
                <a:gd name="connsiteX1222" fmla="*/ 481844 w 2299605"/>
                <a:gd name="connsiteY1222" fmla="*/ 440387 h 1779774"/>
                <a:gd name="connsiteX1223" fmla="*/ 479560 w 2299605"/>
                <a:gd name="connsiteY1223" fmla="*/ 440387 h 1779774"/>
                <a:gd name="connsiteX1224" fmla="*/ 479560 w 2299605"/>
                <a:gd name="connsiteY1224" fmla="*/ 438105 h 1779774"/>
                <a:gd name="connsiteX1225" fmla="*/ 477276 w 2299605"/>
                <a:gd name="connsiteY1225" fmla="*/ 438105 h 1779774"/>
                <a:gd name="connsiteX1226" fmla="*/ 477276 w 2299605"/>
                <a:gd name="connsiteY1226" fmla="*/ 435823 h 1779774"/>
                <a:gd name="connsiteX1227" fmla="*/ 474993 w 2299605"/>
                <a:gd name="connsiteY1227" fmla="*/ 435823 h 1779774"/>
                <a:gd name="connsiteX1228" fmla="*/ 472709 w 2299605"/>
                <a:gd name="connsiteY1228" fmla="*/ 438105 h 1779774"/>
                <a:gd name="connsiteX1229" fmla="*/ 470426 w 2299605"/>
                <a:gd name="connsiteY1229" fmla="*/ 438105 h 1779774"/>
                <a:gd name="connsiteX1230" fmla="*/ 468142 w 2299605"/>
                <a:gd name="connsiteY1230" fmla="*/ 438105 h 1779774"/>
                <a:gd name="connsiteX1231" fmla="*/ 465858 w 2299605"/>
                <a:gd name="connsiteY1231" fmla="*/ 438105 h 1779774"/>
                <a:gd name="connsiteX1232" fmla="*/ 465858 w 2299605"/>
                <a:gd name="connsiteY1232" fmla="*/ 435823 h 1779774"/>
                <a:gd name="connsiteX1233" fmla="*/ 463575 w 2299605"/>
                <a:gd name="connsiteY1233" fmla="*/ 435823 h 1779774"/>
                <a:gd name="connsiteX1234" fmla="*/ 461291 w 2299605"/>
                <a:gd name="connsiteY1234" fmla="*/ 433541 h 1779774"/>
                <a:gd name="connsiteX1235" fmla="*/ 459008 w 2299605"/>
                <a:gd name="connsiteY1235" fmla="*/ 433541 h 1779774"/>
                <a:gd name="connsiteX1236" fmla="*/ 459008 w 2299605"/>
                <a:gd name="connsiteY1236" fmla="*/ 435823 h 1779774"/>
                <a:gd name="connsiteX1237" fmla="*/ 456724 w 2299605"/>
                <a:gd name="connsiteY1237" fmla="*/ 435823 h 1779774"/>
                <a:gd name="connsiteX1238" fmla="*/ 454440 w 2299605"/>
                <a:gd name="connsiteY1238" fmla="*/ 435823 h 1779774"/>
                <a:gd name="connsiteX1239" fmla="*/ 454440 w 2299605"/>
                <a:gd name="connsiteY1239" fmla="*/ 433541 h 1779774"/>
                <a:gd name="connsiteX1240" fmla="*/ 456724 w 2299605"/>
                <a:gd name="connsiteY1240" fmla="*/ 433541 h 1779774"/>
                <a:gd name="connsiteX1241" fmla="*/ 456724 w 2299605"/>
                <a:gd name="connsiteY1241" fmla="*/ 431259 h 1779774"/>
                <a:gd name="connsiteX1242" fmla="*/ 459008 w 2299605"/>
                <a:gd name="connsiteY1242" fmla="*/ 431259 h 1779774"/>
                <a:gd name="connsiteX1243" fmla="*/ 459008 w 2299605"/>
                <a:gd name="connsiteY1243" fmla="*/ 428978 h 1779774"/>
                <a:gd name="connsiteX1244" fmla="*/ 459008 w 2299605"/>
                <a:gd name="connsiteY1244" fmla="*/ 426696 h 1779774"/>
                <a:gd name="connsiteX1245" fmla="*/ 459008 w 2299605"/>
                <a:gd name="connsiteY1245" fmla="*/ 424414 h 1779774"/>
                <a:gd name="connsiteX1246" fmla="*/ 459008 w 2299605"/>
                <a:gd name="connsiteY1246" fmla="*/ 422132 h 1779774"/>
                <a:gd name="connsiteX1247" fmla="*/ 461291 w 2299605"/>
                <a:gd name="connsiteY1247" fmla="*/ 422132 h 1779774"/>
                <a:gd name="connsiteX1248" fmla="*/ 461291 w 2299605"/>
                <a:gd name="connsiteY1248" fmla="*/ 419850 h 1779774"/>
                <a:gd name="connsiteX1249" fmla="*/ 461291 w 2299605"/>
                <a:gd name="connsiteY1249" fmla="*/ 417568 h 1779774"/>
                <a:gd name="connsiteX1250" fmla="*/ 463575 w 2299605"/>
                <a:gd name="connsiteY1250" fmla="*/ 417568 h 1779774"/>
                <a:gd name="connsiteX1251" fmla="*/ 463575 w 2299605"/>
                <a:gd name="connsiteY1251" fmla="*/ 415286 h 1779774"/>
                <a:gd name="connsiteX1252" fmla="*/ 463575 w 2299605"/>
                <a:gd name="connsiteY1252" fmla="*/ 413004 h 1779774"/>
                <a:gd name="connsiteX1253" fmla="*/ 463575 w 2299605"/>
                <a:gd name="connsiteY1253" fmla="*/ 410723 h 1779774"/>
                <a:gd name="connsiteX1254" fmla="*/ 463575 w 2299605"/>
                <a:gd name="connsiteY1254" fmla="*/ 408440 h 1779774"/>
                <a:gd name="connsiteX1255" fmla="*/ 463575 w 2299605"/>
                <a:gd name="connsiteY1255" fmla="*/ 406159 h 1779774"/>
                <a:gd name="connsiteX1256" fmla="*/ 463575 w 2299605"/>
                <a:gd name="connsiteY1256" fmla="*/ 403877 h 1779774"/>
                <a:gd name="connsiteX1257" fmla="*/ 463575 w 2299605"/>
                <a:gd name="connsiteY1257" fmla="*/ 401595 h 1779774"/>
                <a:gd name="connsiteX1258" fmla="*/ 463575 w 2299605"/>
                <a:gd name="connsiteY1258" fmla="*/ 399313 h 1779774"/>
                <a:gd name="connsiteX1259" fmla="*/ 463575 w 2299605"/>
                <a:gd name="connsiteY1259" fmla="*/ 397031 h 1779774"/>
                <a:gd name="connsiteX1260" fmla="*/ 461291 w 2299605"/>
                <a:gd name="connsiteY1260" fmla="*/ 397031 h 1779774"/>
                <a:gd name="connsiteX1261" fmla="*/ 461291 w 2299605"/>
                <a:gd name="connsiteY1261" fmla="*/ 394749 h 1779774"/>
                <a:gd name="connsiteX1262" fmla="*/ 459008 w 2299605"/>
                <a:gd name="connsiteY1262" fmla="*/ 394749 h 1779774"/>
                <a:gd name="connsiteX1263" fmla="*/ 459008 w 2299605"/>
                <a:gd name="connsiteY1263" fmla="*/ 392467 h 1779774"/>
                <a:gd name="connsiteX1264" fmla="*/ 459008 w 2299605"/>
                <a:gd name="connsiteY1264" fmla="*/ 390185 h 1779774"/>
                <a:gd name="connsiteX1265" fmla="*/ 461291 w 2299605"/>
                <a:gd name="connsiteY1265" fmla="*/ 390185 h 1779774"/>
                <a:gd name="connsiteX1266" fmla="*/ 459008 w 2299605"/>
                <a:gd name="connsiteY1266" fmla="*/ 387903 h 1779774"/>
                <a:gd name="connsiteX1267" fmla="*/ 459008 w 2299605"/>
                <a:gd name="connsiteY1267" fmla="*/ 385622 h 1779774"/>
                <a:gd name="connsiteX1268" fmla="*/ 459008 w 2299605"/>
                <a:gd name="connsiteY1268" fmla="*/ 383340 h 1779774"/>
                <a:gd name="connsiteX1269" fmla="*/ 456724 w 2299605"/>
                <a:gd name="connsiteY1269" fmla="*/ 383340 h 1779774"/>
                <a:gd name="connsiteX1270" fmla="*/ 456724 w 2299605"/>
                <a:gd name="connsiteY1270" fmla="*/ 381058 h 1779774"/>
                <a:gd name="connsiteX1271" fmla="*/ 454440 w 2299605"/>
                <a:gd name="connsiteY1271" fmla="*/ 381058 h 1779774"/>
                <a:gd name="connsiteX1272" fmla="*/ 454440 w 2299605"/>
                <a:gd name="connsiteY1272" fmla="*/ 378776 h 1779774"/>
                <a:gd name="connsiteX1273" fmla="*/ 452157 w 2299605"/>
                <a:gd name="connsiteY1273" fmla="*/ 378776 h 1779774"/>
                <a:gd name="connsiteX1274" fmla="*/ 452157 w 2299605"/>
                <a:gd name="connsiteY1274" fmla="*/ 376494 h 1779774"/>
                <a:gd name="connsiteX1275" fmla="*/ 449873 w 2299605"/>
                <a:gd name="connsiteY1275" fmla="*/ 376494 h 1779774"/>
                <a:gd name="connsiteX1276" fmla="*/ 447590 w 2299605"/>
                <a:gd name="connsiteY1276" fmla="*/ 376494 h 1779774"/>
                <a:gd name="connsiteX1277" fmla="*/ 447590 w 2299605"/>
                <a:gd name="connsiteY1277" fmla="*/ 374212 h 1779774"/>
                <a:gd name="connsiteX1278" fmla="*/ 445306 w 2299605"/>
                <a:gd name="connsiteY1278" fmla="*/ 374212 h 1779774"/>
                <a:gd name="connsiteX1279" fmla="*/ 443022 w 2299605"/>
                <a:gd name="connsiteY1279" fmla="*/ 374212 h 1779774"/>
                <a:gd name="connsiteX1280" fmla="*/ 443022 w 2299605"/>
                <a:gd name="connsiteY1280" fmla="*/ 371930 h 1779774"/>
                <a:gd name="connsiteX1281" fmla="*/ 440739 w 2299605"/>
                <a:gd name="connsiteY1281" fmla="*/ 371930 h 1779774"/>
                <a:gd name="connsiteX1282" fmla="*/ 440739 w 2299605"/>
                <a:gd name="connsiteY1282" fmla="*/ 369648 h 1779774"/>
                <a:gd name="connsiteX1283" fmla="*/ 443022 w 2299605"/>
                <a:gd name="connsiteY1283" fmla="*/ 367366 h 1779774"/>
                <a:gd name="connsiteX1284" fmla="*/ 443022 w 2299605"/>
                <a:gd name="connsiteY1284" fmla="*/ 365084 h 1779774"/>
                <a:gd name="connsiteX1285" fmla="*/ 445306 w 2299605"/>
                <a:gd name="connsiteY1285" fmla="*/ 362803 h 1779774"/>
                <a:gd name="connsiteX1286" fmla="*/ 445306 w 2299605"/>
                <a:gd name="connsiteY1286" fmla="*/ 360521 h 1779774"/>
                <a:gd name="connsiteX1287" fmla="*/ 445306 w 2299605"/>
                <a:gd name="connsiteY1287" fmla="*/ 358239 h 1779774"/>
                <a:gd name="connsiteX1288" fmla="*/ 447590 w 2299605"/>
                <a:gd name="connsiteY1288" fmla="*/ 355957 h 1779774"/>
                <a:gd name="connsiteX1289" fmla="*/ 447590 w 2299605"/>
                <a:gd name="connsiteY1289" fmla="*/ 353675 h 1779774"/>
                <a:gd name="connsiteX1290" fmla="*/ 449873 w 2299605"/>
                <a:gd name="connsiteY1290" fmla="*/ 351393 h 1779774"/>
                <a:gd name="connsiteX1291" fmla="*/ 447590 w 2299605"/>
                <a:gd name="connsiteY1291" fmla="*/ 349111 h 1779774"/>
                <a:gd name="connsiteX1292" fmla="*/ 445306 w 2299605"/>
                <a:gd name="connsiteY1292" fmla="*/ 349111 h 1779774"/>
                <a:gd name="connsiteX1293" fmla="*/ 443022 w 2299605"/>
                <a:gd name="connsiteY1293" fmla="*/ 346829 h 1779774"/>
                <a:gd name="connsiteX1294" fmla="*/ 440739 w 2299605"/>
                <a:gd name="connsiteY1294" fmla="*/ 346829 h 1779774"/>
                <a:gd name="connsiteX1295" fmla="*/ 438455 w 2299605"/>
                <a:gd name="connsiteY1295" fmla="*/ 344547 h 1779774"/>
                <a:gd name="connsiteX1296" fmla="*/ 436172 w 2299605"/>
                <a:gd name="connsiteY1296" fmla="*/ 344547 h 1779774"/>
                <a:gd name="connsiteX1297" fmla="*/ 433888 w 2299605"/>
                <a:gd name="connsiteY1297" fmla="*/ 344547 h 1779774"/>
                <a:gd name="connsiteX1298" fmla="*/ 433888 w 2299605"/>
                <a:gd name="connsiteY1298" fmla="*/ 342266 h 1779774"/>
                <a:gd name="connsiteX1299" fmla="*/ 431604 w 2299605"/>
                <a:gd name="connsiteY1299" fmla="*/ 342266 h 1779774"/>
                <a:gd name="connsiteX1300" fmla="*/ 431604 w 2299605"/>
                <a:gd name="connsiteY1300" fmla="*/ 339984 h 1779774"/>
                <a:gd name="connsiteX1301" fmla="*/ 429321 w 2299605"/>
                <a:gd name="connsiteY1301" fmla="*/ 337702 h 1779774"/>
                <a:gd name="connsiteX1302" fmla="*/ 429321 w 2299605"/>
                <a:gd name="connsiteY1302" fmla="*/ 335420 h 1779774"/>
                <a:gd name="connsiteX1303" fmla="*/ 429321 w 2299605"/>
                <a:gd name="connsiteY1303" fmla="*/ 333138 h 1779774"/>
                <a:gd name="connsiteX1304" fmla="*/ 427037 w 2299605"/>
                <a:gd name="connsiteY1304" fmla="*/ 333138 h 1779774"/>
                <a:gd name="connsiteX1305" fmla="*/ 427037 w 2299605"/>
                <a:gd name="connsiteY1305" fmla="*/ 330856 h 1779774"/>
                <a:gd name="connsiteX1306" fmla="*/ 427037 w 2299605"/>
                <a:gd name="connsiteY1306" fmla="*/ 328574 h 1779774"/>
                <a:gd name="connsiteX1307" fmla="*/ 424754 w 2299605"/>
                <a:gd name="connsiteY1307" fmla="*/ 328574 h 1779774"/>
                <a:gd name="connsiteX1308" fmla="*/ 424754 w 2299605"/>
                <a:gd name="connsiteY1308" fmla="*/ 326292 h 1779774"/>
                <a:gd name="connsiteX1309" fmla="*/ 424754 w 2299605"/>
                <a:gd name="connsiteY1309" fmla="*/ 324010 h 1779774"/>
                <a:gd name="connsiteX1310" fmla="*/ 424754 w 2299605"/>
                <a:gd name="connsiteY1310" fmla="*/ 321728 h 1779774"/>
                <a:gd name="connsiteX1311" fmla="*/ 424754 w 2299605"/>
                <a:gd name="connsiteY1311" fmla="*/ 319447 h 1779774"/>
                <a:gd name="connsiteX1312" fmla="*/ 424754 w 2299605"/>
                <a:gd name="connsiteY1312" fmla="*/ 317165 h 1779774"/>
                <a:gd name="connsiteX1313" fmla="*/ 424754 w 2299605"/>
                <a:gd name="connsiteY1313" fmla="*/ 314883 h 1779774"/>
                <a:gd name="connsiteX1314" fmla="*/ 424754 w 2299605"/>
                <a:gd name="connsiteY1314" fmla="*/ 312601 h 1779774"/>
                <a:gd name="connsiteX1315" fmla="*/ 424754 w 2299605"/>
                <a:gd name="connsiteY1315" fmla="*/ 310319 h 1779774"/>
                <a:gd name="connsiteX1316" fmla="*/ 424754 w 2299605"/>
                <a:gd name="connsiteY1316" fmla="*/ 308037 h 1779774"/>
                <a:gd name="connsiteX1317" fmla="*/ 424754 w 2299605"/>
                <a:gd name="connsiteY1317" fmla="*/ 305755 h 1779774"/>
                <a:gd name="connsiteX1318" fmla="*/ 424754 w 2299605"/>
                <a:gd name="connsiteY1318" fmla="*/ 301201 h 1779774"/>
                <a:gd name="connsiteX1319" fmla="*/ 422470 w 2299605"/>
                <a:gd name="connsiteY1319" fmla="*/ 298919 h 1779774"/>
                <a:gd name="connsiteX1320" fmla="*/ 422470 w 2299605"/>
                <a:gd name="connsiteY1320" fmla="*/ 296637 h 1779774"/>
                <a:gd name="connsiteX1321" fmla="*/ 422470 w 2299605"/>
                <a:gd name="connsiteY1321" fmla="*/ 294355 h 1779774"/>
                <a:gd name="connsiteX1322" fmla="*/ 422470 w 2299605"/>
                <a:gd name="connsiteY1322" fmla="*/ 289791 h 1779774"/>
                <a:gd name="connsiteX1323" fmla="*/ 422470 w 2299605"/>
                <a:gd name="connsiteY1323" fmla="*/ 287510 h 1779774"/>
                <a:gd name="connsiteX1324" fmla="*/ 422470 w 2299605"/>
                <a:gd name="connsiteY1324" fmla="*/ 285228 h 1779774"/>
                <a:gd name="connsiteX1325" fmla="*/ 422470 w 2299605"/>
                <a:gd name="connsiteY1325" fmla="*/ 282946 h 1779774"/>
                <a:gd name="connsiteX1326" fmla="*/ 422470 w 2299605"/>
                <a:gd name="connsiteY1326" fmla="*/ 280664 h 1779774"/>
                <a:gd name="connsiteX1327" fmla="*/ 422470 w 2299605"/>
                <a:gd name="connsiteY1327" fmla="*/ 278382 h 1779774"/>
                <a:gd name="connsiteX1328" fmla="*/ 420187 w 2299605"/>
                <a:gd name="connsiteY1328" fmla="*/ 273818 h 1779774"/>
                <a:gd name="connsiteX1329" fmla="*/ 417903 w 2299605"/>
                <a:gd name="connsiteY1329" fmla="*/ 269254 h 1779774"/>
                <a:gd name="connsiteX1330" fmla="*/ 417903 w 2299605"/>
                <a:gd name="connsiteY1330" fmla="*/ 266972 h 1779774"/>
                <a:gd name="connsiteX1331" fmla="*/ 415619 w 2299605"/>
                <a:gd name="connsiteY1331" fmla="*/ 264691 h 1779774"/>
                <a:gd name="connsiteX1332" fmla="*/ 406485 w 2299605"/>
                <a:gd name="connsiteY1332" fmla="*/ 253281 h 1779774"/>
                <a:gd name="connsiteX1333" fmla="*/ 406485 w 2299605"/>
                <a:gd name="connsiteY1333" fmla="*/ 250999 h 1779774"/>
                <a:gd name="connsiteX1334" fmla="*/ 406485 w 2299605"/>
                <a:gd name="connsiteY1334" fmla="*/ 248717 h 1779774"/>
                <a:gd name="connsiteX1335" fmla="*/ 404201 w 2299605"/>
                <a:gd name="connsiteY1335" fmla="*/ 248717 h 1779774"/>
                <a:gd name="connsiteX1336" fmla="*/ 404201 w 2299605"/>
                <a:gd name="connsiteY1336" fmla="*/ 246435 h 1779774"/>
                <a:gd name="connsiteX1337" fmla="*/ 404201 w 2299605"/>
                <a:gd name="connsiteY1337" fmla="*/ 244154 h 1779774"/>
                <a:gd name="connsiteX1338" fmla="*/ 404201 w 2299605"/>
                <a:gd name="connsiteY1338" fmla="*/ 241872 h 1779774"/>
                <a:gd name="connsiteX1339" fmla="*/ 404201 w 2299605"/>
                <a:gd name="connsiteY1339" fmla="*/ 239590 h 1779774"/>
                <a:gd name="connsiteX1340" fmla="*/ 404201 w 2299605"/>
                <a:gd name="connsiteY1340" fmla="*/ 235026 h 1779774"/>
                <a:gd name="connsiteX1341" fmla="*/ 404201 w 2299605"/>
                <a:gd name="connsiteY1341" fmla="*/ 232744 h 1779774"/>
                <a:gd name="connsiteX1342" fmla="*/ 404201 w 2299605"/>
                <a:gd name="connsiteY1342" fmla="*/ 230462 h 1779774"/>
                <a:gd name="connsiteX1343" fmla="*/ 404201 w 2299605"/>
                <a:gd name="connsiteY1343" fmla="*/ 225898 h 1779774"/>
                <a:gd name="connsiteX1344" fmla="*/ 404201 w 2299605"/>
                <a:gd name="connsiteY1344" fmla="*/ 223616 h 1779774"/>
                <a:gd name="connsiteX1345" fmla="*/ 404201 w 2299605"/>
                <a:gd name="connsiteY1345" fmla="*/ 221335 h 1779774"/>
                <a:gd name="connsiteX1346" fmla="*/ 404201 w 2299605"/>
                <a:gd name="connsiteY1346" fmla="*/ 219053 h 1779774"/>
                <a:gd name="connsiteX1347" fmla="*/ 408768 w 2299605"/>
                <a:gd name="connsiteY1347" fmla="*/ 214489 h 1779774"/>
                <a:gd name="connsiteX1348" fmla="*/ 411052 w 2299605"/>
                <a:gd name="connsiteY1348" fmla="*/ 214489 h 1779774"/>
                <a:gd name="connsiteX1349" fmla="*/ 413336 w 2299605"/>
                <a:gd name="connsiteY1349" fmla="*/ 212207 h 1779774"/>
                <a:gd name="connsiteX1350" fmla="*/ 415619 w 2299605"/>
                <a:gd name="connsiteY1350" fmla="*/ 209925 h 1779774"/>
                <a:gd name="connsiteX1351" fmla="*/ 420187 w 2299605"/>
                <a:gd name="connsiteY1351" fmla="*/ 209925 h 1779774"/>
                <a:gd name="connsiteX1352" fmla="*/ 422470 w 2299605"/>
                <a:gd name="connsiteY1352" fmla="*/ 207643 h 1779774"/>
                <a:gd name="connsiteX1353" fmla="*/ 424754 w 2299605"/>
                <a:gd name="connsiteY1353" fmla="*/ 205361 h 1779774"/>
                <a:gd name="connsiteX1354" fmla="*/ 429321 w 2299605"/>
                <a:gd name="connsiteY1354" fmla="*/ 203079 h 1779774"/>
                <a:gd name="connsiteX1355" fmla="*/ 424754 w 2299605"/>
                <a:gd name="connsiteY1355" fmla="*/ 200798 h 1779774"/>
                <a:gd name="connsiteX1356" fmla="*/ 422470 w 2299605"/>
                <a:gd name="connsiteY1356" fmla="*/ 198516 h 1779774"/>
                <a:gd name="connsiteX1357" fmla="*/ 420187 w 2299605"/>
                <a:gd name="connsiteY1357" fmla="*/ 198516 h 1779774"/>
                <a:gd name="connsiteX1358" fmla="*/ 415619 w 2299605"/>
                <a:gd name="connsiteY1358" fmla="*/ 196234 h 1779774"/>
                <a:gd name="connsiteX1359" fmla="*/ 411052 w 2299605"/>
                <a:gd name="connsiteY1359" fmla="*/ 193952 h 1779774"/>
                <a:gd name="connsiteX1360" fmla="*/ 406485 w 2299605"/>
                <a:gd name="connsiteY1360" fmla="*/ 191670 h 1779774"/>
                <a:gd name="connsiteX1361" fmla="*/ 401918 w 2299605"/>
                <a:gd name="connsiteY1361" fmla="*/ 189388 h 1779774"/>
                <a:gd name="connsiteX1362" fmla="*/ 397351 w 2299605"/>
                <a:gd name="connsiteY1362" fmla="*/ 187106 h 1779774"/>
                <a:gd name="connsiteX1363" fmla="*/ 392783 w 2299605"/>
                <a:gd name="connsiteY1363" fmla="*/ 184824 h 1779774"/>
                <a:gd name="connsiteX1364" fmla="*/ 388216 w 2299605"/>
                <a:gd name="connsiteY1364" fmla="*/ 182542 h 1779774"/>
                <a:gd name="connsiteX1365" fmla="*/ 388216 w 2299605"/>
                <a:gd name="connsiteY1365" fmla="*/ 180260 h 1779774"/>
                <a:gd name="connsiteX1366" fmla="*/ 417903 w 2299605"/>
                <a:gd name="connsiteY1366" fmla="*/ 171133 h 1779774"/>
                <a:gd name="connsiteX1367" fmla="*/ 417903 w 2299605"/>
                <a:gd name="connsiteY1367" fmla="*/ 168851 h 1779774"/>
                <a:gd name="connsiteX1368" fmla="*/ 417903 w 2299605"/>
                <a:gd name="connsiteY1368" fmla="*/ 166569 h 1779774"/>
                <a:gd name="connsiteX1369" fmla="*/ 415619 w 2299605"/>
                <a:gd name="connsiteY1369" fmla="*/ 146032 h 1779774"/>
                <a:gd name="connsiteX1370" fmla="*/ 415619 w 2299605"/>
                <a:gd name="connsiteY1370" fmla="*/ 143750 h 1779774"/>
                <a:gd name="connsiteX1371" fmla="*/ 413336 w 2299605"/>
                <a:gd name="connsiteY1371" fmla="*/ 141478 h 1779774"/>
                <a:gd name="connsiteX1372" fmla="*/ 413336 w 2299605"/>
                <a:gd name="connsiteY1372" fmla="*/ 134632 h 1779774"/>
                <a:gd name="connsiteX1373" fmla="*/ 413336 w 2299605"/>
                <a:gd name="connsiteY1373" fmla="*/ 130068 h 1779774"/>
                <a:gd name="connsiteX1374" fmla="*/ 413336 w 2299605"/>
                <a:gd name="connsiteY1374" fmla="*/ 127786 h 1779774"/>
                <a:gd name="connsiteX1375" fmla="*/ 411052 w 2299605"/>
                <a:gd name="connsiteY1375" fmla="*/ 125504 h 1779774"/>
                <a:gd name="connsiteX1376" fmla="*/ 411052 w 2299605"/>
                <a:gd name="connsiteY1376" fmla="*/ 123223 h 1779774"/>
                <a:gd name="connsiteX1377" fmla="*/ 411052 w 2299605"/>
                <a:gd name="connsiteY1377" fmla="*/ 120940 h 1779774"/>
                <a:gd name="connsiteX1378" fmla="*/ 408768 w 2299605"/>
                <a:gd name="connsiteY1378" fmla="*/ 118659 h 1779774"/>
                <a:gd name="connsiteX1379" fmla="*/ 404201 w 2299605"/>
                <a:gd name="connsiteY1379" fmla="*/ 118659 h 1779774"/>
                <a:gd name="connsiteX1380" fmla="*/ 399634 w 2299605"/>
                <a:gd name="connsiteY1380" fmla="*/ 118659 h 1779774"/>
                <a:gd name="connsiteX1381" fmla="*/ 397351 w 2299605"/>
                <a:gd name="connsiteY1381" fmla="*/ 116377 h 1779774"/>
                <a:gd name="connsiteX1382" fmla="*/ 395067 w 2299605"/>
                <a:gd name="connsiteY1382" fmla="*/ 116377 h 1779774"/>
                <a:gd name="connsiteX1383" fmla="*/ 392783 w 2299605"/>
                <a:gd name="connsiteY1383" fmla="*/ 116377 h 1779774"/>
                <a:gd name="connsiteX1384" fmla="*/ 390500 w 2299605"/>
                <a:gd name="connsiteY1384" fmla="*/ 114095 h 1779774"/>
                <a:gd name="connsiteX1385" fmla="*/ 388216 w 2299605"/>
                <a:gd name="connsiteY1385" fmla="*/ 114095 h 1779774"/>
                <a:gd name="connsiteX1386" fmla="*/ 383647 w 2299605"/>
                <a:gd name="connsiteY1386" fmla="*/ 114095 h 1779774"/>
                <a:gd name="connsiteX1387" fmla="*/ 383647 w 2299605"/>
                <a:gd name="connsiteY1387" fmla="*/ 111813 h 1779774"/>
                <a:gd name="connsiteX1388" fmla="*/ 381363 w 2299605"/>
                <a:gd name="connsiteY1388" fmla="*/ 111813 h 1779774"/>
                <a:gd name="connsiteX1389" fmla="*/ 379080 w 2299605"/>
                <a:gd name="connsiteY1389" fmla="*/ 111813 h 1779774"/>
                <a:gd name="connsiteX1390" fmla="*/ 376797 w 2299605"/>
                <a:gd name="connsiteY1390" fmla="*/ 109531 h 1779774"/>
                <a:gd name="connsiteX1391" fmla="*/ 374514 w 2299605"/>
                <a:gd name="connsiteY1391" fmla="*/ 107249 h 1779774"/>
                <a:gd name="connsiteX1392" fmla="*/ 372229 w 2299605"/>
                <a:gd name="connsiteY1392" fmla="*/ 107249 h 1779774"/>
                <a:gd name="connsiteX1393" fmla="*/ 372229 w 2299605"/>
                <a:gd name="connsiteY1393" fmla="*/ 104967 h 1779774"/>
                <a:gd name="connsiteX1394" fmla="*/ 367662 w 2299605"/>
                <a:gd name="connsiteY1394" fmla="*/ 104967 h 1779774"/>
                <a:gd name="connsiteX1395" fmla="*/ 365378 w 2299605"/>
                <a:gd name="connsiteY1395" fmla="*/ 102685 h 1779774"/>
                <a:gd name="connsiteX1396" fmla="*/ 363096 w 2299605"/>
                <a:gd name="connsiteY1396" fmla="*/ 100404 h 1779774"/>
                <a:gd name="connsiteX1397" fmla="*/ 356244 w 2299605"/>
                <a:gd name="connsiteY1397" fmla="*/ 95840 h 1779774"/>
                <a:gd name="connsiteX1398" fmla="*/ 353960 w 2299605"/>
                <a:gd name="connsiteY1398" fmla="*/ 93558 h 1779774"/>
                <a:gd name="connsiteX1399" fmla="*/ 353960 w 2299605"/>
                <a:gd name="connsiteY1399" fmla="*/ 91276 h 1779774"/>
                <a:gd name="connsiteX1400" fmla="*/ 353960 w 2299605"/>
                <a:gd name="connsiteY1400" fmla="*/ 88994 h 1779774"/>
                <a:gd name="connsiteX1401" fmla="*/ 351677 w 2299605"/>
                <a:gd name="connsiteY1401" fmla="*/ 86712 h 1779774"/>
                <a:gd name="connsiteX1402" fmla="*/ 351677 w 2299605"/>
                <a:gd name="connsiteY1402" fmla="*/ 84430 h 1779774"/>
                <a:gd name="connsiteX1403" fmla="*/ 351677 w 2299605"/>
                <a:gd name="connsiteY1403" fmla="*/ 82148 h 1779774"/>
                <a:gd name="connsiteX1404" fmla="*/ 351677 w 2299605"/>
                <a:gd name="connsiteY1404" fmla="*/ 79867 h 1779774"/>
                <a:gd name="connsiteX1405" fmla="*/ 351677 w 2299605"/>
                <a:gd name="connsiteY1405" fmla="*/ 77584 h 1779774"/>
                <a:gd name="connsiteX1406" fmla="*/ 351677 w 2299605"/>
                <a:gd name="connsiteY1406" fmla="*/ 75303 h 1779774"/>
                <a:gd name="connsiteX1407" fmla="*/ 351677 w 2299605"/>
                <a:gd name="connsiteY1407" fmla="*/ 73021 h 1779774"/>
                <a:gd name="connsiteX1408" fmla="*/ 349393 w 2299605"/>
                <a:gd name="connsiteY1408" fmla="*/ 70739 h 1779774"/>
                <a:gd name="connsiteX1409" fmla="*/ 347110 w 2299605"/>
                <a:gd name="connsiteY1409" fmla="*/ 68457 h 1779774"/>
                <a:gd name="connsiteX1410" fmla="*/ 347110 w 2299605"/>
                <a:gd name="connsiteY1410" fmla="*/ 66175 h 1779774"/>
                <a:gd name="connsiteX1411" fmla="*/ 344826 w 2299605"/>
                <a:gd name="connsiteY1411" fmla="*/ 63893 h 1779774"/>
                <a:gd name="connsiteX1412" fmla="*/ 342542 w 2299605"/>
                <a:gd name="connsiteY1412" fmla="*/ 61611 h 1779774"/>
                <a:gd name="connsiteX1413" fmla="*/ 342542 w 2299605"/>
                <a:gd name="connsiteY1413" fmla="*/ 59329 h 1779774"/>
                <a:gd name="connsiteX1414" fmla="*/ 340259 w 2299605"/>
                <a:gd name="connsiteY1414" fmla="*/ 57047 h 1779774"/>
                <a:gd name="connsiteX1415" fmla="*/ 337975 w 2299605"/>
                <a:gd name="connsiteY1415" fmla="*/ 54766 h 1779774"/>
                <a:gd name="connsiteX1416" fmla="*/ 337975 w 2299605"/>
                <a:gd name="connsiteY1416" fmla="*/ 52484 h 1779774"/>
                <a:gd name="connsiteX1417" fmla="*/ 333408 w 2299605"/>
                <a:gd name="connsiteY1417" fmla="*/ 52484 h 1779774"/>
                <a:gd name="connsiteX1418" fmla="*/ 331124 w 2299605"/>
                <a:gd name="connsiteY1418" fmla="*/ 52484 h 1779774"/>
                <a:gd name="connsiteX1419" fmla="*/ 328841 w 2299605"/>
                <a:gd name="connsiteY1419" fmla="*/ 52484 h 1779774"/>
                <a:gd name="connsiteX1420" fmla="*/ 326557 w 2299605"/>
                <a:gd name="connsiteY1420" fmla="*/ 52484 h 1779774"/>
                <a:gd name="connsiteX1421" fmla="*/ 324274 w 2299605"/>
                <a:gd name="connsiteY1421" fmla="*/ 52484 h 1779774"/>
                <a:gd name="connsiteX1422" fmla="*/ 319706 w 2299605"/>
                <a:gd name="connsiteY1422" fmla="*/ 52484 h 1779774"/>
                <a:gd name="connsiteX1423" fmla="*/ 315139 w 2299605"/>
                <a:gd name="connsiteY1423" fmla="*/ 52484 h 1779774"/>
                <a:gd name="connsiteX1424" fmla="*/ 310572 w 2299605"/>
                <a:gd name="connsiteY1424" fmla="*/ 52484 h 1779774"/>
                <a:gd name="connsiteX1425" fmla="*/ 308288 w 2299605"/>
                <a:gd name="connsiteY1425" fmla="*/ 52484 h 1779774"/>
                <a:gd name="connsiteX1426" fmla="*/ 303721 w 2299605"/>
                <a:gd name="connsiteY1426" fmla="*/ 50202 h 1779774"/>
                <a:gd name="connsiteX1427" fmla="*/ 299154 w 2299605"/>
                <a:gd name="connsiteY1427" fmla="*/ 50202 h 1779774"/>
                <a:gd name="connsiteX1428" fmla="*/ 296870 w 2299605"/>
                <a:gd name="connsiteY1428" fmla="*/ 47920 h 1779774"/>
                <a:gd name="connsiteX1429" fmla="*/ 296870 w 2299605"/>
                <a:gd name="connsiteY1429" fmla="*/ 45638 h 1779774"/>
                <a:gd name="connsiteX1430" fmla="*/ 294587 w 2299605"/>
                <a:gd name="connsiteY1430" fmla="*/ 45638 h 1779774"/>
                <a:gd name="connsiteX1431" fmla="*/ 294587 w 2299605"/>
                <a:gd name="connsiteY1431" fmla="*/ 43356 h 1779774"/>
                <a:gd name="connsiteX1432" fmla="*/ 292303 w 2299605"/>
                <a:gd name="connsiteY1432" fmla="*/ 41074 h 1779774"/>
                <a:gd name="connsiteX1433" fmla="*/ 292303 w 2299605"/>
                <a:gd name="connsiteY1433" fmla="*/ 38792 h 1779774"/>
                <a:gd name="connsiteX1434" fmla="*/ 290019 w 2299605"/>
                <a:gd name="connsiteY1434" fmla="*/ 36511 h 1779774"/>
                <a:gd name="connsiteX1435" fmla="*/ 287736 w 2299605"/>
                <a:gd name="connsiteY1435" fmla="*/ 34228 h 1779774"/>
                <a:gd name="connsiteX1436" fmla="*/ 287736 w 2299605"/>
                <a:gd name="connsiteY1436" fmla="*/ 31947 h 1779774"/>
                <a:gd name="connsiteX1437" fmla="*/ 285452 w 2299605"/>
                <a:gd name="connsiteY1437" fmla="*/ 29665 h 1779774"/>
                <a:gd name="connsiteX1438" fmla="*/ 285452 w 2299605"/>
                <a:gd name="connsiteY1438" fmla="*/ 27383 h 1779774"/>
                <a:gd name="connsiteX1439" fmla="*/ 283169 w 2299605"/>
                <a:gd name="connsiteY1439" fmla="*/ 27383 h 1779774"/>
                <a:gd name="connsiteX1440" fmla="*/ 283169 w 2299605"/>
                <a:gd name="connsiteY1440" fmla="*/ 25101 h 1779774"/>
                <a:gd name="connsiteX1441" fmla="*/ 280885 w 2299605"/>
                <a:gd name="connsiteY1441" fmla="*/ 22819 h 1779774"/>
                <a:gd name="connsiteX1442" fmla="*/ 280885 w 2299605"/>
                <a:gd name="connsiteY1442" fmla="*/ 20537 h 1779774"/>
                <a:gd name="connsiteX1443" fmla="*/ 276317 w 2299605"/>
                <a:gd name="connsiteY1443" fmla="*/ 18255 h 1779774"/>
                <a:gd name="connsiteX1444" fmla="*/ 276317 w 2299605"/>
                <a:gd name="connsiteY1444" fmla="*/ 15973 h 1779774"/>
                <a:gd name="connsiteX1445" fmla="*/ 269467 w 2299605"/>
                <a:gd name="connsiteY1445" fmla="*/ 6846 h 1779774"/>
                <a:gd name="connsiteX1446" fmla="*/ 269467 w 2299605"/>
                <a:gd name="connsiteY1446" fmla="*/ 4564 h 1779774"/>
                <a:gd name="connsiteX1447" fmla="*/ 267183 w 2299605"/>
                <a:gd name="connsiteY1447" fmla="*/ 4564 h 1779774"/>
                <a:gd name="connsiteX1448" fmla="*/ 267183 w 2299605"/>
                <a:gd name="connsiteY1448" fmla="*/ 2282 h 1779774"/>
                <a:gd name="connsiteX1449" fmla="*/ 264899 w 2299605"/>
                <a:gd name="connsiteY1449" fmla="*/ 0 h 1779774"/>
                <a:gd name="connsiteX1450" fmla="*/ 264899 w 2299605"/>
                <a:gd name="connsiteY1450" fmla="*/ 2282 h 1779774"/>
                <a:gd name="connsiteX1451" fmla="*/ 262615 w 2299605"/>
                <a:gd name="connsiteY1451" fmla="*/ 2282 h 1779774"/>
                <a:gd name="connsiteX1452" fmla="*/ 260332 w 2299605"/>
                <a:gd name="connsiteY1452" fmla="*/ 2282 h 1779774"/>
                <a:gd name="connsiteX1453" fmla="*/ 258049 w 2299605"/>
                <a:gd name="connsiteY1453" fmla="*/ 2282 h 1779774"/>
                <a:gd name="connsiteX1454" fmla="*/ 258049 w 2299605"/>
                <a:gd name="connsiteY1454" fmla="*/ 4564 h 1779774"/>
                <a:gd name="connsiteX1455" fmla="*/ 255765 w 2299605"/>
                <a:gd name="connsiteY1455" fmla="*/ 4564 h 1779774"/>
                <a:gd name="connsiteX1456" fmla="*/ 251198 w 2299605"/>
                <a:gd name="connsiteY1456" fmla="*/ 4564 h 1779774"/>
                <a:gd name="connsiteX1457" fmla="*/ 251198 w 2299605"/>
                <a:gd name="connsiteY1457" fmla="*/ 6846 h 1779774"/>
                <a:gd name="connsiteX1458" fmla="*/ 248914 w 2299605"/>
                <a:gd name="connsiteY1458" fmla="*/ 6846 h 1779774"/>
                <a:gd name="connsiteX1459" fmla="*/ 246630 w 2299605"/>
                <a:gd name="connsiteY1459" fmla="*/ 6846 h 1779774"/>
                <a:gd name="connsiteX1460" fmla="*/ 244347 w 2299605"/>
                <a:gd name="connsiteY1460" fmla="*/ 6846 h 1779774"/>
                <a:gd name="connsiteX1461" fmla="*/ 244347 w 2299605"/>
                <a:gd name="connsiteY1461" fmla="*/ 9128 h 1779774"/>
                <a:gd name="connsiteX1462" fmla="*/ 242063 w 2299605"/>
                <a:gd name="connsiteY1462" fmla="*/ 9128 h 1779774"/>
                <a:gd name="connsiteX1463" fmla="*/ 242063 w 2299605"/>
                <a:gd name="connsiteY1463" fmla="*/ 11410 h 1779774"/>
                <a:gd name="connsiteX1464" fmla="*/ 242063 w 2299605"/>
                <a:gd name="connsiteY1464" fmla="*/ 13691 h 1779774"/>
                <a:gd name="connsiteX1465" fmla="*/ 239780 w 2299605"/>
                <a:gd name="connsiteY1465" fmla="*/ 15973 h 1779774"/>
                <a:gd name="connsiteX1466" fmla="*/ 239780 w 2299605"/>
                <a:gd name="connsiteY1466" fmla="*/ 18255 h 1779774"/>
                <a:gd name="connsiteX1467" fmla="*/ 239780 w 2299605"/>
                <a:gd name="connsiteY1467" fmla="*/ 20537 h 1779774"/>
                <a:gd name="connsiteX1468" fmla="*/ 239780 w 2299605"/>
                <a:gd name="connsiteY1468" fmla="*/ 22819 h 1779774"/>
                <a:gd name="connsiteX1469" fmla="*/ 239780 w 2299605"/>
                <a:gd name="connsiteY1469" fmla="*/ 25101 h 1779774"/>
                <a:gd name="connsiteX1470" fmla="*/ 239780 w 2299605"/>
                <a:gd name="connsiteY1470" fmla="*/ 27383 h 1779774"/>
                <a:gd name="connsiteX1471" fmla="*/ 239780 w 2299605"/>
                <a:gd name="connsiteY1471" fmla="*/ 29665 h 1779774"/>
                <a:gd name="connsiteX1472" fmla="*/ 239780 w 2299605"/>
                <a:gd name="connsiteY1472" fmla="*/ 31947 h 1779774"/>
                <a:gd name="connsiteX1473" fmla="*/ 237496 w 2299605"/>
                <a:gd name="connsiteY1473" fmla="*/ 34228 h 1779774"/>
                <a:gd name="connsiteX1474" fmla="*/ 237496 w 2299605"/>
                <a:gd name="connsiteY1474" fmla="*/ 36511 h 1779774"/>
                <a:gd name="connsiteX1475" fmla="*/ 237496 w 2299605"/>
                <a:gd name="connsiteY1475" fmla="*/ 38792 h 1779774"/>
                <a:gd name="connsiteX1476" fmla="*/ 237496 w 2299605"/>
                <a:gd name="connsiteY1476" fmla="*/ 41074 h 1779774"/>
                <a:gd name="connsiteX1477" fmla="*/ 239780 w 2299605"/>
                <a:gd name="connsiteY1477" fmla="*/ 45638 h 1779774"/>
                <a:gd name="connsiteX1478" fmla="*/ 242063 w 2299605"/>
                <a:gd name="connsiteY1478" fmla="*/ 50202 h 1779774"/>
                <a:gd name="connsiteX1479" fmla="*/ 242063 w 2299605"/>
                <a:gd name="connsiteY1479" fmla="*/ 52484 h 1779774"/>
                <a:gd name="connsiteX1480" fmla="*/ 244347 w 2299605"/>
                <a:gd name="connsiteY1480" fmla="*/ 54766 h 1779774"/>
                <a:gd name="connsiteX1481" fmla="*/ 246630 w 2299605"/>
                <a:gd name="connsiteY1481" fmla="*/ 59329 h 1779774"/>
                <a:gd name="connsiteX1482" fmla="*/ 246630 w 2299605"/>
                <a:gd name="connsiteY1482" fmla="*/ 61611 h 1779774"/>
                <a:gd name="connsiteX1483" fmla="*/ 248914 w 2299605"/>
                <a:gd name="connsiteY1483" fmla="*/ 66175 h 1779774"/>
                <a:gd name="connsiteX1484" fmla="*/ 251198 w 2299605"/>
                <a:gd name="connsiteY1484" fmla="*/ 70739 h 1779774"/>
                <a:gd name="connsiteX1485" fmla="*/ 248914 w 2299605"/>
                <a:gd name="connsiteY1485" fmla="*/ 68457 h 1779774"/>
                <a:gd name="connsiteX1486" fmla="*/ 246630 w 2299605"/>
                <a:gd name="connsiteY1486" fmla="*/ 66175 h 1779774"/>
                <a:gd name="connsiteX1487" fmla="*/ 244347 w 2299605"/>
                <a:gd name="connsiteY1487" fmla="*/ 63893 h 1779774"/>
                <a:gd name="connsiteX1488" fmla="*/ 223794 w 2299605"/>
                <a:gd name="connsiteY1488" fmla="*/ 38792 h 1779774"/>
                <a:gd name="connsiteX1489" fmla="*/ 219227 w 2299605"/>
                <a:gd name="connsiteY1489" fmla="*/ 36511 h 1779774"/>
                <a:gd name="connsiteX1490" fmla="*/ 219227 w 2299605"/>
                <a:gd name="connsiteY1490" fmla="*/ 34228 h 1779774"/>
                <a:gd name="connsiteX1491" fmla="*/ 216944 w 2299605"/>
                <a:gd name="connsiteY1491" fmla="*/ 34228 h 1779774"/>
                <a:gd name="connsiteX1492" fmla="*/ 214660 w 2299605"/>
                <a:gd name="connsiteY1492" fmla="*/ 31947 h 1779774"/>
                <a:gd name="connsiteX1493" fmla="*/ 212376 w 2299605"/>
                <a:gd name="connsiteY1493" fmla="*/ 29665 h 1779774"/>
                <a:gd name="connsiteX1494" fmla="*/ 212376 w 2299605"/>
                <a:gd name="connsiteY1494" fmla="*/ 27383 h 1779774"/>
                <a:gd name="connsiteX1495" fmla="*/ 210093 w 2299605"/>
                <a:gd name="connsiteY1495" fmla="*/ 27383 h 1779774"/>
                <a:gd name="connsiteX1496" fmla="*/ 207809 w 2299605"/>
                <a:gd name="connsiteY1496" fmla="*/ 25101 h 1779774"/>
                <a:gd name="connsiteX1497" fmla="*/ 205526 w 2299605"/>
                <a:gd name="connsiteY1497" fmla="*/ 22819 h 1779774"/>
                <a:gd name="connsiteX1498" fmla="*/ 203242 w 2299605"/>
                <a:gd name="connsiteY1498" fmla="*/ 22819 h 1779774"/>
                <a:gd name="connsiteX1499" fmla="*/ 200958 w 2299605"/>
                <a:gd name="connsiteY1499" fmla="*/ 20537 h 1779774"/>
                <a:gd name="connsiteX1500" fmla="*/ 200958 w 2299605"/>
                <a:gd name="connsiteY1500" fmla="*/ 22819 h 1779774"/>
                <a:gd name="connsiteX1501" fmla="*/ 200958 w 2299605"/>
                <a:gd name="connsiteY1501" fmla="*/ 25101 h 1779774"/>
                <a:gd name="connsiteX1502" fmla="*/ 203242 w 2299605"/>
                <a:gd name="connsiteY1502" fmla="*/ 27383 h 1779774"/>
                <a:gd name="connsiteX1503" fmla="*/ 203242 w 2299605"/>
                <a:gd name="connsiteY1503" fmla="*/ 29665 h 1779774"/>
                <a:gd name="connsiteX1504" fmla="*/ 205526 w 2299605"/>
                <a:gd name="connsiteY1504" fmla="*/ 29665 h 1779774"/>
                <a:gd name="connsiteX1505" fmla="*/ 205526 w 2299605"/>
                <a:gd name="connsiteY1505" fmla="*/ 31947 h 1779774"/>
                <a:gd name="connsiteX1506" fmla="*/ 207809 w 2299605"/>
                <a:gd name="connsiteY1506" fmla="*/ 34228 h 1779774"/>
                <a:gd name="connsiteX1507" fmla="*/ 207809 w 2299605"/>
                <a:gd name="connsiteY1507" fmla="*/ 36511 h 1779774"/>
                <a:gd name="connsiteX1508" fmla="*/ 207809 w 2299605"/>
                <a:gd name="connsiteY1508" fmla="*/ 38792 h 1779774"/>
                <a:gd name="connsiteX1509" fmla="*/ 210093 w 2299605"/>
                <a:gd name="connsiteY1509" fmla="*/ 41074 h 1779774"/>
                <a:gd name="connsiteX1510" fmla="*/ 212376 w 2299605"/>
                <a:gd name="connsiteY1510" fmla="*/ 43356 h 1779774"/>
                <a:gd name="connsiteX1511" fmla="*/ 212376 w 2299605"/>
                <a:gd name="connsiteY1511" fmla="*/ 45638 h 1779774"/>
                <a:gd name="connsiteX1512" fmla="*/ 212376 w 2299605"/>
                <a:gd name="connsiteY1512" fmla="*/ 47920 h 1779774"/>
                <a:gd name="connsiteX1513" fmla="*/ 210093 w 2299605"/>
                <a:gd name="connsiteY1513" fmla="*/ 50202 h 1779774"/>
                <a:gd name="connsiteX1514" fmla="*/ 207809 w 2299605"/>
                <a:gd name="connsiteY1514" fmla="*/ 52484 h 1779774"/>
                <a:gd name="connsiteX1515" fmla="*/ 207809 w 2299605"/>
                <a:gd name="connsiteY1515" fmla="*/ 54766 h 1779774"/>
                <a:gd name="connsiteX1516" fmla="*/ 207809 w 2299605"/>
                <a:gd name="connsiteY1516" fmla="*/ 57047 h 1779774"/>
                <a:gd name="connsiteX1517" fmla="*/ 205526 w 2299605"/>
                <a:gd name="connsiteY1517" fmla="*/ 61611 h 1779774"/>
                <a:gd name="connsiteX1518" fmla="*/ 203242 w 2299605"/>
                <a:gd name="connsiteY1518" fmla="*/ 63893 h 1779774"/>
                <a:gd name="connsiteX1519" fmla="*/ 203242 w 2299605"/>
                <a:gd name="connsiteY1519" fmla="*/ 66175 h 1779774"/>
                <a:gd name="connsiteX1520" fmla="*/ 200958 w 2299605"/>
                <a:gd name="connsiteY1520" fmla="*/ 68457 h 1779774"/>
                <a:gd name="connsiteX1521" fmla="*/ 198675 w 2299605"/>
                <a:gd name="connsiteY1521" fmla="*/ 73021 h 1779774"/>
                <a:gd name="connsiteX1522" fmla="*/ 200958 w 2299605"/>
                <a:gd name="connsiteY1522" fmla="*/ 100404 h 1779774"/>
                <a:gd name="connsiteX1523" fmla="*/ 200958 w 2299605"/>
                <a:gd name="connsiteY1523" fmla="*/ 104967 h 1779774"/>
                <a:gd name="connsiteX1524" fmla="*/ 198675 w 2299605"/>
                <a:gd name="connsiteY1524" fmla="*/ 107249 h 1779774"/>
                <a:gd name="connsiteX1525" fmla="*/ 196390 w 2299605"/>
                <a:gd name="connsiteY1525" fmla="*/ 111813 h 1779774"/>
                <a:gd name="connsiteX1526" fmla="*/ 194108 w 2299605"/>
                <a:gd name="connsiteY1526" fmla="*/ 114095 h 1779774"/>
                <a:gd name="connsiteX1527" fmla="*/ 194108 w 2299605"/>
                <a:gd name="connsiteY1527" fmla="*/ 118659 h 1779774"/>
                <a:gd name="connsiteX1528" fmla="*/ 191824 w 2299605"/>
                <a:gd name="connsiteY1528" fmla="*/ 120940 h 1779774"/>
                <a:gd name="connsiteX1529" fmla="*/ 189540 w 2299605"/>
                <a:gd name="connsiteY1529" fmla="*/ 123223 h 1779774"/>
                <a:gd name="connsiteX1530" fmla="*/ 184972 w 2299605"/>
                <a:gd name="connsiteY1530" fmla="*/ 136914 h 1779774"/>
                <a:gd name="connsiteX1531" fmla="*/ 182690 w 2299605"/>
                <a:gd name="connsiteY1531" fmla="*/ 136914 h 1779774"/>
                <a:gd name="connsiteX1532" fmla="*/ 182690 w 2299605"/>
                <a:gd name="connsiteY1532" fmla="*/ 139196 h 1779774"/>
                <a:gd name="connsiteX1533" fmla="*/ 182690 w 2299605"/>
                <a:gd name="connsiteY1533" fmla="*/ 141478 h 1779774"/>
                <a:gd name="connsiteX1534" fmla="*/ 180406 w 2299605"/>
                <a:gd name="connsiteY1534" fmla="*/ 141478 h 1779774"/>
                <a:gd name="connsiteX1535" fmla="*/ 180406 w 2299605"/>
                <a:gd name="connsiteY1535" fmla="*/ 146032 h 1779774"/>
                <a:gd name="connsiteX1536" fmla="*/ 178122 w 2299605"/>
                <a:gd name="connsiteY1536" fmla="*/ 148314 h 1779774"/>
                <a:gd name="connsiteX1537" fmla="*/ 178122 w 2299605"/>
                <a:gd name="connsiteY1537" fmla="*/ 150596 h 1779774"/>
                <a:gd name="connsiteX1538" fmla="*/ 175839 w 2299605"/>
                <a:gd name="connsiteY1538" fmla="*/ 152878 h 1779774"/>
                <a:gd name="connsiteX1539" fmla="*/ 175839 w 2299605"/>
                <a:gd name="connsiteY1539" fmla="*/ 155159 h 1779774"/>
                <a:gd name="connsiteX1540" fmla="*/ 173554 w 2299605"/>
                <a:gd name="connsiteY1540" fmla="*/ 157442 h 1779774"/>
                <a:gd name="connsiteX1541" fmla="*/ 173554 w 2299605"/>
                <a:gd name="connsiteY1541" fmla="*/ 162005 h 1779774"/>
                <a:gd name="connsiteX1542" fmla="*/ 171271 w 2299605"/>
                <a:gd name="connsiteY1542" fmla="*/ 162005 h 1779774"/>
                <a:gd name="connsiteX1543" fmla="*/ 171271 w 2299605"/>
                <a:gd name="connsiteY1543" fmla="*/ 164287 h 1779774"/>
                <a:gd name="connsiteX1544" fmla="*/ 171271 w 2299605"/>
                <a:gd name="connsiteY1544" fmla="*/ 166569 h 1779774"/>
                <a:gd name="connsiteX1545" fmla="*/ 168987 w 2299605"/>
                <a:gd name="connsiteY1545" fmla="*/ 166569 h 1779774"/>
                <a:gd name="connsiteX1546" fmla="*/ 168987 w 2299605"/>
                <a:gd name="connsiteY1546" fmla="*/ 168851 h 1779774"/>
                <a:gd name="connsiteX1547" fmla="*/ 168987 w 2299605"/>
                <a:gd name="connsiteY1547" fmla="*/ 171133 h 1779774"/>
                <a:gd name="connsiteX1548" fmla="*/ 166704 w 2299605"/>
                <a:gd name="connsiteY1548" fmla="*/ 171133 h 1779774"/>
                <a:gd name="connsiteX1549" fmla="*/ 164421 w 2299605"/>
                <a:gd name="connsiteY1549" fmla="*/ 173415 h 1779774"/>
                <a:gd name="connsiteX1550" fmla="*/ 159853 w 2299605"/>
                <a:gd name="connsiteY1550" fmla="*/ 173415 h 1779774"/>
                <a:gd name="connsiteX1551" fmla="*/ 157569 w 2299605"/>
                <a:gd name="connsiteY1551" fmla="*/ 171133 h 1779774"/>
                <a:gd name="connsiteX1552" fmla="*/ 155286 w 2299605"/>
                <a:gd name="connsiteY1552" fmla="*/ 171133 h 1779774"/>
                <a:gd name="connsiteX1553" fmla="*/ 153003 w 2299605"/>
                <a:gd name="connsiteY1553" fmla="*/ 168851 h 1779774"/>
                <a:gd name="connsiteX1554" fmla="*/ 150719 w 2299605"/>
                <a:gd name="connsiteY1554" fmla="*/ 168851 h 1779774"/>
                <a:gd name="connsiteX1555" fmla="*/ 148435 w 2299605"/>
                <a:gd name="connsiteY1555" fmla="*/ 168851 h 1779774"/>
                <a:gd name="connsiteX1556" fmla="*/ 146151 w 2299605"/>
                <a:gd name="connsiteY1556" fmla="*/ 168851 h 1779774"/>
                <a:gd name="connsiteX1557" fmla="*/ 143868 w 2299605"/>
                <a:gd name="connsiteY1557" fmla="*/ 171133 h 1779774"/>
                <a:gd name="connsiteX1558" fmla="*/ 146151 w 2299605"/>
                <a:gd name="connsiteY1558" fmla="*/ 171133 h 1779774"/>
                <a:gd name="connsiteX1559" fmla="*/ 146151 w 2299605"/>
                <a:gd name="connsiteY1559" fmla="*/ 173415 h 1779774"/>
                <a:gd name="connsiteX1560" fmla="*/ 146151 w 2299605"/>
                <a:gd name="connsiteY1560" fmla="*/ 175697 h 1779774"/>
                <a:gd name="connsiteX1561" fmla="*/ 148435 w 2299605"/>
                <a:gd name="connsiteY1561" fmla="*/ 175697 h 1779774"/>
                <a:gd name="connsiteX1562" fmla="*/ 146151 w 2299605"/>
                <a:gd name="connsiteY1562" fmla="*/ 177979 h 1779774"/>
                <a:gd name="connsiteX1563" fmla="*/ 143868 w 2299605"/>
                <a:gd name="connsiteY1563" fmla="*/ 177979 h 1779774"/>
                <a:gd name="connsiteX1564" fmla="*/ 141584 w 2299605"/>
                <a:gd name="connsiteY1564" fmla="*/ 177979 h 1779774"/>
                <a:gd name="connsiteX1565" fmla="*/ 141584 w 2299605"/>
                <a:gd name="connsiteY1565" fmla="*/ 180260 h 1779774"/>
                <a:gd name="connsiteX1566" fmla="*/ 139300 w 2299605"/>
                <a:gd name="connsiteY1566" fmla="*/ 180260 h 1779774"/>
                <a:gd name="connsiteX1567" fmla="*/ 139300 w 2299605"/>
                <a:gd name="connsiteY1567" fmla="*/ 182542 h 1779774"/>
                <a:gd name="connsiteX1568" fmla="*/ 137017 w 2299605"/>
                <a:gd name="connsiteY1568" fmla="*/ 182542 h 1779774"/>
                <a:gd name="connsiteX1569" fmla="*/ 137017 w 2299605"/>
                <a:gd name="connsiteY1569" fmla="*/ 184824 h 1779774"/>
                <a:gd name="connsiteX1570" fmla="*/ 134733 w 2299605"/>
                <a:gd name="connsiteY1570" fmla="*/ 184824 h 1779774"/>
                <a:gd name="connsiteX1571" fmla="*/ 125599 w 2299605"/>
                <a:gd name="connsiteY1571" fmla="*/ 177979 h 1779774"/>
                <a:gd name="connsiteX1572" fmla="*/ 116464 w 2299605"/>
                <a:gd name="connsiteY1572" fmla="*/ 171133 h 1779774"/>
                <a:gd name="connsiteX1573" fmla="*/ 107330 w 2299605"/>
                <a:gd name="connsiteY1573" fmla="*/ 164287 h 1779774"/>
                <a:gd name="connsiteX1574" fmla="*/ 105046 w 2299605"/>
                <a:gd name="connsiteY1574" fmla="*/ 162005 h 1779774"/>
                <a:gd name="connsiteX1575" fmla="*/ 102763 w 2299605"/>
                <a:gd name="connsiteY1575" fmla="*/ 162005 h 1779774"/>
                <a:gd name="connsiteX1576" fmla="*/ 93628 w 2299605"/>
                <a:gd name="connsiteY1576" fmla="*/ 157442 h 1779774"/>
                <a:gd name="connsiteX1577" fmla="*/ 91344 w 2299605"/>
                <a:gd name="connsiteY1577" fmla="*/ 159723 h 1779774"/>
                <a:gd name="connsiteX1578" fmla="*/ 86778 w 2299605"/>
                <a:gd name="connsiteY1578" fmla="*/ 162005 h 1779774"/>
                <a:gd name="connsiteX1579" fmla="*/ 84494 w 2299605"/>
                <a:gd name="connsiteY1579" fmla="*/ 162005 h 1779774"/>
                <a:gd name="connsiteX1580" fmla="*/ 82210 w 2299605"/>
                <a:gd name="connsiteY1580" fmla="*/ 162005 h 1779774"/>
                <a:gd name="connsiteX1581" fmla="*/ 82210 w 2299605"/>
                <a:gd name="connsiteY1581" fmla="*/ 164287 h 1779774"/>
                <a:gd name="connsiteX1582" fmla="*/ 79927 w 2299605"/>
                <a:gd name="connsiteY1582" fmla="*/ 164287 h 1779774"/>
                <a:gd name="connsiteX1583" fmla="*/ 77643 w 2299605"/>
                <a:gd name="connsiteY1583" fmla="*/ 164287 h 1779774"/>
                <a:gd name="connsiteX1584" fmla="*/ 75360 w 2299605"/>
                <a:gd name="connsiteY1584" fmla="*/ 166569 h 1779774"/>
                <a:gd name="connsiteX1585" fmla="*/ 75360 w 2299605"/>
                <a:gd name="connsiteY1585" fmla="*/ 168851 h 1779774"/>
                <a:gd name="connsiteX1586" fmla="*/ 75360 w 2299605"/>
                <a:gd name="connsiteY1586" fmla="*/ 171133 h 1779774"/>
                <a:gd name="connsiteX1587" fmla="*/ 73076 w 2299605"/>
                <a:gd name="connsiteY1587" fmla="*/ 175697 h 1779774"/>
                <a:gd name="connsiteX1588" fmla="*/ 73076 w 2299605"/>
                <a:gd name="connsiteY1588" fmla="*/ 177979 h 1779774"/>
                <a:gd name="connsiteX1589" fmla="*/ 73076 w 2299605"/>
                <a:gd name="connsiteY1589" fmla="*/ 180260 h 1779774"/>
                <a:gd name="connsiteX1590" fmla="*/ 73076 w 2299605"/>
                <a:gd name="connsiteY1590" fmla="*/ 184824 h 1779774"/>
                <a:gd name="connsiteX1591" fmla="*/ 73076 w 2299605"/>
                <a:gd name="connsiteY1591" fmla="*/ 193952 h 1779774"/>
                <a:gd name="connsiteX1592" fmla="*/ 75360 w 2299605"/>
                <a:gd name="connsiteY1592" fmla="*/ 198516 h 1779774"/>
                <a:gd name="connsiteX1593" fmla="*/ 75360 w 2299605"/>
                <a:gd name="connsiteY1593" fmla="*/ 203079 h 1779774"/>
                <a:gd name="connsiteX1594" fmla="*/ 75360 w 2299605"/>
                <a:gd name="connsiteY1594" fmla="*/ 207643 h 1779774"/>
                <a:gd name="connsiteX1595" fmla="*/ 75360 w 2299605"/>
                <a:gd name="connsiteY1595" fmla="*/ 212207 h 1779774"/>
                <a:gd name="connsiteX1596" fmla="*/ 75360 w 2299605"/>
                <a:gd name="connsiteY1596" fmla="*/ 214489 h 1779774"/>
                <a:gd name="connsiteX1597" fmla="*/ 75360 w 2299605"/>
                <a:gd name="connsiteY1597" fmla="*/ 216771 h 1779774"/>
                <a:gd name="connsiteX1598" fmla="*/ 75360 w 2299605"/>
                <a:gd name="connsiteY1598" fmla="*/ 219053 h 1779774"/>
                <a:gd name="connsiteX1599" fmla="*/ 70792 w 2299605"/>
                <a:gd name="connsiteY1599" fmla="*/ 216771 h 1779774"/>
                <a:gd name="connsiteX1600" fmla="*/ 68509 w 2299605"/>
                <a:gd name="connsiteY1600" fmla="*/ 216771 h 1779774"/>
                <a:gd name="connsiteX1601" fmla="*/ 66225 w 2299605"/>
                <a:gd name="connsiteY1601" fmla="*/ 216771 h 1779774"/>
                <a:gd name="connsiteX1602" fmla="*/ 63941 w 2299605"/>
                <a:gd name="connsiteY1602" fmla="*/ 219053 h 1779774"/>
                <a:gd name="connsiteX1603" fmla="*/ 59374 w 2299605"/>
                <a:gd name="connsiteY1603" fmla="*/ 219053 h 1779774"/>
                <a:gd name="connsiteX1604" fmla="*/ 54807 w 2299605"/>
                <a:gd name="connsiteY1604" fmla="*/ 219053 h 1779774"/>
                <a:gd name="connsiteX1605" fmla="*/ 50239 w 2299605"/>
                <a:gd name="connsiteY1605" fmla="*/ 221335 h 1779774"/>
                <a:gd name="connsiteX1606" fmla="*/ 47957 w 2299605"/>
                <a:gd name="connsiteY1606" fmla="*/ 223616 h 1779774"/>
                <a:gd name="connsiteX1607" fmla="*/ 43389 w 2299605"/>
                <a:gd name="connsiteY1607" fmla="*/ 223616 h 1779774"/>
                <a:gd name="connsiteX1608" fmla="*/ 41105 w 2299605"/>
                <a:gd name="connsiteY1608" fmla="*/ 223616 h 1779774"/>
                <a:gd name="connsiteX1609" fmla="*/ 38821 w 2299605"/>
                <a:gd name="connsiteY1609" fmla="*/ 223616 h 1779774"/>
                <a:gd name="connsiteX1610" fmla="*/ 36538 w 2299605"/>
                <a:gd name="connsiteY1610" fmla="*/ 223616 h 1779774"/>
                <a:gd name="connsiteX1611" fmla="*/ 34255 w 2299605"/>
                <a:gd name="connsiteY1611" fmla="*/ 223616 h 1779774"/>
                <a:gd name="connsiteX1612" fmla="*/ 34255 w 2299605"/>
                <a:gd name="connsiteY1612" fmla="*/ 225898 h 1779774"/>
                <a:gd name="connsiteX1613" fmla="*/ 34255 w 2299605"/>
                <a:gd name="connsiteY1613" fmla="*/ 228180 h 1779774"/>
                <a:gd name="connsiteX1614" fmla="*/ 34255 w 2299605"/>
                <a:gd name="connsiteY1614" fmla="*/ 230462 h 1779774"/>
                <a:gd name="connsiteX1615" fmla="*/ 34255 w 2299605"/>
                <a:gd name="connsiteY1615" fmla="*/ 235026 h 1779774"/>
                <a:gd name="connsiteX1616" fmla="*/ 36538 w 2299605"/>
                <a:gd name="connsiteY1616" fmla="*/ 235026 h 1779774"/>
                <a:gd name="connsiteX1617" fmla="*/ 36538 w 2299605"/>
                <a:gd name="connsiteY1617" fmla="*/ 237308 h 1779774"/>
                <a:gd name="connsiteX1618" fmla="*/ 38821 w 2299605"/>
                <a:gd name="connsiteY1618" fmla="*/ 239590 h 1779774"/>
                <a:gd name="connsiteX1619" fmla="*/ 41105 w 2299605"/>
                <a:gd name="connsiteY1619" fmla="*/ 241872 h 1779774"/>
                <a:gd name="connsiteX1620" fmla="*/ 43389 w 2299605"/>
                <a:gd name="connsiteY1620" fmla="*/ 244154 h 1779774"/>
                <a:gd name="connsiteX1621" fmla="*/ 45673 w 2299605"/>
                <a:gd name="connsiteY1621" fmla="*/ 246435 h 1779774"/>
                <a:gd name="connsiteX1622" fmla="*/ 47957 w 2299605"/>
                <a:gd name="connsiteY1622" fmla="*/ 248717 h 1779774"/>
                <a:gd name="connsiteX1623" fmla="*/ 47957 w 2299605"/>
                <a:gd name="connsiteY1623" fmla="*/ 250999 h 1779774"/>
                <a:gd name="connsiteX1624" fmla="*/ 50239 w 2299605"/>
                <a:gd name="connsiteY1624" fmla="*/ 253281 h 1779774"/>
                <a:gd name="connsiteX1625" fmla="*/ 52523 w 2299605"/>
                <a:gd name="connsiteY1625" fmla="*/ 255563 h 1779774"/>
                <a:gd name="connsiteX1626" fmla="*/ 54807 w 2299605"/>
                <a:gd name="connsiteY1626" fmla="*/ 257845 h 1779774"/>
                <a:gd name="connsiteX1627" fmla="*/ 54807 w 2299605"/>
                <a:gd name="connsiteY1627" fmla="*/ 260127 h 1779774"/>
                <a:gd name="connsiteX1628" fmla="*/ 52523 w 2299605"/>
                <a:gd name="connsiteY1628" fmla="*/ 260127 h 1779774"/>
                <a:gd name="connsiteX1629" fmla="*/ 50239 w 2299605"/>
                <a:gd name="connsiteY1629" fmla="*/ 262409 h 1779774"/>
                <a:gd name="connsiteX1630" fmla="*/ 47957 w 2299605"/>
                <a:gd name="connsiteY1630" fmla="*/ 264691 h 1779774"/>
                <a:gd name="connsiteX1631" fmla="*/ 45673 w 2299605"/>
                <a:gd name="connsiteY1631" fmla="*/ 264691 h 1779774"/>
                <a:gd name="connsiteX1632" fmla="*/ 45673 w 2299605"/>
                <a:gd name="connsiteY1632" fmla="*/ 266972 h 1779774"/>
                <a:gd name="connsiteX1633" fmla="*/ 43389 w 2299605"/>
                <a:gd name="connsiteY1633" fmla="*/ 266972 h 1779774"/>
                <a:gd name="connsiteX1634" fmla="*/ 43389 w 2299605"/>
                <a:gd name="connsiteY1634" fmla="*/ 269254 h 1779774"/>
                <a:gd name="connsiteX1635" fmla="*/ 43389 w 2299605"/>
                <a:gd name="connsiteY1635" fmla="*/ 271536 h 1779774"/>
                <a:gd name="connsiteX1636" fmla="*/ 41105 w 2299605"/>
                <a:gd name="connsiteY1636" fmla="*/ 271536 h 1779774"/>
                <a:gd name="connsiteX1637" fmla="*/ 38821 w 2299605"/>
                <a:gd name="connsiteY1637" fmla="*/ 271536 h 1779774"/>
                <a:gd name="connsiteX1638" fmla="*/ 36538 w 2299605"/>
                <a:gd name="connsiteY1638" fmla="*/ 273818 h 1779774"/>
                <a:gd name="connsiteX1639" fmla="*/ 36538 w 2299605"/>
                <a:gd name="connsiteY1639" fmla="*/ 276100 h 1779774"/>
                <a:gd name="connsiteX1640" fmla="*/ 34255 w 2299605"/>
                <a:gd name="connsiteY1640" fmla="*/ 276100 h 1779774"/>
                <a:gd name="connsiteX1641" fmla="*/ 31970 w 2299605"/>
                <a:gd name="connsiteY1641" fmla="*/ 278382 h 1779774"/>
                <a:gd name="connsiteX1642" fmla="*/ 29687 w 2299605"/>
                <a:gd name="connsiteY1642" fmla="*/ 280664 h 1779774"/>
                <a:gd name="connsiteX1643" fmla="*/ 29687 w 2299605"/>
                <a:gd name="connsiteY1643" fmla="*/ 282946 h 1779774"/>
                <a:gd name="connsiteX1644" fmla="*/ 27403 w 2299605"/>
                <a:gd name="connsiteY1644" fmla="*/ 282946 h 1779774"/>
                <a:gd name="connsiteX1645" fmla="*/ 27403 w 2299605"/>
                <a:gd name="connsiteY1645" fmla="*/ 285228 h 1779774"/>
                <a:gd name="connsiteX1646" fmla="*/ 25120 w 2299605"/>
                <a:gd name="connsiteY1646" fmla="*/ 287510 h 1779774"/>
                <a:gd name="connsiteX1647" fmla="*/ 22836 w 2299605"/>
                <a:gd name="connsiteY1647" fmla="*/ 289791 h 1779774"/>
                <a:gd name="connsiteX1648" fmla="*/ 20552 w 2299605"/>
                <a:gd name="connsiteY1648" fmla="*/ 289791 h 1779774"/>
                <a:gd name="connsiteX1649" fmla="*/ 18269 w 2299605"/>
                <a:gd name="connsiteY1649" fmla="*/ 292073 h 1779774"/>
                <a:gd name="connsiteX1650" fmla="*/ 15985 w 2299605"/>
                <a:gd name="connsiteY1650" fmla="*/ 296637 h 1779774"/>
                <a:gd name="connsiteX1651" fmla="*/ 18269 w 2299605"/>
                <a:gd name="connsiteY1651" fmla="*/ 303473 h 1779774"/>
                <a:gd name="connsiteX1652" fmla="*/ 20552 w 2299605"/>
                <a:gd name="connsiteY1652" fmla="*/ 310319 h 1779774"/>
                <a:gd name="connsiteX1653" fmla="*/ 22836 w 2299605"/>
                <a:gd name="connsiteY1653" fmla="*/ 314883 h 1779774"/>
                <a:gd name="connsiteX1654" fmla="*/ 25120 w 2299605"/>
                <a:gd name="connsiteY1654" fmla="*/ 319447 h 1779774"/>
                <a:gd name="connsiteX1655" fmla="*/ 25120 w 2299605"/>
                <a:gd name="connsiteY1655" fmla="*/ 324010 h 1779774"/>
                <a:gd name="connsiteX1656" fmla="*/ 27403 w 2299605"/>
                <a:gd name="connsiteY1656" fmla="*/ 330856 h 1779774"/>
                <a:gd name="connsiteX1657" fmla="*/ 22836 w 2299605"/>
                <a:gd name="connsiteY1657" fmla="*/ 328574 h 1779774"/>
                <a:gd name="connsiteX1658" fmla="*/ 18269 w 2299605"/>
                <a:gd name="connsiteY1658" fmla="*/ 326292 h 1779774"/>
                <a:gd name="connsiteX1659" fmla="*/ 15985 w 2299605"/>
                <a:gd name="connsiteY1659" fmla="*/ 326292 h 1779774"/>
                <a:gd name="connsiteX1660" fmla="*/ 13702 w 2299605"/>
                <a:gd name="connsiteY1660" fmla="*/ 326292 h 1779774"/>
                <a:gd name="connsiteX1661" fmla="*/ 9134 w 2299605"/>
                <a:gd name="connsiteY1661" fmla="*/ 324010 h 1779774"/>
                <a:gd name="connsiteX1662" fmla="*/ 6851 w 2299605"/>
                <a:gd name="connsiteY1662" fmla="*/ 324010 h 1779774"/>
                <a:gd name="connsiteX1663" fmla="*/ 2284 w 2299605"/>
                <a:gd name="connsiteY1663" fmla="*/ 321728 h 1779774"/>
                <a:gd name="connsiteX1664" fmla="*/ 0 w 2299605"/>
                <a:gd name="connsiteY1664" fmla="*/ 321728 h 1779774"/>
                <a:gd name="connsiteX1665" fmla="*/ 0 w 2299605"/>
                <a:gd name="connsiteY1665" fmla="*/ 324010 h 1779774"/>
                <a:gd name="connsiteX1666" fmla="*/ 2284 w 2299605"/>
                <a:gd name="connsiteY1666" fmla="*/ 324010 h 1779774"/>
                <a:gd name="connsiteX1667" fmla="*/ 2284 w 2299605"/>
                <a:gd name="connsiteY1667" fmla="*/ 326292 h 1779774"/>
                <a:gd name="connsiteX1668" fmla="*/ 4567 w 2299605"/>
                <a:gd name="connsiteY1668" fmla="*/ 326292 h 1779774"/>
                <a:gd name="connsiteX1669" fmla="*/ 4567 w 2299605"/>
                <a:gd name="connsiteY1669" fmla="*/ 328574 h 1779774"/>
                <a:gd name="connsiteX1670" fmla="*/ 4567 w 2299605"/>
                <a:gd name="connsiteY1670" fmla="*/ 330856 h 1779774"/>
                <a:gd name="connsiteX1671" fmla="*/ 6851 w 2299605"/>
                <a:gd name="connsiteY1671" fmla="*/ 330856 h 1779774"/>
                <a:gd name="connsiteX1672" fmla="*/ 9134 w 2299605"/>
                <a:gd name="connsiteY1672" fmla="*/ 330856 h 1779774"/>
                <a:gd name="connsiteX1673" fmla="*/ 9134 w 2299605"/>
                <a:gd name="connsiteY1673" fmla="*/ 333138 h 1779774"/>
                <a:gd name="connsiteX1674" fmla="*/ 11418 w 2299605"/>
                <a:gd name="connsiteY1674" fmla="*/ 335420 h 1779774"/>
                <a:gd name="connsiteX1675" fmla="*/ 11418 w 2299605"/>
                <a:gd name="connsiteY1675" fmla="*/ 337702 h 1779774"/>
                <a:gd name="connsiteX1676" fmla="*/ 13702 w 2299605"/>
                <a:gd name="connsiteY1676" fmla="*/ 337702 h 1779774"/>
                <a:gd name="connsiteX1677" fmla="*/ 13702 w 2299605"/>
                <a:gd name="connsiteY1677" fmla="*/ 339984 h 1779774"/>
                <a:gd name="connsiteX1678" fmla="*/ 15985 w 2299605"/>
                <a:gd name="connsiteY1678" fmla="*/ 339984 h 1779774"/>
                <a:gd name="connsiteX1679" fmla="*/ 15985 w 2299605"/>
                <a:gd name="connsiteY1679" fmla="*/ 342266 h 1779774"/>
                <a:gd name="connsiteX1680" fmla="*/ 18269 w 2299605"/>
                <a:gd name="connsiteY1680" fmla="*/ 342266 h 1779774"/>
                <a:gd name="connsiteX1681" fmla="*/ 18269 w 2299605"/>
                <a:gd name="connsiteY1681" fmla="*/ 344547 h 1779774"/>
                <a:gd name="connsiteX1682" fmla="*/ 20552 w 2299605"/>
                <a:gd name="connsiteY1682" fmla="*/ 344547 h 1779774"/>
                <a:gd name="connsiteX1683" fmla="*/ 20552 w 2299605"/>
                <a:gd name="connsiteY1683" fmla="*/ 346829 h 1779774"/>
                <a:gd name="connsiteX1684" fmla="*/ 22836 w 2299605"/>
                <a:gd name="connsiteY1684" fmla="*/ 346829 h 1779774"/>
                <a:gd name="connsiteX1685" fmla="*/ 22836 w 2299605"/>
                <a:gd name="connsiteY1685" fmla="*/ 349111 h 1779774"/>
                <a:gd name="connsiteX1686" fmla="*/ 25120 w 2299605"/>
                <a:gd name="connsiteY1686" fmla="*/ 349111 h 1779774"/>
                <a:gd name="connsiteX1687" fmla="*/ 25120 w 2299605"/>
                <a:gd name="connsiteY1687" fmla="*/ 351393 h 1779774"/>
                <a:gd name="connsiteX1688" fmla="*/ 27403 w 2299605"/>
                <a:gd name="connsiteY1688" fmla="*/ 351393 h 1779774"/>
                <a:gd name="connsiteX1689" fmla="*/ 29687 w 2299605"/>
                <a:gd name="connsiteY1689" fmla="*/ 351393 h 1779774"/>
                <a:gd name="connsiteX1690" fmla="*/ 29687 w 2299605"/>
                <a:gd name="connsiteY1690" fmla="*/ 353675 h 1779774"/>
                <a:gd name="connsiteX1691" fmla="*/ 31970 w 2299605"/>
                <a:gd name="connsiteY1691" fmla="*/ 353675 h 1779774"/>
                <a:gd name="connsiteX1692" fmla="*/ 31970 w 2299605"/>
                <a:gd name="connsiteY1692" fmla="*/ 355957 h 1779774"/>
                <a:gd name="connsiteX1693" fmla="*/ 34255 w 2299605"/>
                <a:gd name="connsiteY1693" fmla="*/ 355957 h 1779774"/>
                <a:gd name="connsiteX1694" fmla="*/ 34255 w 2299605"/>
                <a:gd name="connsiteY1694" fmla="*/ 358239 h 1779774"/>
                <a:gd name="connsiteX1695" fmla="*/ 36538 w 2299605"/>
                <a:gd name="connsiteY1695" fmla="*/ 358239 h 1779774"/>
                <a:gd name="connsiteX1696" fmla="*/ 36538 w 2299605"/>
                <a:gd name="connsiteY1696" fmla="*/ 360521 h 1779774"/>
                <a:gd name="connsiteX1697" fmla="*/ 38821 w 2299605"/>
                <a:gd name="connsiteY1697" fmla="*/ 360521 h 1779774"/>
                <a:gd name="connsiteX1698" fmla="*/ 41105 w 2299605"/>
                <a:gd name="connsiteY1698" fmla="*/ 362803 h 1779774"/>
                <a:gd name="connsiteX1699" fmla="*/ 41105 w 2299605"/>
                <a:gd name="connsiteY1699" fmla="*/ 365084 h 1779774"/>
                <a:gd name="connsiteX1700" fmla="*/ 43389 w 2299605"/>
                <a:gd name="connsiteY1700" fmla="*/ 365084 h 1779774"/>
                <a:gd name="connsiteX1701" fmla="*/ 43389 w 2299605"/>
                <a:gd name="connsiteY1701" fmla="*/ 367366 h 1779774"/>
                <a:gd name="connsiteX1702" fmla="*/ 45673 w 2299605"/>
                <a:gd name="connsiteY1702" fmla="*/ 367366 h 1779774"/>
                <a:gd name="connsiteX1703" fmla="*/ 45673 w 2299605"/>
                <a:gd name="connsiteY1703" fmla="*/ 369648 h 1779774"/>
                <a:gd name="connsiteX1704" fmla="*/ 45673 w 2299605"/>
                <a:gd name="connsiteY1704" fmla="*/ 371930 h 1779774"/>
                <a:gd name="connsiteX1705" fmla="*/ 47957 w 2299605"/>
                <a:gd name="connsiteY1705" fmla="*/ 371930 h 1779774"/>
                <a:gd name="connsiteX1706" fmla="*/ 47957 w 2299605"/>
                <a:gd name="connsiteY1706" fmla="*/ 374212 h 1779774"/>
                <a:gd name="connsiteX1707" fmla="*/ 47957 w 2299605"/>
                <a:gd name="connsiteY1707" fmla="*/ 376494 h 1779774"/>
                <a:gd name="connsiteX1708" fmla="*/ 47957 w 2299605"/>
                <a:gd name="connsiteY1708" fmla="*/ 378776 h 1779774"/>
                <a:gd name="connsiteX1709" fmla="*/ 47957 w 2299605"/>
                <a:gd name="connsiteY1709" fmla="*/ 381058 h 1779774"/>
                <a:gd name="connsiteX1710" fmla="*/ 47957 w 2299605"/>
                <a:gd name="connsiteY1710" fmla="*/ 383340 h 1779774"/>
                <a:gd name="connsiteX1711" fmla="*/ 47957 w 2299605"/>
                <a:gd name="connsiteY1711" fmla="*/ 385622 h 1779774"/>
                <a:gd name="connsiteX1712" fmla="*/ 47957 w 2299605"/>
                <a:gd name="connsiteY1712" fmla="*/ 387903 h 1779774"/>
                <a:gd name="connsiteX1713" fmla="*/ 50239 w 2299605"/>
                <a:gd name="connsiteY1713" fmla="*/ 387903 h 1779774"/>
                <a:gd name="connsiteX1714" fmla="*/ 50239 w 2299605"/>
                <a:gd name="connsiteY1714" fmla="*/ 390185 h 1779774"/>
                <a:gd name="connsiteX1715" fmla="*/ 52523 w 2299605"/>
                <a:gd name="connsiteY1715" fmla="*/ 390185 h 1779774"/>
                <a:gd name="connsiteX1716" fmla="*/ 52523 w 2299605"/>
                <a:gd name="connsiteY1716" fmla="*/ 392467 h 1779774"/>
                <a:gd name="connsiteX1717" fmla="*/ 52523 w 2299605"/>
                <a:gd name="connsiteY1717" fmla="*/ 394749 h 1779774"/>
                <a:gd name="connsiteX1718" fmla="*/ 54807 w 2299605"/>
                <a:gd name="connsiteY1718" fmla="*/ 394749 h 1779774"/>
                <a:gd name="connsiteX1719" fmla="*/ 54807 w 2299605"/>
                <a:gd name="connsiteY1719" fmla="*/ 397031 h 1779774"/>
                <a:gd name="connsiteX1720" fmla="*/ 57091 w 2299605"/>
                <a:gd name="connsiteY1720" fmla="*/ 397031 h 1779774"/>
                <a:gd name="connsiteX1721" fmla="*/ 57091 w 2299605"/>
                <a:gd name="connsiteY1721" fmla="*/ 399313 h 1779774"/>
                <a:gd name="connsiteX1722" fmla="*/ 57091 w 2299605"/>
                <a:gd name="connsiteY1722" fmla="*/ 401595 h 1779774"/>
                <a:gd name="connsiteX1723" fmla="*/ 59374 w 2299605"/>
                <a:gd name="connsiteY1723" fmla="*/ 401595 h 1779774"/>
                <a:gd name="connsiteX1724" fmla="*/ 59374 w 2299605"/>
                <a:gd name="connsiteY1724" fmla="*/ 403877 h 1779774"/>
                <a:gd name="connsiteX1725" fmla="*/ 61658 w 2299605"/>
                <a:gd name="connsiteY1725" fmla="*/ 403877 h 1779774"/>
                <a:gd name="connsiteX1726" fmla="*/ 61658 w 2299605"/>
                <a:gd name="connsiteY1726" fmla="*/ 406159 h 1779774"/>
                <a:gd name="connsiteX1727" fmla="*/ 63941 w 2299605"/>
                <a:gd name="connsiteY1727" fmla="*/ 406159 h 1779774"/>
                <a:gd name="connsiteX1728" fmla="*/ 66225 w 2299605"/>
                <a:gd name="connsiteY1728" fmla="*/ 406159 h 1779774"/>
                <a:gd name="connsiteX1729" fmla="*/ 66225 w 2299605"/>
                <a:gd name="connsiteY1729" fmla="*/ 408440 h 1779774"/>
                <a:gd name="connsiteX1730" fmla="*/ 68509 w 2299605"/>
                <a:gd name="connsiteY1730" fmla="*/ 408440 h 1779774"/>
                <a:gd name="connsiteX1731" fmla="*/ 68509 w 2299605"/>
                <a:gd name="connsiteY1731" fmla="*/ 410723 h 1779774"/>
                <a:gd name="connsiteX1732" fmla="*/ 70792 w 2299605"/>
                <a:gd name="connsiteY1732" fmla="*/ 410723 h 1779774"/>
                <a:gd name="connsiteX1733" fmla="*/ 70792 w 2299605"/>
                <a:gd name="connsiteY1733" fmla="*/ 413004 h 1779774"/>
                <a:gd name="connsiteX1734" fmla="*/ 70792 w 2299605"/>
                <a:gd name="connsiteY1734" fmla="*/ 415286 h 1779774"/>
                <a:gd name="connsiteX1735" fmla="*/ 73076 w 2299605"/>
                <a:gd name="connsiteY1735" fmla="*/ 415286 h 1779774"/>
                <a:gd name="connsiteX1736" fmla="*/ 73076 w 2299605"/>
                <a:gd name="connsiteY1736" fmla="*/ 417568 h 1779774"/>
                <a:gd name="connsiteX1737" fmla="*/ 75360 w 2299605"/>
                <a:gd name="connsiteY1737" fmla="*/ 417568 h 1779774"/>
                <a:gd name="connsiteX1738" fmla="*/ 75360 w 2299605"/>
                <a:gd name="connsiteY1738" fmla="*/ 419850 h 1779774"/>
                <a:gd name="connsiteX1739" fmla="*/ 75360 w 2299605"/>
                <a:gd name="connsiteY1739" fmla="*/ 422132 h 1779774"/>
                <a:gd name="connsiteX1740" fmla="*/ 77643 w 2299605"/>
                <a:gd name="connsiteY1740" fmla="*/ 422132 h 1779774"/>
                <a:gd name="connsiteX1741" fmla="*/ 79927 w 2299605"/>
                <a:gd name="connsiteY1741" fmla="*/ 424414 h 1779774"/>
                <a:gd name="connsiteX1742" fmla="*/ 79927 w 2299605"/>
                <a:gd name="connsiteY1742" fmla="*/ 426696 h 1779774"/>
                <a:gd name="connsiteX1743" fmla="*/ 82210 w 2299605"/>
                <a:gd name="connsiteY1743" fmla="*/ 426696 h 1779774"/>
                <a:gd name="connsiteX1744" fmla="*/ 84494 w 2299605"/>
                <a:gd name="connsiteY1744" fmla="*/ 426696 h 1779774"/>
                <a:gd name="connsiteX1745" fmla="*/ 84494 w 2299605"/>
                <a:gd name="connsiteY1745" fmla="*/ 428978 h 1779774"/>
                <a:gd name="connsiteX1746" fmla="*/ 86778 w 2299605"/>
                <a:gd name="connsiteY1746" fmla="*/ 428978 h 1779774"/>
                <a:gd name="connsiteX1747" fmla="*/ 86778 w 2299605"/>
                <a:gd name="connsiteY1747" fmla="*/ 431259 h 1779774"/>
                <a:gd name="connsiteX1748" fmla="*/ 89061 w 2299605"/>
                <a:gd name="connsiteY1748" fmla="*/ 431259 h 1779774"/>
                <a:gd name="connsiteX1749" fmla="*/ 89061 w 2299605"/>
                <a:gd name="connsiteY1749" fmla="*/ 433541 h 1779774"/>
                <a:gd name="connsiteX1750" fmla="*/ 89061 w 2299605"/>
                <a:gd name="connsiteY1750" fmla="*/ 435823 h 1779774"/>
                <a:gd name="connsiteX1751" fmla="*/ 91344 w 2299605"/>
                <a:gd name="connsiteY1751" fmla="*/ 435823 h 1779774"/>
                <a:gd name="connsiteX1752" fmla="*/ 91344 w 2299605"/>
                <a:gd name="connsiteY1752" fmla="*/ 438105 h 1779774"/>
                <a:gd name="connsiteX1753" fmla="*/ 93628 w 2299605"/>
                <a:gd name="connsiteY1753" fmla="*/ 438105 h 1779774"/>
                <a:gd name="connsiteX1754" fmla="*/ 93628 w 2299605"/>
                <a:gd name="connsiteY1754" fmla="*/ 440387 h 1779774"/>
                <a:gd name="connsiteX1755" fmla="*/ 95912 w 2299605"/>
                <a:gd name="connsiteY1755" fmla="*/ 440387 h 1779774"/>
                <a:gd name="connsiteX1756" fmla="*/ 95912 w 2299605"/>
                <a:gd name="connsiteY1756" fmla="*/ 442669 h 1779774"/>
                <a:gd name="connsiteX1757" fmla="*/ 98196 w 2299605"/>
                <a:gd name="connsiteY1757" fmla="*/ 442669 h 1779774"/>
                <a:gd name="connsiteX1758" fmla="*/ 98196 w 2299605"/>
                <a:gd name="connsiteY1758" fmla="*/ 444951 h 1779774"/>
                <a:gd name="connsiteX1759" fmla="*/ 98196 w 2299605"/>
                <a:gd name="connsiteY1759" fmla="*/ 447233 h 1779774"/>
                <a:gd name="connsiteX1760" fmla="*/ 100479 w 2299605"/>
                <a:gd name="connsiteY1760" fmla="*/ 447233 h 1779774"/>
                <a:gd name="connsiteX1761" fmla="*/ 100479 w 2299605"/>
                <a:gd name="connsiteY1761" fmla="*/ 449515 h 1779774"/>
                <a:gd name="connsiteX1762" fmla="*/ 102763 w 2299605"/>
                <a:gd name="connsiteY1762" fmla="*/ 449515 h 1779774"/>
                <a:gd name="connsiteX1763" fmla="*/ 105046 w 2299605"/>
                <a:gd name="connsiteY1763" fmla="*/ 449515 h 1779774"/>
                <a:gd name="connsiteX1764" fmla="*/ 105046 w 2299605"/>
                <a:gd name="connsiteY1764" fmla="*/ 451796 h 1779774"/>
                <a:gd name="connsiteX1765" fmla="*/ 105046 w 2299605"/>
                <a:gd name="connsiteY1765" fmla="*/ 454069 h 1779774"/>
                <a:gd name="connsiteX1766" fmla="*/ 107330 w 2299605"/>
                <a:gd name="connsiteY1766" fmla="*/ 454069 h 1779774"/>
                <a:gd name="connsiteX1767" fmla="*/ 109614 w 2299605"/>
                <a:gd name="connsiteY1767" fmla="*/ 454069 h 1779774"/>
                <a:gd name="connsiteX1768" fmla="*/ 109614 w 2299605"/>
                <a:gd name="connsiteY1768" fmla="*/ 456351 h 1779774"/>
                <a:gd name="connsiteX1769" fmla="*/ 109614 w 2299605"/>
                <a:gd name="connsiteY1769" fmla="*/ 458633 h 1779774"/>
                <a:gd name="connsiteX1770" fmla="*/ 111897 w 2299605"/>
                <a:gd name="connsiteY1770" fmla="*/ 458633 h 1779774"/>
                <a:gd name="connsiteX1771" fmla="*/ 111897 w 2299605"/>
                <a:gd name="connsiteY1771" fmla="*/ 460915 h 1779774"/>
                <a:gd name="connsiteX1772" fmla="*/ 114181 w 2299605"/>
                <a:gd name="connsiteY1772" fmla="*/ 460915 h 1779774"/>
                <a:gd name="connsiteX1773" fmla="*/ 114181 w 2299605"/>
                <a:gd name="connsiteY1773" fmla="*/ 463196 h 1779774"/>
                <a:gd name="connsiteX1774" fmla="*/ 116464 w 2299605"/>
                <a:gd name="connsiteY1774" fmla="*/ 463196 h 1779774"/>
                <a:gd name="connsiteX1775" fmla="*/ 116464 w 2299605"/>
                <a:gd name="connsiteY1775" fmla="*/ 465478 h 1779774"/>
                <a:gd name="connsiteX1776" fmla="*/ 118748 w 2299605"/>
                <a:gd name="connsiteY1776" fmla="*/ 465478 h 1779774"/>
                <a:gd name="connsiteX1777" fmla="*/ 121032 w 2299605"/>
                <a:gd name="connsiteY1777" fmla="*/ 465478 h 1779774"/>
                <a:gd name="connsiteX1778" fmla="*/ 121032 w 2299605"/>
                <a:gd name="connsiteY1778" fmla="*/ 467760 h 1779774"/>
                <a:gd name="connsiteX1779" fmla="*/ 123315 w 2299605"/>
                <a:gd name="connsiteY1779" fmla="*/ 467760 h 1779774"/>
                <a:gd name="connsiteX1780" fmla="*/ 123315 w 2299605"/>
                <a:gd name="connsiteY1780" fmla="*/ 470042 h 1779774"/>
                <a:gd name="connsiteX1781" fmla="*/ 125599 w 2299605"/>
                <a:gd name="connsiteY1781" fmla="*/ 470042 h 1779774"/>
                <a:gd name="connsiteX1782" fmla="*/ 125599 w 2299605"/>
                <a:gd name="connsiteY1782" fmla="*/ 472324 h 1779774"/>
                <a:gd name="connsiteX1783" fmla="*/ 127882 w 2299605"/>
                <a:gd name="connsiteY1783" fmla="*/ 472324 h 1779774"/>
                <a:gd name="connsiteX1784" fmla="*/ 127882 w 2299605"/>
                <a:gd name="connsiteY1784" fmla="*/ 474606 h 1779774"/>
                <a:gd name="connsiteX1785" fmla="*/ 130166 w 2299605"/>
                <a:gd name="connsiteY1785" fmla="*/ 474606 h 1779774"/>
                <a:gd name="connsiteX1786" fmla="*/ 130166 w 2299605"/>
                <a:gd name="connsiteY1786" fmla="*/ 476888 h 1779774"/>
                <a:gd name="connsiteX1787" fmla="*/ 132450 w 2299605"/>
                <a:gd name="connsiteY1787" fmla="*/ 476888 h 1779774"/>
                <a:gd name="connsiteX1788" fmla="*/ 132450 w 2299605"/>
                <a:gd name="connsiteY1788" fmla="*/ 479170 h 1779774"/>
                <a:gd name="connsiteX1789" fmla="*/ 134733 w 2299605"/>
                <a:gd name="connsiteY1789" fmla="*/ 479170 h 1779774"/>
                <a:gd name="connsiteX1790" fmla="*/ 134733 w 2299605"/>
                <a:gd name="connsiteY1790" fmla="*/ 481452 h 1779774"/>
                <a:gd name="connsiteX1791" fmla="*/ 137017 w 2299605"/>
                <a:gd name="connsiteY1791" fmla="*/ 481452 h 1779774"/>
                <a:gd name="connsiteX1792" fmla="*/ 137017 w 2299605"/>
                <a:gd name="connsiteY1792" fmla="*/ 483734 h 1779774"/>
                <a:gd name="connsiteX1793" fmla="*/ 137017 w 2299605"/>
                <a:gd name="connsiteY1793" fmla="*/ 486015 h 1779774"/>
                <a:gd name="connsiteX1794" fmla="*/ 139300 w 2299605"/>
                <a:gd name="connsiteY1794" fmla="*/ 486015 h 1779774"/>
                <a:gd name="connsiteX1795" fmla="*/ 139300 w 2299605"/>
                <a:gd name="connsiteY1795" fmla="*/ 488297 h 1779774"/>
                <a:gd name="connsiteX1796" fmla="*/ 141584 w 2299605"/>
                <a:gd name="connsiteY1796" fmla="*/ 488297 h 1779774"/>
                <a:gd name="connsiteX1797" fmla="*/ 141584 w 2299605"/>
                <a:gd name="connsiteY1797" fmla="*/ 490579 h 1779774"/>
                <a:gd name="connsiteX1798" fmla="*/ 141584 w 2299605"/>
                <a:gd name="connsiteY1798" fmla="*/ 492861 h 1779774"/>
                <a:gd name="connsiteX1799" fmla="*/ 141584 w 2299605"/>
                <a:gd name="connsiteY1799" fmla="*/ 495143 h 1779774"/>
                <a:gd name="connsiteX1800" fmla="*/ 141584 w 2299605"/>
                <a:gd name="connsiteY1800" fmla="*/ 497425 h 1779774"/>
                <a:gd name="connsiteX1801" fmla="*/ 143868 w 2299605"/>
                <a:gd name="connsiteY1801" fmla="*/ 497425 h 1779774"/>
                <a:gd name="connsiteX1802" fmla="*/ 143868 w 2299605"/>
                <a:gd name="connsiteY1802" fmla="*/ 499707 h 1779774"/>
                <a:gd name="connsiteX1803" fmla="*/ 146151 w 2299605"/>
                <a:gd name="connsiteY1803" fmla="*/ 499707 h 1779774"/>
                <a:gd name="connsiteX1804" fmla="*/ 146151 w 2299605"/>
                <a:gd name="connsiteY1804" fmla="*/ 501989 h 1779774"/>
                <a:gd name="connsiteX1805" fmla="*/ 148435 w 2299605"/>
                <a:gd name="connsiteY1805" fmla="*/ 501989 h 1779774"/>
                <a:gd name="connsiteX1806" fmla="*/ 148435 w 2299605"/>
                <a:gd name="connsiteY1806" fmla="*/ 504271 h 1779774"/>
                <a:gd name="connsiteX1807" fmla="*/ 148435 w 2299605"/>
                <a:gd name="connsiteY1807" fmla="*/ 506552 h 1779774"/>
                <a:gd name="connsiteX1808" fmla="*/ 150719 w 2299605"/>
                <a:gd name="connsiteY1808" fmla="*/ 506552 h 1779774"/>
                <a:gd name="connsiteX1809" fmla="*/ 150719 w 2299605"/>
                <a:gd name="connsiteY1809" fmla="*/ 508835 h 1779774"/>
                <a:gd name="connsiteX1810" fmla="*/ 153003 w 2299605"/>
                <a:gd name="connsiteY1810" fmla="*/ 508835 h 1779774"/>
                <a:gd name="connsiteX1811" fmla="*/ 153003 w 2299605"/>
                <a:gd name="connsiteY1811" fmla="*/ 511116 h 1779774"/>
                <a:gd name="connsiteX1812" fmla="*/ 155286 w 2299605"/>
                <a:gd name="connsiteY1812" fmla="*/ 511116 h 1779774"/>
                <a:gd name="connsiteX1813" fmla="*/ 155286 w 2299605"/>
                <a:gd name="connsiteY1813" fmla="*/ 513398 h 1779774"/>
                <a:gd name="connsiteX1814" fmla="*/ 155286 w 2299605"/>
                <a:gd name="connsiteY1814" fmla="*/ 515680 h 1779774"/>
                <a:gd name="connsiteX1815" fmla="*/ 155286 w 2299605"/>
                <a:gd name="connsiteY1815" fmla="*/ 517962 h 1779774"/>
                <a:gd name="connsiteX1816" fmla="*/ 157569 w 2299605"/>
                <a:gd name="connsiteY1816" fmla="*/ 517962 h 1779774"/>
                <a:gd name="connsiteX1817" fmla="*/ 157569 w 2299605"/>
                <a:gd name="connsiteY1817" fmla="*/ 520244 h 1779774"/>
                <a:gd name="connsiteX1818" fmla="*/ 159853 w 2299605"/>
                <a:gd name="connsiteY1818" fmla="*/ 520244 h 1779774"/>
                <a:gd name="connsiteX1819" fmla="*/ 159853 w 2299605"/>
                <a:gd name="connsiteY1819" fmla="*/ 522526 h 1779774"/>
                <a:gd name="connsiteX1820" fmla="*/ 162137 w 2299605"/>
                <a:gd name="connsiteY1820" fmla="*/ 522526 h 1779774"/>
                <a:gd name="connsiteX1821" fmla="*/ 162137 w 2299605"/>
                <a:gd name="connsiteY1821" fmla="*/ 524808 h 1779774"/>
                <a:gd name="connsiteX1822" fmla="*/ 162137 w 2299605"/>
                <a:gd name="connsiteY1822" fmla="*/ 527090 h 1779774"/>
                <a:gd name="connsiteX1823" fmla="*/ 164421 w 2299605"/>
                <a:gd name="connsiteY1823" fmla="*/ 527090 h 1779774"/>
                <a:gd name="connsiteX1824" fmla="*/ 164421 w 2299605"/>
                <a:gd name="connsiteY1824" fmla="*/ 529371 h 1779774"/>
                <a:gd name="connsiteX1825" fmla="*/ 166704 w 2299605"/>
                <a:gd name="connsiteY1825" fmla="*/ 529371 h 1779774"/>
                <a:gd name="connsiteX1826" fmla="*/ 166704 w 2299605"/>
                <a:gd name="connsiteY1826" fmla="*/ 531653 h 1779774"/>
                <a:gd name="connsiteX1827" fmla="*/ 168987 w 2299605"/>
                <a:gd name="connsiteY1827" fmla="*/ 531653 h 1779774"/>
                <a:gd name="connsiteX1828" fmla="*/ 168987 w 2299605"/>
                <a:gd name="connsiteY1828" fmla="*/ 533935 h 1779774"/>
                <a:gd name="connsiteX1829" fmla="*/ 168987 w 2299605"/>
                <a:gd name="connsiteY1829" fmla="*/ 536217 h 1779774"/>
                <a:gd name="connsiteX1830" fmla="*/ 171271 w 2299605"/>
                <a:gd name="connsiteY1830" fmla="*/ 536217 h 1779774"/>
                <a:gd name="connsiteX1831" fmla="*/ 171271 w 2299605"/>
                <a:gd name="connsiteY1831" fmla="*/ 538499 h 1779774"/>
                <a:gd name="connsiteX1832" fmla="*/ 173554 w 2299605"/>
                <a:gd name="connsiteY1832" fmla="*/ 538499 h 1779774"/>
                <a:gd name="connsiteX1833" fmla="*/ 173554 w 2299605"/>
                <a:gd name="connsiteY1833" fmla="*/ 540781 h 1779774"/>
                <a:gd name="connsiteX1834" fmla="*/ 175839 w 2299605"/>
                <a:gd name="connsiteY1834" fmla="*/ 540781 h 1779774"/>
                <a:gd name="connsiteX1835" fmla="*/ 175839 w 2299605"/>
                <a:gd name="connsiteY1835" fmla="*/ 543063 h 1779774"/>
                <a:gd name="connsiteX1836" fmla="*/ 178122 w 2299605"/>
                <a:gd name="connsiteY1836" fmla="*/ 543063 h 1779774"/>
                <a:gd name="connsiteX1837" fmla="*/ 178122 w 2299605"/>
                <a:gd name="connsiteY1837" fmla="*/ 545345 h 1779774"/>
                <a:gd name="connsiteX1838" fmla="*/ 178122 w 2299605"/>
                <a:gd name="connsiteY1838" fmla="*/ 547627 h 1779774"/>
                <a:gd name="connsiteX1839" fmla="*/ 180406 w 2299605"/>
                <a:gd name="connsiteY1839" fmla="*/ 547627 h 1779774"/>
                <a:gd name="connsiteX1840" fmla="*/ 180406 w 2299605"/>
                <a:gd name="connsiteY1840" fmla="*/ 549908 h 1779774"/>
                <a:gd name="connsiteX1841" fmla="*/ 182690 w 2299605"/>
                <a:gd name="connsiteY1841" fmla="*/ 549908 h 1779774"/>
                <a:gd name="connsiteX1842" fmla="*/ 182690 w 2299605"/>
                <a:gd name="connsiteY1842" fmla="*/ 552191 h 1779774"/>
                <a:gd name="connsiteX1843" fmla="*/ 184972 w 2299605"/>
                <a:gd name="connsiteY1843" fmla="*/ 552191 h 1779774"/>
                <a:gd name="connsiteX1844" fmla="*/ 184972 w 2299605"/>
                <a:gd name="connsiteY1844" fmla="*/ 554472 h 1779774"/>
                <a:gd name="connsiteX1845" fmla="*/ 184972 w 2299605"/>
                <a:gd name="connsiteY1845" fmla="*/ 556754 h 1779774"/>
                <a:gd name="connsiteX1846" fmla="*/ 184972 w 2299605"/>
                <a:gd name="connsiteY1846" fmla="*/ 559036 h 1779774"/>
                <a:gd name="connsiteX1847" fmla="*/ 184972 w 2299605"/>
                <a:gd name="connsiteY1847" fmla="*/ 561318 h 1779774"/>
                <a:gd name="connsiteX1848" fmla="*/ 184972 w 2299605"/>
                <a:gd name="connsiteY1848" fmla="*/ 563600 h 1779774"/>
                <a:gd name="connsiteX1849" fmla="*/ 187257 w 2299605"/>
                <a:gd name="connsiteY1849" fmla="*/ 563600 h 1779774"/>
                <a:gd name="connsiteX1850" fmla="*/ 187257 w 2299605"/>
                <a:gd name="connsiteY1850" fmla="*/ 565882 h 1779774"/>
                <a:gd name="connsiteX1851" fmla="*/ 187257 w 2299605"/>
                <a:gd name="connsiteY1851" fmla="*/ 568164 h 1779774"/>
                <a:gd name="connsiteX1852" fmla="*/ 187257 w 2299605"/>
                <a:gd name="connsiteY1852" fmla="*/ 570446 h 1779774"/>
                <a:gd name="connsiteX1853" fmla="*/ 189540 w 2299605"/>
                <a:gd name="connsiteY1853" fmla="*/ 570446 h 1779774"/>
                <a:gd name="connsiteX1854" fmla="*/ 189540 w 2299605"/>
                <a:gd name="connsiteY1854" fmla="*/ 572728 h 1779774"/>
                <a:gd name="connsiteX1855" fmla="*/ 189540 w 2299605"/>
                <a:gd name="connsiteY1855" fmla="*/ 575009 h 1779774"/>
                <a:gd name="connsiteX1856" fmla="*/ 189540 w 2299605"/>
                <a:gd name="connsiteY1856" fmla="*/ 577291 h 1779774"/>
                <a:gd name="connsiteX1857" fmla="*/ 189540 w 2299605"/>
                <a:gd name="connsiteY1857" fmla="*/ 579573 h 1779774"/>
                <a:gd name="connsiteX1858" fmla="*/ 191824 w 2299605"/>
                <a:gd name="connsiteY1858" fmla="*/ 579573 h 1779774"/>
                <a:gd name="connsiteX1859" fmla="*/ 191824 w 2299605"/>
                <a:gd name="connsiteY1859" fmla="*/ 581855 h 1779774"/>
                <a:gd name="connsiteX1860" fmla="*/ 191824 w 2299605"/>
                <a:gd name="connsiteY1860" fmla="*/ 584137 h 1779774"/>
                <a:gd name="connsiteX1861" fmla="*/ 191824 w 2299605"/>
                <a:gd name="connsiteY1861" fmla="*/ 586419 h 1779774"/>
                <a:gd name="connsiteX1862" fmla="*/ 194108 w 2299605"/>
                <a:gd name="connsiteY1862" fmla="*/ 586419 h 1779774"/>
                <a:gd name="connsiteX1863" fmla="*/ 194108 w 2299605"/>
                <a:gd name="connsiteY1863" fmla="*/ 588701 h 1779774"/>
                <a:gd name="connsiteX1864" fmla="*/ 196390 w 2299605"/>
                <a:gd name="connsiteY1864" fmla="*/ 590983 h 1779774"/>
                <a:gd name="connsiteX1865" fmla="*/ 196390 w 2299605"/>
                <a:gd name="connsiteY1865" fmla="*/ 593264 h 1779774"/>
                <a:gd name="connsiteX1866" fmla="*/ 198675 w 2299605"/>
                <a:gd name="connsiteY1866" fmla="*/ 593264 h 1779774"/>
                <a:gd name="connsiteX1867" fmla="*/ 198675 w 2299605"/>
                <a:gd name="connsiteY1867" fmla="*/ 595547 h 1779774"/>
                <a:gd name="connsiteX1868" fmla="*/ 200958 w 2299605"/>
                <a:gd name="connsiteY1868" fmla="*/ 595547 h 1779774"/>
                <a:gd name="connsiteX1869" fmla="*/ 200958 w 2299605"/>
                <a:gd name="connsiteY1869" fmla="*/ 597828 h 1779774"/>
                <a:gd name="connsiteX1870" fmla="*/ 200958 w 2299605"/>
                <a:gd name="connsiteY1870" fmla="*/ 600110 h 1779774"/>
                <a:gd name="connsiteX1871" fmla="*/ 203242 w 2299605"/>
                <a:gd name="connsiteY1871" fmla="*/ 600110 h 1779774"/>
                <a:gd name="connsiteX1872" fmla="*/ 203242 w 2299605"/>
                <a:gd name="connsiteY1872" fmla="*/ 602392 h 1779774"/>
                <a:gd name="connsiteX1873" fmla="*/ 205526 w 2299605"/>
                <a:gd name="connsiteY1873" fmla="*/ 602392 h 1779774"/>
                <a:gd name="connsiteX1874" fmla="*/ 205526 w 2299605"/>
                <a:gd name="connsiteY1874" fmla="*/ 604674 h 1779774"/>
                <a:gd name="connsiteX1875" fmla="*/ 205526 w 2299605"/>
                <a:gd name="connsiteY1875" fmla="*/ 606956 h 1779774"/>
                <a:gd name="connsiteX1876" fmla="*/ 207809 w 2299605"/>
                <a:gd name="connsiteY1876" fmla="*/ 606956 h 1779774"/>
                <a:gd name="connsiteX1877" fmla="*/ 207809 w 2299605"/>
                <a:gd name="connsiteY1877" fmla="*/ 609238 h 1779774"/>
                <a:gd name="connsiteX1878" fmla="*/ 207809 w 2299605"/>
                <a:gd name="connsiteY1878" fmla="*/ 611520 h 1779774"/>
                <a:gd name="connsiteX1879" fmla="*/ 210093 w 2299605"/>
                <a:gd name="connsiteY1879" fmla="*/ 611520 h 1779774"/>
                <a:gd name="connsiteX1880" fmla="*/ 210093 w 2299605"/>
                <a:gd name="connsiteY1880" fmla="*/ 613802 h 1779774"/>
                <a:gd name="connsiteX1881" fmla="*/ 210093 w 2299605"/>
                <a:gd name="connsiteY1881" fmla="*/ 616074 h 1779774"/>
                <a:gd name="connsiteX1882" fmla="*/ 210093 w 2299605"/>
                <a:gd name="connsiteY1882" fmla="*/ 618356 h 1779774"/>
                <a:gd name="connsiteX1883" fmla="*/ 210093 w 2299605"/>
                <a:gd name="connsiteY1883" fmla="*/ 620638 h 1779774"/>
                <a:gd name="connsiteX1884" fmla="*/ 207809 w 2299605"/>
                <a:gd name="connsiteY1884" fmla="*/ 620638 h 1779774"/>
                <a:gd name="connsiteX1885" fmla="*/ 207809 w 2299605"/>
                <a:gd name="connsiteY1885" fmla="*/ 622920 h 1779774"/>
                <a:gd name="connsiteX1886" fmla="*/ 210093 w 2299605"/>
                <a:gd name="connsiteY1886" fmla="*/ 622920 h 1779774"/>
                <a:gd name="connsiteX1887" fmla="*/ 210093 w 2299605"/>
                <a:gd name="connsiteY1887" fmla="*/ 625202 h 1779774"/>
                <a:gd name="connsiteX1888" fmla="*/ 210093 w 2299605"/>
                <a:gd name="connsiteY1888" fmla="*/ 627483 h 1779774"/>
                <a:gd name="connsiteX1889" fmla="*/ 207809 w 2299605"/>
                <a:gd name="connsiteY1889" fmla="*/ 627483 h 1779774"/>
                <a:gd name="connsiteX1890" fmla="*/ 207809 w 2299605"/>
                <a:gd name="connsiteY1890" fmla="*/ 629765 h 1779774"/>
                <a:gd name="connsiteX1891" fmla="*/ 205526 w 2299605"/>
                <a:gd name="connsiteY1891" fmla="*/ 629765 h 1779774"/>
                <a:gd name="connsiteX1892" fmla="*/ 205526 w 2299605"/>
                <a:gd name="connsiteY1892" fmla="*/ 632047 h 1779774"/>
                <a:gd name="connsiteX1893" fmla="*/ 205526 w 2299605"/>
                <a:gd name="connsiteY1893" fmla="*/ 634329 h 1779774"/>
                <a:gd name="connsiteX1894" fmla="*/ 207809 w 2299605"/>
                <a:gd name="connsiteY1894" fmla="*/ 634329 h 1779774"/>
                <a:gd name="connsiteX1895" fmla="*/ 207809 w 2299605"/>
                <a:gd name="connsiteY1895" fmla="*/ 636611 h 1779774"/>
                <a:gd name="connsiteX1896" fmla="*/ 207809 w 2299605"/>
                <a:gd name="connsiteY1896" fmla="*/ 638893 h 1779774"/>
                <a:gd name="connsiteX1897" fmla="*/ 210093 w 2299605"/>
                <a:gd name="connsiteY1897" fmla="*/ 638893 h 1779774"/>
                <a:gd name="connsiteX1898" fmla="*/ 210093 w 2299605"/>
                <a:gd name="connsiteY1898" fmla="*/ 641175 h 1779774"/>
                <a:gd name="connsiteX1899" fmla="*/ 210093 w 2299605"/>
                <a:gd name="connsiteY1899" fmla="*/ 643457 h 1779774"/>
                <a:gd name="connsiteX1900" fmla="*/ 212376 w 2299605"/>
                <a:gd name="connsiteY1900" fmla="*/ 643457 h 1779774"/>
                <a:gd name="connsiteX1901" fmla="*/ 212376 w 2299605"/>
                <a:gd name="connsiteY1901" fmla="*/ 645739 h 1779774"/>
                <a:gd name="connsiteX1902" fmla="*/ 212376 w 2299605"/>
                <a:gd name="connsiteY1902" fmla="*/ 648020 h 1779774"/>
                <a:gd name="connsiteX1903" fmla="*/ 214660 w 2299605"/>
                <a:gd name="connsiteY1903" fmla="*/ 648020 h 1779774"/>
                <a:gd name="connsiteX1904" fmla="*/ 214660 w 2299605"/>
                <a:gd name="connsiteY1904" fmla="*/ 650303 h 1779774"/>
                <a:gd name="connsiteX1905" fmla="*/ 214660 w 2299605"/>
                <a:gd name="connsiteY1905" fmla="*/ 652584 h 1779774"/>
                <a:gd name="connsiteX1906" fmla="*/ 214660 w 2299605"/>
                <a:gd name="connsiteY1906" fmla="*/ 654866 h 1779774"/>
                <a:gd name="connsiteX1907" fmla="*/ 214660 w 2299605"/>
                <a:gd name="connsiteY1907" fmla="*/ 657148 h 1779774"/>
                <a:gd name="connsiteX1908" fmla="*/ 216944 w 2299605"/>
                <a:gd name="connsiteY1908" fmla="*/ 657148 h 1779774"/>
                <a:gd name="connsiteX1909" fmla="*/ 216944 w 2299605"/>
                <a:gd name="connsiteY1909" fmla="*/ 659430 h 1779774"/>
                <a:gd name="connsiteX1910" fmla="*/ 216944 w 2299605"/>
                <a:gd name="connsiteY1910" fmla="*/ 661712 h 1779774"/>
                <a:gd name="connsiteX1911" fmla="*/ 219227 w 2299605"/>
                <a:gd name="connsiteY1911" fmla="*/ 661712 h 1779774"/>
                <a:gd name="connsiteX1912" fmla="*/ 219227 w 2299605"/>
                <a:gd name="connsiteY1912" fmla="*/ 663994 h 1779774"/>
                <a:gd name="connsiteX1913" fmla="*/ 219227 w 2299605"/>
                <a:gd name="connsiteY1913" fmla="*/ 666276 h 1779774"/>
                <a:gd name="connsiteX1914" fmla="*/ 219227 w 2299605"/>
                <a:gd name="connsiteY1914" fmla="*/ 668558 h 1779774"/>
                <a:gd name="connsiteX1915" fmla="*/ 221511 w 2299605"/>
                <a:gd name="connsiteY1915" fmla="*/ 668558 h 1779774"/>
                <a:gd name="connsiteX1916" fmla="*/ 221511 w 2299605"/>
                <a:gd name="connsiteY1916" fmla="*/ 670840 h 1779774"/>
                <a:gd name="connsiteX1917" fmla="*/ 221511 w 2299605"/>
                <a:gd name="connsiteY1917" fmla="*/ 673121 h 1779774"/>
                <a:gd name="connsiteX1918" fmla="*/ 223794 w 2299605"/>
                <a:gd name="connsiteY1918" fmla="*/ 673121 h 1779774"/>
                <a:gd name="connsiteX1919" fmla="*/ 223794 w 2299605"/>
                <a:gd name="connsiteY1919" fmla="*/ 675403 h 1779774"/>
                <a:gd name="connsiteX1920" fmla="*/ 223794 w 2299605"/>
                <a:gd name="connsiteY1920" fmla="*/ 677685 h 1779774"/>
                <a:gd name="connsiteX1921" fmla="*/ 226078 w 2299605"/>
                <a:gd name="connsiteY1921" fmla="*/ 677685 h 1779774"/>
                <a:gd name="connsiteX1922" fmla="*/ 226078 w 2299605"/>
                <a:gd name="connsiteY1922" fmla="*/ 679967 h 1779774"/>
                <a:gd name="connsiteX1923" fmla="*/ 226078 w 2299605"/>
                <a:gd name="connsiteY1923" fmla="*/ 682249 h 1779774"/>
                <a:gd name="connsiteX1924" fmla="*/ 226078 w 2299605"/>
                <a:gd name="connsiteY1924" fmla="*/ 684531 h 1779774"/>
                <a:gd name="connsiteX1925" fmla="*/ 228362 w 2299605"/>
                <a:gd name="connsiteY1925" fmla="*/ 684531 h 1779774"/>
                <a:gd name="connsiteX1926" fmla="*/ 228362 w 2299605"/>
                <a:gd name="connsiteY1926" fmla="*/ 686813 h 1779774"/>
                <a:gd name="connsiteX1927" fmla="*/ 228362 w 2299605"/>
                <a:gd name="connsiteY1927" fmla="*/ 689095 h 1779774"/>
                <a:gd name="connsiteX1928" fmla="*/ 228362 w 2299605"/>
                <a:gd name="connsiteY1928" fmla="*/ 691376 h 1779774"/>
                <a:gd name="connsiteX1929" fmla="*/ 226078 w 2299605"/>
                <a:gd name="connsiteY1929" fmla="*/ 691376 h 1779774"/>
                <a:gd name="connsiteX1930" fmla="*/ 226078 w 2299605"/>
                <a:gd name="connsiteY1930" fmla="*/ 693659 h 1779774"/>
                <a:gd name="connsiteX1931" fmla="*/ 223794 w 2299605"/>
                <a:gd name="connsiteY1931" fmla="*/ 693659 h 1779774"/>
                <a:gd name="connsiteX1932" fmla="*/ 223794 w 2299605"/>
                <a:gd name="connsiteY1932" fmla="*/ 695940 h 1779774"/>
                <a:gd name="connsiteX1933" fmla="*/ 223794 w 2299605"/>
                <a:gd name="connsiteY1933" fmla="*/ 698222 h 1779774"/>
                <a:gd name="connsiteX1934" fmla="*/ 226078 w 2299605"/>
                <a:gd name="connsiteY1934" fmla="*/ 698222 h 1779774"/>
                <a:gd name="connsiteX1935" fmla="*/ 226078 w 2299605"/>
                <a:gd name="connsiteY1935" fmla="*/ 700504 h 1779774"/>
                <a:gd name="connsiteX1936" fmla="*/ 223794 w 2299605"/>
                <a:gd name="connsiteY1936" fmla="*/ 700504 h 1779774"/>
                <a:gd name="connsiteX1937" fmla="*/ 223794 w 2299605"/>
                <a:gd name="connsiteY1937" fmla="*/ 702786 h 1779774"/>
                <a:gd name="connsiteX1938" fmla="*/ 226078 w 2299605"/>
                <a:gd name="connsiteY1938" fmla="*/ 705068 h 1779774"/>
                <a:gd name="connsiteX1939" fmla="*/ 226078 w 2299605"/>
                <a:gd name="connsiteY1939" fmla="*/ 707350 h 1779774"/>
                <a:gd name="connsiteX1940" fmla="*/ 226078 w 2299605"/>
                <a:gd name="connsiteY1940" fmla="*/ 709632 h 1779774"/>
                <a:gd name="connsiteX1941" fmla="*/ 226078 w 2299605"/>
                <a:gd name="connsiteY1941" fmla="*/ 711914 h 1779774"/>
                <a:gd name="connsiteX1942" fmla="*/ 226078 w 2299605"/>
                <a:gd name="connsiteY1942" fmla="*/ 714196 h 1779774"/>
                <a:gd name="connsiteX1943" fmla="*/ 226078 w 2299605"/>
                <a:gd name="connsiteY1943" fmla="*/ 716477 h 1779774"/>
                <a:gd name="connsiteX1944" fmla="*/ 228362 w 2299605"/>
                <a:gd name="connsiteY1944" fmla="*/ 716477 h 1779774"/>
                <a:gd name="connsiteX1945" fmla="*/ 228362 w 2299605"/>
                <a:gd name="connsiteY1945" fmla="*/ 718759 h 1779774"/>
                <a:gd name="connsiteX1946" fmla="*/ 228362 w 2299605"/>
                <a:gd name="connsiteY1946" fmla="*/ 721041 h 1779774"/>
                <a:gd name="connsiteX1947" fmla="*/ 230645 w 2299605"/>
                <a:gd name="connsiteY1947" fmla="*/ 721041 h 1779774"/>
                <a:gd name="connsiteX1948" fmla="*/ 230645 w 2299605"/>
                <a:gd name="connsiteY1948" fmla="*/ 723323 h 1779774"/>
                <a:gd name="connsiteX1949" fmla="*/ 230645 w 2299605"/>
                <a:gd name="connsiteY1949" fmla="*/ 725605 h 1779774"/>
                <a:gd name="connsiteX1950" fmla="*/ 230645 w 2299605"/>
                <a:gd name="connsiteY1950" fmla="*/ 727887 h 1779774"/>
                <a:gd name="connsiteX1951" fmla="*/ 230645 w 2299605"/>
                <a:gd name="connsiteY1951" fmla="*/ 730169 h 1779774"/>
                <a:gd name="connsiteX1952" fmla="*/ 232929 w 2299605"/>
                <a:gd name="connsiteY1952" fmla="*/ 730169 h 1779774"/>
                <a:gd name="connsiteX1953" fmla="*/ 232929 w 2299605"/>
                <a:gd name="connsiteY1953" fmla="*/ 732451 h 1779774"/>
                <a:gd name="connsiteX1954" fmla="*/ 232929 w 2299605"/>
                <a:gd name="connsiteY1954" fmla="*/ 734732 h 1779774"/>
                <a:gd name="connsiteX1955" fmla="*/ 235212 w 2299605"/>
                <a:gd name="connsiteY1955" fmla="*/ 734732 h 1779774"/>
                <a:gd name="connsiteX1956" fmla="*/ 235212 w 2299605"/>
                <a:gd name="connsiteY1956" fmla="*/ 737015 h 1779774"/>
                <a:gd name="connsiteX1957" fmla="*/ 235212 w 2299605"/>
                <a:gd name="connsiteY1957" fmla="*/ 739296 h 1779774"/>
                <a:gd name="connsiteX1958" fmla="*/ 235212 w 2299605"/>
                <a:gd name="connsiteY1958" fmla="*/ 741578 h 1779774"/>
                <a:gd name="connsiteX1959" fmla="*/ 235212 w 2299605"/>
                <a:gd name="connsiteY1959" fmla="*/ 743860 h 1779774"/>
                <a:gd name="connsiteX1960" fmla="*/ 237496 w 2299605"/>
                <a:gd name="connsiteY1960" fmla="*/ 743860 h 1779774"/>
                <a:gd name="connsiteX1961" fmla="*/ 237496 w 2299605"/>
                <a:gd name="connsiteY1961" fmla="*/ 746142 h 1779774"/>
                <a:gd name="connsiteX1962" fmla="*/ 237496 w 2299605"/>
                <a:gd name="connsiteY1962" fmla="*/ 748424 h 1779774"/>
                <a:gd name="connsiteX1963" fmla="*/ 239780 w 2299605"/>
                <a:gd name="connsiteY1963" fmla="*/ 748424 h 1779774"/>
                <a:gd name="connsiteX1964" fmla="*/ 239780 w 2299605"/>
                <a:gd name="connsiteY1964" fmla="*/ 750706 h 1779774"/>
                <a:gd name="connsiteX1965" fmla="*/ 239780 w 2299605"/>
                <a:gd name="connsiteY1965" fmla="*/ 752988 h 1779774"/>
                <a:gd name="connsiteX1966" fmla="*/ 239780 w 2299605"/>
                <a:gd name="connsiteY1966" fmla="*/ 755270 h 1779774"/>
                <a:gd name="connsiteX1967" fmla="*/ 242063 w 2299605"/>
                <a:gd name="connsiteY1967" fmla="*/ 755270 h 1779774"/>
                <a:gd name="connsiteX1968" fmla="*/ 242063 w 2299605"/>
                <a:gd name="connsiteY1968" fmla="*/ 757552 h 1779774"/>
                <a:gd name="connsiteX1969" fmla="*/ 242063 w 2299605"/>
                <a:gd name="connsiteY1969" fmla="*/ 759833 h 1779774"/>
                <a:gd name="connsiteX1970" fmla="*/ 242063 w 2299605"/>
                <a:gd name="connsiteY1970" fmla="*/ 762115 h 1779774"/>
                <a:gd name="connsiteX1971" fmla="*/ 244347 w 2299605"/>
                <a:gd name="connsiteY1971" fmla="*/ 762115 h 1779774"/>
                <a:gd name="connsiteX1972" fmla="*/ 244347 w 2299605"/>
                <a:gd name="connsiteY1972" fmla="*/ 764397 h 1779774"/>
                <a:gd name="connsiteX1973" fmla="*/ 244347 w 2299605"/>
                <a:gd name="connsiteY1973" fmla="*/ 766670 h 1779774"/>
                <a:gd name="connsiteX1974" fmla="*/ 244347 w 2299605"/>
                <a:gd name="connsiteY1974" fmla="*/ 768951 h 1779774"/>
                <a:gd name="connsiteX1975" fmla="*/ 244347 w 2299605"/>
                <a:gd name="connsiteY1975" fmla="*/ 771233 h 1779774"/>
                <a:gd name="connsiteX1976" fmla="*/ 244347 w 2299605"/>
                <a:gd name="connsiteY1976" fmla="*/ 773515 h 1779774"/>
                <a:gd name="connsiteX1977" fmla="*/ 246630 w 2299605"/>
                <a:gd name="connsiteY1977" fmla="*/ 773515 h 1779774"/>
                <a:gd name="connsiteX1978" fmla="*/ 246630 w 2299605"/>
                <a:gd name="connsiteY1978" fmla="*/ 775797 h 1779774"/>
                <a:gd name="connsiteX1979" fmla="*/ 244347 w 2299605"/>
                <a:gd name="connsiteY1979" fmla="*/ 778079 h 1779774"/>
                <a:gd name="connsiteX1980" fmla="*/ 244347 w 2299605"/>
                <a:gd name="connsiteY1980" fmla="*/ 780361 h 1779774"/>
                <a:gd name="connsiteX1981" fmla="*/ 244347 w 2299605"/>
                <a:gd name="connsiteY1981" fmla="*/ 782643 h 1779774"/>
                <a:gd name="connsiteX1982" fmla="*/ 244347 w 2299605"/>
                <a:gd name="connsiteY1982" fmla="*/ 784925 h 1779774"/>
                <a:gd name="connsiteX1983" fmla="*/ 242063 w 2299605"/>
                <a:gd name="connsiteY1983" fmla="*/ 784925 h 1779774"/>
                <a:gd name="connsiteX1984" fmla="*/ 239780 w 2299605"/>
                <a:gd name="connsiteY1984" fmla="*/ 784925 h 1779774"/>
                <a:gd name="connsiteX1985" fmla="*/ 239780 w 2299605"/>
                <a:gd name="connsiteY1985" fmla="*/ 787207 h 1779774"/>
                <a:gd name="connsiteX1986" fmla="*/ 237496 w 2299605"/>
                <a:gd name="connsiteY1986" fmla="*/ 787207 h 1779774"/>
                <a:gd name="connsiteX1987" fmla="*/ 237496 w 2299605"/>
                <a:gd name="connsiteY1987" fmla="*/ 789488 h 1779774"/>
                <a:gd name="connsiteX1988" fmla="*/ 237496 w 2299605"/>
                <a:gd name="connsiteY1988" fmla="*/ 791771 h 1779774"/>
                <a:gd name="connsiteX1989" fmla="*/ 237496 w 2299605"/>
                <a:gd name="connsiteY1989" fmla="*/ 794052 h 1779774"/>
                <a:gd name="connsiteX1990" fmla="*/ 237496 w 2299605"/>
                <a:gd name="connsiteY1990" fmla="*/ 796334 h 1779774"/>
                <a:gd name="connsiteX1991" fmla="*/ 237496 w 2299605"/>
                <a:gd name="connsiteY1991" fmla="*/ 798616 h 1779774"/>
                <a:gd name="connsiteX1992" fmla="*/ 239780 w 2299605"/>
                <a:gd name="connsiteY1992" fmla="*/ 798616 h 1779774"/>
                <a:gd name="connsiteX1993" fmla="*/ 239780 w 2299605"/>
                <a:gd name="connsiteY1993" fmla="*/ 800898 h 1779774"/>
                <a:gd name="connsiteX1994" fmla="*/ 239780 w 2299605"/>
                <a:gd name="connsiteY1994" fmla="*/ 803180 h 1779774"/>
                <a:gd name="connsiteX1995" fmla="*/ 239780 w 2299605"/>
                <a:gd name="connsiteY1995" fmla="*/ 805462 h 1779774"/>
                <a:gd name="connsiteX1996" fmla="*/ 242063 w 2299605"/>
                <a:gd name="connsiteY1996" fmla="*/ 805462 h 1779774"/>
                <a:gd name="connsiteX1997" fmla="*/ 242063 w 2299605"/>
                <a:gd name="connsiteY1997" fmla="*/ 807744 h 1779774"/>
                <a:gd name="connsiteX1998" fmla="*/ 242063 w 2299605"/>
                <a:gd name="connsiteY1998" fmla="*/ 810026 h 1779774"/>
                <a:gd name="connsiteX1999" fmla="*/ 242063 w 2299605"/>
                <a:gd name="connsiteY1999" fmla="*/ 812308 h 1779774"/>
                <a:gd name="connsiteX2000" fmla="*/ 242063 w 2299605"/>
                <a:gd name="connsiteY2000" fmla="*/ 814589 h 1779774"/>
                <a:gd name="connsiteX2001" fmla="*/ 244347 w 2299605"/>
                <a:gd name="connsiteY2001" fmla="*/ 814589 h 1779774"/>
                <a:gd name="connsiteX2002" fmla="*/ 244347 w 2299605"/>
                <a:gd name="connsiteY2002" fmla="*/ 816871 h 1779774"/>
                <a:gd name="connsiteX2003" fmla="*/ 244347 w 2299605"/>
                <a:gd name="connsiteY2003" fmla="*/ 819153 h 1779774"/>
                <a:gd name="connsiteX2004" fmla="*/ 244347 w 2299605"/>
                <a:gd name="connsiteY2004" fmla="*/ 821435 h 1779774"/>
                <a:gd name="connsiteX2005" fmla="*/ 244347 w 2299605"/>
                <a:gd name="connsiteY2005" fmla="*/ 823717 h 1779774"/>
                <a:gd name="connsiteX2006" fmla="*/ 244347 w 2299605"/>
                <a:gd name="connsiteY2006" fmla="*/ 825999 h 1779774"/>
                <a:gd name="connsiteX2007" fmla="*/ 246630 w 2299605"/>
                <a:gd name="connsiteY2007" fmla="*/ 825999 h 1779774"/>
                <a:gd name="connsiteX2008" fmla="*/ 246630 w 2299605"/>
                <a:gd name="connsiteY2008" fmla="*/ 828281 h 1779774"/>
                <a:gd name="connsiteX2009" fmla="*/ 246630 w 2299605"/>
                <a:gd name="connsiteY2009" fmla="*/ 830563 h 1779774"/>
                <a:gd name="connsiteX2010" fmla="*/ 246630 w 2299605"/>
                <a:gd name="connsiteY2010" fmla="*/ 832844 h 1779774"/>
                <a:gd name="connsiteX2011" fmla="*/ 246630 w 2299605"/>
                <a:gd name="connsiteY2011" fmla="*/ 835127 h 1779774"/>
                <a:gd name="connsiteX2012" fmla="*/ 246630 w 2299605"/>
                <a:gd name="connsiteY2012" fmla="*/ 837408 h 1779774"/>
                <a:gd name="connsiteX2013" fmla="*/ 246630 w 2299605"/>
                <a:gd name="connsiteY2013" fmla="*/ 839690 h 1779774"/>
                <a:gd name="connsiteX2014" fmla="*/ 246630 w 2299605"/>
                <a:gd name="connsiteY2014" fmla="*/ 841972 h 1779774"/>
                <a:gd name="connsiteX2015" fmla="*/ 248914 w 2299605"/>
                <a:gd name="connsiteY2015" fmla="*/ 841972 h 1779774"/>
                <a:gd name="connsiteX2016" fmla="*/ 248914 w 2299605"/>
                <a:gd name="connsiteY2016" fmla="*/ 844254 h 1779774"/>
                <a:gd name="connsiteX2017" fmla="*/ 248914 w 2299605"/>
                <a:gd name="connsiteY2017" fmla="*/ 846536 h 1779774"/>
                <a:gd name="connsiteX2018" fmla="*/ 248914 w 2299605"/>
                <a:gd name="connsiteY2018" fmla="*/ 848818 h 1779774"/>
                <a:gd name="connsiteX2019" fmla="*/ 248914 w 2299605"/>
                <a:gd name="connsiteY2019" fmla="*/ 851100 h 1779774"/>
                <a:gd name="connsiteX2020" fmla="*/ 248914 w 2299605"/>
                <a:gd name="connsiteY2020" fmla="*/ 853382 h 1779774"/>
                <a:gd name="connsiteX2021" fmla="*/ 248914 w 2299605"/>
                <a:gd name="connsiteY2021" fmla="*/ 855664 h 1779774"/>
                <a:gd name="connsiteX2022" fmla="*/ 248914 w 2299605"/>
                <a:gd name="connsiteY2022" fmla="*/ 857945 h 1779774"/>
                <a:gd name="connsiteX2023" fmla="*/ 248914 w 2299605"/>
                <a:gd name="connsiteY2023" fmla="*/ 860227 h 1779774"/>
                <a:gd name="connsiteX2024" fmla="*/ 248914 w 2299605"/>
                <a:gd name="connsiteY2024" fmla="*/ 862509 h 1779774"/>
                <a:gd name="connsiteX2025" fmla="*/ 248914 w 2299605"/>
                <a:gd name="connsiteY2025" fmla="*/ 864791 h 1779774"/>
                <a:gd name="connsiteX2026" fmla="*/ 248914 w 2299605"/>
                <a:gd name="connsiteY2026" fmla="*/ 867073 h 1779774"/>
                <a:gd name="connsiteX2027" fmla="*/ 246630 w 2299605"/>
                <a:gd name="connsiteY2027" fmla="*/ 867073 h 1779774"/>
                <a:gd name="connsiteX2028" fmla="*/ 246630 w 2299605"/>
                <a:gd name="connsiteY2028" fmla="*/ 869355 h 1779774"/>
                <a:gd name="connsiteX2029" fmla="*/ 246630 w 2299605"/>
                <a:gd name="connsiteY2029" fmla="*/ 871637 h 1779774"/>
                <a:gd name="connsiteX2030" fmla="*/ 246630 w 2299605"/>
                <a:gd name="connsiteY2030" fmla="*/ 873919 h 1779774"/>
                <a:gd name="connsiteX2031" fmla="*/ 246630 w 2299605"/>
                <a:gd name="connsiteY2031" fmla="*/ 876201 h 1779774"/>
                <a:gd name="connsiteX2032" fmla="*/ 246630 w 2299605"/>
                <a:gd name="connsiteY2032" fmla="*/ 878483 h 1779774"/>
                <a:gd name="connsiteX2033" fmla="*/ 246630 w 2299605"/>
                <a:gd name="connsiteY2033" fmla="*/ 880764 h 1779774"/>
                <a:gd name="connsiteX2034" fmla="*/ 246630 w 2299605"/>
                <a:gd name="connsiteY2034" fmla="*/ 883046 h 1779774"/>
                <a:gd name="connsiteX2035" fmla="*/ 244347 w 2299605"/>
                <a:gd name="connsiteY2035" fmla="*/ 883046 h 1779774"/>
                <a:gd name="connsiteX2036" fmla="*/ 244347 w 2299605"/>
                <a:gd name="connsiteY2036" fmla="*/ 885328 h 1779774"/>
                <a:gd name="connsiteX2037" fmla="*/ 244347 w 2299605"/>
                <a:gd name="connsiteY2037" fmla="*/ 887610 h 1779774"/>
                <a:gd name="connsiteX2038" fmla="*/ 244347 w 2299605"/>
                <a:gd name="connsiteY2038" fmla="*/ 889892 h 1779774"/>
                <a:gd name="connsiteX2039" fmla="*/ 244347 w 2299605"/>
                <a:gd name="connsiteY2039" fmla="*/ 892174 h 1779774"/>
                <a:gd name="connsiteX2040" fmla="*/ 242063 w 2299605"/>
                <a:gd name="connsiteY2040" fmla="*/ 892174 h 1779774"/>
                <a:gd name="connsiteX2041" fmla="*/ 242063 w 2299605"/>
                <a:gd name="connsiteY2041" fmla="*/ 894456 h 1779774"/>
                <a:gd name="connsiteX2042" fmla="*/ 242063 w 2299605"/>
                <a:gd name="connsiteY2042" fmla="*/ 896738 h 1779774"/>
                <a:gd name="connsiteX2043" fmla="*/ 242063 w 2299605"/>
                <a:gd name="connsiteY2043" fmla="*/ 899020 h 1779774"/>
                <a:gd name="connsiteX2044" fmla="*/ 239780 w 2299605"/>
                <a:gd name="connsiteY2044" fmla="*/ 901301 h 1779774"/>
                <a:gd name="connsiteX2045" fmla="*/ 239780 w 2299605"/>
                <a:gd name="connsiteY2045" fmla="*/ 903583 h 1779774"/>
                <a:gd name="connsiteX2046" fmla="*/ 239780 w 2299605"/>
                <a:gd name="connsiteY2046" fmla="*/ 905865 h 1779774"/>
                <a:gd name="connsiteX2047" fmla="*/ 239780 w 2299605"/>
                <a:gd name="connsiteY2047" fmla="*/ 908147 h 1779774"/>
                <a:gd name="connsiteX2048" fmla="*/ 237496 w 2299605"/>
                <a:gd name="connsiteY2048" fmla="*/ 908147 h 1779774"/>
                <a:gd name="connsiteX2049" fmla="*/ 237496 w 2299605"/>
                <a:gd name="connsiteY2049" fmla="*/ 910429 h 1779774"/>
                <a:gd name="connsiteX2050" fmla="*/ 237496 w 2299605"/>
                <a:gd name="connsiteY2050" fmla="*/ 912711 h 1779774"/>
                <a:gd name="connsiteX2051" fmla="*/ 235212 w 2299605"/>
                <a:gd name="connsiteY2051" fmla="*/ 912711 h 1779774"/>
                <a:gd name="connsiteX2052" fmla="*/ 235212 w 2299605"/>
                <a:gd name="connsiteY2052" fmla="*/ 914993 h 1779774"/>
                <a:gd name="connsiteX2053" fmla="*/ 235212 w 2299605"/>
                <a:gd name="connsiteY2053" fmla="*/ 917275 h 1779774"/>
                <a:gd name="connsiteX2054" fmla="*/ 235212 w 2299605"/>
                <a:gd name="connsiteY2054" fmla="*/ 919557 h 1779774"/>
                <a:gd name="connsiteX2055" fmla="*/ 232929 w 2299605"/>
                <a:gd name="connsiteY2055" fmla="*/ 919557 h 1779774"/>
                <a:gd name="connsiteX2056" fmla="*/ 232929 w 2299605"/>
                <a:gd name="connsiteY2056" fmla="*/ 921839 h 1779774"/>
                <a:gd name="connsiteX2057" fmla="*/ 232929 w 2299605"/>
                <a:gd name="connsiteY2057" fmla="*/ 924111 h 1779774"/>
                <a:gd name="connsiteX2058" fmla="*/ 230645 w 2299605"/>
                <a:gd name="connsiteY2058" fmla="*/ 924111 h 1779774"/>
                <a:gd name="connsiteX2059" fmla="*/ 230645 w 2299605"/>
                <a:gd name="connsiteY2059" fmla="*/ 926393 h 1779774"/>
                <a:gd name="connsiteX2060" fmla="*/ 230645 w 2299605"/>
                <a:gd name="connsiteY2060" fmla="*/ 928675 h 1779774"/>
                <a:gd name="connsiteX2061" fmla="*/ 228362 w 2299605"/>
                <a:gd name="connsiteY2061" fmla="*/ 928675 h 1779774"/>
                <a:gd name="connsiteX2062" fmla="*/ 228362 w 2299605"/>
                <a:gd name="connsiteY2062" fmla="*/ 930957 h 1779774"/>
                <a:gd name="connsiteX2063" fmla="*/ 228362 w 2299605"/>
                <a:gd name="connsiteY2063" fmla="*/ 933239 h 1779774"/>
                <a:gd name="connsiteX2064" fmla="*/ 226078 w 2299605"/>
                <a:gd name="connsiteY2064" fmla="*/ 933239 h 1779774"/>
                <a:gd name="connsiteX2065" fmla="*/ 226078 w 2299605"/>
                <a:gd name="connsiteY2065" fmla="*/ 935520 h 1779774"/>
                <a:gd name="connsiteX2066" fmla="*/ 226078 w 2299605"/>
                <a:gd name="connsiteY2066" fmla="*/ 937802 h 1779774"/>
                <a:gd name="connsiteX2067" fmla="*/ 223794 w 2299605"/>
                <a:gd name="connsiteY2067" fmla="*/ 937802 h 1779774"/>
                <a:gd name="connsiteX2068" fmla="*/ 223794 w 2299605"/>
                <a:gd name="connsiteY2068" fmla="*/ 940084 h 1779774"/>
                <a:gd name="connsiteX2069" fmla="*/ 221511 w 2299605"/>
                <a:gd name="connsiteY2069" fmla="*/ 940084 h 1779774"/>
                <a:gd name="connsiteX2070" fmla="*/ 221511 w 2299605"/>
                <a:gd name="connsiteY2070" fmla="*/ 942366 h 1779774"/>
                <a:gd name="connsiteX2071" fmla="*/ 219227 w 2299605"/>
                <a:gd name="connsiteY2071" fmla="*/ 942366 h 1779774"/>
                <a:gd name="connsiteX2072" fmla="*/ 219227 w 2299605"/>
                <a:gd name="connsiteY2072" fmla="*/ 944648 h 1779774"/>
                <a:gd name="connsiteX2073" fmla="*/ 219227 w 2299605"/>
                <a:gd name="connsiteY2073" fmla="*/ 946930 h 1779774"/>
                <a:gd name="connsiteX2074" fmla="*/ 216944 w 2299605"/>
                <a:gd name="connsiteY2074" fmla="*/ 946930 h 1779774"/>
                <a:gd name="connsiteX2075" fmla="*/ 214660 w 2299605"/>
                <a:gd name="connsiteY2075" fmla="*/ 946930 h 1779774"/>
                <a:gd name="connsiteX2076" fmla="*/ 214660 w 2299605"/>
                <a:gd name="connsiteY2076" fmla="*/ 949212 h 1779774"/>
                <a:gd name="connsiteX2077" fmla="*/ 212376 w 2299605"/>
                <a:gd name="connsiteY2077" fmla="*/ 949212 h 1779774"/>
                <a:gd name="connsiteX2078" fmla="*/ 212376 w 2299605"/>
                <a:gd name="connsiteY2078" fmla="*/ 951494 h 1779774"/>
                <a:gd name="connsiteX2079" fmla="*/ 210093 w 2299605"/>
                <a:gd name="connsiteY2079" fmla="*/ 951494 h 1779774"/>
                <a:gd name="connsiteX2080" fmla="*/ 210093 w 2299605"/>
                <a:gd name="connsiteY2080" fmla="*/ 953776 h 1779774"/>
                <a:gd name="connsiteX2081" fmla="*/ 207809 w 2299605"/>
                <a:gd name="connsiteY2081" fmla="*/ 953776 h 1779774"/>
                <a:gd name="connsiteX2082" fmla="*/ 207809 w 2299605"/>
                <a:gd name="connsiteY2082" fmla="*/ 956058 h 1779774"/>
                <a:gd name="connsiteX2083" fmla="*/ 207809 w 2299605"/>
                <a:gd name="connsiteY2083" fmla="*/ 958339 h 1779774"/>
                <a:gd name="connsiteX2084" fmla="*/ 205526 w 2299605"/>
                <a:gd name="connsiteY2084" fmla="*/ 958339 h 1779774"/>
                <a:gd name="connsiteX2085" fmla="*/ 205526 w 2299605"/>
                <a:gd name="connsiteY2085" fmla="*/ 960621 h 1779774"/>
                <a:gd name="connsiteX2086" fmla="*/ 205526 w 2299605"/>
                <a:gd name="connsiteY2086" fmla="*/ 962903 h 1779774"/>
                <a:gd name="connsiteX2087" fmla="*/ 203242 w 2299605"/>
                <a:gd name="connsiteY2087" fmla="*/ 962903 h 1779774"/>
                <a:gd name="connsiteX2088" fmla="*/ 203242 w 2299605"/>
                <a:gd name="connsiteY2088" fmla="*/ 965185 h 1779774"/>
                <a:gd name="connsiteX2089" fmla="*/ 203242 w 2299605"/>
                <a:gd name="connsiteY2089" fmla="*/ 967467 h 1779774"/>
                <a:gd name="connsiteX2090" fmla="*/ 200958 w 2299605"/>
                <a:gd name="connsiteY2090" fmla="*/ 967467 h 1779774"/>
                <a:gd name="connsiteX2091" fmla="*/ 200958 w 2299605"/>
                <a:gd name="connsiteY2091" fmla="*/ 969749 h 1779774"/>
                <a:gd name="connsiteX2092" fmla="*/ 198675 w 2299605"/>
                <a:gd name="connsiteY2092" fmla="*/ 969749 h 1779774"/>
                <a:gd name="connsiteX2093" fmla="*/ 198675 w 2299605"/>
                <a:gd name="connsiteY2093" fmla="*/ 972031 h 1779774"/>
                <a:gd name="connsiteX2094" fmla="*/ 198675 w 2299605"/>
                <a:gd name="connsiteY2094" fmla="*/ 974313 h 1779774"/>
                <a:gd name="connsiteX2095" fmla="*/ 196390 w 2299605"/>
                <a:gd name="connsiteY2095" fmla="*/ 974313 h 1779774"/>
                <a:gd name="connsiteX2096" fmla="*/ 196390 w 2299605"/>
                <a:gd name="connsiteY2096" fmla="*/ 976595 h 1779774"/>
                <a:gd name="connsiteX2097" fmla="*/ 194108 w 2299605"/>
                <a:gd name="connsiteY2097" fmla="*/ 976595 h 1779774"/>
                <a:gd name="connsiteX2098" fmla="*/ 194108 w 2299605"/>
                <a:gd name="connsiteY2098" fmla="*/ 978876 h 1779774"/>
                <a:gd name="connsiteX2099" fmla="*/ 191824 w 2299605"/>
                <a:gd name="connsiteY2099" fmla="*/ 978876 h 1779774"/>
                <a:gd name="connsiteX2100" fmla="*/ 189540 w 2299605"/>
                <a:gd name="connsiteY2100" fmla="*/ 978876 h 1779774"/>
                <a:gd name="connsiteX2101" fmla="*/ 189540 w 2299605"/>
                <a:gd name="connsiteY2101" fmla="*/ 981158 h 1779774"/>
                <a:gd name="connsiteX2102" fmla="*/ 187257 w 2299605"/>
                <a:gd name="connsiteY2102" fmla="*/ 981158 h 1779774"/>
                <a:gd name="connsiteX2103" fmla="*/ 184972 w 2299605"/>
                <a:gd name="connsiteY2103" fmla="*/ 981158 h 1779774"/>
                <a:gd name="connsiteX2104" fmla="*/ 184972 w 2299605"/>
                <a:gd name="connsiteY2104" fmla="*/ 983440 h 1779774"/>
                <a:gd name="connsiteX2105" fmla="*/ 182690 w 2299605"/>
                <a:gd name="connsiteY2105" fmla="*/ 983440 h 1779774"/>
                <a:gd name="connsiteX2106" fmla="*/ 180406 w 2299605"/>
                <a:gd name="connsiteY2106" fmla="*/ 983440 h 1779774"/>
                <a:gd name="connsiteX2107" fmla="*/ 178122 w 2299605"/>
                <a:gd name="connsiteY2107" fmla="*/ 983440 h 1779774"/>
                <a:gd name="connsiteX2108" fmla="*/ 175839 w 2299605"/>
                <a:gd name="connsiteY2108" fmla="*/ 983440 h 1779774"/>
                <a:gd name="connsiteX2109" fmla="*/ 173554 w 2299605"/>
                <a:gd name="connsiteY2109" fmla="*/ 983440 h 1779774"/>
                <a:gd name="connsiteX2110" fmla="*/ 171271 w 2299605"/>
                <a:gd name="connsiteY2110" fmla="*/ 983440 h 1779774"/>
                <a:gd name="connsiteX2111" fmla="*/ 168987 w 2299605"/>
                <a:gd name="connsiteY2111" fmla="*/ 983440 h 1779774"/>
                <a:gd name="connsiteX2112" fmla="*/ 166704 w 2299605"/>
                <a:gd name="connsiteY2112" fmla="*/ 983440 h 1779774"/>
                <a:gd name="connsiteX2113" fmla="*/ 166704 w 2299605"/>
                <a:gd name="connsiteY2113" fmla="*/ 985722 h 1779774"/>
                <a:gd name="connsiteX2114" fmla="*/ 164421 w 2299605"/>
                <a:gd name="connsiteY2114" fmla="*/ 985722 h 1779774"/>
                <a:gd name="connsiteX2115" fmla="*/ 162137 w 2299605"/>
                <a:gd name="connsiteY2115" fmla="*/ 985722 h 1779774"/>
                <a:gd name="connsiteX2116" fmla="*/ 159853 w 2299605"/>
                <a:gd name="connsiteY2116" fmla="*/ 985722 h 1779774"/>
                <a:gd name="connsiteX2117" fmla="*/ 159853 w 2299605"/>
                <a:gd name="connsiteY2117" fmla="*/ 983440 h 1779774"/>
                <a:gd name="connsiteX2118" fmla="*/ 157569 w 2299605"/>
                <a:gd name="connsiteY2118" fmla="*/ 983440 h 1779774"/>
                <a:gd name="connsiteX2119" fmla="*/ 157569 w 2299605"/>
                <a:gd name="connsiteY2119" fmla="*/ 981158 h 1779774"/>
                <a:gd name="connsiteX2120" fmla="*/ 155286 w 2299605"/>
                <a:gd name="connsiteY2120" fmla="*/ 981158 h 1779774"/>
                <a:gd name="connsiteX2121" fmla="*/ 155286 w 2299605"/>
                <a:gd name="connsiteY2121" fmla="*/ 978876 h 1779774"/>
                <a:gd name="connsiteX2122" fmla="*/ 153003 w 2299605"/>
                <a:gd name="connsiteY2122" fmla="*/ 978876 h 1779774"/>
                <a:gd name="connsiteX2123" fmla="*/ 153003 w 2299605"/>
                <a:gd name="connsiteY2123" fmla="*/ 976595 h 1779774"/>
                <a:gd name="connsiteX2124" fmla="*/ 150719 w 2299605"/>
                <a:gd name="connsiteY2124" fmla="*/ 976595 h 1779774"/>
                <a:gd name="connsiteX2125" fmla="*/ 148435 w 2299605"/>
                <a:gd name="connsiteY2125" fmla="*/ 976595 h 1779774"/>
                <a:gd name="connsiteX2126" fmla="*/ 148435 w 2299605"/>
                <a:gd name="connsiteY2126" fmla="*/ 974313 h 1779774"/>
                <a:gd name="connsiteX2127" fmla="*/ 146151 w 2299605"/>
                <a:gd name="connsiteY2127" fmla="*/ 974313 h 1779774"/>
                <a:gd name="connsiteX2128" fmla="*/ 146151 w 2299605"/>
                <a:gd name="connsiteY2128" fmla="*/ 972031 h 1779774"/>
                <a:gd name="connsiteX2129" fmla="*/ 146151 w 2299605"/>
                <a:gd name="connsiteY2129" fmla="*/ 969749 h 1779774"/>
                <a:gd name="connsiteX2130" fmla="*/ 143868 w 2299605"/>
                <a:gd name="connsiteY2130" fmla="*/ 969749 h 1779774"/>
                <a:gd name="connsiteX2131" fmla="*/ 141584 w 2299605"/>
                <a:gd name="connsiteY2131" fmla="*/ 969749 h 1779774"/>
                <a:gd name="connsiteX2132" fmla="*/ 141584 w 2299605"/>
                <a:gd name="connsiteY2132" fmla="*/ 967467 h 1779774"/>
                <a:gd name="connsiteX2133" fmla="*/ 139300 w 2299605"/>
                <a:gd name="connsiteY2133" fmla="*/ 967467 h 1779774"/>
                <a:gd name="connsiteX2134" fmla="*/ 137017 w 2299605"/>
                <a:gd name="connsiteY2134" fmla="*/ 967467 h 1779774"/>
                <a:gd name="connsiteX2135" fmla="*/ 134733 w 2299605"/>
                <a:gd name="connsiteY2135" fmla="*/ 965185 h 1779774"/>
                <a:gd name="connsiteX2136" fmla="*/ 132450 w 2299605"/>
                <a:gd name="connsiteY2136" fmla="*/ 965185 h 1779774"/>
                <a:gd name="connsiteX2137" fmla="*/ 132450 w 2299605"/>
                <a:gd name="connsiteY2137" fmla="*/ 962903 h 1779774"/>
                <a:gd name="connsiteX2138" fmla="*/ 130166 w 2299605"/>
                <a:gd name="connsiteY2138" fmla="*/ 962903 h 1779774"/>
                <a:gd name="connsiteX2139" fmla="*/ 130166 w 2299605"/>
                <a:gd name="connsiteY2139" fmla="*/ 960621 h 1779774"/>
                <a:gd name="connsiteX2140" fmla="*/ 132450 w 2299605"/>
                <a:gd name="connsiteY2140" fmla="*/ 960621 h 1779774"/>
                <a:gd name="connsiteX2141" fmla="*/ 132450 w 2299605"/>
                <a:gd name="connsiteY2141" fmla="*/ 958339 h 1779774"/>
                <a:gd name="connsiteX2142" fmla="*/ 132450 w 2299605"/>
                <a:gd name="connsiteY2142" fmla="*/ 956058 h 1779774"/>
                <a:gd name="connsiteX2143" fmla="*/ 130166 w 2299605"/>
                <a:gd name="connsiteY2143" fmla="*/ 956058 h 1779774"/>
                <a:gd name="connsiteX2144" fmla="*/ 127882 w 2299605"/>
                <a:gd name="connsiteY2144" fmla="*/ 956058 h 1779774"/>
                <a:gd name="connsiteX2145" fmla="*/ 127882 w 2299605"/>
                <a:gd name="connsiteY2145" fmla="*/ 958339 h 1779774"/>
                <a:gd name="connsiteX2146" fmla="*/ 127882 w 2299605"/>
                <a:gd name="connsiteY2146" fmla="*/ 960621 h 1779774"/>
                <a:gd name="connsiteX2147" fmla="*/ 125599 w 2299605"/>
                <a:gd name="connsiteY2147" fmla="*/ 960621 h 1779774"/>
                <a:gd name="connsiteX2148" fmla="*/ 125599 w 2299605"/>
                <a:gd name="connsiteY2148" fmla="*/ 962903 h 1779774"/>
                <a:gd name="connsiteX2149" fmla="*/ 123315 w 2299605"/>
                <a:gd name="connsiteY2149" fmla="*/ 962903 h 1779774"/>
                <a:gd name="connsiteX2150" fmla="*/ 123315 w 2299605"/>
                <a:gd name="connsiteY2150" fmla="*/ 965185 h 1779774"/>
                <a:gd name="connsiteX2151" fmla="*/ 121032 w 2299605"/>
                <a:gd name="connsiteY2151" fmla="*/ 965185 h 1779774"/>
                <a:gd name="connsiteX2152" fmla="*/ 118748 w 2299605"/>
                <a:gd name="connsiteY2152" fmla="*/ 965185 h 1779774"/>
                <a:gd name="connsiteX2153" fmla="*/ 118748 w 2299605"/>
                <a:gd name="connsiteY2153" fmla="*/ 962903 h 1779774"/>
                <a:gd name="connsiteX2154" fmla="*/ 116464 w 2299605"/>
                <a:gd name="connsiteY2154" fmla="*/ 962903 h 1779774"/>
                <a:gd name="connsiteX2155" fmla="*/ 114181 w 2299605"/>
                <a:gd name="connsiteY2155" fmla="*/ 962903 h 1779774"/>
                <a:gd name="connsiteX2156" fmla="*/ 114181 w 2299605"/>
                <a:gd name="connsiteY2156" fmla="*/ 965185 h 1779774"/>
                <a:gd name="connsiteX2157" fmla="*/ 114181 w 2299605"/>
                <a:gd name="connsiteY2157" fmla="*/ 967467 h 1779774"/>
                <a:gd name="connsiteX2158" fmla="*/ 111897 w 2299605"/>
                <a:gd name="connsiteY2158" fmla="*/ 967467 h 1779774"/>
                <a:gd name="connsiteX2159" fmla="*/ 111897 w 2299605"/>
                <a:gd name="connsiteY2159" fmla="*/ 969749 h 1779774"/>
                <a:gd name="connsiteX2160" fmla="*/ 109614 w 2299605"/>
                <a:gd name="connsiteY2160" fmla="*/ 969749 h 1779774"/>
                <a:gd name="connsiteX2161" fmla="*/ 109614 w 2299605"/>
                <a:gd name="connsiteY2161" fmla="*/ 972031 h 1779774"/>
                <a:gd name="connsiteX2162" fmla="*/ 107330 w 2299605"/>
                <a:gd name="connsiteY2162" fmla="*/ 972031 h 1779774"/>
                <a:gd name="connsiteX2163" fmla="*/ 105046 w 2299605"/>
                <a:gd name="connsiteY2163" fmla="*/ 972031 h 1779774"/>
                <a:gd name="connsiteX2164" fmla="*/ 105046 w 2299605"/>
                <a:gd name="connsiteY2164" fmla="*/ 974313 h 1779774"/>
                <a:gd name="connsiteX2165" fmla="*/ 105046 w 2299605"/>
                <a:gd name="connsiteY2165" fmla="*/ 976595 h 1779774"/>
                <a:gd name="connsiteX2166" fmla="*/ 105046 w 2299605"/>
                <a:gd name="connsiteY2166" fmla="*/ 978876 h 1779774"/>
                <a:gd name="connsiteX2167" fmla="*/ 107330 w 2299605"/>
                <a:gd name="connsiteY2167" fmla="*/ 978876 h 1779774"/>
                <a:gd name="connsiteX2168" fmla="*/ 107330 w 2299605"/>
                <a:gd name="connsiteY2168" fmla="*/ 981158 h 1779774"/>
                <a:gd name="connsiteX2169" fmla="*/ 107330 w 2299605"/>
                <a:gd name="connsiteY2169" fmla="*/ 983440 h 1779774"/>
                <a:gd name="connsiteX2170" fmla="*/ 109614 w 2299605"/>
                <a:gd name="connsiteY2170" fmla="*/ 983440 h 1779774"/>
                <a:gd name="connsiteX2171" fmla="*/ 109614 w 2299605"/>
                <a:gd name="connsiteY2171" fmla="*/ 985722 h 1779774"/>
                <a:gd name="connsiteX2172" fmla="*/ 109614 w 2299605"/>
                <a:gd name="connsiteY2172" fmla="*/ 988004 h 1779774"/>
                <a:gd name="connsiteX2173" fmla="*/ 109614 w 2299605"/>
                <a:gd name="connsiteY2173" fmla="*/ 990286 h 1779774"/>
                <a:gd name="connsiteX2174" fmla="*/ 109614 w 2299605"/>
                <a:gd name="connsiteY2174" fmla="*/ 992568 h 1779774"/>
                <a:gd name="connsiteX2175" fmla="*/ 109614 w 2299605"/>
                <a:gd name="connsiteY2175" fmla="*/ 994850 h 1779774"/>
                <a:gd name="connsiteX2176" fmla="*/ 109614 w 2299605"/>
                <a:gd name="connsiteY2176" fmla="*/ 997132 h 1779774"/>
                <a:gd name="connsiteX2177" fmla="*/ 109614 w 2299605"/>
                <a:gd name="connsiteY2177" fmla="*/ 999414 h 1779774"/>
                <a:gd name="connsiteX2178" fmla="*/ 107330 w 2299605"/>
                <a:gd name="connsiteY2178" fmla="*/ 999414 h 1779774"/>
                <a:gd name="connsiteX2179" fmla="*/ 107330 w 2299605"/>
                <a:gd name="connsiteY2179" fmla="*/ 1001695 h 1779774"/>
                <a:gd name="connsiteX2180" fmla="*/ 105046 w 2299605"/>
                <a:gd name="connsiteY2180" fmla="*/ 1001695 h 1779774"/>
                <a:gd name="connsiteX2181" fmla="*/ 102763 w 2299605"/>
                <a:gd name="connsiteY2181" fmla="*/ 1001695 h 1779774"/>
                <a:gd name="connsiteX2182" fmla="*/ 102763 w 2299605"/>
                <a:gd name="connsiteY2182" fmla="*/ 1003977 h 1779774"/>
                <a:gd name="connsiteX2183" fmla="*/ 100479 w 2299605"/>
                <a:gd name="connsiteY2183" fmla="*/ 1003977 h 1779774"/>
                <a:gd name="connsiteX2184" fmla="*/ 98196 w 2299605"/>
                <a:gd name="connsiteY2184" fmla="*/ 1003977 h 1779774"/>
                <a:gd name="connsiteX2185" fmla="*/ 95912 w 2299605"/>
                <a:gd name="connsiteY2185" fmla="*/ 1003977 h 1779774"/>
                <a:gd name="connsiteX2186" fmla="*/ 95912 w 2299605"/>
                <a:gd name="connsiteY2186" fmla="*/ 1006259 h 1779774"/>
                <a:gd name="connsiteX2187" fmla="*/ 93628 w 2299605"/>
                <a:gd name="connsiteY2187" fmla="*/ 1006259 h 1779774"/>
                <a:gd name="connsiteX2188" fmla="*/ 91344 w 2299605"/>
                <a:gd name="connsiteY2188" fmla="*/ 1006259 h 1779774"/>
                <a:gd name="connsiteX2189" fmla="*/ 91344 w 2299605"/>
                <a:gd name="connsiteY2189" fmla="*/ 1008541 h 1779774"/>
                <a:gd name="connsiteX2190" fmla="*/ 91344 w 2299605"/>
                <a:gd name="connsiteY2190" fmla="*/ 1010823 h 1779774"/>
                <a:gd name="connsiteX2191" fmla="*/ 91344 w 2299605"/>
                <a:gd name="connsiteY2191" fmla="*/ 1013105 h 1779774"/>
                <a:gd name="connsiteX2192" fmla="*/ 93628 w 2299605"/>
                <a:gd name="connsiteY2192" fmla="*/ 1013105 h 1779774"/>
                <a:gd name="connsiteX2193" fmla="*/ 93628 w 2299605"/>
                <a:gd name="connsiteY2193" fmla="*/ 1015387 h 1779774"/>
                <a:gd name="connsiteX2194" fmla="*/ 95912 w 2299605"/>
                <a:gd name="connsiteY2194" fmla="*/ 1015387 h 1779774"/>
                <a:gd name="connsiteX2195" fmla="*/ 95912 w 2299605"/>
                <a:gd name="connsiteY2195" fmla="*/ 1017669 h 1779774"/>
                <a:gd name="connsiteX2196" fmla="*/ 98196 w 2299605"/>
                <a:gd name="connsiteY2196" fmla="*/ 1017669 h 1779774"/>
                <a:gd name="connsiteX2197" fmla="*/ 100479 w 2299605"/>
                <a:gd name="connsiteY2197" fmla="*/ 1017669 h 1779774"/>
                <a:gd name="connsiteX2198" fmla="*/ 100479 w 2299605"/>
                <a:gd name="connsiteY2198" fmla="*/ 1019951 h 1779774"/>
                <a:gd name="connsiteX2199" fmla="*/ 102763 w 2299605"/>
                <a:gd name="connsiteY2199" fmla="*/ 1019951 h 1779774"/>
                <a:gd name="connsiteX2200" fmla="*/ 102763 w 2299605"/>
                <a:gd name="connsiteY2200" fmla="*/ 1022232 h 1779774"/>
                <a:gd name="connsiteX2201" fmla="*/ 102763 w 2299605"/>
                <a:gd name="connsiteY2201" fmla="*/ 1024514 h 1779774"/>
                <a:gd name="connsiteX2202" fmla="*/ 105046 w 2299605"/>
                <a:gd name="connsiteY2202" fmla="*/ 1024514 h 1779774"/>
                <a:gd name="connsiteX2203" fmla="*/ 105046 w 2299605"/>
                <a:gd name="connsiteY2203" fmla="*/ 1026796 h 1779774"/>
                <a:gd name="connsiteX2204" fmla="*/ 105046 w 2299605"/>
                <a:gd name="connsiteY2204" fmla="*/ 1029078 h 1779774"/>
                <a:gd name="connsiteX2205" fmla="*/ 105046 w 2299605"/>
                <a:gd name="connsiteY2205" fmla="*/ 1031360 h 1779774"/>
                <a:gd name="connsiteX2206" fmla="*/ 105046 w 2299605"/>
                <a:gd name="connsiteY2206" fmla="*/ 1033642 h 1779774"/>
                <a:gd name="connsiteX2207" fmla="*/ 102763 w 2299605"/>
                <a:gd name="connsiteY2207" fmla="*/ 1033642 h 1779774"/>
                <a:gd name="connsiteX2208" fmla="*/ 102763 w 2299605"/>
                <a:gd name="connsiteY2208" fmla="*/ 1035924 h 1779774"/>
                <a:gd name="connsiteX2209" fmla="*/ 100479 w 2299605"/>
                <a:gd name="connsiteY2209" fmla="*/ 1035924 h 1779774"/>
                <a:gd name="connsiteX2210" fmla="*/ 98196 w 2299605"/>
                <a:gd name="connsiteY2210" fmla="*/ 1035924 h 1779774"/>
                <a:gd name="connsiteX2211" fmla="*/ 98196 w 2299605"/>
                <a:gd name="connsiteY2211" fmla="*/ 1038206 h 1779774"/>
                <a:gd name="connsiteX2212" fmla="*/ 100479 w 2299605"/>
                <a:gd name="connsiteY2212" fmla="*/ 1038206 h 1779774"/>
                <a:gd name="connsiteX2213" fmla="*/ 100479 w 2299605"/>
                <a:gd name="connsiteY2213" fmla="*/ 1040488 h 1779774"/>
                <a:gd name="connsiteX2214" fmla="*/ 98196 w 2299605"/>
                <a:gd name="connsiteY2214" fmla="*/ 1040488 h 1779774"/>
                <a:gd name="connsiteX2215" fmla="*/ 98196 w 2299605"/>
                <a:gd name="connsiteY2215" fmla="*/ 1042770 h 1779774"/>
                <a:gd name="connsiteX2216" fmla="*/ 98196 w 2299605"/>
                <a:gd name="connsiteY2216" fmla="*/ 1045051 h 1779774"/>
                <a:gd name="connsiteX2217" fmla="*/ 100479 w 2299605"/>
                <a:gd name="connsiteY2217" fmla="*/ 1045051 h 1779774"/>
                <a:gd name="connsiteX2218" fmla="*/ 102763 w 2299605"/>
                <a:gd name="connsiteY2218" fmla="*/ 1045051 h 1779774"/>
                <a:gd name="connsiteX2219" fmla="*/ 102763 w 2299605"/>
                <a:gd name="connsiteY2219" fmla="*/ 1047333 h 1779774"/>
                <a:gd name="connsiteX2220" fmla="*/ 105046 w 2299605"/>
                <a:gd name="connsiteY2220" fmla="*/ 1047333 h 1779774"/>
                <a:gd name="connsiteX2221" fmla="*/ 105046 w 2299605"/>
                <a:gd name="connsiteY2221" fmla="*/ 1049615 h 1779774"/>
                <a:gd name="connsiteX2222" fmla="*/ 107330 w 2299605"/>
                <a:gd name="connsiteY2222" fmla="*/ 1049615 h 1779774"/>
                <a:gd name="connsiteX2223" fmla="*/ 107330 w 2299605"/>
                <a:gd name="connsiteY2223" fmla="*/ 1051897 h 1779774"/>
                <a:gd name="connsiteX2224" fmla="*/ 107330 w 2299605"/>
                <a:gd name="connsiteY2224" fmla="*/ 1054179 h 1779774"/>
                <a:gd name="connsiteX2225" fmla="*/ 107330 w 2299605"/>
                <a:gd name="connsiteY2225" fmla="*/ 1056461 h 1779774"/>
                <a:gd name="connsiteX2226" fmla="*/ 107330 w 2299605"/>
                <a:gd name="connsiteY2226" fmla="*/ 1058743 h 1779774"/>
                <a:gd name="connsiteX2227" fmla="*/ 107330 w 2299605"/>
                <a:gd name="connsiteY2227" fmla="*/ 1061025 h 1779774"/>
                <a:gd name="connsiteX2228" fmla="*/ 107330 w 2299605"/>
                <a:gd name="connsiteY2228" fmla="*/ 1063307 h 1779774"/>
                <a:gd name="connsiteX2229" fmla="*/ 107330 w 2299605"/>
                <a:gd name="connsiteY2229" fmla="*/ 1065588 h 1779774"/>
                <a:gd name="connsiteX2230" fmla="*/ 107330 w 2299605"/>
                <a:gd name="connsiteY2230" fmla="*/ 1067871 h 1779774"/>
                <a:gd name="connsiteX2231" fmla="*/ 109614 w 2299605"/>
                <a:gd name="connsiteY2231" fmla="*/ 1067871 h 1779774"/>
                <a:gd name="connsiteX2232" fmla="*/ 109614 w 2299605"/>
                <a:gd name="connsiteY2232" fmla="*/ 1070152 h 1779774"/>
                <a:gd name="connsiteX2233" fmla="*/ 109614 w 2299605"/>
                <a:gd name="connsiteY2233" fmla="*/ 1072434 h 1779774"/>
                <a:gd name="connsiteX2234" fmla="*/ 107330 w 2299605"/>
                <a:gd name="connsiteY2234" fmla="*/ 1072434 h 1779774"/>
                <a:gd name="connsiteX2235" fmla="*/ 107330 w 2299605"/>
                <a:gd name="connsiteY2235" fmla="*/ 1074707 h 1779774"/>
                <a:gd name="connsiteX2236" fmla="*/ 107330 w 2299605"/>
                <a:gd name="connsiteY2236" fmla="*/ 1076988 h 1779774"/>
                <a:gd name="connsiteX2237" fmla="*/ 105046 w 2299605"/>
                <a:gd name="connsiteY2237" fmla="*/ 1076988 h 1779774"/>
                <a:gd name="connsiteX2238" fmla="*/ 105046 w 2299605"/>
                <a:gd name="connsiteY2238" fmla="*/ 1079270 h 1779774"/>
                <a:gd name="connsiteX2239" fmla="*/ 105046 w 2299605"/>
                <a:gd name="connsiteY2239" fmla="*/ 1081552 h 1779774"/>
                <a:gd name="connsiteX2240" fmla="*/ 107330 w 2299605"/>
                <a:gd name="connsiteY2240" fmla="*/ 1081552 h 1779774"/>
                <a:gd name="connsiteX2241" fmla="*/ 107330 w 2299605"/>
                <a:gd name="connsiteY2241" fmla="*/ 1083834 h 1779774"/>
                <a:gd name="connsiteX2242" fmla="*/ 109614 w 2299605"/>
                <a:gd name="connsiteY2242" fmla="*/ 1083834 h 1779774"/>
                <a:gd name="connsiteX2243" fmla="*/ 109614 w 2299605"/>
                <a:gd name="connsiteY2243" fmla="*/ 1081552 h 1779774"/>
                <a:gd name="connsiteX2244" fmla="*/ 111897 w 2299605"/>
                <a:gd name="connsiteY2244" fmla="*/ 1081552 h 1779774"/>
                <a:gd name="connsiteX2245" fmla="*/ 114181 w 2299605"/>
                <a:gd name="connsiteY2245" fmla="*/ 1081552 h 1779774"/>
                <a:gd name="connsiteX2246" fmla="*/ 114181 w 2299605"/>
                <a:gd name="connsiteY2246" fmla="*/ 1083834 h 1779774"/>
                <a:gd name="connsiteX2247" fmla="*/ 116464 w 2299605"/>
                <a:gd name="connsiteY2247" fmla="*/ 1083834 h 1779774"/>
                <a:gd name="connsiteX2248" fmla="*/ 116464 w 2299605"/>
                <a:gd name="connsiteY2248" fmla="*/ 1086116 h 1779774"/>
                <a:gd name="connsiteX2249" fmla="*/ 116464 w 2299605"/>
                <a:gd name="connsiteY2249" fmla="*/ 1088398 h 1779774"/>
                <a:gd name="connsiteX2250" fmla="*/ 116464 w 2299605"/>
                <a:gd name="connsiteY2250" fmla="*/ 1090680 h 1779774"/>
                <a:gd name="connsiteX2251" fmla="*/ 116464 w 2299605"/>
                <a:gd name="connsiteY2251" fmla="*/ 1092962 h 1779774"/>
                <a:gd name="connsiteX2252" fmla="*/ 114181 w 2299605"/>
                <a:gd name="connsiteY2252" fmla="*/ 1092962 h 1779774"/>
                <a:gd name="connsiteX2253" fmla="*/ 114181 w 2299605"/>
                <a:gd name="connsiteY2253" fmla="*/ 1095244 h 1779774"/>
                <a:gd name="connsiteX2254" fmla="*/ 114181 w 2299605"/>
                <a:gd name="connsiteY2254" fmla="*/ 1097526 h 1779774"/>
                <a:gd name="connsiteX2255" fmla="*/ 116464 w 2299605"/>
                <a:gd name="connsiteY2255" fmla="*/ 1097526 h 1779774"/>
                <a:gd name="connsiteX2256" fmla="*/ 118748 w 2299605"/>
                <a:gd name="connsiteY2256" fmla="*/ 1097526 h 1779774"/>
                <a:gd name="connsiteX2257" fmla="*/ 118748 w 2299605"/>
                <a:gd name="connsiteY2257" fmla="*/ 1099807 h 1779774"/>
                <a:gd name="connsiteX2258" fmla="*/ 121032 w 2299605"/>
                <a:gd name="connsiteY2258" fmla="*/ 1099807 h 1779774"/>
                <a:gd name="connsiteX2259" fmla="*/ 123315 w 2299605"/>
                <a:gd name="connsiteY2259" fmla="*/ 1099807 h 1779774"/>
                <a:gd name="connsiteX2260" fmla="*/ 123315 w 2299605"/>
                <a:gd name="connsiteY2260" fmla="*/ 1097526 h 1779774"/>
                <a:gd name="connsiteX2261" fmla="*/ 125599 w 2299605"/>
                <a:gd name="connsiteY2261" fmla="*/ 1097526 h 1779774"/>
                <a:gd name="connsiteX2262" fmla="*/ 127882 w 2299605"/>
                <a:gd name="connsiteY2262" fmla="*/ 1097526 h 1779774"/>
                <a:gd name="connsiteX2263" fmla="*/ 127882 w 2299605"/>
                <a:gd name="connsiteY2263" fmla="*/ 1095244 h 1779774"/>
                <a:gd name="connsiteX2264" fmla="*/ 130166 w 2299605"/>
                <a:gd name="connsiteY2264" fmla="*/ 1095244 h 1779774"/>
                <a:gd name="connsiteX2265" fmla="*/ 130166 w 2299605"/>
                <a:gd name="connsiteY2265" fmla="*/ 1092962 h 1779774"/>
                <a:gd name="connsiteX2266" fmla="*/ 127882 w 2299605"/>
                <a:gd name="connsiteY2266" fmla="*/ 1092962 h 1779774"/>
                <a:gd name="connsiteX2267" fmla="*/ 127882 w 2299605"/>
                <a:gd name="connsiteY2267" fmla="*/ 1090680 h 1779774"/>
                <a:gd name="connsiteX2268" fmla="*/ 130166 w 2299605"/>
                <a:gd name="connsiteY2268" fmla="*/ 1090680 h 1779774"/>
                <a:gd name="connsiteX2269" fmla="*/ 132450 w 2299605"/>
                <a:gd name="connsiteY2269" fmla="*/ 1090680 h 1779774"/>
                <a:gd name="connsiteX2270" fmla="*/ 134733 w 2299605"/>
                <a:gd name="connsiteY2270" fmla="*/ 1090680 h 1779774"/>
                <a:gd name="connsiteX2271" fmla="*/ 134733 w 2299605"/>
                <a:gd name="connsiteY2271" fmla="*/ 1088398 h 1779774"/>
                <a:gd name="connsiteX2272" fmla="*/ 132450 w 2299605"/>
                <a:gd name="connsiteY2272" fmla="*/ 1088398 h 1779774"/>
                <a:gd name="connsiteX2273" fmla="*/ 132450 w 2299605"/>
                <a:gd name="connsiteY2273" fmla="*/ 1086116 h 1779774"/>
                <a:gd name="connsiteX2274" fmla="*/ 132450 w 2299605"/>
                <a:gd name="connsiteY2274" fmla="*/ 1083834 h 1779774"/>
                <a:gd name="connsiteX2275" fmla="*/ 132450 w 2299605"/>
                <a:gd name="connsiteY2275" fmla="*/ 1081552 h 1779774"/>
                <a:gd name="connsiteX2276" fmla="*/ 132450 w 2299605"/>
                <a:gd name="connsiteY2276" fmla="*/ 1079270 h 1779774"/>
                <a:gd name="connsiteX2277" fmla="*/ 134733 w 2299605"/>
                <a:gd name="connsiteY2277" fmla="*/ 1079270 h 1779774"/>
                <a:gd name="connsiteX2278" fmla="*/ 137017 w 2299605"/>
                <a:gd name="connsiteY2278" fmla="*/ 1076988 h 1779774"/>
                <a:gd name="connsiteX2279" fmla="*/ 139300 w 2299605"/>
                <a:gd name="connsiteY2279" fmla="*/ 1076988 h 1779774"/>
                <a:gd name="connsiteX2280" fmla="*/ 141584 w 2299605"/>
                <a:gd name="connsiteY2280" fmla="*/ 1076988 h 1779774"/>
                <a:gd name="connsiteX2281" fmla="*/ 143868 w 2299605"/>
                <a:gd name="connsiteY2281" fmla="*/ 1076988 h 1779774"/>
                <a:gd name="connsiteX2282" fmla="*/ 146151 w 2299605"/>
                <a:gd name="connsiteY2282" fmla="*/ 1076988 h 1779774"/>
                <a:gd name="connsiteX2283" fmla="*/ 148435 w 2299605"/>
                <a:gd name="connsiteY2283" fmla="*/ 1076988 h 1779774"/>
                <a:gd name="connsiteX2284" fmla="*/ 148435 w 2299605"/>
                <a:gd name="connsiteY2284" fmla="*/ 1079270 h 1779774"/>
                <a:gd name="connsiteX2285" fmla="*/ 148435 w 2299605"/>
                <a:gd name="connsiteY2285" fmla="*/ 1081552 h 1779774"/>
                <a:gd name="connsiteX2286" fmla="*/ 150719 w 2299605"/>
                <a:gd name="connsiteY2286" fmla="*/ 1081552 h 1779774"/>
                <a:gd name="connsiteX2287" fmla="*/ 153003 w 2299605"/>
                <a:gd name="connsiteY2287" fmla="*/ 1081552 h 1779774"/>
                <a:gd name="connsiteX2288" fmla="*/ 155286 w 2299605"/>
                <a:gd name="connsiteY2288" fmla="*/ 1081552 h 1779774"/>
                <a:gd name="connsiteX2289" fmla="*/ 157569 w 2299605"/>
                <a:gd name="connsiteY2289" fmla="*/ 1081552 h 1779774"/>
                <a:gd name="connsiteX2290" fmla="*/ 157569 w 2299605"/>
                <a:gd name="connsiteY2290" fmla="*/ 1083834 h 1779774"/>
                <a:gd name="connsiteX2291" fmla="*/ 159853 w 2299605"/>
                <a:gd name="connsiteY2291" fmla="*/ 1083834 h 1779774"/>
                <a:gd name="connsiteX2292" fmla="*/ 159853 w 2299605"/>
                <a:gd name="connsiteY2292" fmla="*/ 1086116 h 1779774"/>
                <a:gd name="connsiteX2293" fmla="*/ 162137 w 2299605"/>
                <a:gd name="connsiteY2293" fmla="*/ 1086116 h 1779774"/>
                <a:gd name="connsiteX2294" fmla="*/ 162137 w 2299605"/>
                <a:gd name="connsiteY2294" fmla="*/ 1088398 h 1779774"/>
                <a:gd name="connsiteX2295" fmla="*/ 162137 w 2299605"/>
                <a:gd name="connsiteY2295" fmla="*/ 1090680 h 1779774"/>
                <a:gd name="connsiteX2296" fmla="*/ 164421 w 2299605"/>
                <a:gd name="connsiteY2296" fmla="*/ 1090680 h 1779774"/>
                <a:gd name="connsiteX2297" fmla="*/ 164421 w 2299605"/>
                <a:gd name="connsiteY2297" fmla="*/ 1092962 h 1779774"/>
                <a:gd name="connsiteX2298" fmla="*/ 164421 w 2299605"/>
                <a:gd name="connsiteY2298" fmla="*/ 1095244 h 1779774"/>
                <a:gd name="connsiteX2299" fmla="*/ 166704 w 2299605"/>
                <a:gd name="connsiteY2299" fmla="*/ 1095244 h 1779774"/>
                <a:gd name="connsiteX2300" fmla="*/ 166704 w 2299605"/>
                <a:gd name="connsiteY2300" fmla="*/ 1097526 h 1779774"/>
                <a:gd name="connsiteX2301" fmla="*/ 166704 w 2299605"/>
                <a:gd name="connsiteY2301" fmla="*/ 1099807 h 1779774"/>
                <a:gd name="connsiteX2302" fmla="*/ 166704 w 2299605"/>
                <a:gd name="connsiteY2302" fmla="*/ 1102089 h 1779774"/>
                <a:gd name="connsiteX2303" fmla="*/ 166704 w 2299605"/>
                <a:gd name="connsiteY2303" fmla="*/ 1104371 h 1779774"/>
                <a:gd name="connsiteX2304" fmla="*/ 166704 w 2299605"/>
                <a:gd name="connsiteY2304" fmla="*/ 1106653 h 1779774"/>
                <a:gd name="connsiteX2305" fmla="*/ 164421 w 2299605"/>
                <a:gd name="connsiteY2305" fmla="*/ 1108935 h 1779774"/>
                <a:gd name="connsiteX2306" fmla="*/ 164421 w 2299605"/>
                <a:gd name="connsiteY2306" fmla="*/ 1111217 h 1779774"/>
                <a:gd name="connsiteX2307" fmla="*/ 164421 w 2299605"/>
                <a:gd name="connsiteY2307" fmla="*/ 1113499 h 1779774"/>
                <a:gd name="connsiteX2308" fmla="*/ 164421 w 2299605"/>
                <a:gd name="connsiteY2308" fmla="*/ 1115781 h 1779774"/>
                <a:gd name="connsiteX2309" fmla="*/ 164421 w 2299605"/>
                <a:gd name="connsiteY2309" fmla="*/ 1118063 h 1779774"/>
                <a:gd name="connsiteX2310" fmla="*/ 164421 w 2299605"/>
                <a:gd name="connsiteY2310" fmla="*/ 1120344 h 1779774"/>
                <a:gd name="connsiteX2311" fmla="*/ 166704 w 2299605"/>
                <a:gd name="connsiteY2311" fmla="*/ 1120344 h 1779774"/>
                <a:gd name="connsiteX2312" fmla="*/ 166704 w 2299605"/>
                <a:gd name="connsiteY2312" fmla="*/ 1122627 h 1779774"/>
                <a:gd name="connsiteX2313" fmla="*/ 168987 w 2299605"/>
                <a:gd name="connsiteY2313" fmla="*/ 1122627 h 1779774"/>
                <a:gd name="connsiteX2314" fmla="*/ 171271 w 2299605"/>
                <a:gd name="connsiteY2314" fmla="*/ 1122627 h 1779774"/>
                <a:gd name="connsiteX2315" fmla="*/ 171271 w 2299605"/>
                <a:gd name="connsiteY2315" fmla="*/ 1124908 h 1779774"/>
                <a:gd name="connsiteX2316" fmla="*/ 171271 w 2299605"/>
                <a:gd name="connsiteY2316" fmla="*/ 1127190 h 1779774"/>
                <a:gd name="connsiteX2317" fmla="*/ 173554 w 2299605"/>
                <a:gd name="connsiteY2317" fmla="*/ 1127190 h 1779774"/>
                <a:gd name="connsiteX2318" fmla="*/ 175839 w 2299605"/>
                <a:gd name="connsiteY2318" fmla="*/ 1127190 h 1779774"/>
                <a:gd name="connsiteX2319" fmla="*/ 175839 w 2299605"/>
                <a:gd name="connsiteY2319" fmla="*/ 1129472 h 1779774"/>
                <a:gd name="connsiteX2320" fmla="*/ 178122 w 2299605"/>
                <a:gd name="connsiteY2320" fmla="*/ 1129472 h 1779774"/>
                <a:gd name="connsiteX2321" fmla="*/ 180406 w 2299605"/>
                <a:gd name="connsiteY2321" fmla="*/ 1131754 h 1779774"/>
                <a:gd name="connsiteX2322" fmla="*/ 182690 w 2299605"/>
                <a:gd name="connsiteY2322" fmla="*/ 1131754 h 1779774"/>
                <a:gd name="connsiteX2323" fmla="*/ 184972 w 2299605"/>
                <a:gd name="connsiteY2323" fmla="*/ 1131754 h 1779774"/>
                <a:gd name="connsiteX2324" fmla="*/ 184972 w 2299605"/>
                <a:gd name="connsiteY2324" fmla="*/ 1134036 h 1779774"/>
                <a:gd name="connsiteX2325" fmla="*/ 187257 w 2299605"/>
                <a:gd name="connsiteY2325" fmla="*/ 1134036 h 1779774"/>
                <a:gd name="connsiteX2326" fmla="*/ 187257 w 2299605"/>
                <a:gd name="connsiteY2326" fmla="*/ 1136318 h 1779774"/>
                <a:gd name="connsiteX2327" fmla="*/ 187257 w 2299605"/>
                <a:gd name="connsiteY2327" fmla="*/ 1138600 h 1779774"/>
                <a:gd name="connsiteX2328" fmla="*/ 187257 w 2299605"/>
                <a:gd name="connsiteY2328" fmla="*/ 1140882 h 1779774"/>
                <a:gd name="connsiteX2329" fmla="*/ 187257 w 2299605"/>
                <a:gd name="connsiteY2329" fmla="*/ 1143163 h 1779774"/>
                <a:gd name="connsiteX2330" fmla="*/ 189540 w 2299605"/>
                <a:gd name="connsiteY2330" fmla="*/ 1143163 h 1779774"/>
                <a:gd name="connsiteX2331" fmla="*/ 189540 w 2299605"/>
                <a:gd name="connsiteY2331" fmla="*/ 1145445 h 1779774"/>
                <a:gd name="connsiteX2332" fmla="*/ 187257 w 2299605"/>
                <a:gd name="connsiteY2332" fmla="*/ 1145445 h 1779774"/>
                <a:gd name="connsiteX2333" fmla="*/ 187257 w 2299605"/>
                <a:gd name="connsiteY2333" fmla="*/ 1143163 h 1779774"/>
                <a:gd name="connsiteX2334" fmla="*/ 184972 w 2299605"/>
                <a:gd name="connsiteY2334" fmla="*/ 1143163 h 1779774"/>
                <a:gd name="connsiteX2335" fmla="*/ 184972 w 2299605"/>
                <a:gd name="connsiteY2335" fmla="*/ 1145445 h 1779774"/>
                <a:gd name="connsiteX2336" fmla="*/ 184972 w 2299605"/>
                <a:gd name="connsiteY2336" fmla="*/ 1147727 h 1779774"/>
                <a:gd name="connsiteX2337" fmla="*/ 187257 w 2299605"/>
                <a:gd name="connsiteY2337" fmla="*/ 1147727 h 1779774"/>
                <a:gd name="connsiteX2338" fmla="*/ 189540 w 2299605"/>
                <a:gd name="connsiteY2338" fmla="*/ 1147727 h 1779774"/>
                <a:gd name="connsiteX2339" fmla="*/ 191824 w 2299605"/>
                <a:gd name="connsiteY2339" fmla="*/ 1147727 h 1779774"/>
                <a:gd name="connsiteX2340" fmla="*/ 191824 w 2299605"/>
                <a:gd name="connsiteY2340" fmla="*/ 1150009 h 1779774"/>
                <a:gd name="connsiteX2341" fmla="*/ 194108 w 2299605"/>
                <a:gd name="connsiteY2341" fmla="*/ 1150009 h 1779774"/>
                <a:gd name="connsiteX2342" fmla="*/ 196390 w 2299605"/>
                <a:gd name="connsiteY2342" fmla="*/ 1150009 h 1779774"/>
                <a:gd name="connsiteX2343" fmla="*/ 196390 w 2299605"/>
                <a:gd name="connsiteY2343" fmla="*/ 1147727 h 1779774"/>
                <a:gd name="connsiteX2344" fmla="*/ 198675 w 2299605"/>
                <a:gd name="connsiteY2344" fmla="*/ 1147727 h 1779774"/>
                <a:gd name="connsiteX2345" fmla="*/ 198675 w 2299605"/>
                <a:gd name="connsiteY2345" fmla="*/ 1150009 h 1779774"/>
                <a:gd name="connsiteX2346" fmla="*/ 200958 w 2299605"/>
                <a:gd name="connsiteY2346" fmla="*/ 1150009 h 1779774"/>
                <a:gd name="connsiteX2347" fmla="*/ 200958 w 2299605"/>
                <a:gd name="connsiteY2347" fmla="*/ 1152291 h 1779774"/>
                <a:gd name="connsiteX2348" fmla="*/ 198675 w 2299605"/>
                <a:gd name="connsiteY2348" fmla="*/ 1152291 h 1779774"/>
                <a:gd name="connsiteX2349" fmla="*/ 198675 w 2299605"/>
                <a:gd name="connsiteY2349" fmla="*/ 1154573 h 1779774"/>
                <a:gd name="connsiteX2350" fmla="*/ 196390 w 2299605"/>
                <a:gd name="connsiteY2350" fmla="*/ 1154573 h 1779774"/>
                <a:gd name="connsiteX2351" fmla="*/ 196390 w 2299605"/>
                <a:gd name="connsiteY2351" fmla="*/ 1156855 h 1779774"/>
                <a:gd name="connsiteX2352" fmla="*/ 196390 w 2299605"/>
                <a:gd name="connsiteY2352" fmla="*/ 1159137 h 1779774"/>
                <a:gd name="connsiteX2353" fmla="*/ 194108 w 2299605"/>
                <a:gd name="connsiteY2353" fmla="*/ 1159137 h 1779774"/>
                <a:gd name="connsiteX2354" fmla="*/ 191824 w 2299605"/>
                <a:gd name="connsiteY2354" fmla="*/ 1159137 h 1779774"/>
                <a:gd name="connsiteX2355" fmla="*/ 189540 w 2299605"/>
                <a:gd name="connsiteY2355" fmla="*/ 1159137 h 1779774"/>
                <a:gd name="connsiteX2356" fmla="*/ 189540 w 2299605"/>
                <a:gd name="connsiteY2356" fmla="*/ 1156855 h 1779774"/>
                <a:gd name="connsiteX2357" fmla="*/ 187257 w 2299605"/>
                <a:gd name="connsiteY2357" fmla="*/ 1156855 h 1779774"/>
                <a:gd name="connsiteX2358" fmla="*/ 187257 w 2299605"/>
                <a:gd name="connsiteY2358" fmla="*/ 1154573 h 1779774"/>
                <a:gd name="connsiteX2359" fmla="*/ 187257 w 2299605"/>
                <a:gd name="connsiteY2359" fmla="*/ 1152291 h 1779774"/>
                <a:gd name="connsiteX2360" fmla="*/ 184972 w 2299605"/>
                <a:gd name="connsiteY2360" fmla="*/ 1152291 h 1779774"/>
                <a:gd name="connsiteX2361" fmla="*/ 184972 w 2299605"/>
                <a:gd name="connsiteY2361" fmla="*/ 1150009 h 1779774"/>
                <a:gd name="connsiteX2362" fmla="*/ 182690 w 2299605"/>
                <a:gd name="connsiteY2362" fmla="*/ 1150009 h 1779774"/>
                <a:gd name="connsiteX2363" fmla="*/ 180406 w 2299605"/>
                <a:gd name="connsiteY2363" fmla="*/ 1150009 h 1779774"/>
                <a:gd name="connsiteX2364" fmla="*/ 180406 w 2299605"/>
                <a:gd name="connsiteY2364" fmla="*/ 1147727 h 1779774"/>
                <a:gd name="connsiteX2365" fmla="*/ 178122 w 2299605"/>
                <a:gd name="connsiteY2365" fmla="*/ 1147727 h 1779774"/>
                <a:gd name="connsiteX2366" fmla="*/ 175839 w 2299605"/>
                <a:gd name="connsiteY2366" fmla="*/ 1145445 h 1779774"/>
                <a:gd name="connsiteX2367" fmla="*/ 173554 w 2299605"/>
                <a:gd name="connsiteY2367" fmla="*/ 1145445 h 1779774"/>
                <a:gd name="connsiteX2368" fmla="*/ 173554 w 2299605"/>
                <a:gd name="connsiteY2368" fmla="*/ 1143163 h 1779774"/>
                <a:gd name="connsiteX2369" fmla="*/ 171271 w 2299605"/>
                <a:gd name="connsiteY2369" fmla="*/ 1143163 h 1779774"/>
                <a:gd name="connsiteX2370" fmla="*/ 171271 w 2299605"/>
                <a:gd name="connsiteY2370" fmla="*/ 1140882 h 1779774"/>
                <a:gd name="connsiteX2371" fmla="*/ 168987 w 2299605"/>
                <a:gd name="connsiteY2371" fmla="*/ 1140882 h 1779774"/>
                <a:gd name="connsiteX2372" fmla="*/ 168987 w 2299605"/>
                <a:gd name="connsiteY2372" fmla="*/ 1138600 h 1779774"/>
                <a:gd name="connsiteX2373" fmla="*/ 166704 w 2299605"/>
                <a:gd name="connsiteY2373" fmla="*/ 1138600 h 1779774"/>
                <a:gd name="connsiteX2374" fmla="*/ 164421 w 2299605"/>
                <a:gd name="connsiteY2374" fmla="*/ 1138600 h 1779774"/>
                <a:gd name="connsiteX2375" fmla="*/ 164421 w 2299605"/>
                <a:gd name="connsiteY2375" fmla="*/ 1136318 h 1779774"/>
                <a:gd name="connsiteX2376" fmla="*/ 162137 w 2299605"/>
                <a:gd name="connsiteY2376" fmla="*/ 1136318 h 1779774"/>
                <a:gd name="connsiteX2377" fmla="*/ 162137 w 2299605"/>
                <a:gd name="connsiteY2377" fmla="*/ 1134036 h 1779774"/>
                <a:gd name="connsiteX2378" fmla="*/ 164421 w 2299605"/>
                <a:gd name="connsiteY2378" fmla="*/ 1134036 h 1779774"/>
                <a:gd name="connsiteX2379" fmla="*/ 164421 w 2299605"/>
                <a:gd name="connsiteY2379" fmla="*/ 1131754 h 1779774"/>
                <a:gd name="connsiteX2380" fmla="*/ 164421 w 2299605"/>
                <a:gd name="connsiteY2380" fmla="*/ 1129472 h 1779774"/>
                <a:gd name="connsiteX2381" fmla="*/ 162137 w 2299605"/>
                <a:gd name="connsiteY2381" fmla="*/ 1129472 h 1779774"/>
                <a:gd name="connsiteX2382" fmla="*/ 162137 w 2299605"/>
                <a:gd name="connsiteY2382" fmla="*/ 1127190 h 1779774"/>
                <a:gd name="connsiteX2383" fmla="*/ 159853 w 2299605"/>
                <a:gd name="connsiteY2383" fmla="*/ 1127190 h 1779774"/>
                <a:gd name="connsiteX2384" fmla="*/ 159853 w 2299605"/>
                <a:gd name="connsiteY2384" fmla="*/ 1124908 h 1779774"/>
                <a:gd name="connsiteX2385" fmla="*/ 159853 w 2299605"/>
                <a:gd name="connsiteY2385" fmla="*/ 1122627 h 1779774"/>
                <a:gd name="connsiteX2386" fmla="*/ 157569 w 2299605"/>
                <a:gd name="connsiteY2386" fmla="*/ 1122627 h 1779774"/>
                <a:gd name="connsiteX2387" fmla="*/ 157569 w 2299605"/>
                <a:gd name="connsiteY2387" fmla="*/ 1120344 h 1779774"/>
                <a:gd name="connsiteX2388" fmla="*/ 157569 w 2299605"/>
                <a:gd name="connsiteY2388" fmla="*/ 1118063 h 1779774"/>
                <a:gd name="connsiteX2389" fmla="*/ 157569 w 2299605"/>
                <a:gd name="connsiteY2389" fmla="*/ 1115781 h 1779774"/>
                <a:gd name="connsiteX2390" fmla="*/ 155286 w 2299605"/>
                <a:gd name="connsiteY2390" fmla="*/ 1115781 h 1779774"/>
                <a:gd name="connsiteX2391" fmla="*/ 153003 w 2299605"/>
                <a:gd name="connsiteY2391" fmla="*/ 1115781 h 1779774"/>
                <a:gd name="connsiteX2392" fmla="*/ 150719 w 2299605"/>
                <a:gd name="connsiteY2392" fmla="*/ 1115781 h 1779774"/>
                <a:gd name="connsiteX2393" fmla="*/ 150719 w 2299605"/>
                <a:gd name="connsiteY2393" fmla="*/ 1113499 h 1779774"/>
                <a:gd name="connsiteX2394" fmla="*/ 153003 w 2299605"/>
                <a:gd name="connsiteY2394" fmla="*/ 1113499 h 1779774"/>
                <a:gd name="connsiteX2395" fmla="*/ 153003 w 2299605"/>
                <a:gd name="connsiteY2395" fmla="*/ 1111217 h 1779774"/>
                <a:gd name="connsiteX2396" fmla="*/ 150719 w 2299605"/>
                <a:gd name="connsiteY2396" fmla="*/ 1111217 h 1779774"/>
                <a:gd name="connsiteX2397" fmla="*/ 150719 w 2299605"/>
                <a:gd name="connsiteY2397" fmla="*/ 1108935 h 1779774"/>
                <a:gd name="connsiteX2398" fmla="*/ 150719 w 2299605"/>
                <a:gd name="connsiteY2398" fmla="*/ 1106653 h 1779774"/>
                <a:gd name="connsiteX2399" fmla="*/ 148435 w 2299605"/>
                <a:gd name="connsiteY2399" fmla="*/ 1106653 h 1779774"/>
                <a:gd name="connsiteX2400" fmla="*/ 146151 w 2299605"/>
                <a:gd name="connsiteY2400" fmla="*/ 1106653 h 1779774"/>
                <a:gd name="connsiteX2401" fmla="*/ 143868 w 2299605"/>
                <a:gd name="connsiteY2401" fmla="*/ 1106653 h 1779774"/>
                <a:gd name="connsiteX2402" fmla="*/ 143868 w 2299605"/>
                <a:gd name="connsiteY2402" fmla="*/ 1108935 h 1779774"/>
                <a:gd name="connsiteX2403" fmla="*/ 143868 w 2299605"/>
                <a:gd name="connsiteY2403" fmla="*/ 1111217 h 1779774"/>
                <a:gd name="connsiteX2404" fmla="*/ 146151 w 2299605"/>
                <a:gd name="connsiteY2404" fmla="*/ 1111217 h 1779774"/>
                <a:gd name="connsiteX2405" fmla="*/ 146151 w 2299605"/>
                <a:gd name="connsiteY2405" fmla="*/ 1113499 h 1779774"/>
                <a:gd name="connsiteX2406" fmla="*/ 146151 w 2299605"/>
                <a:gd name="connsiteY2406" fmla="*/ 1115781 h 1779774"/>
                <a:gd name="connsiteX2407" fmla="*/ 148435 w 2299605"/>
                <a:gd name="connsiteY2407" fmla="*/ 1115781 h 1779774"/>
                <a:gd name="connsiteX2408" fmla="*/ 148435 w 2299605"/>
                <a:gd name="connsiteY2408" fmla="*/ 1118063 h 1779774"/>
                <a:gd name="connsiteX2409" fmla="*/ 146151 w 2299605"/>
                <a:gd name="connsiteY2409" fmla="*/ 1118063 h 1779774"/>
                <a:gd name="connsiteX2410" fmla="*/ 143868 w 2299605"/>
                <a:gd name="connsiteY2410" fmla="*/ 1118063 h 1779774"/>
                <a:gd name="connsiteX2411" fmla="*/ 141584 w 2299605"/>
                <a:gd name="connsiteY2411" fmla="*/ 1118063 h 1779774"/>
                <a:gd name="connsiteX2412" fmla="*/ 139300 w 2299605"/>
                <a:gd name="connsiteY2412" fmla="*/ 1118063 h 1779774"/>
                <a:gd name="connsiteX2413" fmla="*/ 139300 w 2299605"/>
                <a:gd name="connsiteY2413" fmla="*/ 1120344 h 1779774"/>
                <a:gd name="connsiteX2414" fmla="*/ 139300 w 2299605"/>
                <a:gd name="connsiteY2414" fmla="*/ 1122627 h 1779774"/>
                <a:gd name="connsiteX2415" fmla="*/ 137017 w 2299605"/>
                <a:gd name="connsiteY2415" fmla="*/ 1122627 h 1779774"/>
                <a:gd name="connsiteX2416" fmla="*/ 137017 w 2299605"/>
                <a:gd name="connsiteY2416" fmla="*/ 1124908 h 1779774"/>
                <a:gd name="connsiteX2417" fmla="*/ 139300 w 2299605"/>
                <a:gd name="connsiteY2417" fmla="*/ 1124908 h 1779774"/>
                <a:gd name="connsiteX2418" fmla="*/ 141584 w 2299605"/>
                <a:gd name="connsiteY2418" fmla="*/ 1124908 h 1779774"/>
                <a:gd name="connsiteX2419" fmla="*/ 143868 w 2299605"/>
                <a:gd name="connsiteY2419" fmla="*/ 1124908 h 1779774"/>
                <a:gd name="connsiteX2420" fmla="*/ 143868 w 2299605"/>
                <a:gd name="connsiteY2420" fmla="*/ 1127190 h 1779774"/>
                <a:gd name="connsiteX2421" fmla="*/ 146151 w 2299605"/>
                <a:gd name="connsiteY2421" fmla="*/ 1127190 h 1779774"/>
                <a:gd name="connsiteX2422" fmla="*/ 146151 w 2299605"/>
                <a:gd name="connsiteY2422" fmla="*/ 1129472 h 1779774"/>
                <a:gd name="connsiteX2423" fmla="*/ 146151 w 2299605"/>
                <a:gd name="connsiteY2423" fmla="*/ 1131754 h 1779774"/>
                <a:gd name="connsiteX2424" fmla="*/ 143868 w 2299605"/>
                <a:gd name="connsiteY2424" fmla="*/ 1131754 h 1779774"/>
                <a:gd name="connsiteX2425" fmla="*/ 143868 w 2299605"/>
                <a:gd name="connsiteY2425" fmla="*/ 1134036 h 1779774"/>
                <a:gd name="connsiteX2426" fmla="*/ 143868 w 2299605"/>
                <a:gd name="connsiteY2426" fmla="*/ 1136318 h 1779774"/>
                <a:gd name="connsiteX2427" fmla="*/ 146151 w 2299605"/>
                <a:gd name="connsiteY2427" fmla="*/ 1136318 h 1779774"/>
                <a:gd name="connsiteX2428" fmla="*/ 148435 w 2299605"/>
                <a:gd name="connsiteY2428" fmla="*/ 1136318 h 1779774"/>
                <a:gd name="connsiteX2429" fmla="*/ 150719 w 2299605"/>
                <a:gd name="connsiteY2429" fmla="*/ 1136318 h 1779774"/>
                <a:gd name="connsiteX2430" fmla="*/ 150719 w 2299605"/>
                <a:gd name="connsiteY2430" fmla="*/ 1138600 h 1779774"/>
                <a:gd name="connsiteX2431" fmla="*/ 153003 w 2299605"/>
                <a:gd name="connsiteY2431" fmla="*/ 1138600 h 1779774"/>
                <a:gd name="connsiteX2432" fmla="*/ 155286 w 2299605"/>
                <a:gd name="connsiteY2432" fmla="*/ 1138600 h 1779774"/>
                <a:gd name="connsiteX2433" fmla="*/ 157569 w 2299605"/>
                <a:gd name="connsiteY2433" fmla="*/ 1138600 h 1779774"/>
                <a:gd name="connsiteX2434" fmla="*/ 157569 w 2299605"/>
                <a:gd name="connsiteY2434" fmla="*/ 1140882 h 1779774"/>
                <a:gd name="connsiteX2435" fmla="*/ 159853 w 2299605"/>
                <a:gd name="connsiteY2435" fmla="*/ 1140882 h 1779774"/>
                <a:gd name="connsiteX2436" fmla="*/ 162137 w 2299605"/>
                <a:gd name="connsiteY2436" fmla="*/ 1140882 h 1779774"/>
                <a:gd name="connsiteX2437" fmla="*/ 162137 w 2299605"/>
                <a:gd name="connsiteY2437" fmla="*/ 1143163 h 1779774"/>
                <a:gd name="connsiteX2438" fmla="*/ 164421 w 2299605"/>
                <a:gd name="connsiteY2438" fmla="*/ 1143163 h 1779774"/>
                <a:gd name="connsiteX2439" fmla="*/ 164421 w 2299605"/>
                <a:gd name="connsiteY2439" fmla="*/ 1145445 h 1779774"/>
                <a:gd name="connsiteX2440" fmla="*/ 166704 w 2299605"/>
                <a:gd name="connsiteY2440" fmla="*/ 1145445 h 1779774"/>
                <a:gd name="connsiteX2441" fmla="*/ 166704 w 2299605"/>
                <a:gd name="connsiteY2441" fmla="*/ 1147727 h 1779774"/>
                <a:gd name="connsiteX2442" fmla="*/ 168987 w 2299605"/>
                <a:gd name="connsiteY2442" fmla="*/ 1147727 h 1779774"/>
                <a:gd name="connsiteX2443" fmla="*/ 171271 w 2299605"/>
                <a:gd name="connsiteY2443" fmla="*/ 1150009 h 1779774"/>
                <a:gd name="connsiteX2444" fmla="*/ 173554 w 2299605"/>
                <a:gd name="connsiteY2444" fmla="*/ 1150009 h 1779774"/>
                <a:gd name="connsiteX2445" fmla="*/ 173554 w 2299605"/>
                <a:gd name="connsiteY2445" fmla="*/ 1152291 h 1779774"/>
                <a:gd name="connsiteX2446" fmla="*/ 175839 w 2299605"/>
                <a:gd name="connsiteY2446" fmla="*/ 1152291 h 1779774"/>
                <a:gd name="connsiteX2447" fmla="*/ 175839 w 2299605"/>
                <a:gd name="connsiteY2447" fmla="*/ 1154573 h 1779774"/>
                <a:gd name="connsiteX2448" fmla="*/ 178122 w 2299605"/>
                <a:gd name="connsiteY2448" fmla="*/ 1154573 h 1779774"/>
                <a:gd name="connsiteX2449" fmla="*/ 178122 w 2299605"/>
                <a:gd name="connsiteY2449" fmla="*/ 1156855 h 1779774"/>
                <a:gd name="connsiteX2450" fmla="*/ 180406 w 2299605"/>
                <a:gd name="connsiteY2450" fmla="*/ 1156855 h 1779774"/>
                <a:gd name="connsiteX2451" fmla="*/ 180406 w 2299605"/>
                <a:gd name="connsiteY2451" fmla="*/ 1159137 h 1779774"/>
                <a:gd name="connsiteX2452" fmla="*/ 182690 w 2299605"/>
                <a:gd name="connsiteY2452" fmla="*/ 1159137 h 1779774"/>
                <a:gd name="connsiteX2453" fmla="*/ 182690 w 2299605"/>
                <a:gd name="connsiteY2453" fmla="*/ 1161419 h 1779774"/>
                <a:gd name="connsiteX2454" fmla="*/ 184972 w 2299605"/>
                <a:gd name="connsiteY2454" fmla="*/ 1161419 h 1779774"/>
                <a:gd name="connsiteX2455" fmla="*/ 184972 w 2299605"/>
                <a:gd name="connsiteY2455" fmla="*/ 1163700 h 1779774"/>
                <a:gd name="connsiteX2456" fmla="*/ 187257 w 2299605"/>
                <a:gd name="connsiteY2456" fmla="*/ 1163700 h 1779774"/>
                <a:gd name="connsiteX2457" fmla="*/ 187257 w 2299605"/>
                <a:gd name="connsiteY2457" fmla="*/ 1165983 h 1779774"/>
                <a:gd name="connsiteX2458" fmla="*/ 189540 w 2299605"/>
                <a:gd name="connsiteY2458" fmla="*/ 1165983 h 1779774"/>
                <a:gd name="connsiteX2459" fmla="*/ 189540 w 2299605"/>
                <a:gd name="connsiteY2459" fmla="*/ 1168264 h 1779774"/>
                <a:gd name="connsiteX2460" fmla="*/ 191824 w 2299605"/>
                <a:gd name="connsiteY2460" fmla="*/ 1168264 h 1779774"/>
                <a:gd name="connsiteX2461" fmla="*/ 191824 w 2299605"/>
                <a:gd name="connsiteY2461" fmla="*/ 1170546 h 1779774"/>
                <a:gd name="connsiteX2462" fmla="*/ 194108 w 2299605"/>
                <a:gd name="connsiteY2462" fmla="*/ 1170546 h 1779774"/>
                <a:gd name="connsiteX2463" fmla="*/ 194108 w 2299605"/>
                <a:gd name="connsiteY2463" fmla="*/ 1172828 h 1779774"/>
                <a:gd name="connsiteX2464" fmla="*/ 196390 w 2299605"/>
                <a:gd name="connsiteY2464" fmla="*/ 1172828 h 1779774"/>
                <a:gd name="connsiteX2465" fmla="*/ 196390 w 2299605"/>
                <a:gd name="connsiteY2465" fmla="*/ 1175110 h 1779774"/>
                <a:gd name="connsiteX2466" fmla="*/ 196390 w 2299605"/>
                <a:gd name="connsiteY2466" fmla="*/ 1177392 h 1779774"/>
                <a:gd name="connsiteX2467" fmla="*/ 198675 w 2299605"/>
                <a:gd name="connsiteY2467" fmla="*/ 1177392 h 1779774"/>
                <a:gd name="connsiteX2468" fmla="*/ 198675 w 2299605"/>
                <a:gd name="connsiteY2468" fmla="*/ 1179674 h 1779774"/>
                <a:gd name="connsiteX2469" fmla="*/ 200958 w 2299605"/>
                <a:gd name="connsiteY2469" fmla="*/ 1179674 h 1779774"/>
                <a:gd name="connsiteX2470" fmla="*/ 200958 w 2299605"/>
                <a:gd name="connsiteY2470" fmla="*/ 1181956 h 1779774"/>
                <a:gd name="connsiteX2471" fmla="*/ 203242 w 2299605"/>
                <a:gd name="connsiteY2471" fmla="*/ 1181956 h 1779774"/>
                <a:gd name="connsiteX2472" fmla="*/ 203242 w 2299605"/>
                <a:gd name="connsiteY2472" fmla="*/ 1184238 h 1779774"/>
                <a:gd name="connsiteX2473" fmla="*/ 203242 w 2299605"/>
                <a:gd name="connsiteY2473" fmla="*/ 1186520 h 1779774"/>
                <a:gd name="connsiteX2474" fmla="*/ 205526 w 2299605"/>
                <a:gd name="connsiteY2474" fmla="*/ 1186520 h 1779774"/>
                <a:gd name="connsiteX2475" fmla="*/ 205526 w 2299605"/>
                <a:gd name="connsiteY2475" fmla="*/ 1188801 h 1779774"/>
                <a:gd name="connsiteX2476" fmla="*/ 207809 w 2299605"/>
                <a:gd name="connsiteY2476" fmla="*/ 1188801 h 1779774"/>
                <a:gd name="connsiteX2477" fmla="*/ 207809 w 2299605"/>
                <a:gd name="connsiteY2477" fmla="*/ 1191083 h 1779774"/>
                <a:gd name="connsiteX2478" fmla="*/ 207809 w 2299605"/>
                <a:gd name="connsiteY2478" fmla="*/ 1193365 h 1779774"/>
                <a:gd name="connsiteX2479" fmla="*/ 210093 w 2299605"/>
                <a:gd name="connsiteY2479" fmla="*/ 1193365 h 1779774"/>
                <a:gd name="connsiteX2480" fmla="*/ 210093 w 2299605"/>
                <a:gd name="connsiteY2480" fmla="*/ 1195647 h 1779774"/>
                <a:gd name="connsiteX2481" fmla="*/ 210093 w 2299605"/>
                <a:gd name="connsiteY2481" fmla="*/ 1197929 h 1779774"/>
                <a:gd name="connsiteX2482" fmla="*/ 212376 w 2299605"/>
                <a:gd name="connsiteY2482" fmla="*/ 1197929 h 1779774"/>
                <a:gd name="connsiteX2483" fmla="*/ 212376 w 2299605"/>
                <a:gd name="connsiteY2483" fmla="*/ 1200211 h 1779774"/>
                <a:gd name="connsiteX2484" fmla="*/ 212376 w 2299605"/>
                <a:gd name="connsiteY2484" fmla="*/ 1202493 h 1779774"/>
                <a:gd name="connsiteX2485" fmla="*/ 214660 w 2299605"/>
                <a:gd name="connsiteY2485" fmla="*/ 1202493 h 1779774"/>
                <a:gd name="connsiteX2486" fmla="*/ 214660 w 2299605"/>
                <a:gd name="connsiteY2486" fmla="*/ 1204775 h 1779774"/>
                <a:gd name="connsiteX2487" fmla="*/ 214660 w 2299605"/>
                <a:gd name="connsiteY2487" fmla="*/ 1207056 h 1779774"/>
                <a:gd name="connsiteX2488" fmla="*/ 216944 w 2299605"/>
                <a:gd name="connsiteY2488" fmla="*/ 1207056 h 1779774"/>
                <a:gd name="connsiteX2489" fmla="*/ 216944 w 2299605"/>
                <a:gd name="connsiteY2489" fmla="*/ 1209339 h 1779774"/>
                <a:gd name="connsiteX2490" fmla="*/ 216944 w 2299605"/>
                <a:gd name="connsiteY2490" fmla="*/ 1211620 h 1779774"/>
                <a:gd name="connsiteX2491" fmla="*/ 216944 w 2299605"/>
                <a:gd name="connsiteY2491" fmla="*/ 1213902 h 1779774"/>
                <a:gd name="connsiteX2492" fmla="*/ 216944 w 2299605"/>
                <a:gd name="connsiteY2492" fmla="*/ 1216184 h 1779774"/>
                <a:gd name="connsiteX2493" fmla="*/ 214660 w 2299605"/>
                <a:gd name="connsiteY2493" fmla="*/ 1216184 h 1779774"/>
                <a:gd name="connsiteX2494" fmla="*/ 212376 w 2299605"/>
                <a:gd name="connsiteY2494" fmla="*/ 1216184 h 1779774"/>
                <a:gd name="connsiteX2495" fmla="*/ 212376 w 2299605"/>
                <a:gd name="connsiteY2495" fmla="*/ 1218466 h 1779774"/>
                <a:gd name="connsiteX2496" fmla="*/ 212376 w 2299605"/>
                <a:gd name="connsiteY2496" fmla="*/ 1220748 h 1779774"/>
                <a:gd name="connsiteX2497" fmla="*/ 214660 w 2299605"/>
                <a:gd name="connsiteY2497" fmla="*/ 1220748 h 1779774"/>
                <a:gd name="connsiteX2498" fmla="*/ 216944 w 2299605"/>
                <a:gd name="connsiteY2498" fmla="*/ 1220748 h 1779774"/>
                <a:gd name="connsiteX2499" fmla="*/ 216944 w 2299605"/>
                <a:gd name="connsiteY2499" fmla="*/ 1223030 h 1779774"/>
                <a:gd name="connsiteX2500" fmla="*/ 219227 w 2299605"/>
                <a:gd name="connsiteY2500" fmla="*/ 1223030 h 1779774"/>
                <a:gd name="connsiteX2501" fmla="*/ 219227 w 2299605"/>
                <a:gd name="connsiteY2501" fmla="*/ 1225312 h 1779774"/>
                <a:gd name="connsiteX2502" fmla="*/ 221511 w 2299605"/>
                <a:gd name="connsiteY2502" fmla="*/ 1225312 h 1779774"/>
                <a:gd name="connsiteX2503" fmla="*/ 223794 w 2299605"/>
                <a:gd name="connsiteY2503" fmla="*/ 1225312 h 1779774"/>
                <a:gd name="connsiteX2504" fmla="*/ 223794 w 2299605"/>
                <a:gd name="connsiteY2504" fmla="*/ 1227594 h 1779774"/>
                <a:gd name="connsiteX2505" fmla="*/ 226078 w 2299605"/>
                <a:gd name="connsiteY2505" fmla="*/ 1227594 h 1779774"/>
                <a:gd name="connsiteX2506" fmla="*/ 228362 w 2299605"/>
                <a:gd name="connsiteY2506" fmla="*/ 1227594 h 1779774"/>
                <a:gd name="connsiteX2507" fmla="*/ 228362 w 2299605"/>
                <a:gd name="connsiteY2507" fmla="*/ 1229876 h 1779774"/>
                <a:gd name="connsiteX2508" fmla="*/ 230645 w 2299605"/>
                <a:gd name="connsiteY2508" fmla="*/ 1229876 h 1779774"/>
                <a:gd name="connsiteX2509" fmla="*/ 230645 w 2299605"/>
                <a:gd name="connsiteY2509" fmla="*/ 1232157 h 1779774"/>
                <a:gd name="connsiteX2510" fmla="*/ 232929 w 2299605"/>
                <a:gd name="connsiteY2510" fmla="*/ 1232157 h 1779774"/>
                <a:gd name="connsiteX2511" fmla="*/ 235212 w 2299605"/>
                <a:gd name="connsiteY2511" fmla="*/ 1232157 h 1779774"/>
                <a:gd name="connsiteX2512" fmla="*/ 235212 w 2299605"/>
                <a:gd name="connsiteY2512" fmla="*/ 1234439 h 1779774"/>
                <a:gd name="connsiteX2513" fmla="*/ 237496 w 2299605"/>
                <a:gd name="connsiteY2513" fmla="*/ 1234439 h 1779774"/>
                <a:gd name="connsiteX2514" fmla="*/ 239780 w 2299605"/>
                <a:gd name="connsiteY2514" fmla="*/ 1234439 h 1779774"/>
                <a:gd name="connsiteX2515" fmla="*/ 239780 w 2299605"/>
                <a:gd name="connsiteY2515" fmla="*/ 1236712 h 1779774"/>
                <a:gd name="connsiteX2516" fmla="*/ 242063 w 2299605"/>
                <a:gd name="connsiteY2516" fmla="*/ 1236712 h 1779774"/>
                <a:gd name="connsiteX2517" fmla="*/ 242063 w 2299605"/>
                <a:gd name="connsiteY2517" fmla="*/ 1238994 h 1779774"/>
                <a:gd name="connsiteX2518" fmla="*/ 244347 w 2299605"/>
                <a:gd name="connsiteY2518" fmla="*/ 1238994 h 1779774"/>
                <a:gd name="connsiteX2519" fmla="*/ 246630 w 2299605"/>
                <a:gd name="connsiteY2519" fmla="*/ 1238994 h 1779774"/>
                <a:gd name="connsiteX2520" fmla="*/ 246630 w 2299605"/>
                <a:gd name="connsiteY2520" fmla="*/ 1241275 h 1779774"/>
                <a:gd name="connsiteX2521" fmla="*/ 248914 w 2299605"/>
                <a:gd name="connsiteY2521" fmla="*/ 1241275 h 1779774"/>
                <a:gd name="connsiteX2522" fmla="*/ 248914 w 2299605"/>
                <a:gd name="connsiteY2522" fmla="*/ 1243557 h 1779774"/>
                <a:gd name="connsiteX2523" fmla="*/ 251198 w 2299605"/>
                <a:gd name="connsiteY2523" fmla="*/ 1243557 h 1779774"/>
                <a:gd name="connsiteX2524" fmla="*/ 251198 w 2299605"/>
                <a:gd name="connsiteY2524" fmla="*/ 1245839 h 1779774"/>
                <a:gd name="connsiteX2525" fmla="*/ 253481 w 2299605"/>
                <a:gd name="connsiteY2525" fmla="*/ 1245839 h 1779774"/>
                <a:gd name="connsiteX2526" fmla="*/ 253481 w 2299605"/>
                <a:gd name="connsiteY2526" fmla="*/ 1248121 h 1779774"/>
                <a:gd name="connsiteX2527" fmla="*/ 255765 w 2299605"/>
                <a:gd name="connsiteY2527" fmla="*/ 1248121 h 1779774"/>
                <a:gd name="connsiteX2528" fmla="*/ 255765 w 2299605"/>
                <a:gd name="connsiteY2528" fmla="*/ 1250403 h 1779774"/>
                <a:gd name="connsiteX2529" fmla="*/ 258049 w 2299605"/>
                <a:gd name="connsiteY2529" fmla="*/ 1250403 h 1779774"/>
                <a:gd name="connsiteX2530" fmla="*/ 258049 w 2299605"/>
                <a:gd name="connsiteY2530" fmla="*/ 1252685 h 1779774"/>
                <a:gd name="connsiteX2531" fmla="*/ 260332 w 2299605"/>
                <a:gd name="connsiteY2531" fmla="*/ 1252685 h 1779774"/>
                <a:gd name="connsiteX2532" fmla="*/ 260332 w 2299605"/>
                <a:gd name="connsiteY2532" fmla="*/ 1254967 h 1779774"/>
                <a:gd name="connsiteX2533" fmla="*/ 262615 w 2299605"/>
                <a:gd name="connsiteY2533" fmla="*/ 1254967 h 1779774"/>
                <a:gd name="connsiteX2534" fmla="*/ 262615 w 2299605"/>
                <a:gd name="connsiteY2534" fmla="*/ 1257249 h 1779774"/>
                <a:gd name="connsiteX2535" fmla="*/ 264899 w 2299605"/>
                <a:gd name="connsiteY2535" fmla="*/ 1257249 h 1779774"/>
                <a:gd name="connsiteX2536" fmla="*/ 264899 w 2299605"/>
                <a:gd name="connsiteY2536" fmla="*/ 1259531 h 1779774"/>
                <a:gd name="connsiteX2537" fmla="*/ 267183 w 2299605"/>
                <a:gd name="connsiteY2537" fmla="*/ 1259531 h 1779774"/>
                <a:gd name="connsiteX2538" fmla="*/ 267183 w 2299605"/>
                <a:gd name="connsiteY2538" fmla="*/ 1261812 h 1779774"/>
                <a:gd name="connsiteX2539" fmla="*/ 269467 w 2299605"/>
                <a:gd name="connsiteY2539" fmla="*/ 1261812 h 1779774"/>
                <a:gd name="connsiteX2540" fmla="*/ 269467 w 2299605"/>
                <a:gd name="connsiteY2540" fmla="*/ 1264095 h 1779774"/>
                <a:gd name="connsiteX2541" fmla="*/ 271751 w 2299605"/>
                <a:gd name="connsiteY2541" fmla="*/ 1264095 h 1779774"/>
                <a:gd name="connsiteX2542" fmla="*/ 271751 w 2299605"/>
                <a:gd name="connsiteY2542" fmla="*/ 1266376 h 1779774"/>
                <a:gd name="connsiteX2543" fmla="*/ 271751 w 2299605"/>
                <a:gd name="connsiteY2543" fmla="*/ 1268658 h 1779774"/>
                <a:gd name="connsiteX2544" fmla="*/ 274034 w 2299605"/>
                <a:gd name="connsiteY2544" fmla="*/ 1268658 h 1779774"/>
                <a:gd name="connsiteX2545" fmla="*/ 274034 w 2299605"/>
                <a:gd name="connsiteY2545" fmla="*/ 1270940 h 1779774"/>
                <a:gd name="connsiteX2546" fmla="*/ 276317 w 2299605"/>
                <a:gd name="connsiteY2546" fmla="*/ 1270940 h 1779774"/>
                <a:gd name="connsiteX2547" fmla="*/ 276317 w 2299605"/>
                <a:gd name="connsiteY2547" fmla="*/ 1273222 h 1779774"/>
                <a:gd name="connsiteX2548" fmla="*/ 276317 w 2299605"/>
                <a:gd name="connsiteY2548" fmla="*/ 1275504 h 1779774"/>
                <a:gd name="connsiteX2549" fmla="*/ 276317 w 2299605"/>
                <a:gd name="connsiteY2549" fmla="*/ 1277786 h 1779774"/>
                <a:gd name="connsiteX2550" fmla="*/ 278601 w 2299605"/>
                <a:gd name="connsiteY2550" fmla="*/ 1277786 h 1779774"/>
                <a:gd name="connsiteX2551" fmla="*/ 278601 w 2299605"/>
                <a:gd name="connsiteY2551" fmla="*/ 1280068 h 1779774"/>
                <a:gd name="connsiteX2552" fmla="*/ 280885 w 2299605"/>
                <a:gd name="connsiteY2552" fmla="*/ 1280068 h 1779774"/>
                <a:gd name="connsiteX2553" fmla="*/ 280885 w 2299605"/>
                <a:gd name="connsiteY2553" fmla="*/ 1282350 h 1779774"/>
                <a:gd name="connsiteX2554" fmla="*/ 280885 w 2299605"/>
                <a:gd name="connsiteY2554" fmla="*/ 1284632 h 1779774"/>
                <a:gd name="connsiteX2555" fmla="*/ 278601 w 2299605"/>
                <a:gd name="connsiteY2555" fmla="*/ 1284632 h 1779774"/>
                <a:gd name="connsiteX2556" fmla="*/ 278601 w 2299605"/>
                <a:gd name="connsiteY2556" fmla="*/ 1286913 h 1779774"/>
                <a:gd name="connsiteX2557" fmla="*/ 278601 w 2299605"/>
                <a:gd name="connsiteY2557" fmla="*/ 1289195 h 1779774"/>
                <a:gd name="connsiteX2558" fmla="*/ 278601 w 2299605"/>
                <a:gd name="connsiteY2558" fmla="*/ 1291477 h 1779774"/>
                <a:gd name="connsiteX2559" fmla="*/ 276317 w 2299605"/>
                <a:gd name="connsiteY2559" fmla="*/ 1291477 h 1779774"/>
                <a:gd name="connsiteX2560" fmla="*/ 276317 w 2299605"/>
                <a:gd name="connsiteY2560" fmla="*/ 1293759 h 1779774"/>
                <a:gd name="connsiteX2561" fmla="*/ 276317 w 2299605"/>
                <a:gd name="connsiteY2561" fmla="*/ 1296041 h 1779774"/>
                <a:gd name="connsiteX2562" fmla="*/ 276317 w 2299605"/>
                <a:gd name="connsiteY2562" fmla="*/ 1298323 h 1779774"/>
                <a:gd name="connsiteX2563" fmla="*/ 278601 w 2299605"/>
                <a:gd name="connsiteY2563" fmla="*/ 1298323 h 1779774"/>
                <a:gd name="connsiteX2564" fmla="*/ 278601 w 2299605"/>
                <a:gd name="connsiteY2564" fmla="*/ 1300605 h 1779774"/>
                <a:gd name="connsiteX2565" fmla="*/ 276317 w 2299605"/>
                <a:gd name="connsiteY2565" fmla="*/ 1300605 h 1779774"/>
                <a:gd name="connsiteX2566" fmla="*/ 276317 w 2299605"/>
                <a:gd name="connsiteY2566" fmla="*/ 1302887 h 1779774"/>
                <a:gd name="connsiteX2567" fmla="*/ 278601 w 2299605"/>
                <a:gd name="connsiteY2567" fmla="*/ 1302887 h 1779774"/>
                <a:gd name="connsiteX2568" fmla="*/ 280885 w 2299605"/>
                <a:gd name="connsiteY2568" fmla="*/ 1302887 h 1779774"/>
                <a:gd name="connsiteX2569" fmla="*/ 280885 w 2299605"/>
                <a:gd name="connsiteY2569" fmla="*/ 1305168 h 1779774"/>
                <a:gd name="connsiteX2570" fmla="*/ 283169 w 2299605"/>
                <a:gd name="connsiteY2570" fmla="*/ 1305168 h 1779774"/>
                <a:gd name="connsiteX2571" fmla="*/ 283169 w 2299605"/>
                <a:gd name="connsiteY2571" fmla="*/ 1302887 h 1779774"/>
                <a:gd name="connsiteX2572" fmla="*/ 285452 w 2299605"/>
                <a:gd name="connsiteY2572" fmla="*/ 1302887 h 1779774"/>
                <a:gd name="connsiteX2573" fmla="*/ 287736 w 2299605"/>
                <a:gd name="connsiteY2573" fmla="*/ 1302887 h 1779774"/>
                <a:gd name="connsiteX2574" fmla="*/ 290019 w 2299605"/>
                <a:gd name="connsiteY2574" fmla="*/ 1302887 h 1779774"/>
                <a:gd name="connsiteX2575" fmla="*/ 290019 w 2299605"/>
                <a:gd name="connsiteY2575" fmla="*/ 1305168 h 1779774"/>
                <a:gd name="connsiteX2576" fmla="*/ 292303 w 2299605"/>
                <a:gd name="connsiteY2576" fmla="*/ 1305168 h 1779774"/>
                <a:gd name="connsiteX2577" fmla="*/ 294587 w 2299605"/>
                <a:gd name="connsiteY2577" fmla="*/ 1307451 h 1779774"/>
                <a:gd name="connsiteX2578" fmla="*/ 294587 w 2299605"/>
                <a:gd name="connsiteY2578" fmla="*/ 1309732 h 1779774"/>
                <a:gd name="connsiteX2579" fmla="*/ 294587 w 2299605"/>
                <a:gd name="connsiteY2579" fmla="*/ 1312014 h 1779774"/>
                <a:gd name="connsiteX2580" fmla="*/ 294587 w 2299605"/>
                <a:gd name="connsiteY2580" fmla="*/ 1314296 h 1779774"/>
                <a:gd name="connsiteX2581" fmla="*/ 296870 w 2299605"/>
                <a:gd name="connsiteY2581" fmla="*/ 1314296 h 1779774"/>
                <a:gd name="connsiteX2582" fmla="*/ 299154 w 2299605"/>
                <a:gd name="connsiteY2582" fmla="*/ 1314296 h 1779774"/>
                <a:gd name="connsiteX2583" fmla="*/ 299154 w 2299605"/>
                <a:gd name="connsiteY2583" fmla="*/ 1316578 h 1779774"/>
                <a:gd name="connsiteX2584" fmla="*/ 301437 w 2299605"/>
                <a:gd name="connsiteY2584" fmla="*/ 1316578 h 1779774"/>
                <a:gd name="connsiteX2585" fmla="*/ 301437 w 2299605"/>
                <a:gd name="connsiteY2585" fmla="*/ 1318860 h 1779774"/>
                <a:gd name="connsiteX2586" fmla="*/ 301437 w 2299605"/>
                <a:gd name="connsiteY2586" fmla="*/ 1321142 h 1779774"/>
                <a:gd name="connsiteX2587" fmla="*/ 303721 w 2299605"/>
                <a:gd name="connsiteY2587" fmla="*/ 1321142 h 1779774"/>
                <a:gd name="connsiteX2588" fmla="*/ 306005 w 2299605"/>
                <a:gd name="connsiteY2588" fmla="*/ 1321142 h 1779774"/>
                <a:gd name="connsiteX2589" fmla="*/ 306005 w 2299605"/>
                <a:gd name="connsiteY2589" fmla="*/ 1323424 h 1779774"/>
                <a:gd name="connsiteX2590" fmla="*/ 308288 w 2299605"/>
                <a:gd name="connsiteY2590" fmla="*/ 1323424 h 1779774"/>
                <a:gd name="connsiteX2591" fmla="*/ 310572 w 2299605"/>
                <a:gd name="connsiteY2591" fmla="*/ 1323424 h 1779774"/>
                <a:gd name="connsiteX2592" fmla="*/ 310572 w 2299605"/>
                <a:gd name="connsiteY2592" fmla="*/ 1325706 h 1779774"/>
                <a:gd name="connsiteX2593" fmla="*/ 312856 w 2299605"/>
                <a:gd name="connsiteY2593" fmla="*/ 1325706 h 1779774"/>
                <a:gd name="connsiteX2594" fmla="*/ 312856 w 2299605"/>
                <a:gd name="connsiteY2594" fmla="*/ 1327988 h 1779774"/>
                <a:gd name="connsiteX2595" fmla="*/ 312856 w 2299605"/>
                <a:gd name="connsiteY2595" fmla="*/ 1330269 h 1779774"/>
                <a:gd name="connsiteX2596" fmla="*/ 315139 w 2299605"/>
                <a:gd name="connsiteY2596" fmla="*/ 1330269 h 1779774"/>
                <a:gd name="connsiteX2597" fmla="*/ 315139 w 2299605"/>
                <a:gd name="connsiteY2597" fmla="*/ 1332551 h 1779774"/>
                <a:gd name="connsiteX2598" fmla="*/ 317423 w 2299605"/>
                <a:gd name="connsiteY2598" fmla="*/ 1332551 h 1779774"/>
                <a:gd name="connsiteX2599" fmla="*/ 317423 w 2299605"/>
                <a:gd name="connsiteY2599" fmla="*/ 1334833 h 1779774"/>
                <a:gd name="connsiteX2600" fmla="*/ 317423 w 2299605"/>
                <a:gd name="connsiteY2600" fmla="*/ 1337115 h 1779774"/>
                <a:gd name="connsiteX2601" fmla="*/ 319706 w 2299605"/>
                <a:gd name="connsiteY2601" fmla="*/ 1337115 h 1779774"/>
                <a:gd name="connsiteX2602" fmla="*/ 319706 w 2299605"/>
                <a:gd name="connsiteY2602" fmla="*/ 1339397 h 1779774"/>
                <a:gd name="connsiteX2603" fmla="*/ 319706 w 2299605"/>
                <a:gd name="connsiteY2603" fmla="*/ 1341679 h 1779774"/>
                <a:gd name="connsiteX2604" fmla="*/ 321990 w 2299605"/>
                <a:gd name="connsiteY2604" fmla="*/ 1341679 h 1779774"/>
                <a:gd name="connsiteX2605" fmla="*/ 321990 w 2299605"/>
                <a:gd name="connsiteY2605" fmla="*/ 1343961 h 1779774"/>
                <a:gd name="connsiteX2606" fmla="*/ 321990 w 2299605"/>
                <a:gd name="connsiteY2606" fmla="*/ 1346243 h 1779774"/>
                <a:gd name="connsiteX2607" fmla="*/ 324274 w 2299605"/>
                <a:gd name="connsiteY2607" fmla="*/ 1346243 h 1779774"/>
                <a:gd name="connsiteX2608" fmla="*/ 324274 w 2299605"/>
                <a:gd name="connsiteY2608" fmla="*/ 1348524 h 1779774"/>
                <a:gd name="connsiteX2609" fmla="*/ 324274 w 2299605"/>
                <a:gd name="connsiteY2609" fmla="*/ 1350807 h 1779774"/>
                <a:gd name="connsiteX2610" fmla="*/ 326557 w 2299605"/>
                <a:gd name="connsiteY2610" fmla="*/ 1350807 h 1779774"/>
                <a:gd name="connsiteX2611" fmla="*/ 326557 w 2299605"/>
                <a:gd name="connsiteY2611" fmla="*/ 1353088 h 1779774"/>
                <a:gd name="connsiteX2612" fmla="*/ 326557 w 2299605"/>
                <a:gd name="connsiteY2612" fmla="*/ 1355370 h 1779774"/>
                <a:gd name="connsiteX2613" fmla="*/ 328841 w 2299605"/>
                <a:gd name="connsiteY2613" fmla="*/ 1355370 h 1779774"/>
                <a:gd name="connsiteX2614" fmla="*/ 328841 w 2299605"/>
                <a:gd name="connsiteY2614" fmla="*/ 1357652 h 1779774"/>
                <a:gd name="connsiteX2615" fmla="*/ 328841 w 2299605"/>
                <a:gd name="connsiteY2615" fmla="*/ 1359934 h 1779774"/>
                <a:gd name="connsiteX2616" fmla="*/ 328841 w 2299605"/>
                <a:gd name="connsiteY2616" fmla="*/ 1362216 h 1779774"/>
                <a:gd name="connsiteX2617" fmla="*/ 328841 w 2299605"/>
                <a:gd name="connsiteY2617" fmla="*/ 1364498 h 1779774"/>
                <a:gd name="connsiteX2618" fmla="*/ 326557 w 2299605"/>
                <a:gd name="connsiteY2618" fmla="*/ 1364498 h 1779774"/>
                <a:gd name="connsiteX2619" fmla="*/ 326557 w 2299605"/>
                <a:gd name="connsiteY2619" fmla="*/ 1366780 h 1779774"/>
                <a:gd name="connsiteX2620" fmla="*/ 326557 w 2299605"/>
                <a:gd name="connsiteY2620" fmla="*/ 1369062 h 1779774"/>
                <a:gd name="connsiteX2621" fmla="*/ 328841 w 2299605"/>
                <a:gd name="connsiteY2621" fmla="*/ 1371343 h 1779774"/>
                <a:gd name="connsiteX2622" fmla="*/ 328841 w 2299605"/>
                <a:gd name="connsiteY2622" fmla="*/ 1373625 h 1779774"/>
                <a:gd name="connsiteX2623" fmla="*/ 328841 w 2299605"/>
                <a:gd name="connsiteY2623" fmla="*/ 1375908 h 1779774"/>
                <a:gd name="connsiteX2624" fmla="*/ 328841 w 2299605"/>
                <a:gd name="connsiteY2624" fmla="*/ 1378189 h 1779774"/>
                <a:gd name="connsiteX2625" fmla="*/ 331124 w 2299605"/>
                <a:gd name="connsiteY2625" fmla="*/ 1378189 h 1779774"/>
                <a:gd name="connsiteX2626" fmla="*/ 331124 w 2299605"/>
                <a:gd name="connsiteY2626" fmla="*/ 1380471 h 1779774"/>
                <a:gd name="connsiteX2627" fmla="*/ 331124 w 2299605"/>
                <a:gd name="connsiteY2627" fmla="*/ 1382753 h 1779774"/>
                <a:gd name="connsiteX2628" fmla="*/ 331124 w 2299605"/>
                <a:gd name="connsiteY2628" fmla="*/ 1385025 h 1779774"/>
                <a:gd name="connsiteX2629" fmla="*/ 333408 w 2299605"/>
                <a:gd name="connsiteY2629" fmla="*/ 1385025 h 1779774"/>
                <a:gd name="connsiteX2630" fmla="*/ 333408 w 2299605"/>
                <a:gd name="connsiteY2630" fmla="*/ 1387307 h 1779774"/>
                <a:gd name="connsiteX2631" fmla="*/ 333408 w 2299605"/>
                <a:gd name="connsiteY2631" fmla="*/ 1389589 h 1779774"/>
                <a:gd name="connsiteX2632" fmla="*/ 335692 w 2299605"/>
                <a:gd name="connsiteY2632" fmla="*/ 1389589 h 1779774"/>
                <a:gd name="connsiteX2633" fmla="*/ 335692 w 2299605"/>
                <a:gd name="connsiteY2633" fmla="*/ 1391871 h 1779774"/>
                <a:gd name="connsiteX2634" fmla="*/ 335692 w 2299605"/>
                <a:gd name="connsiteY2634" fmla="*/ 1394153 h 1779774"/>
                <a:gd name="connsiteX2635" fmla="*/ 337975 w 2299605"/>
                <a:gd name="connsiteY2635" fmla="*/ 1394153 h 1779774"/>
                <a:gd name="connsiteX2636" fmla="*/ 337975 w 2299605"/>
                <a:gd name="connsiteY2636" fmla="*/ 1396435 h 1779774"/>
                <a:gd name="connsiteX2637" fmla="*/ 340259 w 2299605"/>
                <a:gd name="connsiteY2637" fmla="*/ 1396435 h 1779774"/>
                <a:gd name="connsiteX2638" fmla="*/ 340259 w 2299605"/>
                <a:gd name="connsiteY2638" fmla="*/ 1398717 h 1779774"/>
                <a:gd name="connsiteX2639" fmla="*/ 342542 w 2299605"/>
                <a:gd name="connsiteY2639" fmla="*/ 1400999 h 1779774"/>
                <a:gd name="connsiteX2640" fmla="*/ 342542 w 2299605"/>
                <a:gd name="connsiteY2640" fmla="*/ 1403280 h 1779774"/>
                <a:gd name="connsiteX2641" fmla="*/ 344826 w 2299605"/>
                <a:gd name="connsiteY2641" fmla="*/ 1403280 h 1779774"/>
                <a:gd name="connsiteX2642" fmla="*/ 344826 w 2299605"/>
                <a:gd name="connsiteY2642" fmla="*/ 1405562 h 1779774"/>
                <a:gd name="connsiteX2643" fmla="*/ 344826 w 2299605"/>
                <a:gd name="connsiteY2643" fmla="*/ 1407845 h 1779774"/>
                <a:gd name="connsiteX2644" fmla="*/ 347110 w 2299605"/>
                <a:gd name="connsiteY2644" fmla="*/ 1407845 h 1779774"/>
                <a:gd name="connsiteX2645" fmla="*/ 347110 w 2299605"/>
                <a:gd name="connsiteY2645" fmla="*/ 1410126 h 1779774"/>
                <a:gd name="connsiteX2646" fmla="*/ 347110 w 2299605"/>
                <a:gd name="connsiteY2646" fmla="*/ 1412408 h 1779774"/>
                <a:gd name="connsiteX2647" fmla="*/ 349393 w 2299605"/>
                <a:gd name="connsiteY2647" fmla="*/ 1412408 h 1779774"/>
                <a:gd name="connsiteX2648" fmla="*/ 349393 w 2299605"/>
                <a:gd name="connsiteY2648" fmla="*/ 1414690 h 1779774"/>
                <a:gd name="connsiteX2649" fmla="*/ 349393 w 2299605"/>
                <a:gd name="connsiteY2649" fmla="*/ 1416972 h 1779774"/>
                <a:gd name="connsiteX2650" fmla="*/ 349393 w 2299605"/>
                <a:gd name="connsiteY2650" fmla="*/ 1419254 h 1779774"/>
                <a:gd name="connsiteX2651" fmla="*/ 349393 w 2299605"/>
                <a:gd name="connsiteY2651" fmla="*/ 1421535 h 1779774"/>
                <a:gd name="connsiteX2652" fmla="*/ 349393 w 2299605"/>
                <a:gd name="connsiteY2652" fmla="*/ 1423818 h 1779774"/>
                <a:gd name="connsiteX2653" fmla="*/ 349393 w 2299605"/>
                <a:gd name="connsiteY2653" fmla="*/ 1426100 h 1779774"/>
                <a:gd name="connsiteX2654" fmla="*/ 349393 w 2299605"/>
                <a:gd name="connsiteY2654" fmla="*/ 1428381 h 1779774"/>
                <a:gd name="connsiteX2655" fmla="*/ 349393 w 2299605"/>
                <a:gd name="connsiteY2655" fmla="*/ 1430663 h 1779774"/>
                <a:gd name="connsiteX2656" fmla="*/ 347110 w 2299605"/>
                <a:gd name="connsiteY2656" fmla="*/ 1430663 h 1779774"/>
                <a:gd name="connsiteX2657" fmla="*/ 347110 w 2299605"/>
                <a:gd name="connsiteY2657" fmla="*/ 1432945 h 1779774"/>
                <a:gd name="connsiteX2658" fmla="*/ 347110 w 2299605"/>
                <a:gd name="connsiteY2658" fmla="*/ 1435227 h 1779774"/>
                <a:gd name="connsiteX2659" fmla="*/ 347110 w 2299605"/>
                <a:gd name="connsiteY2659" fmla="*/ 1437509 h 1779774"/>
                <a:gd name="connsiteX2660" fmla="*/ 344826 w 2299605"/>
                <a:gd name="connsiteY2660" fmla="*/ 1437509 h 1779774"/>
                <a:gd name="connsiteX2661" fmla="*/ 344826 w 2299605"/>
                <a:gd name="connsiteY2661" fmla="*/ 1439791 h 1779774"/>
                <a:gd name="connsiteX2662" fmla="*/ 342542 w 2299605"/>
                <a:gd name="connsiteY2662" fmla="*/ 1439791 h 1779774"/>
                <a:gd name="connsiteX2663" fmla="*/ 340259 w 2299605"/>
                <a:gd name="connsiteY2663" fmla="*/ 1439791 h 1779774"/>
                <a:gd name="connsiteX2664" fmla="*/ 337975 w 2299605"/>
                <a:gd name="connsiteY2664" fmla="*/ 1439791 h 1779774"/>
                <a:gd name="connsiteX2665" fmla="*/ 337975 w 2299605"/>
                <a:gd name="connsiteY2665" fmla="*/ 1442073 h 1779774"/>
                <a:gd name="connsiteX2666" fmla="*/ 335692 w 2299605"/>
                <a:gd name="connsiteY2666" fmla="*/ 1442073 h 1779774"/>
                <a:gd name="connsiteX2667" fmla="*/ 335692 w 2299605"/>
                <a:gd name="connsiteY2667" fmla="*/ 1444355 h 1779774"/>
                <a:gd name="connsiteX2668" fmla="*/ 333408 w 2299605"/>
                <a:gd name="connsiteY2668" fmla="*/ 1444355 h 1779774"/>
                <a:gd name="connsiteX2669" fmla="*/ 331124 w 2299605"/>
                <a:gd name="connsiteY2669" fmla="*/ 1442073 h 1779774"/>
                <a:gd name="connsiteX2670" fmla="*/ 328841 w 2299605"/>
                <a:gd name="connsiteY2670" fmla="*/ 1442073 h 1779774"/>
                <a:gd name="connsiteX2671" fmla="*/ 328841 w 2299605"/>
                <a:gd name="connsiteY2671" fmla="*/ 1439791 h 1779774"/>
                <a:gd name="connsiteX2672" fmla="*/ 326557 w 2299605"/>
                <a:gd name="connsiteY2672" fmla="*/ 1439791 h 1779774"/>
                <a:gd name="connsiteX2673" fmla="*/ 326557 w 2299605"/>
                <a:gd name="connsiteY2673" fmla="*/ 1437509 h 1779774"/>
                <a:gd name="connsiteX2674" fmla="*/ 324274 w 2299605"/>
                <a:gd name="connsiteY2674" fmla="*/ 1437509 h 1779774"/>
                <a:gd name="connsiteX2675" fmla="*/ 321990 w 2299605"/>
                <a:gd name="connsiteY2675" fmla="*/ 1437509 h 1779774"/>
                <a:gd name="connsiteX2676" fmla="*/ 319706 w 2299605"/>
                <a:gd name="connsiteY2676" fmla="*/ 1437509 h 1779774"/>
                <a:gd name="connsiteX2677" fmla="*/ 319706 w 2299605"/>
                <a:gd name="connsiteY2677" fmla="*/ 1439791 h 1779774"/>
                <a:gd name="connsiteX2678" fmla="*/ 317423 w 2299605"/>
                <a:gd name="connsiteY2678" fmla="*/ 1439791 h 1779774"/>
                <a:gd name="connsiteX2679" fmla="*/ 317423 w 2299605"/>
                <a:gd name="connsiteY2679" fmla="*/ 1442073 h 1779774"/>
                <a:gd name="connsiteX2680" fmla="*/ 315139 w 2299605"/>
                <a:gd name="connsiteY2680" fmla="*/ 1444355 h 1779774"/>
                <a:gd name="connsiteX2681" fmla="*/ 315139 w 2299605"/>
                <a:gd name="connsiteY2681" fmla="*/ 1446636 h 1779774"/>
                <a:gd name="connsiteX2682" fmla="*/ 312856 w 2299605"/>
                <a:gd name="connsiteY2682" fmla="*/ 1446636 h 1779774"/>
                <a:gd name="connsiteX2683" fmla="*/ 312856 w 2299605"/>
                <a:gd name="connsiteY2683" fmla="*/ 1448918 h 1779774"/>
                <a:gd name="connsiteX2684" fmla="*/ 312856 w 2299605"/>
                <a:gd name="connsiteY2684" fmla="*/ 1451201 h 1779774"/>
                <a:gd name="connsiteX2685" fmla="*/ 312856 w 2299605"/>
                <a:gd name="connsiteY2685" fmla="*/ 1453482 h 1779774"/>
                <a:gd name="connsiteX2686" fmla="*/ 312856 w 2299605"/>
                <a:gd name="connsiteY2686" fmla="*/ 1455764 h 1779774"/>
                <a:gd name="connsiteX2687" fmla="*/ 312856 w 2299605"/>
                <a:gd name="connsiteY2687" fmla="*/ 1458046 h 1779774"/>
                <a:gd name="connsiteX2688" fmla="*/ 312856 w 2299605"/>
                <a:gd name="connsiteY2688" fmla="*/ 1460328 h 1779774"/>
                <a:gd name="connsiteX2689" fmla="*/ 315139 w 2299605"/>
                <a:gd name="connsiteY2689" fmla="*/ 1462610 h 1779774"/>
                <a:gd name="connsiteX2690" fmla="*/ 312856 w 2299605"/>
                <a:gd name="connsiteY2690" fmla="*/ 1462610 h 1779774"/>
                <a:gd name="connsiteX2691" fmla="*/ 312856 w 2299605"/>
                <a:gd name="connsiteY2691" fmla="*/ 1464892 h 1779774"/>
                <a:gd name="connsiteX2692" fmla="*/ 312856 w 2299605"/>
                <a:gd name="connsiteY2692" fmla="*/ 1467174 h 1779774"/>
                <a:gd name="connsiteX2693" fmla="*/ 312856 w 2299605"/>
                <a:gd name="connsiteY2693" fmla="*/ 1469456 h 1779774"/>
                <a:gd name="connsiteX2694" fmla="*/ 310572 w 2299605"/>
                <a:gd name="connsiteY2694" fmla="*/ 1469456 h 1779774"/>
                <a:gd name="connsiteX2695" fmla="*/ 310572 w 2299605"/>
                <a:gd name="connsiteY2695" fmla="*/ 1471737 h 1779774"/>
                <a:gd name="connsiteX2696" fmla="*/ 308288 w 2299605"/>
                <a:gd name="connsiteY2696" fmla="*/ 1471737 h 1779774"/>
                <a:gd name="connsiteX2697" fmla="*/ 308288 w 2299605"/>
                <a:gd name="connsiteY2697" fmla="*/ 1474019 h 1779774"/>
                <a:gd name="connsiteX2698" fmla="*/ 306005 w 2299605"/>
                <a:gd name="connsiteY2698" fmla="*/ 1474019 h 1779774"/>
                <a:gd name="connsiteX2699" fmla="*/ 306005 w 2299605"/>
                <a:gd name="connsiteY2699" fmla="*/ 1476301 h 1779774"/>
                <a:gd name="connsiteX2700" fmla="*/ 303721 w 2299605"/>
                <a:gd name="connsiteY2700" fmla="*/ 1476301 h 1779774"/>
                <a:gd name="connsiteX2701" fmla="*/ 303721 w 2299605"/>
                <a:gd name="connsiteY2701" fmla="*/ 1478583 h 1779774"/>
                <a:gd name="connsiteX2702" fmla="*/ 303721 w 2299605"/>
                <a:gd name="connsiteY2702" fmla="*/ 1480865 h 1779774"/>
                <a:gd name="connsiteX2703" fmla="*/ 303721 w 2299605"/>
                <a:gd name="connsiteY2703" fmla="*/ 1483147 h 1779774"/>
                <a:gd name="connsiteX2704" fmla="*/ 303721 w 2299605"/>
                <a:gd name="connsiteY2704" fmla="*/ 1485429 h 1779774"/>
                <a:gd name="connsiteX2705" fmla="*/ 301437 w 2299605"/>
                <a:gd name="connsiteY2705" fmla="*/ 1483147 h 1779774"/>
                <a:gd name="connsiteX2706" fmla="*/ 301437 w 2299605"/>
                <a:gd name="connsiteY2706" fmla="*/ 1485429 h 1779774"/>
                <a:gd name="connsiteX2707" fmla="*/ 301437 w 2299605"/>
                <a:gd name="connsiteY2707" fmla="*/ 1487711 h 1779774"/>
                <a:gd name="connsiteX2708" fmla="*/ 301437 w 2299605"/>
                <a:gd name="connsiteY2708" fmla="*/ 1489992 h 1779774"/>
                <a:gd name="connsiteX2709" fmla="*/ 299154 w 2299605"/>
                <a:gd name="connsiteY2709" fmla="*/ 1489992 h 1779774"/>
                <a:gd name="connsiteX2710" fmla="*/ 299154 w 2299605"/>
                <a:gd name="connsiteY2710" fmla="*/ 1492274 h 1779774"/>
                <a:gd name="connsiteX2711" fmla="*/ 296870 w 2299605"/>
                <a:gd name="connsiteY2711" fmla="*/ 1492274 h 1779774"/>
                <a:gd name="connsiteX2712" fmla="*/ 296870 w 2299605"/>
                <a:gd name="connsiteY2712" fmla="*/ 1494557 h 1779774"/>
                <a:gd name="connsiteX2713" fmla="*/ 294587 w 2299605"/>
                <a:gd name="connsiteY2713" fmla="*/ 1494557 h 1779774"/>
                <a:gd name="connsiteX2714" fmla="*/ 294587 w 2299605"/>
                <a:gd name="connsiteY2714" fmla="*/ 1496838 h 1779774"/>
                <a:gd name="connsiteX2715" fmla="*/ 292303 w 2299605"/>
                <a:gd name="connsiteY2715" fmla="*/ 1496838 h 1779774"/>
                <a:gd name="connsiteX2716" fmla="*/ 292303 w 2299605"/>
                <a:gd name="connsiteY2716" fmla="*/ 1499120 h 1779774"/>
                <a:gd name="connsiteX2717" fmla="*/ 294587 w 2299605"/>
                <a:gd name="connsiteY2717" fmla="*/ 1499120 h 1779774"/>
                <a:gd name="connsiteX2718" fmla="*/ 296870 w 2299605"/>
                <a:gd name="connsiteY2718" fmla="*/ 1499120 h 1779774"/>
                <a:gd name="connsiteX2719" fmla="*/ 299154 w 2299605"/>
                <a:gd name="connsiteY2719" fmla="*/ 1499120 h 1779774"/>
                <a:gd name="connsiteX2720" fmla="*/ 299154 w 2299605"/>
                <a:gd name="connsiteY2720" fmla="*/ 1501402 h 1779774"/>
                <a:gd name="connsiteX2721" fmla="*/ 299154 w 2299605"/>
                <a:gd name="connsiteY2721" fmla="*/ 1503684 h 1779774"/>
                <a:gd name="connsiteX2722" fmla="*/ 301437 w 2299605"/>
                <a:gd name="connsiteY2722" fmla="*/ 1503684 h 1779774"/>
                <a:gd name="connsiteX2723" fmla="*/ 303721 w 2299605"/>
                <a:gd name="connsiteY2723" fmla="*/ 1503684 h 1779774"/>
                <a:gd name="connsiteX2724" fmla="*/ 303721 w 2299605"/>
                <a:gd name="connsiteY2724" fmla="*/ 1505966 h 1779774"/>
                <a:gd name="connsiteX2725" fmla="*/ 306005 w 2299605"/>
                <a:gd name="connsiteY2725" fmla="*/ 1505966 h 1779774"/>
                <a:gd name="connsiteX2726" fmla="*/ 306005 w 2299605"/>
                <a:gd name="connsiteY2726" fmla="*/ 1503684 h 1779774"/>
                <a:gd name="connsiteX2727" fmla="*/ 308288 w 2299605"/>
                <a:gd name="connsiteY2727" fmla="*/ 1503684 h 1779774"/>
                <a:gd name="connsiteX2728" fmla="*/ 308288 w 2299605"/>
                <a:gd name="connsiteY2728" fmla="*/ 1501402 h 1779774"/>
                <a:gd name="connsiteX2729" fmla="*/ 306005 w 2299605"/>
                <a:gd name="connsiteY2729" fmla="*/ 1501402 h 1779774"/>
                <a:gd name="connsiteX2730" fmla="*/ 306005 w 2299605"/>
                <a:gd name="connsiteY2730" fmla="*/ 1499120 h 1779774"/>
                <a:gd name="connsiteX2731" fmla="*/ 308288 w 2299605"/>
                <a:gd name="connsiteY2731" fmla="*/ 1499120 h 1779774"/>
                <a:gd name="connsiteX2732" fmla="*/ 310572 w 2299605"/>
                <a:gd name="connsiteY2732" fmla="*/ 1499120 h 1779774"/>
                <a:gd name="connsiteX2733" fmla="*/ 312856 w 2299605"/>
                <a:gd name="connsiteY2733" fmla="*/ 1499120 h 1779774"/>
                <a:gd name="connsiteX2734" fmla="*/ 312856 w 2299605"/>
                <a:gd name="connsiteY2734" fmla="*/ 1501402 h 1779774"/>
                <a:gd name="connsiteX2735" fmla="*/ 312856 w 2299605"/>
                <a:gd name="connsiteY2735" fmla="*/ 1503684 h 1779774"/>
                <a:gd name="connsiteX2736" fmla="*/ 315139 w 2299605"/>
                <a:gd name="connsiteY2736" fmla="*/ 1503684 h 1779774"/>
                <a:gd name="connsiteX2737" fmla="*/ 315139 w 2299605"/>
                <a:gd name="connsiteY2737" fmla="*/ 1505966 h 1779774"/>
                <a:gd name="connsiteX2738" fmla="*/ 315139 w 2299605"/>
                <a:gd name="connsiteY2738" fmla="*/ 1508248 h 1779774"/>
                <a:gd name="connsiteX2739" fmla="*/ 312856 w 2299605"/>
                <a:gd name="connsiteY2739" fmla="*/ 1508248 h 1779774"/>
                <a:gd name="connsiteX2740" fmla="*/ 312856 w 2299605"/>
                <a:gd name="connsiteY2740" fmla="*/ 1510530 h 1779774"/>
                <a:gd name="connsiteX2741" fmla="*/ 310572 w 2299605"/>
                <a:gd name="connsiteY2741" fmla="*/ 1510530 h 1779774"/>
                <a:gd name="connsiteX2742" fmla="*/ 310572 w 2299605"/>
                <a:gd name="connsiteY2742" fmla="*/ 1512812 h 1779774"/>
                <a:gd name="connsiteX2743" fmla="*/ 310572 w 2299605"/>
                <a:gd name="connsiteY2743" fmla="*/ 1515093 h 1779774"/>
                <a:gd name="connsiteX2744" fmla="*/ 310572 w 2299605"/>
                <a:gd name="connsiteY2744" fmla="*/ 1517375 h 1779774"/>
                <a:gd name="connsiteX2745" fmla="*/ 310572 w 2299605"/>
                <a:gd name="connsiteY2745" fmla="*/ 1519657 h 1779774"/>
                <a:gd name="connsiteX2746" fmla="*/ 310572 w 2299605"/>
                <a:gd name="connsiteY2746" fmla="*/ 1521939 h 1779774"/>
                <a:gd name="connsiteX2747" fmla="*/ 310572 w 2299605"/>
                <a:gd name="connsiteY2747" fmla="*/ 1524221 h 1779774"/>
                <a:gd name="connsiteX2748" fmla="*/ 310572 w 2299605"/>
                <a:gd name="connsiteY2748" fmla="*/ 1526503 h 1779774"/>
                <a:gd name="connsiteX2749" fmla="*/ 310572 w 2299605"/>
                <a:gd name="connsiteY2749" fmla="*/ 1528785 h 1779774"/>
                <a:gd name="connsiteX2750" fmla="*/ 310572 w 2299605"/>
                <a:gd name="connsiteY2750" fmla="*/ 1531067 h 1779774"/>
                <a:gd name="connsiteX2751" fmla="*/ 308288 w 2299605"/>
                <a:gd name="connsiteY2751" fmla="*/ 1533348 h 1779774"/>
                <a:gd name="connsiteX2752" fmla="*/ 306005 w 2299605"/>
                <a:gd name="connsiteY2752" fmla="*/ 1533348 h 1779774"/>
                <a:gd name="connsiteX2753" fmla="*/ 306005 w 2299605"/>
                <a:gd name="connsiteY2753" fmla="*/ 1535630 h 1779774"/>
                <a:gd name="connsiteX2754" fmla="*/ 303721 w 2299605"/>
                <a:gd name="connsiteY2754" fmla="*/ 1535630 h 1779774"/>
                <a:gd name="connsiteX2755" fmla="*/ 303721 w 2299605"/>
                <a:gd name="connsiteY2755" fmla="*/ 1537913 h 1779774"/>
                <a:gd name="connsiteX2756" fmla="*/ 301437 w 2299605"/>
                <a:gd name="connsiteY2756" fmla="*/ 1537913 h 1779774"/>
                <a:gd name="connsiteX2757" fmla="*/ 301437 w 2299605"/>
                <a:gd name="connsiteY2757" fmla="*/ 1540194 h 1779774"/>
                <a:gd name="connsiteX2758" fmla="*/ 301437 w 2299605"/>
                <a:gd name="connsiteY2758" fmla="*/ 1542476 h 1779774"/>
                <a:gd name="connsiteX2759" fmla="*/ 301437 w 2299605"/>
                <a:gd name="connsiteY2759" fmla="*/ 1544758 h 1779774"/>
                <a:gd name="connsiteX2760" fmla="*/ 303721 w 2299605"/>
                <a:gd name="connsiteY2760" fmla="*/ 1544758 h 1779774"/>
                <a:gd name="connsiteX2761" fmla="*/ 303721 w 2299605"/>
                <a:gd name="connsiteY2761" fmla="*/ 1547031 h 1779774"/>
                <a:gd name="connsiteX2762" fmla="*/ 306005 w 2299605"/>
                <a:gd name="connsiteY2762" fmla="*/ 1547031 h 1779774"/>
                <a:gd name="connsiteX2763" fmla="*/ 306005 w 2299605"/>
                <a:gd name="connsiteY2763" fmla="*/ 1549312 h 1779774"/>
                <a:gd name="connsiteX2764" fmla="*/ 306005 w 2299605"/>
                <a:gd name="connsiteY2764" fmla="*/ 1551594 h 1779774"/>
                <a:gd name="connsiteX2765" fmla="*/ 308288 w 2299605"/>
                <a:gd name="connsiteY2765" fmla="*/ 1551594 h 1779774"/>
                <a:gd name="connsiteX2766" fmla="*/ 308288 w 2299605"/>
                <a:gd name="connsiteY2766" fmla="*/ 1553876 h 1779774"/>
                <a:gd name="connsiteX2767" fmla="*/ 310572 w 2299605"/>
                <a:gd name="connsiteY2767" fmla="*/ 1553876 h 1779774"/>
                <a:gd name="connsiteX2768" fmla="*/ 310572 w 2299605"/>
                <a:gd name="connsiteY2768" fmla="*/ 1551594 h 1779774"/>
                <a:gd name="connsiteX2769" fmla="*/ 312856 w 2299605"/>
                <a:gd name="connsiteY2769" fmla="*/ 1553876 h 1779774"/>
                <a:gd name="connsiteX2770" fmla="*/ 315139 w 2299605"/>
                <a:gd name="connsiteY2770" fmla="*/ 1553876 h 1779774"/>
                <a:gd name="connsiteX2771" fmla="*/ 315139 w 2299605"/>
                <a:gd name="connsiteY2771" fmla="*/ 1556158 h 1779774"/>
                <a:gd name="connsiteX2772" fmla="*/ 317423 w 2299605"/>
                <a:gd name="connsiteY2772" fmla="*/ 1556158 h 1779774"/>
                <a:gd name="connsiteX2773" fmla="*/ 317423 w 2299605"/>
                <a:gd name="connsiteY2773" fmla="*/ 1558440 h 1779774"/>
                <a:gd name="connsiteX2774" fmla="*/ 319706 w 2299605"/>
                <a:gd name="connsiteY2774" fmla="*/ 1558440 h 1779774"/>
                <a:gd name="connsiteX2775" fmla="*/ 319706 w 2299605"/>
                <a:gd name="connsiteY2775" fmla="*/ 1560722 h 1779774"/>
                <a:gd name="connsiteX2776" fmla="*/ 321990 w 2299605"/>
                <a:gd name="connsiteY2776" fmla="*/ 1560722 h 1779774"/>
                <a:gd name="connsiteX2777" fmla="*/ 321990 w 2299605"/>
                <a:gd name="connsiteY2777" fmla="*/ 1563004 h 1779774"/>
                <a:gd name="connsiteX2778" fmla="*/ 319706 w 2299605"/>
                <a:gd name="connsiteY2778" fmla="*/ 1563004 h 1779774"/>
                <a:gd name="connsiteX2779" fmla="*/ 319706 w 2299605"/>
                <a:gd name="connsiteY2779" fmla="*/ 1565286 h 1779774"/>
                <a:gd name="connsiteX2780" fmla="*/ 321990 w 2299605"/>
                <a:gd name="connsiteY2780" fmla="*/ 1567567 h 1779774"/>
                <a:gd name="connsiteX2781" fmla="*/ 321990 w 2299605"/>
                <a:gd name="connsiteY2781" fmla="*/ 1569849 h 1779774"/>
                <a:gd name="connsiteX2782" fmla="*/ 321990 w 2299605"/>
                <a:gd name="connsiteY2782" fmla="*/ 1572132 h 1779774"/>
                <a:gd name="connsiteX2783" fmla="*/ 324274 w 2299605"/>
                <a:gd name="connsiteY2783" fmla="*/ 1572132 h 1779774"/>
                <a:gd name="connsiteX2784" fmla="*/ 324274 w 2299605"/>
                <a:gd name="connsiteY2784" fmla="*/ 1574413 h 1779774"/>
                <a:gd name="connsiteX2785" fmla="*/ 324274 w 2299605"/>
                <a:gd name="connsiteY2785" fmla="*/ 1576695 h 1779774"/>
                <a:gd name="connsiteX2786" fmla="*/ 324274 w 2299605"/>
                <a:gd name="connsiteY2786" fmla="*/ 1578977 h 1779774"/>
                <a:gd name="connsiteX2787" fmla="*/ 324274 w 2299605"/>
                <a:gd name="connsiteY2787" fmla="*/ 1581259 h 1779774"/>
                <a:gd name="connsiteX2788" fmla="*/ 326557 w 2299605"/>
                <a:gd name="connsiteY2788" fmla="*/ 1581259 h 1779774"/>
                <a:gd name="connsiteX2789" fmla="*/ 326557 w 2299605"/>
                <a:gd name="connsiteY2789" fmla="*/ 1583541 h 1779774"/>
                <a:gd name="connsiteX2790" fmla="*/ 326557 w 2299605"/>
                <a:gd name="connsiteY2790" fmla="*/ 1585823 h 1779774"/>
                <a:gd name="connsiteX2791" fmla="*/ 326557 w 2299605"/>
                <a:gd name="connsiteY2791" fmla="*/ 1588105 h 1779774"/>
                <a:gd name="connsiteX2792" fmla="*/ 326557 w 2299605"/>
                <a:gd name="connsiteY2792" fmla="*/ 1590387 h 1779774"/>
                <a:gd name="connsiteX2793" fmla="*/ 326557 w 2299605"/>
                <a:gd name="connsiteY2793" fmla="*/ 1592668 h 1779774"/>
                <a:gd name="connsiteX2794" fmla="*/ 328841 w 2299605"/>
                <a:gd name="connsiteY2794" fmla="*/ 1592668 h 1779774"/>
                <a:gd name="connsiteX2795" fmla="*/ 328841 w 2299605"/>
                <a:gd name="connsiteY2795" fmla="*/ 1594950 h 1779774"/>
                <a:gd name="connsiteX2796" fmla="*/ 331124 w 2299605"/>
                <a:gd name="connsiteY2796" fmla="*/ 1594950 h 1779774"/>
                <a:gd name="connsiteX2797" fmla="*/ 331124 w 2299605"/>
                <a:gd name="connsiteY2797" fmla="*/ 1597232 h 1779774"/>
                <a:gd name="connsiteX2798" fmla="*/ 333408 w 2299605"/>
                <a:gd name="connsiteY2798" fmla="*/ 1597232 h 1779774"/>
                <a:gd name="connsiteX2799" fmla="*/ 333408 w 2299605"/>
                <a:gd name="connsiteY2799" fmla="*/ 1599514 h 1779774"/>
                <a:gd name="connsiteX2800" fmla="*/ 333408 w 2299605"/>
                <a:gd name="connsiteY2800" fmla="*/ 1601796 h 1779774"/>
                <a:gd name="connsiteX2801" fmla="*/ 335692 w 2299605"/>
                <a:gd name="connsiteY2801" fmla="*/ 1601796 h 1779774"/>
                <a:gd name="connsiteX2802" fmla="*/ 335692 w 2299605"/>
                <a:gd name="connsiteY2802" fmla="*/ 1604078 h 1779774"/>
                <a:gd name="connsiteX2803" fmla="*/ 335692 w 2299605"/>
                <a:gd name="connsiteY2803" fmla="*/ 1606360 h 1779774"/>
                <a:gd name="connsiteX2804" fmla="*/ 337975 w 2299605"/>
                <a:gd name="connsiteY2804" fmla="*/ 1606360 h 1779774"/>
                <a:gd name="connsiteX2805" fmla="*/ 337975 w 2299605"/>
                <a:gd name="connsiteY2805" fmla="*/ 1608642 h 1779774"/>
                <a:gd name="connsiteX2806" fmla="*/ 340259 w 2299605"/>
                <a:gd name="connsiteY2806" fmla="*/ 1608642 h 1779774"/>
                <a:gd name="connsiteX2807" fmla="*/ 340259 w 2299605"/>
                <a:gd name="connsiteY2807" fmla="*/ 1610923 h 1779774"/>
                <a:gd name="connsiteX2808" fmla="*/ 342542 w 2299605"/>
                <a:gd name="connsiteY2808" fmla="*/ 1610923 h 1779774"/>
                <a:gd name="connsiteX2809" fmla="*/ 342542 w 2299605"/>
                <a:gd name="connsiteY2809" fmla="*/ 1613206 h 1779774"/>
                <a:gd name="connsiteX2810" fmla="*/ 344826 w 2299605"/>
                <a:gd name="connsiteY2810" fmla="*/ 1613206 h 1779774"/>
                <a:gd name="connsiteX2811" fmla="*/ 347110 w 2299605"/>
                <a:gd name="connsiteY2811" fmla="*/ 1613206 h 1779774"/>
                <a:gd name="connsiteX2812" fmla="*/ 347110 w 2299605"/>
                <a:gd name="connsiteY2812" fmla="*/ 1615488 h 1779774"/>
                <a:gd name="connsiteX2813" fmla="*/ 349393 w 2299605"/>
                <a:gd name="connsiteY2813" fmla="*/ 1615488 h 1779774"/>
                <a:gd name="connsiteX2814" fmla="*/ 351677 w 2299605"/>
                <a:gd name="connsiteY2814" fmla="*/ 1615488 h 1779774"/>
                <a:gd name="connsiteX2815" fmla="*/ 353960 w 2299605"/>
                <a:gd name="connsiteY2815" fmla="*/ 1615488 h 1779774"/>
                <a:gd name="connsiteX2816" fmla="*/ 353960 w 2299605"/>
                <a:gd name="connsiteY2816" fmla="*/ 1617769 h 1779774"/>
                <a:gd name="connsiteX2817" fmla="*/ 356244 w 2299605"/>
                <a:gd name="connsiteY2817" fmla="*/ 1617769 h 1779774"/>
                <a:gd name="connsiteX2818" fmla="*/ 356244 w 2299605"/>
                <a:gd name="connsiteY2818" fmla="*/ 1620051 h 1779774"/>
                <a:gd name="connsiteX2819" fmla="*/ 358527 w 2299605"/>
                <a:gd name="connsiteY2819" fmla="*/ 1620051 h 1779774"/>
                <a:gd name="connsiteX2820" fmla="*/ 358527 w 2299605"/>
                <a:gd name="connsiteY2820" fmla="*/ 1622333 h 1779774"/>
                <a:gd name="connsiteX2821" fmla="*/ 360811 w 2299605"/>
                <a:gd name="connsiteY2821" fmla="*/ 1622333 h 1779774"/>
                <a:gd name="connsiteX2822" fmla="*/ 360811 w 2299605"/>
                <a:gd name="connsiteY2822" fmla="*/ 1624615 h 1779774"/>
                <a:gd name="connsiteX2823" fmla="*/ 363096 w 2299605"/>
                <a:gd name="connsiteY2823" fmla="*/ 1624615 h 1779774"/>
                <a:gd name="connsiteX2824" fmla="*/ 363096 w 2299605"/>
                <a:gd name="connsiteY2824" fmla="*/ 1622333 h 1779774"/>
                <a:gd name="connsiteX2825" fmla="*/ 365378 w 2299605"/>
                <a:gd name="connsiteY2825" fmla="*/ 1622333 h 1779774"/>
                <a:gd name="connsiteX2826" fmla="*/ 367662 w 2299605"/>
                <a:gd name="connsiteY2826" fmla="*/ 1622333 h 1779774"/>
                <a:gd name="connsiteX2827" fmla="*/ 367662 w 2299605"/>
                <a:gd name="connsiteY2827" fmla="*/ 1620051 h 1779774"/>
                <a:gd name="connsiteX2828" fmla="*/ 365378 w 2299605"/>
                <a:gd name="connsiteY2828" fmla="*/ 1620051 h 1779774"/>
                <a:gd name="connsiteX2829" fmla="*/ 363096 w 2299605"/>
                <a:gd name="connsiteY2829" fmla="*/ 1620051 h 1779774"/>
                <a:gd name="connsiteX2830" fmla="*/ 363096 w 2299605"/>
                <a:gd name="connsiteY2830" fmla="*/ 1617769 h 1779774"/>
                <a:gd name="connsiteX2831" fmla="*/ 360811 w 2299605"/>
                <a:gd name="connsiteY2831" fmla="*/ 1617769 h 1779774"/>
                <a:gd name="connsiteX2832" fmla="*/ 360811 w 2299605"/>
                <a:gd name="connsiteY2832" fmla="*/ 1615488 h 1779774"/>
                <a:gd name="connsiteX2833" fmla="*/ 358527 w 2299605"/>
                <a:gd name="connsiteY2833" fmla="*/ 1615488 h 1779774"/>
                <a:gd name="connsiteX2834" fmla="*/ 358527 w 2299605"/>
                <a:gd name="connsiteY2834" fmla="*/ 1613206 h 1779774"/>
                <a:gd name="connsiteX2835" fmla="*/ 358527 w 2299605"/>
                <a:gd name="connsiteY2835" fmla="*/ 1610923 h 1779774"/>
                <a:gd name="connsiteX2836" fmla="*/ 356244 w 2299605"/>
                <a:gd name="connsiteY2836" fmla="*/ 1610923 h 1779774"/>
                <a:gd name="connsiteX2837" fmla="*/ 356244 w 2299605"/>
                <a:gd name="connsiteY2837" fmla="*/ 1608642 h 1779774"/>
                <a:gd name="connsiteX2838" fmla="*/ 356244 w 2299605"/>
                <a:gd name="connsiteY2838" fmla="*/ 1606360 h 1779774"/>
                <a:gd name="connsiteX2839" fmla="*/ 356244 w 2299605"/>
                <a:gd name="connsiteY2839" fmla="*/ 1604078 h 1779774"/>
                <a:gd name="connsiteX2840" fmla="*/ 356244 w 2299605"/>
                <a:gd name="connsiteY2840" fmla="*/ 1601796 h 1779774"/>
                <a:gd name="connsiteX2841" fmla="*/ 356244 w 2299605"/>
                <a:gd name="connsiteY2841" fmla="*/ 1599514 h 1779774"/>
                <a:gd name="connsiteX2842" fmla="*/ 356244 w 2299605"/>
                <a:gd name="connsiteY2842" fmla="*/ 1597232 h 1779774"/>
                <a:gd name="connsiteX2843" fmla="*/ 356244 w 2299605"/>
                <a:gd name="connsiteY2843" fmla="*/ 1594950 h 1779774"/>
                <a:gd name="connsiteX2844" fmla="*/ 358527 w 2299605"/>
                <a:gd name="connsiteY2844" fmla="*/ 1594950 h 1779774"/>
                <a:gd name="connsiteX2845" fmla="*/ 358527 w 2299605"/>
                <a:gd name="connsiteY2845" fmla="*/ 1592668 h 1779774"/>
                <a:gd name="connsiteX2846" fmla="*/ 358527 w 2299605"/>
                <a:gd name="connsiteY2846" fmla="*/ 1590387 h 1779774"/>
                <a:gd name="connsiteX2847" fmla="*/ 356244 w 2299605"/>
                <a:gd name="connsiteY2847" fmla="*/ 1588105 h 1779774"/>
                <a:gd name="connsiteX2848" fmla="*/ 356244 w 2299605"/>
                <a:gd name="connsiteY2848" fmla="*/ 1585823 h 1779774"/>
                <a:gd name="connsiteX2849" fmla="*/ 356244 w 2299605"/>
                <a:gd name="connsiteY2849" fmla="*/ 1583541 h 1779774"/>
                <a:gd name="connsiteX2850" fmla="*/ 358527 w 2299605"/>
                <a:gd name="connsiteY2850" fmla="*/ 1583541 h 1779774"/>
                <a:gd name="connsiteX2851" fmla="*/ 358527 w 2299605"/>
                <a:gd name="connsiteY2851" fmla="*/ 1581259 h 1779774"/>
                <a:gd name="connsiteX2852" fmla="*/ 358527 w 2299605"/>
                <a:gd name="connsiteY2852" fmla="*/ 1578977 h 1779774"/>
                <a:gd name="connsiteX2853" fmla="*/ 358527 w 2299605"/>
                <a:gd name="connsiteY2853" fmla="*/ 1576695 h 1779774"/>
                <a:gd name="connsiteX2854" fmla="*/ 358527 w 2299605"/>
                <a:gd name="connsiteY2854" fmla="*/ 1574413 h 1779774"/>
                <a:gd name="connsiteX2855" fmla="*/ 358527 w 2299605"/>
                <a:gd name="connsiteY2855" fmla="*/ 1572132 h 1779774"/>
                <a:gd name="connsiteX2856" fmla="*/ 356244 w 2299605"/>
                <a:gd name="connsiteY2856" fmla="*/ 1572132 h 1779774"/>
                <a:gd name="connsiteX2857" fmla="*/ 356244 w 2299605"/>
                <a:gd name="connsiteY2857" fmla="*/ 1569849 h 1779774"/>
                <a:gd name="connsiteX2858" fmla="*/ 353960 w 2299605"/>
                <a:gd name="connsiteY2858" fmla="*/ 1569849 h 1779774"/>
                <a:gd name="connsiteX2859" fmla="*/ 353960 w 2299605"/>
                <a:gd name="connsiteY2859" fmla="*/ 1567567 h 1779774"/>
                <a:gd name="connsiteX2860" fmla="*/ 353960 w 2299605"/>
                <a:gd name="connsiteY2860" fmla="*/ 1565286 h 1779774"/>
                <a:gd name="connsiteX2861" fmla="*/ 351677 w 2299605"/>
                <a:gd name="connsiteY2861" fmla="*/ 1565286 h 1779774"/>
                <a:gd name="connsiteX2862" fmla="*/ 351677 w 2299605"/>
                <a:gd name="connsiteY2862" fmla="*/ 1563004 h 1779774"/>
                <a:gd name="connsiteX2863" fmla="*/ 351677 w 2299605"/>
                <a:gd name="connsiteY2863" fmla="*/ 1560722 h 1779774"/>
                <a:gd name="connsiteX2864" fmla="*/ 349393 w 2299605"/>
                <a:gd name="connsiteY2864" fmla="*/ 1560722 h 1779774"/>
                <a:gd name="connsiteX2865" fmla="*/ 349393 w 2299605"/>
                <a:gd name="connsiteY2865" fmla="*/ 1558440 h 1779774"/>
                <a:gd name="connsiteX2866" fmla="*/ 347110 w 2299605"/>
                <a:gd name="connsiteY2866" fmla="*/ 1558440 h 1779774"/>
                <a:gd name="connsiteX2867" fmla="*/ 347110 w 2299605"/>
                <a:gd name="connsiteY2867" fmla="*/ 1556158 h 1779774"/>
                <a:gd name="connsiteX2868" fmla="*/ 344826 w 2299605"/>
                <a:gd name="connsiteY2868" fmla="*/ 1556158 h 1779774"/>
                <a:gd name="connsiteX2869" fmla="*/ 342542 w 2299605"/>
                <a:gd name="connsiteY2869" fmla="*/ 1556158 h 1779774"/>
                <a:gd name="connsiteX2870" fmla="*/ 340259 w 2299605"/>
                <a:gd name="connsiteY2870" fmla="*/ 1556158 h 1779774"/>
                <a:gd name="connsiteX2871" fmla="*/ 337975 w 2299605"/>
                <a:gd name="connsiteY2871" fmla="*/ 1553876 h 1779774"/>
                <a:gd name="connsiteX2872" fmla="*/ 337975 w 2299605"/>
                <a:gd name="connsiteY2872" fmla="*/ 1551594 h 1779774"/>
                <a:gd name="connsiteX2873" fmla="*/ 337975 w 2299605"/>
                <a:gd name="connsiteY2873" fmla="*/ 1549312 h 1779774"/>
                <a:gd name="connsiteX2874" fmla="*/ 340259 w 2299605"/>
                <a:gd name="connsiteY2874" fmla="*/ 1549312 h 1779774"/>
                <a:gd name="connsiteX2875" fmla="*/ 340259 w 2299605"/>
                <a:gd name="connsiteY2875" fmla="*/ 1547031 h 1779774"/>
                <a:gd name="connsiteX2876" fmla="*/ 340259 w 2299605"/>
                <a:gd name="connsiteY2876" fmla="*/ 1544758 h 1779774"/>
                <a:gd name="connsiteX2877" fmla="*/ 340259 w 2299605"/>
                <a:gd name="connsiteY2877" fmla="*/ 1542476 h 1779774"/>
                <a:gd name="connsiteX2878" fmla="*/ 342542 w 2299605"/>
                <a:gd name="connsiteY2878" fmla="*/ 1542476 h 1779774"/>
                <a:gd name="connsiteX2879" fmla="*/ 342542 w 2299605"/>
                <a:gd name="connsiteY2879" fmla="*/ 1540194 h 1779774"/>
                <a:gd name="connsiteX2880" fmla="*/ 342542 w 2299605"/>
                <a:gd name="connsiteY2880" fmla="*/ 1537913 h 1779774"/>
                <a:gd name="connsiteX2881" fmla="*/ 340259 w 2299605"/>
                <a:gd name="connsiteY2881" fmla="*/ 1537913 h 1779774"/>
                <a:gd name="connsiteX2882" fmla="*/ 340259 w 2299605"/>
                <a:gd name="connsiteY2882" fmla="*/ 1535630 h 1779774"/>
                <a:gd name="connsiteX2883" fmla="*/ 340259 w 2299605"/>
                <a:gd name="connsiteY2883" fmla="*/ 1533348 h 1779774"/>
                <a:gd name="connsiteX2884" fmla="*/ 342542 w 2299605"/>
                <a:gd name="connsiteY2884" fmla="*/ 1533348 h 1779774"/>
                <a:gd name="connsiteX2885" fmla="*/ 342542 w 2299605"/>
                <a:gd name="connsiteY2885" fmla="*/ 1531067 h 1779774"/>
                <a:gd name="connsiteX2886" fmla="*/ 344826 w 2299605"/>
                <a:gd name="connsiteY2886" fmla="*/ 1531067 h 1779774"/>
                <a:gd name="connsiteX2887" fmla="*/ 344826 w 2299605"/>
                <a:gd name="connsiteY2887" fmla="*/ 1528785 h 1779774"/>
                <a:gd name="connsiteX2888" fmla="*/ 347110 w 2299605"/>
                <a:gd name="connsiteY2888" fmla="*/ 1528785 h 1779774"/>
                <a:gd name="connsiteX2889" fmla="*/ 347110 w 2299605"/>
                <a:gd name="connsiteY2889" fmla="*/ 1526503 h 1779774"/>
                <a:gd name="connsiteX2890" fmla="*/ 349393 w 2299605"/>
                <a:gd name="connsiteY2890" fmla="*/ 1526503 h 1779774"/>
                <a:gd name="connsiteX2891" fmla="*/ 349393 w 2299605"/>
                <a:gd name="connsiteY2891" fmla="*/ 1524221 h 1779774"/>
                <a:gd name="connsiteX2892" fmla="*/ 349393 w 2299605"/>
                <a:gd name="connsiteY2892" fmla="*/ 1521939 h 1779774"/>
                <a:gd name="connsiteX2893" fmla="*/ 351677 w 2299605"/>
                <a:gd name="connsiteY2893" fmla="*/ 1521939 h 1779774"/>
                <a:gd name="connsiteX2894" fmla="*/ 351677 w 2299605"/>
                <a:gd name="connsiteY2894" fmla="*/ 1519657 h 1779774"/>
                <a:gd name="connsiteX2895" fmla="*/ 353960 w 2299605"/>
                <a:gd name="connsiteY2895" fmla="*/ 1519657 h 1779774"/>
                <a:gd name="connsiteX2896" fmla="*/ 356244 w 2299605"/>
                <a:gd name="connsiteY2896" fmla="*/ 1519657 h 1779774"/>
                <a:gd name="connsiteX2897" fmla="*/ 356244 w 2299605"/>
                <a:gd name="connsiteY2897" fmla="*/ 1517375 h 1779774"/>
                <a:gd name="connsiteX2898" fmla="*/ 358527 w 2299605"/>
                <a:gd name="connsiteY2898" fmla="*/ 1517375 h 1779774"/>
                <a:gd name="connsiteX2899" fmla="*/ 360811 w 2299605"/>
                <a:gd name="connsiteY2899" fmla="*/ 1517375 h 1779774"/>
                <a:gd name="connsiteX2900" fmla="*/ 360811 w 2299605"/>
                <a:gd name="connsiteY2900" fmla="*/ 1515093 h 1779774"/>
                <a:gd name="connsiteX2901" fmla="*/ 363096 w 2299605"/>
                <a:gd name="connsiteY2901" fmla="*/ 1515093 h 1779774"/>
                <a:gd name="connsiteX2902" fmla="*/ 365378 w 2299605"/>
                <a:gd name="connsiteY2902" fmla="*/ 1515093 h 1779774"/>
                <a:gd name="connsiteX2903" fmla="*/ 367662 w 2299605"/>
                <a:gd name="connsiteY2903" fmla="*/ 1515093 h 1779774"/>
                <a:gd name="connsiteX2904" fmla="*/ 367662 w 2299605"/>
                <a:gd name="connsiteY2904" fmla="*/ 1512812 h 1779774"/>
                <a:gd name="connsiteX2905" fmla="*/ 369945 w 2299605"/>
                <a:gd name="connsiteY2905" fmla="*/ 1512812 h 1779774"/>
                <a:gd name="connsiteX2906" fmla="*/ 372229 w 2299605"/>
                <a:gd name="connsiteY2906" fmla="*/ 1512812 h 1779774"/>
                <a:gd name="connsiteX2907" fmla="*/ 374514 w 2299605"/>
                <a:gd name="connsiteY2907" fmla="*/ 1512812 h 1779774"/>
                <a:gd name="connsiteX2908" fmla="*/ 374514 w 2299605"/>
                <a:gd name="connsiteY2908" fmla="*/ 1510530 h 1779774"/>
                <a:gd name="connsiteX2909" fmla="*/ 376797 w 2299605"/>
                <a:gd name="connsiteY2909" fmla="*/ 1510530 h 1779774"/>
                <a:gd name="connsiteX2910" fmla="*/ 379080 w 2299605"/>
                <a:gd name="connsiteY2910" fmla="*/ 1510530 h 1779774"/>
                <a:gd name="connsiteX2911" fmla="*/ 381363 w 2299605"/>
                <a:gd name="connsiteY2911" fmla="*/ 1510530 h 1779774"/>
                <a:gd name="connsiteX2912" fmla="*/ 383647 w 2299605"/>
                <a:gd name="connsiteY2912" fmla="*/ 1508248 h 1779774"/>
                <a:gd name="connsiteX2913" fmla="*/ 385931 w 2299605"/>
                <a:gd name="connsiteY2913" fmla="*/ 1508248 h 1779774"/>
                <a:gd name="connsiteX2914" fmla="*/ 388216 w 2299605"/>
                <a:gd name="connsiteY2914" fmla="*/ 1508248 h 1779774"/>
                <a:gd name="connsiteX2915" fmla="*/ 388216 w 2299605"/>
                <a:gd name="connsiteY2915" fmla="*/ 1505966 h 1779774"/>
                <a:gd name="connsiteX2916" fmla="*/ 390500 w 2299605"/>
                <a:gd name="connsiteY2916" fmla="*/ 1505966 h 1779774"/>
                <a:gd name="connsiteX2917" fmla="*/ 392783 w 2299605"/>
                <a:gd name="connsiteY2917" fmla="*/ 1505966 h 1779774"/>
                <a:gd name="connsiteX2918" fmla="*/ 395067 w 2299605"/>
                <a:gd name="connsiteY2918" fmla="*/ 1503684 h 1779774"/>
                <a:gd name="connsiteX2919" fmla="*/ 397351 w 2299605"/>
                <a:gd name="connsiteY2919" fmla="*/ 1503684 h 1779774"/>
                <a:gd name="connsiteX2920" fmla="*/ 399634 w 2299605"/>
                <a:gd name="connsiteY2920" fmla="*/ 1503684 h 1779774"/>
                <a:gd name="connsiteX2921" fmla="*/ 401918 w 2299605"/>
                <a:gd name="connsiteY2921" fmla="*/ 1503684 h 1779774"/>
                <a:gd name="connsiteX2922" fmla="*/ 404201 w 2299605"/>
                <a:gd name="connsiteY2922" fmla="*/ 1503684 h 1779774"/>
                <a:gd name="connsiteX2923" fmla="*/ 404201 w 2299605"/>
                <a:gd name="connsiteY2923" fmla="*/ 1501402 h 1779774"/>
                <a:gd name="connsiteX2924" fmla="*/ 406485 w 2299605"/>
                <a:gd name="connsiteY2924" fmla="*/ 1501402 h 1779774"/>
                <a:gd name="connsiteX2925" fmla="*/ 408768 w 2299605"/>
                <a:gd name="connsiteY2925" fmla="*/ 1501402 h 1779774"/>
                <a:gd name="connsiteX2926" fmla="*/ 411052 w 2299605"/>
                <a:gd name="connsiteY2926" fmla="*/ 1501402 h 1779774"/>
                <a:gd name="connsiteX2927" fmla="*/ 413336 w 2299605"/>
                <a:gd name="connsiteY2927" fmla="*/ 1501402 h 1779774"/>
                <a:gd name="connsiteX2928" fmla="*/ 415619 w 2299605"/>
                <a:gd name="connsiteY2928" fmla="*/ 1501402 h 1779774"/>
                <a:gd name="connsiteX2929" fmla="*/ 417903 w 2299605"/>
                <a:gd name="connsiteY2929" fmla="*/ 1501402 h 1779774"/>
                <a:gd name="connsiteX2930" fmla="*/ 420187 w 2299605"/>
                <a:gd name="connsiteY2930" fmla="*/ 1501402 h 1779774"/>
                <a:gd name="connsiteX2931" fmla="*/ 422470 w 2299605"/>
                <a:gd name="connsiteY2931" fmla="*/ 1501402 h 1779774"/>
                <a:gd name="connsiteX2932" fmla="*/ 424754 w 2299605"/>
                <a:gd name="connsiteY2932" fmla="*/ 1501402 h 1779774"/>
                <a:gd name="connsiteX2933" fmla="*/ 424754 w 2299605"/>
                <a:gd name="connsiteY2933" fmla="*/ 1499120 h 1779774"/>
                <a:gd name="connsiteX2934" fmla="*/ 427037 w 2299605"/>
                <a:gd name="connsiteY2934" fmla="*/ 1499120 h 1779774"/>
                <a:gd name="connsiteX2935" fmla="*/ 429321 w 2299605"/>
                <a:gd name="connsiteY2935" fmla="*/ 1499120 h 1779774"/>
                <a:gd name="connsiteX2936" fmla="*/ 431604 w 2299605"/>
                <a:gd name="connsiteY2936" fmla="*/ 1499120 h 1779774"/>
                <a:gd name="connsiteX2937" fmla="*/ 433888 w 2299605"/>
                <a:gd name="connsiteY2937" fmla="*/ 1499120 h 1779774"/>
                <a:gd name="connsiteX2938" fmla="*/ 436172 w 2299605"/>
                <a:gd name="connsiteY2938" fmla="*/ 1499120 h 1779774"/>
                <a:gd name="connsiteX2939" fmla="*/ 438455 w 2299605"/>
                <a:gd name="connsiteY2939" fmla="*/ 1499120 h 1779774"/>
                <a:gd name="connsiteX2940" fmla="*/ 440739 w 2299605"/>
                <a:gd name="connsiteY2940" fmla="*/ 1499120 h 1779774"/>
                <a:gd name="connsiteX2941" fmla="*/ 443022 w 2299605"/>
                <a:gd name="connsiteY2941" fmla="*/ 1499120 h 1779774"/>
                <a:gd name="connsiteX2942" fmla="*/ 445306 w 2299605"/>
                <a:gd name="connsiteY2942" fmla="*/ 1501402 h 1779774"/>
                <a:gd name="connsiteX2943" fmla="*/ 447590 w 2299605"/>
                <a:gd name="connsiteY2943" fmla="*/ 1501402 h 1779774"/>
                <a:gd name="connsiteX2944" fmla="*/ 449873 w 2299605"/>
                <a:gd name="connsiteY2944" fmla="*/ 1501402 h 1779774"/>
                <a:gd name="connsiteX2945" fmla="*/ 452157 w 2299605"/>
                <a:gd name="connsiteY2945" fmla="*/ 1501402 h 1779774"/>
                <a:gd name="connsiteX2946" fmla="*/ 454440 w 2299605"/>
                <a:gd name="connsiteY2946" fmla="*/ 1501402 h 1779774"/>
                <a:gd name="connsiteX2947" fmla="*/ 456724 w 2299605"/>
                <a:gd name="connsiteY2947" fmla="*/ 1503684 h 1779774"/>
                <a:gd name="connsiteX2948" fmla="*/ 459008 w 2299605"/>
                <a:gd name="connsiteY2948" fmla="*/ 1503684 h 1779774"/>
                <a:gd name="connsiteX2949" fmla="*/ 461291 w 2299605"/>
                <a:gd name="connsiteY2949" fmla="*/ 1503684 h 1779774"/>
                <a:gd name="connsiteX2950" fmla="*/ 461291 w 2299605"/>
                <a:gd name="connsiteY2950" fmla="*/ 1505966 h 1779774"/>
                <a:gd name="connsiteX2951" fmla="*/ 463575 w 2299605"/>
                <a:gd name="connsiteY2951" fmla="*/ 1505966 h 1779774"/>
                <a:gd name="connsiteX2952" fmla="*/ 465858 w 2299605"/>
                <a:gd name="connsiteY2952" fmla="*/ 1505966 h 1779774"/>
                <a:gd name="connsiteX2953" fmla="*/ 465858 w 2299605"/>
                <a:gd name="connsiteY2953" fmla="*/ 1508248 h 1779774"/>
                <a:gd name="connsiteX2954" fmla="*/ 468142 w 2299605"/>
                <a:gd name="connsiteY2954" fmla="*/ 1508248 h 1779774"/>
                <a:gd name="connsiteX2955" fmla="*/ 470426 w 2299605"/>
                <a:gd name="connsiteY2955" fmla="*/ 1508248 h 1779774"/>
                <a:gd name="connsiteX2956" fmla="*/ 470426 w 2299605"/>
                <a:gd name="connsiteY2956" fmla="*/ 1510530 h 1779774"/>
                <a:gd name="connsiteX2957" fmla="*/ 472709 w 2299605"/>
                <a:gd name="connsiteY2957" fmla="*/ 1510530 h 1779774"/>
                <a:gd name="connsiteX2958" fmla="*/ 472709 w 2299605"/>
                <a:gd name="connsiteY2958" fmla="*/ 1512812 h 1779774"/>
                <a:gd name="connsiteX2959" fmla="*/ 472709 w 2299605"/>
                <a:gd name="connsiteY2959" fmla="*/ 1515093 h 1779774"/>
                <a:gd name="connsiteX2960" fmla="*/ 474993 w 2299605"/>
                <a:gd name="connsiteY2960" fmla="*/ 1515093 h 1779774"/>
                <a:gd name="connsiteX2961" fmla="*/ 474993 w 2299605"/>
                <a:gd name="connsiteY2961" fmla="*/ 1517375 h 1779774"/>
                <a:gd name="connsiteX2962" fmla="*/ 477276 w 2299605"/>
                <a:gd name="connsiteY2962" fmla="*/ 1517375 h 1779774"/>
                <a:gd name="connsiteX2963" fmla="*/ 477276 w 2299605"/>
                <a:gd name="connsiteY2963" fmla="*/ 1519657 h 1779774"/>
                <a:gd name="connsiteX2964" fmla="*/ 479560 w 2299605"/>
                <a:gd name="connsiteY2964" fmla="*/ 1519657 h 1779774"/>
                <a:gd name="connsiteX2965" fmla="*/ 479560 w 2299605"/>
                <a:gd name="connsiteY2965" fmla="*/ 1521939 h 1779774"/>
                <a:gd name="connsiteX2966" fmla="*/ 481844 w 2299605"/>
                <a:gd name="connsiteY2966" fmla="*/ 1521939 h 1779774"/>
                <a:gd name="connsiteX2967" fmla="*/ 481844 w 2299605"/>
                <a:gd name="connsiteY2967" fmla="*/ 1524221 h 1779774"/>
                <a:gd name="connsiteX2968" fmla="*/ 484127 w 2299605"/>
                <a:gd name="connsiteY2968" fmla="*/ 1524221 h 1779774"/>
                <a:gd name="connsiteX2969" fmla="*/ 484127 w 2299605"/>
                <a:gd name="connsiteY2969" fmla="*/ 1526503 h 1779774"/>
                <a:gd name="connsiteX2970" fmla="*/ 484127 w 2299605"/>
                <a:gd name="connsiteY2970" fmla="*/ 1528785 h 1779774"/>
                <a:gd name="connsiteX2971" fmla="*/ 486411 w 2299605"/>
                <a:gd name="connsiteY2971" fmla="*/ 1528785 h 1779774"/>
                <a:gd name="connsiteX2972" fmla="*/ 488694 w 2299605"/>
                <a:gd name="connsiteY2972" fmla="*/ 1528785 h 1779774"/>
                <a:gd name="connsiteX2973" fmla="*/ 488694 w 2299605"/>
                <a:gd name="connsiteY2973" fmla="*/ 1531067 h 1779774"/>
                <a:gd name="connsiteX2974" fmla="*/ 488694 w 2299605"/>
                <a:gd name="connsiteY2974" fmla="*/ 1533348 h 1779774"/>
                <a:gd name="connsiteX2975" fmla="*/ 486411 w 2299605"/>
                <a:gd name="connsiteY2975" fmla="*/ 1533348 h 1779774"/>
                <a:gd name="connsiteX2976" fmla="*/ 486411 w 2299605"/>
                <a:gd name="connsiteY2976" fmla="*/ 1535630 h 1779774"/>
                <a:gd name="connsiteX2977" fmla="*/ 484127 w 2299605"/>
                <a:gd name="connsiteY2977" fmla="*/ 1535630 h 1779774"/>
                <a:gd name="connsiteX2978" fmla="*/ 481844 w 2299605"/>
                <a:gd name="connsiteY2978" fmla="*/ 1535630 h 1779774"/>
                <a:gd name="connsiteX2979" fmla="*/ 481844 w 2299605"/>
                <a:gd name="connsiteY2979" fmla="*/ 1537913 h 1779774"/>
                <a:gd name="connsiteX2980" fmla="*/ 479560 w 2299605"/>
                <a:gd name="connsiteY2980" fmla="*/ 1537913 h 1779774"/>
                <a:gd name="connsiteX2981" fmla="*/ 477276 w 2299605"/>
                <a:gd name="connsiteY2981" fmla="*/ 1537913 h 1779774"/>
                <a:gd name="connsiteX2982" fmla="*/ 477276 w 2299605"/>
                <a:gd name="connsiteY2982" fmla="*/ 1540194 h 1779774"/>
                <a:gd name="connsiteX2983" fmla="*/ 474993 w 2299605"/>
                <a:gd name="connsiteY2983" fmla="*/ 1540194 h 1779774"/>
                <a:gd name="connsiteX2984" fmla="*/ 474993 w 2299605"/>
                <a:gd name="connsiteY2984" fmla="*/ 1542476 h 1779774"/>
                <a:gd name="connsiteX2985" fmla="*/ 474993 w 2299605"/>
                <a:gd name="connsiteY2985" fmla="*/ 1544758 h 1779774"/>
                <a:gd name="connsiteX2986" fmla="*/ 474993 w 2299605"/>
                <a:gd name="connsiteY2986" fmla="*/ 1547031 h 1779774"/>
                <a:gd name="connsiteX2987" fmla="*/ 474993 w 2299605"/>
                <a:gd name="connsiteY2987" fmla="*/ 1549312 h 1779774"/>
                <a:gd name="connsiteX2988" fmla="*/ 477276 w 2299605"/>
                <a:gd name="connsiteY2988" fmla="*/ 1549312 h 1779774"/>
                <a:gd name="connsiteX2989" fmla="*/ 477276 w 2299605"/>
                <a:gd name="connsiteY2989" fmla="*/ 1551594 h 1779774"/>
                <a:gd name="connsiteX2990" fmla="*/ 479560 w 2299605"/>
                <a:gd name="connsiteY2990" fmla="*/ 1551594 h 1779774"/>
                <a:gd name="connsiteX2991" fmla="*/ 479560 w 2299605"/>
                <a:gd name="connsiteY2991" fmla="*/ 1553876 h 1779774"/>
                <a:gd name="connsiteX2992" fmla="*/ 479560 w 2299605"/>
                <a:gd name="connsiteY2992" fmla="*/ 1556158 h 1779774"/>
                <a:gd name="connsiteX2993" fmla="*/ 479560 w 2299605"/>
                <a:gd name="connsiteY2993" fmla="*/ 1558440 h 1779774"/>
                <a:gd name="connsiteX2994" fmla="*/ 481844 w 2299605"/>
                <a:gd name="connsiteY2994" fmla="*/ 1558440 h 1779774"/>
                <a:gd name="connsiteX2995" fmla="*/ 481844 w 2299605"/>
                <a:gd name="connsiteY2995" fmla="*/ 1560722 h 1779774"/>
                <a:gd name="connsiteX2996" fmla="*/ 484127 w 2299605"/>
                <a:gd name="connsiteY2996" fmla="*/ 1560722 h 1779774"/>
                <a:gd name="connsiteX2997" fmla="*/ 486411 w 2299605"/>
                <a:gd name="connsiteY2997" fmla="*/ 1560722 h 1779774"/>
                <a:gd name="connsiteX2998" fmla="*/ 486411 w 2299605"/>
                <a:gd name="connsiteY2998" fmla="*/ 1563004 h 1779774"/>
                <a:gd name="connsiteX2999" fmla="*/ 486411 w 2299605"/>
                <a:gd name="connsiteY2999" fmla="*/ 1565286 h 1779774"/>
                <a:gd name="connsiteX3000" fmla="*/ 486411 w 2299605"/>
                <a:gd name="connsiteY3000" fmla="*/ 1567567 h 1779774"/>
                <a:gd name="connsiteX3001" fmla="*/ 488694 w 2299605"/>
                <a:gd name="connsiteY3001" fmla="*/ 1567567 h 1779774"/>
                <a:gd name="connsiteX3002" fmla="*/ 488694 w 2299605"/>
                <a:gd name="connsiteY3002" fmla="*/ 1569849 h 1779774"/>
                <a:gd name="connsiteX3003" fmla="*/ 488694 w 2299605"/>
                <a:gd name="connsiteY3003" fmla="*/ 1572132 h 1779774"/>
                <a:gd name="connsiteX3004" fmla="*/ 488694 w 2299605"/>
                <a:gd name="connsiteY3004" fmla="*/ 1574413 h 1779774"/>
                <a:gd name="connsiteX3005" fmla="*/ 486411 w 2299605"/>
                <a:gd name="connsiteY3005" fmla="*/ 1574413 h 1779774"/>
                <a:gd name="connsiteX3006" fmla="*/ 486411 w 2299605"/>
                <a:gd name="connsiteY3006" fmla="*/ 1576695 h 1779774"/>
                <a:gd name="connsiteX3007" fmla="*/ 484127 w 2299605"/>
                <a:gd name="connsiteY3007" fmla="*/ 1576695 h 1779774"/>
                <a:gd name="connsiteX3008" fmla="*/ 484127 w 2299605"/>
                <a:gd name="connsiteY3008" fmla="*/ 1578977 h 1779774"/>
                <a:gd name="connsiteX3009" fmla="*/ 481844 w 2299605"/>
                <a:gd name="connsiteY3009" fmla="*/ 1578977 h 1779774"/>
                <a:gd name="connsiteX3010" fmla="*/ 479560 w 2299605"/>
                <a:gd name="connsiteY3010" fmla="*/ 1578977 h 1779774"/>
                <a:gd name="connsiteX3011" fmla="*/ 479560 w 2299605"/>
                <a:gd name="connsiteY3011" fmla="*/ 1581259 h 1779774"/>
                <a:gd name="connsiteX3012" fmla="*/ 479560 w 2299605"/>
                <a:gd name="connsiteY3012" fmla="*/ 1583541 h 1779774"/>
                <a:gd name="connsiteX3013" fmla="*/ 479560 w 2299605"/>
                <a:gd name="connsiteY3013" fmla="*/ 1585823 h 1779774"/>
                <a:gd name="connsiteX3014" fmla="*/ 477276 w 2299605"/>
                <a:gd name="connsiteY3014" fmla="*/ 1585823 h 1779774"/>
                <a:gd name="connsiteX3015" fmla="*/ 477276 w 2299605"/>
                <a:gd name="connsiteY3015" fmla="*/ 1588105 h 1779774"/>
                <a:gd name="connsiteX3016" fmla="*/ 477276 w 2299605"/>
                <a:gd name="connsiteY3016" fmla="*/ 1590387 h 1779774"/>
                <a:gd name="connsiteX3017" fmla="*/ 474993 w 2299605"/>
                <a:gd name="connsiteY3017" fmla="*/ 1588105 h 1779774"/>
                <a:gd name="connsiteX3018" fmla="*/ 474993 w 2299605"/>
                <a:gd name="connsiteY3018" fmla="*/ 1590387 h 1779774"/>
                <a:gd name="connsiteX3019" fmla="*/ 474993 w 2299605"/>
                <a:gd name="connsiteY3019" fmla="*/ 1592668 h 1779774"/>
                <a:gd name="connsiteX3020" fmla="*/ 474993 w 2299605"/>
                <a:gd name="connsiteY3020" fmla="*/ 1594950 h 1779774"/>
                <a:gd name="connsiteX3021" fmla="*/ 477276 w 2299605"/>
                <a:gd name="connsiteY3021" fmla="*/ 1594950 h 1779774"/>
                <a:gd name="connsiteX3022" fmla="*/ 477276 w 2299605"/>
                <a:gd name="connsiteY3022" fmla="*/ 1597232 h 1779774"/>
                <a:gd name="connsiteX3023" fmla="*/ 477276 w 2299605"/>
                <a:gd name="connsiteY3023" fmla="*/ 1599514 h 1779774"/>
                <a:gd name="connsiteX3024" fmla="*/ 479560 w 2299605"/>
                <a:gd name="connsiteY3024" fmla="*/ 1599514 h 1779774"/>
                <a:gd name="connsiteX3025" fmla="*/ 479560 w 2299605"/>
                <a:gd name="connsiteY3025" fmla="*/ 1601796 h 1779774"/>
                <a:gd name="connsiteX3026" fmla="*/ 479560 w 2299605"/>
                <a:gd name="connsiteY3026" fmla="*/ 1604078 h 1779774"/>
                <a:gd name="connsiteX3027" fmla="*/ 481844 w 2299605"/>
                <a:gd name="connsiteY3027" fmla="*/ 1604078 h 1779774"/>
                <a:gd name="connsiteX3028" fmla="*/ 481844 w 2299605"/>
                <a:gd name="connsiteY3028" fmla="*/ 1606360 h 1779774"/>
                <a:gd name="connsiteX3029" fmla="*/ 481844 w 2299605"/>
                <a:gd name="connsiteY3029" fmla="*/ 1608642 h 1779774"/>
                <a:gd name="connsiteX3030" fmla="*/ 479560 w 2299605"/>
                <a:gd name="connsiteY3030" fmla="*/ 1608642 h 1779774"/>
                <a:gd name="connsiteX3031" fmla="*/ 479560 w 2299605"/>
                <a:gd name="connsiteY3031" fmla="*/ 1610923 h 1779774"/>
                <a:gd name="connsiteX3032" fmla="*/ 477276 w 2299605"/>
                <a:gd name="connsiteY3032" fmla="*/ 1610923 h 1779774"/>
                <a:gd name="connsiteX3033" fmla="*/ 477276 w 2299605"/>
                <a:gd name="connsiteY3033" fmla="*/ 1613206 h 1779774"/>
                <a:gd name="connsiteX3034" fmla="*/ 479560 w 2299605"/>
                <a:gd name="connsiteY3034" fmla="*/ 1613206 h 1779774"/>
                <a:gd name="connsiteX3035" fmla="*/ 479560 w 2299605"/>
                <a:gd name="connsiteY3035" fmla="*/ 1615488 h 1779774"/>
                <a:gd name="connsiteX3036" fmla="*/ 477276 w 2299605"/>
                <a:gd name="connsiteY3036" fmla="*/ 1615488 h 1779774"/>
                <a:gd name="connsiteX3037" fmla="*/ 477276 w 2299605"/>
                <a:gd name="connsiteY3037" fmla="*/ 1617769 h 1779774"/>
                <a:gd name="connsiteX3038" fmla="*/ 479560 w 2299605"/>
                <a:gd name="connsiteY3038" fmla="*/ 1617769 h 1779774"/>
                <a:gd name="connsiteX3039" fmla="*/ 479560 w 2299605"/>
                <a:gd name="connsiteY3039" fmla="*/ 1620051 h 1779774"/>
                <a:gd name="connsiteX3040" fmla="*/ 481844 w 2299605"/>
                <a:gd name="connsiteY3040" fmla="*/ 1620051 h 1779774"/>
                <a:gd name="connsiteX3041" fmla="*/ 481844 w 2299605"/>
                <a:gd name="connsiteY3041" fmla="*/ 1622333 h 1779774"/>
                <a:gd name="connsiteX3042" fmla="*/ 481844 w 2299605"/>
                <a:gd name="connsiteY3042" fmla="*/ 1624615 h 1779774"/>
                <a:gd name="connsiteX3043" fmla="*/ 481844 w 2299605"/>
                <a:gd name="connsiteY3043" fmla="*/ 1626897 h 1779774"/>
                <a:gd name="connsiteX3044" fmla="*/ 484127 w 2299605"/>
                <a:gd name="connsiteY3044" fmla="*/ 1626897 h 1779774"/>
                <a:gd name="connsiteX3045" fmla="*/ 486411 w 2299605"/>
                <a:gd name="connsiteY3045" fmla="*/ 1626897 h 1779774"/>
                <a:gd name="connsiteX3046" fmla="*/ 486411 w 2299605"/>
                <a:gd name="connsiteY3046" fmla="*/ 1624615 h 1779774"/>
                <a:gd name="connsiteX3047" fmla="*/ 484127 w 2299605"/>
                <a:gd name="connsiteY3047" fmla="*/ 1624615 h 1779774"/>
                <a:gd name="connsiteX3048" fmla="*/ 484127 w 2299605"/>
                <a:gd name="connsiteY3048" fmla="*/ 1622333 h 1779774"/>
                <a:gd name="connsiteX3049" fmla="*/ 486411 w 2299605"/>
                <a:gd name="connsiteY3049" fmla="*/ 1622333 h 1779774"/>
                <a:gd name="connsiteX3050" fmla="*/ 488694 w 2299605"/>
                <a:gd name="connsiteY3050" fmla="*/ 1622333 h 1779774"/>
                <a:gd name="connsiteX3051" fmla="*/ 490978 w 2299605"/>
                <a:gd name="connsiteY3051" fmla="*/ 1622333 h 1779774"/>
                <a:gd name="connsiteX3052" fmla="*/ 490978 w 2299605"/>
                <a:gd name="connsiteY3052" fmla="*/ 1624615 h 1779774"/>
                <a:gd name="connsiteX3053" fmla="*/ 490978 w 2299605"/>
                <a:gd name="connsiteY3053" fmla="*/ 1626897 h 1779774"/>
                <a:gd name="connsiteX3054" fmla="*/ 493262 w 2299605"/>
                <a:gd name="connsiteY3054" fmla="*/ 1626897 h 1779774"/>
                <a:gd name="connsiteX3055" fmla="*/ 495545 w 2299605"/>
                <a:gd name="connsiteY3055" fmla="*/ 1626897 h 1779774"/>
                <a:gd name="connsiteX3056" fmla="*/ 495545 w 2299605"/>
                <a:gd name="connsiteY3056" fmla="*/ 1624615 h 1779774"/>
                <a:gd name="connsiteX3057" fmla="*/ 493262 w 2299605"/>
                <a:gd name="connsiteY3057" fmla="*/ 1624615 h 1779774"/>
                <a:gd name="connsiteX3058" fmla="*/ 493262 w 2299605"/>
                <a:gd name="connsiteY3058" fmla="*/ 1622333 h 1779774"/>
                <a:gd name="connsiteX3059" fmla="*/ 493262 w 2299605"/>
                <a:gd name="connsiteY3059" fmla="*/ 1620051 h 1779774"/>
                <a:gd name="connsiteX3060" fmla="*/ 495545 w 2299605"/>
                <a:gd name="connsiteY3060" fmla="*/ 1620051 h 1779774"/>
                <a:gd name="connsiteX3061" fmla="*/ 495545 w 2299605"/>
                <a:gd name="connsiteY3061" fmla="*/ 1617769 h 1779774"/>
                <a:gd name="connsiteX3062" fmla="*/ 497829 w 2299605"/>
                <a:gd name="connsiteY3062" fmla="*/ 1617769 h 1779774"/>
                <a:gd name="connsiteX3063" fmla="*/ 500112 w 2299605"/>
                <a:gd name="connsiteY3063" fmla="*/ 1617769 h 1779774"/>
                <a:gd name="connsiteX3064" fmla="*/ 502396 w 2299605"/>
                <a:gd name="connsiteY3064" fmla="*/ 1617769 h 1779774"/>
                <a:gd name="connsiteX3065" fmla="*/ 504680 w 2299605"/>
                <a:gd name="connsiteY3065" fmla="*/ 1617769 h 1779774"/>
                <a:gd name="connsiteX3066" fmla="*/ 504680 w 2299605"/>
                <a:gd name="connsiteY3066" fmla="*/ 1620051 h 1779774"/>
                <a:gd name="connsiteX3067" fmla="*/ 506963 w 2299605"/>
                <a:gd name="connsiteY3067" fmla="*/ 1620051 h 1779774"/>
                <a:gd name="connsiteX3068" fmla="*/ 506963 w 2299605"/>
                <a:gd name="connsiteY3068" fmla="*/ 1617769 h 1779774"/>
                <a:gd name="connsiteX3069" fmla="*/ 506963 w 2299605"/>
                <a:gd name="connsiteY3069" fmla="*/ 1615488 h 1779774"/>
                <a:gd name="connsiteX3070" fmla="*/ 509247 w 2299605"/>
                <a:gd name="connsiteY3070" fmla="*/ 1615488 h 1779774"/>
                <a:gd name="connsiteX3071" fmla="*/ 509247 w 2299605"/>
                <a:gd name="connsiteY3071" fmla="*/ 1613206 h 1779774"/>
                <a:gd name="connsiteX3072" fmla="*/ 509247 w 2299605"/>
                <a:gd name="connsiteY3072" fmla="*/ 1610923 h 1779774"/>
                <a:gd name="connsiteX3073" fmla="*/ 511530 w 2299605"/>
                <a:gd name="connsiteY3073" fmla="*/ 1610923 h 1779774"/>
                <a:gd name="connsiteX3074" fmla="*/ 513814 w 2299605"/>
                <a:gd name="connsiteY3074" fmla="*/ 1610923 h 1779774"/>
                <a:gd name="connsiteX3075" fmla="*/ 516098 w 2299605"/>
                <a:gd name="connsiteY3075" fmla="*/ 1610923 h 1779774"/>
                <a:gd name="connsiteX3076" fmla="*/ 518381 w 2299605"/>
                <a:gd name="connsiteY3076" fmla="*/ 1610923 h 1779774"/>
                <a:gd name="connsiteX3077" fmla="*/ 520665 w 2299605"/>
                <a:gd name="connsiteY3077" fmla="*/ 1610923 h 1779774"/>
                <a:gd name="connsiteX3078" fmla="*/ 522948 w 2299605"/>
                <a:gd name="connsiteY3078" fmla="*/ 1610923 h 1779774"/>
                <a:gd name="connsiteX3079" fmla="*/ 525232 w 2299605"/>
                <a:gd name="connsiteY3079" fmla="*/ 1610923 h 1779774"/>
                <a:gd name="connsiteX3080" fmla="*/ 527516 w 2299605"/>
                <a:gd name="connsiteY3080" fmla="*/ 1610923 h 1779774"/>
                <a:gd name="connsiteX3081" fmla="*/ 529799 w 2299605"/>
                <a:gd name="connsiteY3081" fmla="*/ 1610923 h 1779774"/>
                <a:gd name="connsiteX3082" fmla="*/ 532083 w 2299605"/>
                <a:gd name="connsiteY3082" fmla="*/ 1610923 h 1779774"/>
                <a:gd name="connsiteX3083" fmla="*/ 534366 w 2299605"/>
                <a:gd name="connsiteY3083" fmla="*/ 1610923 h 1779774"/>
                <a:gd name="connsiteX3084" fmla="*/ 534366 w 2299605"/>
                <a:gd name="connsiteY3084" fmla="*/ 1608642 h 1779774"/>
                <a:gd name="connsiteX3085" fmla="*/ 534366 w 2299605"/>
                <a:gd name="connsiteY3085" fmla="*/ 1606360 h 1779774"/>
                <a:gd name="connsiteX3086" fmla="*/ 536650 w 2299605"/>
                <a:gd name="connsiteY3086" fmla="*/ 1606360 h 1779774"/>
                <a:gd name="connsiteX3087" fmla="*/ 536650 w 2299605"/>
                <a:gd name="connsiteY3087" fmla="*/ 1604078 h 1779774"/>
                <a:gd name="connsiteX3088" fmla="*/ 538933 w 2299605"/>
                <a:gd name="connsiteY3088" fmla="*/ 1604078 h 1779774"/>
                <a:gd name="connsiteX3089" fmla="*/ 541217 w 2299605"/>
                <a:gd name="connsiteY3089" fmla="*/ 1604078 h 1779774"/>
                <a:gd name="connsiteX3090" fmla="*/ 543501 w 2299605"/>
                <a:gd name="connsiteY3090" fmla="*/ 1604078 h 1779774"/>
                <a:gd name="connsiteX3091" fmla="*/ 545784 w 2299605"/>
                <a:gd name="connsiteY3091" fmla="*/ 1604078 h 1779774"/>
                <a:gd name="connsiteX3092" fmla="*/ 548068 w 2299605"/>
                <a:gd name="connsiteY3092" fmla="*/ 1604078 h 1779774"/>
                <a:gd name="connsiteX3093" fmla="*/ 550352 w 2299605"/>
                <a:gd name="connsiteY3093" fmla="*/ 1604078 h 1779774"/>
                <a:gd name="connsiteX3094" fmla="*/ 550352 w 2299605"/>
                <a:gd name="connsiteY3094" fmla="*/ 1601796 h 1779774"/>
                <a:gd name="connsiteX3095" fmla="*/ 552635 w 2299605"/>
                <a:gd name="connsiteY3095" fmla="*/ 1601796 h 1779774"/>
                <a:gd name="connsiteX3096" fmla="*/ 554919 w 2299605"/>
                <a:gd name="connsiteY3096" fmla="*/ 1601796 h 1779774"/>
                <a:gd name="connsiteX3097" fmla="*/ 557202 w 2299605"/>
                <a:gd name="connsiteY3097" fmla="*/ 1601796 h 1779774"/>
                <a:gd name="connsiteX3098" fmla="*/ 559486 w 2299605"/>
                <a:gd name="connsiteY3098" fmla="*/ 1601796 h 1779774"/>
                <a:gd name="connsiteX3099" fmla="*/ 561769 w 2299605"/>
                <a:gd name="connsiteY3099" fmla="*/ 1604078 h 1779774"/>
                <a:gd name="connsiteX3100" fmla="*/ 564053 w 2299605"/>
                <a:gd name="connsiteY3100" fmla="*/ 1604078 h 1779774"/>
                <a:gd name="connsiteX3101" fmla="*/ 566337 w 2299605"/>
                <a:gd name="connsiteY3101" fmla="*/ 1604078 h 1779774"/>
                <a:gd name="connsiteX3102" fmla="*/ 566337 w 2299605"/>
                <a:gd name="connsiteY3102" fmla="*/ 1606360 h 1779774"/>
                <a:gd name="connsiteX3103" fmla="*/ 568620 w 2299605"/>
                <a:gd name="connsiteY3103" fmla="*/ 1606360 h 1779774"/>
                <a:gd name="connsiteX3104" fmla="*/ 570904 w 2299605"/>
                <a:gd name="connsiteY3104" fmla="*/ 1608642 h 1779774"/>
                <a:gd name="connsiteX3105" fmla="*/ 573187 w 2299605"/>
                <a:gd name="connsiteY3105" fmla="*/ 1608642 h 1779774"/>
                <a:gd name="connsiteX3106" fmla="*/ 573187 w 2299605"/>
                <a:gd name="connsiteY3106" fmla="*/ 1610923 h 1779774"/>
                <a:gd name="connsiteX3107" fmla="*/ 575471 w 2299605"/>
                <a:gd name="connsiteY3107" fmla="*/ 1610923 h 1779774"/>
                <a:gd name="connsiteX3108" fmla="*/ 577755 w 2299605"/>
                <a:gd name="connsiteY3108" fmla="*/ 1613206 h 1779774"/>
                <a:gd name="connsiteX3109" fmla="*/ 580038 w 2299605"/>
                <a:gd name="connsiteY3109" fmla="*/ 1615488 h 1779774"/>
                <a:gd name="connsiteX3110" fmla="*/ 582322 w 2299605"/>
                <a:gd name="connsiteY3110" fmla="*/ 1615488 h 1779774"/>
                <a:gd name="connsiteX3111" fmla="*/ 582322 w 2299605"/>
                <a:gd name="connsiteY3111" fmla="*/ 1617769 h 1779774"/>
                <a:gd name="connsiteX3112" fmla="*/ 584605 w 2299605"/>
                <a:gd name="connsiteY3112" fmla="*/ 1617769 h 1779774"/>
                <a:gd name="connsiteX3113" fmla="*/ 584605 w 2299605"/>
                <a:gd name="connsiteY3113" fmla="*/ 1620051 h 1779774"/>
                <a:gd name="connsiteX3114" fmla="*/ 584605 w 2299605"/>
                <a:gd name="connsiteY3114" fmla="*/ 1622333 h 1779774"/>
                <a:gd name="connsiteX3115" fmla="*/ 584605 w 2299605"/>
                <a:gd name="connsiteY3115" fmla="*/ 1624615 h 1779774"/>
                <a:gd name="connsiteX3116" fmla="*/ 582322 w 2299605"/>
                <a:gd name="connsiteY3116" fmla="*/ 1624615 h 1779774"/>
                <a:gd name="connsiteX3117" fmla="*/ 582322 w 2299605"/>
                <a:gd name="connsiteY3117" fmla="*/ 1626897 h 1779774"/>
                <a:gd name="connsiteX3118" fmla="*/ 584605 w 2299605"/>
                <a:gd name="connsiteY3118" fmla="*/ 1626897 h 1779774"/>
                <a:gd name="connsiteX3119" fmla="*/ 584605 w 2299605"/>
                <a:gd name="connsiteY3119" fmla="*/ 1629179 h 1779774"/>
                <a:gd name="connsiteX3120" fmla="*/ 586889 w 2299605"/>
                <a:gd name="connsiteY3120" fmla="*/ 1629179 h 1779774"/>
                <a:gd name="connsiteX3121" fmla="*/ 586889 w 2299605"/>
                <a:gd name="connsiteY3121" fmla="*/ 1631461 h 1779774"/>
                <a:gd name="connsiteX3122" fmla="*/ 589173 w 2299605"/>
                <a:gd name="connsiteY3122" fmla="*/ 1631461 h 1779774"/>
                <a:gd name="connsiteX3123" fmla="*/ 591456 w 2299605"/>
                <a:gd name="connsiteY3123" fmla="*/ 1631461 h 1779774"/>
                <a:gd name="connsiteX3124" fmla="*/ 593740 w 2299605"/>
                <a:gd name="connsiteY3124" fmla="*/ 1631461 h 1779774"/>
                <a:gd name="connsiteX3125" fmla="*/ 596023 w 2299605"/>
                <a:gd name="connsiteY3125" fmla="*/ 1631461 h 1779774"/>
                <a:gd name="connsiteX3126" fmla="*/ 598307 w 2299605"/>
                <a:gd name="connsiteY3126" fmla="*/ 1631461 h 1779774"/>
                <a:gd name="connsiteX3127" fmla="*/ 598307 w 2299605"/>
                <a:gd name="connsiteY3127" fmla="*/ 1629179 h 1779774"/>
                <a:gd name="connsiteX3128" fmla="*/ 600591 w 2299605"/>
                <a:gd name="connsiteY3128" fmla="*/ 1629179 h 1779774"/>
                <a:gd name="connsiteX3129" fmla="*/ 602874 w 2299605"/>
                <a:gd name="connsiteY3129" fmla="*/ 1629179 h 1779774"/>
                <a:gd name="connsiteX3130" fmla="*/ 605158 w 2299605"/>
                <a:gd name="connsiteY3130" fmla="*/ 1629179 h 1779774"/>
                <a:gd name="connsiteX3131" fmla="*/ 605158 w 2299605"/>
                <a:gd name="connsiteY3131" fmla="*/ 1631461 h 1779774"/>
                <a:gd name="connsiteX3132" fmla="*/ 607441 w 2299605"/>
                <a:gd name="connsiteY3132" fmla="*/ 1631461 h 1779774"/>
                <a:gd name="connsiteX3133" fmla="*/ 609725 w 2299605"/>
                <a:gd name="connsiteY3133" fmla="*/ 1631461 h 1779774"/>
                <a:gd name="connsiteX3134" fmla="*/ 609725 w 2299605"/>
                <a:gd name="connsiteY3134" fmla="*/ 1633743 h 1779774"/>
                <a:gd name="connsiteX3135" fmla="*/ 612009 w 2299605"/>
                <a:gd name="connsiteY3135" fmla="*/ 1633743 h 1779774"/>
                <a:gd name="connsiteX3136" fmla="*/ 614292 w 2299605"/>
                <a:gd name="connsiteY3136" fmla="*/ 1633743 h 1779774"/>
                <a:gd name="connsiteX3137" fmla="*/ 614292 w 2299605"/>
                <a:gd name="connsiteY3137" fmla="*/ 1636024 h 1779774"/>
                <a:gd name="connsiteX3138" fmla="*/ 616576 w 2299605"/>
                <a:gd name="connsiteY3138" fmla="*/ 1636024 h 1779774"/>
                <a:gd name="connsiteX3139" fmla="*/ 618859 w 2299605"/>
                <a:gd name="connsiteY3139" fmla="*/ 1636024 h 1779774"/>
                <a:gd name="connsiteX3140" fmla="*/ 621143 w 2299605"/>
                <a:gd name="connsiteY3140" fmla="*/ 1636024 h 1779774"/>
                <a:gd name="connsiteX3141" fmla="*/ 621143 w 2299605"/>
                <a:gd name="connsiteY3141" fmla="*/ 1633743 h 1779774"/>
                <a:gd name="connsiteX3142" fmla="*/ 623427 w 2299605"/>
                <a:gd name="connsiteY3142" fmla="*/ 1633743 h 1779774"/>
                <a:gd name="connsiteX3143" fmla="*/ 623427 w 2299605"/>
                <a:gd name="connsiteY3143" fmla="*/ 1631461 h 1779774"/>
                <a:gd name="connsiteX3144" fmla="*/ 623427 w 2299605"/>
                <a:gd name="connsiteY3144" fmla="*/ 1629179 h 1779774"/>
                <a:gd name="connsiteX3145" fmla="*/ 625710 w 2299605"/>
                <a:gd name="connsiteY3145" fmla="*/ 1629179 h 1779774"/>
                <a:gd name="connsiteX3146" fmla="*/ 627994 w 2299605"/>
                <a:gd name="connsiteY3146" fmla="*/ 1629179 h 1779774"/>
                <a:gd name="connsiteX3147" fmla="*/ 627994 w 2299605"/>
                <a:gd name="connsiteY3147" fmla="*/ 1626897 h 1779774"/>
                <a:gd name="connsiteX3148" fmla="*/ 627994 w 2299605"/>
                <a:gd name="connsiteY3148" fmla="*/ 1624615 h 1779774"/>
                <a:gd name="connsiteX3149" fmla="*/ 630277 w 2299605"/>
                <a:gd name="connsiteY3149" fmla="*/ 1624615 h 1779774"/>
                <a:gd name="connsiteX3150" fmla="*/ 632561 w 2299605"/>
                <a:gd name="connsiteY3150" fmla="*/ 1624615 h 1779774"/>
                <a:gd name="connsiteX3151" fmla="*/ 634845 w 2299605"/>
                <a:gd name="connsiteY3151" fmla="*/ 1624615 h 1779774"/>
                <a:gd name="connsiteX3152" fmla="*/ 634845 w 2299605"/>
                <a:gd name="connsiteY3152" fmla="*/ 1622333 h 1779774"/>
                <a:gd name="connsiteX3153" fmla="*/ 637128 w 2299605"/>
                <a:gd name="connsiteY3153" fmla="*/ 1622333 h 1779774"/>
                <a:gd name="connsiteX3154" fmla="*/ 637128 w 2299605"/>
                <a:gd name="connsiteY3154" fmla="*/ 1624615 h 1779774"/>
                <a:gd name="connsiteX3155" fmla="*/ 639412 w 2299605"/>
                <a:gd name="connsiteY3155" fmla="*/ 1624615 h 1779774"/>
                <a:gd name="connsiteX3156" fmla="*/ 641695 w 2299605"/>
                <a:gd name="connsiteY3156" fmla="*/ 1624615 h 1779774"/>
                <a:gd name="connsiteX3157" fmla="*/ 643979 w 2299605"/>
                <a:gd name="connsiteY3157" fmla="*/ 1624615 h 1779774"/>
                <a:gd name="connsiteX3158" fmla="*/ 643979 w 2299605"/>
                <a:gd name="connsiteY3158" fmla="*/ 1626897 h 1779774"/>
                <a:gd name="connsiteX3159" fmla="*/ 646262 w 2299605"/>
                <a:gd name="connsiteY3159" fmla="*/ 1626897 h 1779774"/>
                <a:gd name="connsiteX3160" fmla="*/ 646262 w 2299605"/>
                <a:gd name="connsiteY3160" fmla="*/ 1629179 h 1779774"/>
                <a:gd name="connsiteX3161" fmla="*/ 648546 w 2299605"/>
                <a:gd name="connsiteY3161" fmla="*/ 1629179 h 1779774"/>
                <a:gd name="connsiteX3162" fmla="*/ 648546 w 2299605"/>
                <a:gd name="connsiteY3162" fmla="*/ 1631461 h 1779774"/>
                <a:gd name="connsiteX3163" fmla="*/ 650830 w 2299605"/>
                <a:gd name="connsiteY3163" fmla="*/ 1631461 h 1779774"/>
                <a:gd name="connsiteX3164" fmla="*/ 653113 w 2299605"/>
                <a:gd name="connsiteY3164" fmla="*/ 1631461 h 1779774"/>
                <a:gd name="connsiteX3165" fmla="*/ 653113 w 2299605"/>
                <a:gd name="connsiteY3165" fmla="*/ 1633743 h 1779774"/>
                <a:gd name="connsiteX3166" fmla="*/ 655397 w 2299605"/>
                <a:gd name="connsiteY3166" fmla="*/ 1633743 h 1779774"/>
                <a:gd name="connsiteX3167" fmla="*/ 655397 w 2299605"/>
                <a:gd name="connsiteY3167" fmla="*/ 1636024 h 1779774"/>
                <a:gd name="connsiteX3168" fmla="*/ 657681 w 2299605"/>
                <a:gd name="connsiteY3168" fmla="*/ 1636024 h 1779774"/>
                <a:gd name="connsiteX3169" fmla="*/ 657681 w 2299605"/>
                <a:gd name="connsiteY3169" fmla="*/ 1638306 h 1779774"/>
                <a:gd name="connsiteX3170" fmla="*/ 657681 w 2299605"/>
                <a:gd name="connsiteY3170" fmla="*/ 1640588 h 1779774"/>
                <a:gd name="connsiteX3171" fmla="*/ 659964 w 2299605"/>
                <a:gd name="connsiteY3171" fmla="*/ 1640588 h 1779774"/>
                <a:gd name="connsiteX3172" fmla="*/ 659964 w 2299605"/>
                <a:gd name="connsiteY3172" fmla="*/ 1642870 h 1779774"/>
                <a:gd name="connsiteX3173" fmla="*/ 662248 w 2299605"/>
                <a:gd name="connsiteY3173" fmla="*/ 1642870 h 1779774"/>
                <a:gd name="connsiteX3174" fmla="*/ 662248 w 2299605"/>
                <a:gd name="connsiteY3174" fmla="*/ 1645152 h 1779774"/>
                <a:gd name="connsiteX3175" fmla="*/ 664531 w 2299605"/>
                <a:gd name="connsiteY3175" fmla="*/ 1645152 h 1779774"/>
                <a:gd name="connsiteX3176" fmla="*/ 664531 w 2299605"/>
                <a:gd name="connsiteY3176" fmla="*/ 1647434 h 1779774"/>
                <a:gd name="connsiteX3177" fmla="*/ 664531 w 2299605"/>
                <a:gd name="connsiteY3177" fmla="*/ 1649716 h 1779774"/>
                <a:gd name="connsiteX3178" fmla="*/ 666815 w 2299605"/>
                <a:gd name="connsiteY3178" fmla="*/ 1649716 h 1779774"/>
                <a:gd name="connsiteX3179" fmla="*/ 666815 w 2299605"/>
                <a:gd name="connsiteY3179" fmla="*/ 1651998 h 1779774"/>
                <a:gd name="connsiteX3180" fmla="*/ 669098 w 2299605"/>
                <a:gd name="connsiteY3180" fmla="*/ 1651998 h 1779774"/>
                <a:gd name="connsiteX3181" fmla="*/ 669098 w 2299605"/>
                <a:gd name="connsiteY3181" fmla="*/ 1654279 h 1779774"/>
                <a:gd name="connsiteX3182" fmla="*/ 669098 w 2299605"/>
                <a:gd name="connsiteY3182" fmla="*/ 1656562 h 1779774"/>
                <a:gd name="connsiteX3183" fmla="*/ 671382 w 2299605"/>
                <a:gd name="connsiteY3183" fmla="*/ 1656562 h 1779774"/>
                <a:gd name="connsiteX3184" fmla="*/ 671382 w 2299605"/>
                <a:gd name="connsiteY3184" fmla="*/ 1658844 h 1779774"/>
                <a:gd name="connsiteX3185" fmla="*/ 671382 w 2299605"/>
                <a:gd name="connsiteY3185" fmla="*/ 1661125 h 1779774"/>
                <a:gd name="connsiteX3186" fmla="*/ 673666 w 2299605"/>
                <a:gd name="connsiteY3186" fmla="*/ 1663407 h 1779774"/>
                <a:gd name="connsiteX3187" fmla="*/ 673666 w 2299605"/>
                <a:gd name="connsiteY3187" fmla="*/ 1665689 h 1779774"/>
                <a:gd name="connsiteX3188" fmla="*/ 673666 w 2299605"/>
                <a:gd name="connsiteY3188" fmla="*/ 1667971 h 1779774"/>
                <a:gd name="connsiteX3189" fmla="*/ 675949 w 2299605"/>
                <a:gd name="connsiteY3189" fmla="*/ 1667971 h 1779774"/>
                <a:gd name="connsiteX3190" fmla="*/ 675949 w 2299605"/>
                <a:gd name="connsiteY3190" fmla="*/ 1670253 h 1779774"/>
                <a:gd name="connsiteX3191" fmla="*/ 675949 w 2299605"/>
                <a:gd name="connsiteY3191" fmla="*/ 1672535 h 1779774"/>
                <a:gd name="connsiteX3192" fmla="*/ 675949 w 2299605"/>
                <a:gd name="connsiteY3192" fmla="*/ 1674817 h 1779774"/>
                <a:gd name="connsiteX3193" fmla="*/ 675949 w 2299605"/>
                <a:gd name="connsiteY3193" fmla="*/ 1677099 h 1779774"/>
                <a:gd name="connsiteX3194" fmla="*/ 673666 w 2299605"/>
                <a:gd name="connsiteY3194" fmla="*/ 1677099 h 1779774"/>
                <a:gd name="connsiteX3195" fmla="*/ 673666 w 2299605"/>
                <a:gd name="connsiteY3195" fmla="*/ 1679380 h 1779774"/>
                <a:gd name="connsiteX3196" fmla="*/ 671382 w 2299605"/>
                <a:gd name="connsiteY3196" fmla="*/ 1679380 h 1779774"/>
                <a:gd name="connsiteX3197" fmla="*/ 671382 w 2299605"/>
                <a:gd name="connsiteY3197" fmla="*/ 1681662 h 1779774"/>
                <a:gd name="connsiteX3198" fmla="*/ 669098 w 2299605"/>
                <a:gd name="connsiteY3198" fmla="*/ 1681662 h 1779774"/>
                <a:gd name="connsiteX3199" fmla="*/ 669098 w 2299605"/>
                <a:gd name="connsiteY3199" fmla="*/ 1683944 h 1779774"/>
                <a:gd name="connsiteX3200" fmla="*/ 669098 w 2299605"/>
                <a:gd name="connsiteY3200" fmla="*/ 1686226 h 1779774"/>
                <a:gd name="connsiteX3201" fmla="*/ 666815 w 2299605"/>
                <a:gd name="connsiteY3201" fmla="*/ 1686226 h 1779774"/>
                <a:gd name="connsiteX3202" fmla="*/ 666815 w 2299605"/>
                <a:gd name="connsiteY3202" fmla="*/ 1688508 h 1779774"/>
                <a:gd name="connsiteX3203" fmla="*/ 666815 w 2299605"/>
                <a:gd name="connsiteY3203" fmla="*/ 1690790 h 1779774"/>
                <a:gd name="connsiteX3204" fmla="*/ 666815 w 2299605"/>
                <a:gd name="connsiteY3204" fmla="*/ 1693072 h 1779774"/>
                <a:gd name="connsiteX3205" fmla="*/ 666815 w 2299605"/>
                <a:gd name="connsiteY3205" fmla="*/ 1695344 h 1779774"/>
                <a:gd name="connsiteX3206" fmla="*/ 664531 w 2299605"/>
                <a:gd name="connsiteY3206" fmla="*/ 1695344 h 1779774"/>
                <a:gd name="connsiteX3207" fmla="*/ 664531 w 2299605"/>
                <a:gd name="connsiteY3207" fmla="*/ 1697635 h 1779774"/>
                <a:gd name="connsiteX3208" fmla="*/ 662248 w 2299605"/>
                <a:gd name="connsiteY3208" fmla="*/ 1697635 h 1779774"/>
                <a:gd name="connsiteX3209" fmla="*/ 662248 w 2299605"/>
                <a:gd name="connsiteY3209" fmla="*/ 1699908 h 1779774"/>
                <a:gd name="connsiteX3210" fmla="*/ 662248 w 2299605"/>
                <a:gd name="connsiteY3210" fmla="*/ 1702190 h 1779774"/>
                <a:gd name="connsiteX3211" fmla="*/ 662248 w 2299605"/>
                <a:gd name="connsiteY3211" fmla="*/ 1704472 h 1779774"/>
                <a:gd name="connsiteX3212" fmla="*/ 659964 w 2299605"/>
                <a:gd name="connsiteY3212" fmla="*/ 1704472 h 1779774"/>
                <a:gd name="connsiteX3213" fmla="*/ 657681 w 2299605"/>
                <a:gd name="connsiteY3213" fmla="*/ 1704472 h 1779774"/>
                <a:gd name="connsiteX3214" fmla="*/ 655397 w 2299605"/>
                <a:gd name="connsiteY3214" fmla="*/ 1704472 h 1779774"/>
                <a:gd name="connsiteX3215" fmla="*/ 655397 w 2299605"/>
                <a:gd name="connsiteY3215" fmla="*/ 1706754 h 1779774"/>
                <a:gd name="connsiteX3216" fmla="*/ 653113 w 2299605"/>
                <a:gd name="connsiteY3216" fmla="*/ 1706754 h 1779774"/>
                <a:gd name="connsiteX3217" fmla="*/ 653113 w 2299605"/>
                <a:gd name="connsiteY3217" fmla="*/ 1709036 h 1779774"/>
                <a:gd name="connsiteX3218" fmla="*/ 653113 w 2299605"/>
                <a:gd name="connsiteY3218" fmla="*/ 1711318 h 1779774"/>
                <a:gd name="connsiteX3219" fmla="*/ 650830 w 2299605"/>
                <a:gd name="connsiteY3219" fmla="*/ 1711318 h 1779774"/>
                <a:gd name="connsiteX3220" fmla="*/ 650830 w 2299605"/>
                <a:gd name="connsiteY3220" fmla="*/ 1713599 h 1779774"/>
                <a:gd name="connsiteX3221" fmla="*/ 653113 w 2299605"/>
                <a:gd name="connsiteY3221" fmla="*/ 1713599 h 1779774"/>
                <a:gd name="connsiteX3222" fmla="*/ 655397 w 2299605"/>
                <a:gd name="connsiteY3222" fmla="*/ 1713599 h 1779774"/>
                <a:gd name="connsiteX3223" fmla="*/ 657681 w 2299605"/>
                <a:gd name="connsiteY3223" fmla="*/ 1711318 h 1779774"/>
                <a:gd name="connsiteX3224" fmla="*/ 657681 w 2299605"/>
                <a:gd name="connsiteY3224" fmla="*/ 1709036 h 1779774"/>
                <a:gd name="connsiteX3225" fmla="*/ 659964 w 2299605"/>
                <a:gd name="connsiteY3225" fmla="*/ 1711318 h 1779774"/>
                <a:gd name="connsiteX3226" fmla="*/ 662248 w 2299605"/>
                <a:gd name="connsiteY3226" fmla="*/ 1711318 h 1779774"/>
                <a:gd name="connsiteX3227" fmla="*/ 664531 w 2299605"/>
                <a:gd name="connsiteY3227" fmla="*/ 1711318 h 1779774"/>
                <a:gd name="connsiteX3228" fmla="*/ 666815 w 2299605"/>
                <a:gd name="connsiteY3228" fmla="*/ 1711318 h 1779774"/>
                <a:gd name="connsiteX3229" fmla="*/ 669098 w 2299605"/>
                <a:gd name="connsiteY3229" fmla="*/ 1711318 h 1779774"/>
                <a:gd name="connsiteX3230" fmla="*/ 669098 w 2299605"/>
                <a:gd name="connsiteY3230" fmla="*/ 1709036 h 1779774"/>
                <a:gd name="connsiteX3231" fmla="*/ 671382 w 2299605"/>
                <a:gd name="connsiteY3231" fmla="*/ 1709036 h 1779774"/>
                <a:gd name="connsiteX3232" fmla="*/ 671382 w 2299605"/>
                <a:gd name="connsiteY3232" fmla="*/ 1706754 h 1779774"/>
                <a:gd name="connsiteX3233" fmla="*/ 671382 w 2299605"/>
                <a:gd name="connsiteY3233" fmla="*/ 1704472 h 1779774"/>
                <a:gd name="connsiteX3234" fmla="*/ 673666 w 2299605"/>
                <a:gd name="connsiteY3234" fmla="*/ 1704472 h 1779774"/>
                <a:gd name="connsiteX3235" fmla="*/ 673666 w 2299605"/>
                <a:gd name="connsiteY3235" fmla="*/ 1706754 h 1779774"/>
                <a:gd name="connsiteX3236" fmla="*/ 675949 w 2299605"/>
                <a:gd name="connsiteY3236" fmla="*/ 1706754 h 1779774"/>
                <a:gd name="connsiteX3237" fmla="*/ 675949 w 2299605"/>
                <a:gd name="connsiteY3237" fmla="*/ 1704472 h 1779774"/>
                <a:gd name="connsiteX3238" fmla="*/ 678233 w 2299605"/>
                <a:gd name="connsiteY3238" fmla="*/ 1704472 h 1779774"/>
                <a:gd name="connsiteX3239" fmla="*/ 680516 w 2299605"/>
                <a:gd name="connsiteY3239" fmla="*/ 1704472 h 1779774"/>
                <a:gd name="connsiteX3240" fmla="*/ 682800 w 2299605"/>
                <a:gd name="connsiteY3240" fmla="*/ 1704472 h 1779774"/>
                <a:gd name="connsiteX3241" fmla="*/ 682800 w 2299605"/>
                <a:gd name="connsiteY3241" fmla="*/ 1702190 h 1779774"/>
                <a:gd name="connsiteX3242" fmla="*/ 685084 w 2299605"/>
                <a:gd name="connsiteY3242" fmla="*/ 1702190 h 1779774"/>
                <a:gd name="connsiteX3243" fmla="*/ 687367 w 2299605"/>
                <a:gd name="connsiteY3243" fmla="*/ 1702190 h 1779774"/>
                <a:gd name="connsiteX3244" fmla="*/ 687367 w 2299605"/>
                <a:gd name="connsiteY3244" fmla="*/ 1699908 h 1779774"/>
                <a:gd name="connsiteX3245" fmla="*/ 689651 w 2299605"/>
                <a:gd name="connsiteY3245" fmla="*/ 1699908 h 1779774"/>
                <a:gd name="connsiteX3246" fmla="*/ 689651 w 2299605"/>
                <a:gd name="connsiteY3246" fmla="*/ 1702190 h 1779774"/>
                <a:gd name="connsiteX3247" fmla="*/ 691935 w 2299605"/>
                <a:gd name="connsiteY3247" fmla="*/ 1702190 h 1779774"/>
                <a:gd name="connsiteX3248" fmla="*/ 694218 w 2299605"/>
                <a:gd name="connsiteY3248" fmla="*/ 1704472 h 1779774"/>
                <a:gd name="connsiteX3249" fmla="*/ 696502 w 2299605"/>
                <a:gd name="connsiteY3249" fmla="*/ 1704472 h 1779774"/>
                <a:gd name="connsiteX3250" fmla="*/ 696502 w 2299605"/>
                <a:gd name="connsiteY3250" fmla="*/ 1706754 h 1779774"/>
                <a:gd name="connsiteX3251" fmla="*/ 698785 w 2299605"/>
                <a:gd name="connsiteY3251" fmla="*/ 1709036 h 1779774"/>
                <a:gd name="connsiteX3252" fmla="*/ 701069 w 2299605"/>
                <a:gd name="connsiteY3252" fmla="*/ 1711318 h 1779774"/>
                <a:gd name="connsiteX3253" fmla="*/ 701069 w 2299605"/>
                <a:gd name="connsiteY3253" fmla="*/ 1713599 h 1779774"/>
                <a:gd name="connsiteX3254" fmla="*/ 701069 w 2299605"/>
                <a:gd name="connsiteY3254" fmla="*/ 1715881 h 1779774"/>
                <a:gd name="connsiteX3255" fmla="*/ 703352 w 2299605"/>
                <a:gd name="connsiteY3255" fmla="*/ 1715881 h 1779774"/>
                <a:gd name="connsiteX3256" fmla="*/ 703352 w 2299605"/>
                <a:gd name="connsiteY3256" fmla="*/ 1718163 h 1779774"/>
                <a:gd name="connsiteX3257" fmla="*/ 703352 w 2299605"/>
                <a:gd name="connsiteY3257" fmla="*/ 1720445 h 1779774"/>
                <a:gd name="connsiteX3258" fmla="*/ 705636 w 2299605"/>
                <a:gd name="connsiteY3258" fmla="*/ 1720445 h 1779774"/>
                <a:gd name="connsiteX3259" fmla="*/ 707920 w 2299605"/>
                <a:gd name="connsiteY3259" fmla="*/ 1720445 h 1779774"/>
                <a:gd name="connsiteX3260" fmla="*/ 710203 w 2299605"/>
                <a:gd name="connsiteY3260" fmla="*/ 1722727 h 1779774"/>
                <a:gd name="connsiteX3261" fmla="*/ 712487 w 2299605"/>
                <a:gd name="connsiteY3261" fmla="*/ 1722727 h 1779774"/>
                <a:gd name="connsiteX3262" fmla="*/ 714770 w 2299605"/>
                <a:gd name="connsiteY3262" fmla="*/ 1722727 h 1779774"/>
                <a:gd name="connsiteX3263" fmla="*/ 717054 w 2299605"/>
                <a:gd name="connsiteY3263" fmla="*/ 1722727 h 1779774"/>
                <a:gd name="connsiteX3264" fmla="*/ 719338 w 2299605"/>
                <a:gd name="connsiteY3264" fmla="*/ 1722727 h 1779774"/>
                <a:gd name="connsiteX3265" fmla="*/ 721621 w 2299605"/>
                <a:gd name="connsiteY3265" fmla="*/ 1722727 h 1779774"/>
                <a:gd name="connsiteX3266" fmla="*/ 721621 w 2299605"/>
                <a:gd name="connsiteY3266" fmla="*/ 1725009 h 1779774"/>
                <a:gd name="connsiteX3267" fmla="*/ 723905 w 2299605"/>
                <a:gd name="connsiteY3267" fmla="*/ 1725009 h 1779774"/>
                <a:gd name="connsiteX3268" fmla="*/ 726188 w 2299605"/>
                <a:gd name="connsiteY3268" fmla="*/ 1725009 h 1779774"/>
                <a:gd name="connsiteX3269" fmla="*/ 728472 w 2299605"/>
                <a:gd name="connsiteY3269" fmla="*/ 1725009 h 1779774"/>
                <a:gd name="connsiteX3270" fmla="*/ 730756 w 2299605"/>
                <a:gd name="connsiteY3270" fmla="*/ 1725009 h 1779774"/>
                <a:gd name="connsiteX3271" fmla="*/ 730756 w 2299605"/>
                <a:gd name="connsiteY3271" fmla="*/ 1727291 h 1779774"/>
                <a:gd name="connsiteX3272" fmla="*/ 733039 w 2299605"/>
                <a:gd name="connsiteY3272" fmla="*/ 1727291 h 1779774"/>
                <a:gd name="connsiteX3273" fmla="*/ 733039 w 2299605"/>
                <a:gd name="connsiteY3273" fmla="*/ 1729573 h 1779774"/>
                <a:gd name="connsiteX3274" fmla="*/ 735323 w 2299605"/>
                <a:gd name="connsiteY3274" fmla="*/ 1731854 h 1779774"/>
                <a:gd name="connsiteX3275" fmla="*/ 737606 w 2299605"/>
                <a:gd name="connsiteY3275" fmla="*/ 1731854 h 1779774"/>
                <a:gd name="connsiteX3276" fmla="*/ 737606 w 2299605"/>
                <a:gd name="connsiteY3276" fmla="*/ 1734137 h 1779774"/>
                <a:gd name="connsiteX3277" fmla="*/ 737606 w 2299605"/>
                <a:gd name="connsiteY3277" fmla="*/ 1736419 h 1779774"/>
                <a:gd name="connsiteX3278" fmla="*/ 739890 w 2299605"/>
                <a:gd name="connsiteY3278" fmla="*/ 1736419 h 1779774"/>
                <a:gd name="connsiteX3279" fmla="*/ 739890 w 2299605"/>
                <a:gd name="connsiteY3279" fmla="*/ 1738700 h 1779774"/>
                <a:gd name="connsiteX3280" fmla="*/ 742174 w 2299605"/>
                <a:gd name="connsiteY3280" fmla="*/ 1740982 h 1779774"/>
                <a:gd name="connsiteX3281" fmla="*/ 744457 w 2299605"/>
                <a:gd name="connsiteY3281" fmla="*/ 1740982 h 1779774"/>
                <a:gd name="connsiteX3282" fmla="*/ 746741 w 2299605"/>
                <a:gd name="connsiteY3282" fmla="*/ 1740982 h 1779774"/>
                <a:gd name="connsiteX3283" fmla="*/ 746741 w 2299605"/>
                <a:gd name="connsiteY3283" fmla="*/ 1743264 h 1779774"/>
                <a:gd name="connsiteX3284" fmla="*/ 749024 w 2299605"/>
                <a:gd name="connsiteY3284" fmla="*/ 1743264 h 1779774"/>
                <a:gd name="connsiteX3285" fmla="*/ 749024 w 2299605"/>
                <a:gd name="connsiteY3285" fmla="*/ 1745546 h 1779774"/>
                <a:gd name="connsiteX3286" fmla="*/ 751308 w 2299605"/>
                <a:gd name="connsiteY3286" fmla="*/ 1745546 h 1779774"/>
                <a:gd name="connsiteX3287" fmla="*/ 753592 w 2299605"/>
                <a:gd name="connsiteY3287" fmla="*/ 1745546 h 1779774"/>
                <a:gd name="connsiteX3288" fmla="*/ 755875 w 2299605"/>
                <a:gd name="connsiteY3288" fmla="*/ 1745546 h 1779774"/>
                <a:gd name="connsiteX3289" fmla="*/ 755875 w 2299605"/>
                <a:gd name="connsiteY3289" fmla="*/ 1747828 h 1779774"/>
                <a:gd name="connsiteX3290" fmla="*/ 758159 w 2299605"/>
                <a:gd name="connsiteY3290" fmla="*/ 1747828 h 1779774"/>
                <a:gd name="connsiteX3291" fmla="*/ 758159 w 2299605"/>
                <a:gd name="connsiteY3291" fmla="*/ 1750110 h 1779774"/>
                <a:gd name="connsiteX3292" fmla="*/ 758159 w 2299605"/>
                <a:gd name="connsiteY3292" fmla="*/ 1752392 h 1779774"/>
                <a:gd name="connsiteX3293" fmla="*/ 760442 w 2299605"/>
                <a:gd name="connsiteY3293" fmla="*/ 1752392 h 1779774"/>
                <a:gd name="connsiteX3294" fmla="*/ 760442 w 2299605"/>
                <a:gd name="connsiteY3294" fmla="*/ 1754674 h 1779774"/>
                <a:gd name="connsiteX3295" fmla="*/ 760442 w 2299605"/>
                <a:gd name="connsiteY3295" fmla="*/ 1756955 h 1779774"/>
                <a:gd name="connsiteX3296" fmla="*/ 762726 w 2299605"/>
                <a:gd name="connsiteY3296" fmla="*/ 1756955 h 1779774"/>
                <a:gd name="connsiteX3297" fmla="*/ 765010 w 2299605"/>
                <a:gd name="connsiteY3297" fmla="*/ 1756955 h 1779774"/>
                <a:gd name="connsiteX3298" fmla="*/ 767293 w 2299605"/>
                <a:gd name="connsiteY3298" fmla="*/ 1756955 h 1779774"/>
                <a:gd name="connsiteX3299" fmla="*/ 767293 w 2299605"/>
                <a:gd name="connsiteY3299" fmla="*/ 1754674 h 1779774"/>
                <a:gd name="connsiteX3300" fmla="*/ 769577 w 2299605"/>
                <a:gd name="connsiteY3300" fmla="*/ 1754674 h 1779774"/>
                <a:gd name="connsiteX3301" fmla="*/ 769577 w 2299605"/>
                <a:gd name="connsiteY3301" fmla="*/ 1756955 h 1779774"/>
                <a:gd name="connsiteX3302" fmla="*/ 771860 w 2299605"/>
                <a:gd name="connsiteY3302" fmla="*/ 1756955 h 1779774"/>
                <a:gd name="connsiteX3303" fmla="*/ 771860 w 2299605"/>
                <a:gd name="connsiteY3303" fmla="*/ 1759237 h 1779774"/>
                <a:gd name="connsiteX3304" fmla="*/ 771860 w 2299605"/>
                <a:gd name="connsiteY3304" fmla="*/ 1761519 h 1779774"/>
                <a:gd name="connsiteX3305" fmla="*/ 774144 w 2299605"/>
                <a:gd name="connsiteY3305" fmla="*/ 1761519 h 1779774"/>
                <a:gd name="connsiteX3306" fmla="*/ 774144 w 2299605"/>
                <a:gd name="connsiteY3306" fmla="*/ 1763801 h 1779774"/>
                <a:gd name="connsiteX3307" fmla="*/ 774144 w 2299605"/>
                <a:gd name="connsiteY3307" fmla="*/ 1766083 h 1779774"/>
                <a:gd name="connsiteX3308" fmla="*/ 776427 w 2299605"/>
                <a:gd name="connsiteY3308" fmla="*/ 1766083 h 1779774"/>
                <a:gd name="connsiteX3309" fmla="*/ 776427 w 2299605"/>
                <a:gd name="connsiteY3309" fmla="*/ 1768365 h 1779774"/>
                <a:gd name="connsiteX3310" fmla="*/ 778711 w 2299605"/>
                <a:gd name="connsiteY3310" fmla="*/ 1768365 h 1779774"/>
                <a:gd name="connsiteX3311" fmla="*/ 780995 w 2299605"/>
                <a:gd name="connsiteY3311" fmla="*/ 1768365 h 1779774"/>
                <a:gd name="connsiteX3312" fmla="*/ 783278 w 2299605"/>
                <a:gd name="connsiteY3312" fmla="*/ 1768365 h 1779774"/>
                <a:gd name="connsiteX3313" fmla="*/ 783278 w 2299605"/>
                <a:gd name="connsiteY3313" fmla="*/ 1766083 h 1779774"/>
                <a:gd name="connsiteX3314" fmla="*/ 785562 w 2299605"/>
                <a:gd name="connsiteY3314" fmla="*/ 1766083 h 1779774"/>
                <a:gd name="connsiteX3315" fmla="*/ 785562 w 2299605"/>
                <a:gd name="connsiteY3315" fmla="*/ 1763801 h 1779774"/>
                <a:gd name="connsiteX3316" fmla="*/ 785562 w 2299605"/>
                <a:gd name="connsiteY3316" fmla="*/ 1761519 h 1779774"/>
                <a:gd name="connsiteX3317" fmla="*/ 787845 w 2299605"/>
                <a:gd name="connsiteY3317" fmla="*/ 1761519 h 1779774"/>
                <a:gd name="connsiteX3318" fmla="*/ 787845 w 2299605"/>
                <a:gd name="connsiteY3318" fmla="*/ 1759237 h 1779774"/>
                <a:gd name="connsiteX3319" fmla="*/ 790129 w 2299605"/>
                <a:gd name="connsiteY3319" fmla="*/ 1759237 h 1779774"/>
                <a:gd name="connsiteX3320" fmla="*/ 790129 w 2299605"/>
                <a:gd name="connsiteY3320" fmla="*/ 1756955 h 1779774"/>
                <a:gd name="connsiteX3321" fmla="*/ 792413 w 2299605"/>
                <a:gd name="connsiteY3321" fmla="*/ 1756955 h 1779774"/>
                <a:gd name="connsiteX3322" fmla="*/ 794696 w 2299605"/>
                <a:gd name="connsiteY3322" fmla="*/ 1756955 h 1779774"/>
                <a:gd name="connsiteX3323" fmla="*/ 796980 w 2299605"/>
                <a:gd name="connsiteY3323" fmla="*/ 1756955 h 1779774"/>
                <a:gd name="connsiteX3324" fmla="*/ 799264 w 2299605"/>
                <a:gd name="connsiteY3324" fmla="*/ 1756955 h 1779774"/>
                <a:gd name="connsiteX3325" fmla="*/ 799264 w 2299605"/>
                <a:gd name="connsiteY3325" fmla="*/ 1759237 h 1779774"/>
                <a:gd name="connsiteX3326" fmla="*/ 801547 w 2299605"/>
                <a:gd name="connsiteY3326" fmla="*/ 1759237 h 1779774"/>
                <a:gd name="connsiteX3327" fmla="*/ 803831 w 2299605"/>
                <a:gd name="connsiteY3327" fmla="*/ 1759237 h 1779774"/>
                <a:gd name="connsiteX3328" fmla="*/ 806114 w 2299605"/>
                <a:gd name="connsiteY3328" fmla="*/ 1759237 h 1779774"/>
                <a:gd name="connsiteX3329" fmla="*/ 808398 w 2299605"/>
                <a:gd name="connsiteY3329" fmla="*/ 1759237 h 1779774"/>
                <a:gd name="connsiteX3330" fmla="*/ 810681 w 2299605"/>
                <a:gd name="connsiteY3330" fmla="*/ 1759237 h 1779774"/>
                <a:gd name="connsiteX3331" fmla="*/ 812965 w 2299605"/>
                <a:gd name="connsiteY3331" fmla="*/ 1759237 h 1779774"/>
                <a:gd name="connsiteX3332" fmla="*/ 812965 w 2299605"/>
                <a:gd name="connsiteY3332" fmla="*/ 1756955 h 1779774"/>
                <a:gd name="connsiteX3333" fmla="*/ 815249 w 2299605"/>
                <a:gd name="connsiteY3333" fmla="*/ 1756955 h 1779774"/>
                <a:gd name="connsiteX3334" fmla="*/ 817532 w 2299605"/>
                <a:gd name="connsiteY3334" fmla="*/ 1756955 h 1779774"/>
                <a:gd name="connsiteX3335" fmla="*/ 819816 w 2299605"/>
                <a:gd name="connsiteY3335" fmla="*/ 1756955 h 1779774"/>
                <a:gd name="connsiteX3336" fmla="*/ 822099 w 2299605"/>
                <a:gd name="connsiteY3336" fmla="*/ 1756955 h 1779774"/>
                <a:gd name="connsiteX3337" fmla="*/ 824383 w 2299605"/>
                <a:gd name="connsiteY3337" fmla="*/ 1756955 h 1779774"/>
                <a:gd name="connsiteX3338" fmla="*/ 826667 w 2299605"/>
                <a:gd name="connsiteY3338" fmla="*/ 1756955 h 1779774"/>
                <a:gd name="connsiteX3339" fmla="*/ 828950 w 2299605"/>
                <a:gd name="connsiteY3339" fmla="*/ 1756955 h 1779774"/>
                <a:gd name="connsiteX3340" fmla="*/ 828950 w 2299605"/>
                <a:gd name="connsiteY3340" fmla="*/ 1754674 h 1779774"/>
                <a:gd name="connsiteX3341" fmla="*/ 831234 w 2299605"/>
                <a:gd name="connsiteY3341" fmla="*/ 1754674 h 1779774"/>
                <a:gd name="connsiteX3342" fmla="*/ 833517 w 2299605"/>
                <a:gd name="connsiteY3342" fmla="*/ 1754674 h 1779774"/>
                <a:gd name="connsiteX3343" fmla="*/ 835801 w 2299605"/>
                <a:gd name="connsiteY3343" fmla="*/ 1754674 h 1779774"/>
                <a:gd name="connsiteX3344" fmla="*/ 838085 w 2299605"/>
                <a:gd name="connsiteY3344" fmla="*/ 1754674 h 1779774"/>
                <a:gd name="connsiteX3345" fmla="*/ 840368 w 2299605"/>
                <a:gd name="connsiteY3345" fmla="*/ 1754674 h 1779774"/>
                <a:gd name="connsiteX3346" fmla="*/ 840368 w 2299605"/>
                <a:gd name="connsiteY3346" fmla="*/ 1756955 h 1779774"/>
                <a:gd name="connsiteX3347" fmla="*/ 842652 w 2299605"/>
                <a:gd name="connsiteY3347" fmla="*/ 1756955 h 1779774"/>
                <a:gd name="connsiteX3348" fmla="*/ 844935 w 2299605"/>
                <a:gd name="connsiteY3348" fmla="*/ 1756955 h 1779774"/>
                <a:gd name="connsiteX3349" fmla="*/ 844935 w 2299605"/>
                <a:gd name="connsiteY3349" fmla="*/ 1754674 h 1779774"/>
                <a:gd name="connsiteX3350" fmla="*/ 847219 w 2299605"/>
                <a:gd name="connsiteY3350" fmla="*/ 1754674 h 1779774"/>
                <a:gd name="connsiteX3351" fmla="*/ 849503 w 2299605"/>
                <a:gd name="connsiteY3351" fmla="*/ 1754674 h 1779774"/>
                <a:gd name="connsiteX3352" fmla="*/ 851786 w 2299605"/>
                <a:gd name="connsiteY3352" fmla="*/ 1754674 h 1779774"/>
                <a:gd name="connsiteX3353" fmla="*/ 854070 w 2299605"/>
                <a:gd name="connsiteY3353" fmla="*/ 1754674 h 1779774"/>
                <a:gd name="connsiteX3354" fmla="*/ 854070 w 2299605"/>
                <a:gd name="connsiteY3354" fmla="*/ 1756955 h 1779774"/>
                <a:gd name="connsiteX3355" fmla="*/ 856353 w 2299605"/>
                <a:gd name="connsiteY3355" fmla="*/ 1756955 h 1779774"/>
                <a:gd name="connsiteX3356" fmla="*/ 856353 w 2299605"/>
                <a:gd name="connsiteY3356" fmla="*/ 1759237 h 1779774"/>
                <a:gd name="connsiteX3357" fmla="*/ 858637 w 2299605"/>
                <a:gd name="connsiteY3357" fmla="*/ 1759237 h 1779774"/>
                <a:gd name="connsiteX3358" fmla="*/ 858637 w 2299605"/>
                <a:gd name="connsiteY3358" fmla="*/ 1761519 h 1779774"/>
                <a:gd name="connsiteX3359" fmla="*/ 860921 w 2299605"/>
                <a:gd name="connsiteY3359" fmla="*/ 1761519 h 1779774"/>
                <a:gd name="connsiteX3360" fmla="*/ 863204 w 2299605"/>
                <a:gd name="connsiteY3360" fmla="*/ 1761519 h 1779774"/>
                <a:gd name="connsiteX3361" fmla="*/ 863204 w 2299605"/>
                <a:gd name="connsiteY3361" fmla="*/ 1763801 h 1779774"/>
                <a:gd name="connsiteX3362" fmla="*/ 865488 w 2299605"/>
                <a:gd name="connsiteY3362" fmla="*/ 1763801 h 1779774"/>
                <a:gd name="connsiteX3363" fmla="*/ 867771 w 2299605"/>
                <a:gd name="connsiteY3363" fmla="*/ 1763801 h 1779774"/>
                <a:gd name="connsiteX3364" fmla="*/ 867771 w 2299605"/>
                <a:gd name="connsiteY3364" fmla="*/ 1766083 h 1779774"/>
                <a:gd name="connsiteX3365" fmla="*/ 870055 w 2299605"/>
                <a:gd name="connsiteY3365" fmla="*/ 1766083 h 1779774"/>
                <a:gd name="connsiteX3366" fmla="*/ 870055 w 2299605"/>
                <a:gd name="connsiteY3366" fmla="*/ 1768365 h 1779774"/>
                <a:gd name="connsiteX3367" fmla="*/ 872339 w 2299605"/>
                <a:gd name="connsiteY3367" fmla="*/ 1768365 h 1779774"/>
                <a:gd name="connsiteX3368" fmla="*/ 872339 w 2299605"/>
                <a:gd name="connsiteY3368" fmla="*/ 1770647 h 1779774"/>
                <a:gd name="connsiteX3369" fmla="*/ 874622 w 2299605"/>
                <a:gd name="connsiteY3369" fmla="*/ 1770647 h 1779774"/>
                <a:gd name="connsiteX3370" fmla="*/ 874622 w 2299605"/>
                <a:gd name="connsiteY3370" fmla="*/ 1772929 h 1779774"/>
                <a:gd name="connsiteX3371" fmla="*/ 876906 w 2299605"/>
                <a:gd name="connsiteY3371" fmla="*/ 1772929 h 1779774"/>
                <a:gd name="connsiteX3372" fmla="*/ 879189 w 2299605"/>
                <a:gd name="connsiteY3372" fmla="*/ 1772929 h 1779774"/>
                <a:gd name="connsiteX3373" fmla="*/ 881473 w 2299605"/>
                <a:gd name="connsiteY3373" fmla="*/ 1772929 h 1779774"/>
                <a:gd name="connsiteX3374" fmla="*/ 881473 w 2299605"/>
                <a:gd name="connsiteY3374" fmla="*/ 1775211 h 1779774"/>
                <a:gd name="connsiteX3375" fmla="*/ 883756 w 2299605"/>
                <a:gd name="connsiteY3375" fmla="*/ 1775211 h 1779774"/>
                <a:gd name="connsiteX3376" fmla="*/ 886040 w 2299605"/>
                <a:gd name="connsiteY3376" fmla="*/ 1775211 h 1779774"/>
                <a:gd name="connsiteX3377" fmla="*/ 886040 w 2299605"/>
                <a:gd name="connsiteY3377" fmla="*/ 1777493 h 1779774"/>
                <a:gd name="connsiteX3378" fmla="*/ 888324 w 2299605"/>
                <a:gd name="connsiteY3378" fmla="*/ 1777493 h 1779774"/>
                <a:gd name="connsiteX3379" fmla="*/ 890607 w 2299605"/>
                <a:gd name="connsiteY3379" fmla="*/ 1777493 h 1779774"/>
                <a:gd name="connsiteX3380" fmla="*/ 892891 w 2299605"/>
                <a:gd name="connsiteY3380" fmla="*/ 1777493 h 1779774"/>
                <a:gd name="connsiteX3381" fmla="*/ 890607 w 2299605"/>
                <a:gd name="connsiteY3381" fmla="*/ 1779775 h 1779774"/>
                <a:gd name="connsiteX3382" fmla="*/ 892891 w 2299605"/>
                <a:gd name="connsiteY3382" fmla="*/ 1779775 h 1779774"/>
                <a:gd name="connsiteX3383" fmla="*/ 895174 w 2299605"/>
                <a:gd name="connsiteY3383" fmla="*/ 1779775 h 1779774"/>
                <a:gd name="connsiteX3384" fmla="*/ 897458 w 2299605"/>
                <a:gd name="connsiteY3384" fmla="*/ 1779775 h 1779774"/>
                <a:gd name="connsiteX3385" fmla="*/ 899742 w 2299605"/>
                <a:gd name="connsiteY3385" fmla="*/ 1779775 h 1779774"/>
                <a:gd name="connsiteX3386" fmla="*/ 902025 w 2299605"/>
                <a:gd name="connsiteY3386" fmla="*/ 1779775 h 1779774"/>
                <a:gd name="connsiteX3387" fmla="*/ 902025 w 2299605"/>
                <a:gd name="connsiteY3387" fmla="*/ 1777493 h 1779774"/>
                <a:gd name="connsiteX3388" fmla="*/ 902025 w 2299605"/>
                <a:gd name="connsiteY3388" fmla="*/ 1775211 h 1779774"/>
                <a:gd name="connsiteX3389" fmla="*/ 904309 w 2299605"/>
                <a:gd name="connsiteY3389" fmla="*/ 1775211 h 1779774"/>
                <a:gd name="connsiteX3390" fmla="*/ 906593 w 2299605"/>
                <a:gd name="connsiteY3390" fmla="*/ 1775211 h 1779774"/>
                <a:gd name="connsiteX3391" fmla="*/ 906593 w 2299605"/>
                <a:gd name="connsiteY3391" fmla="*/ 1772929 h 1779774"/>
                <a:gd name="connsiteX3392" fmla="*/ 906593 w 2299605"/>
                <a:gd name="connsiteY3392" fmla="*/ 1770647 h 1779774"/>
                <a:gd name="connsiteX3393" fmla="*/ 908876 w 2299605"/>
                <a:gd name="connsiteY3393" fmla="*/ 1770647 h 1779774"/>
                <a:gd name="connsiteX3394" fmla="*/ 911160 w 2299605"/>
                <a:gd name="connsiteY3394" fmla="*/ 1770647 h 1779774"/>
                <a:gd name="connsiteX3395" fmla="*/ 913443 w 2299605"/>
                <a:gd name="connsiteY3395" fmla="*/ 1770647 h 1779774"/>
                <a:gd name="connsiteX3396" fmla="*/ 915727 w 2299605"/>
                <a:gd name="connsiteY3396" fmla="*/ 1770647 h 1779774"/>
                <a:gd name="connsiteX3397" fmla="*/ 915727 w 2299605"/>
                <a:gd name="connsiteY3397" fmla="*/ 1768365 h 1779774"/>
                <a:gd name="connsiteX3398" fmla="*/ 918010 w 2299605"/>
                <a:gd name="connsiteY3398" fmla="*/ 1768365 h 1779774"/>
                <a:gd name="connsiteX3399" fmla="*/ 918010 w 2299605"/>
                <a:gd name="connsiteY3399" fmla="*/ 1766083 h 1779774"/>
                <a:gd name="connsiteX3400" fmla="*/ 918010 w 2299605"/>
                <a:gd name="connsiteY3400" fmla="*/ 1763801 h 1779774"/>
                <a:gd name="connsiteX3401" fmla="*/ 915727 w 2299605"/>
                <a:gd name="connsiteY3401" fmla="*/ 1763801 h 1779774"/>
                <a:gd name="connsiteX3402" fmla="*/ 913443 w 2299605"/>
                <a:gd name="connsiteY3402" fmla="*/ 1763801 h 1779774"/>
                <a:gd name="connsiteX3403" fmla="*/ 913443 w 2299605"/>
                <a:gd name="connsiteY3403" fmla="*/ 1761519 h 1779774"/>
                <a:gd name="connsiteX3404" fmla="*/ 911160 w 2299605"/>
                <a:gd name="connsiteY3404" fmla="*/ 1761519 h 1779774"/>
                <a:gd name="connsiteX3405" fmla="*/ 911160 w 2299605"/>
                <a:gd name="connsiteY3405" fmla="*/ 1759237 h 1779774"/>
                <a:gd name="connsiteX3406" fmla="*/ 911160 w 2299605"/>
                <a:gd name="connsiteY3406" fmla="*/ 1756955 h 1779774"/>
                <a:gd name="connsiteX3407" fmla="*/ 911160 w 2299605"/>
                <a:gd name="connsiteY3407" fmla="*/ 1752392 h 1779774"/>
                <a:gd name="connsiteX3408" fmla="*/ 913443 w 2299605"/>
                <a:gd name="connsiteY3408" fmla="*/ 1750110 h 1779774"/>
                <a:gd name="connsiteX3409" fmla="*/ 913443 w 2299605"/>
                <a:gd name="connsiteY3409" fmla="*/ 1747828 h 1779774"/>
                <a:gd name="connsiteX3410" fmla="*/ 915727 w 2299605"/>
                <a:gd name="connsiteY3410" fmla="*/ 1745546 h 1779774"/>
                <a:gd name="connsiteX3411" fmla="*/ 918010 w 2299605"/>
                <a:gd name="connsiteY3411" fmla="*/ 1743264 h 1779774"/>
                <a:gd name="connsiteX3412" fmla="*/ 918010 w 2299605"/>
                <a:gd name="connsiteY3412" fmla="*/ 1740982 h 1779774"/>
                <a:gd name="connsiteX3413" fmla="*/ 920294 w 2299605"/>
                <a:gd name="connsiteY3413" fmla="*/ 1740982 h 1779774"/>
                <a:gd name="connsiteX3414" fmla="*/ 920294 w 2299605"/>
                <a:gd name="connsiteY3414" fmla="*/ 1738700 h 1779774"/>
                <a:gd name="connsiteX3415" fmla="*/ 922578 w 2299605"/>
                <a:gd name="connsiteY3415" fmla="*/ 1736419 h 1779774"/>
                <a:gd name="connsiteX3416" fmla="*/ 924861 w 2299605"/>
                <a:gd name="connsiteY3416" fmla="*/ 1734137 h 1779774"/>
                <a:gd name="connsiteX3417" fmla="*/ 927145 w 2299605"/>
                <a:gd name="connsiteY3417" fmla="*/ 1731854 h 1779774"/>
                <a:gd name="connsiteX3418" fmla="*/ 933996 w 2299605"/>
                <a:gd name="connsiteY3418" fmla="*/ 1729573 h 1779774"/>
                <a:gd name="connsiteX3419" fmla="*/ 933996 w 2299605"/>
                <a:gd name="connsiteY3419" fmla="*/ 1727291 h 1779774"/>
                <a:gd name="connsiteX3420" fmla="*/ 936279 w 2299605"/>
                <a:gd name="connsiteY3420" fmla="*/ 1727291 h 1779774"/>
                <a:gd name="connsiteX3421" fmla="*/ 938563 w 2299605"/>
                <a:gd name="connsiteY3421" fmla="*/ 1725009 h 1779774"/>
                <a:gd name="connsiteX3422" fmla="*/ 940846 w 2299605"/>
                <a:gd name="connsiteY3422" fmla="*/ 1725009 h 1779774"/>
                <a:gd name="connsiteX3423" fmla="*/ 940846 w 2299605"/>
                <a:gd name="connsiteY3423" fmla="*/ 1722727 h 1779774"/>
                <a:gd name="connsiteX3424" fmla="*/ 943130 w 2299605"/>
                <a:gd name="connsiteY3424" fmla="*/ 1722727 h 1779774"/>
                <a:gd name="connsiteX3425" fmla="*/ 945414 w 2299605"/>
                <a:gd name="connsiteY3425" fmla="*/ 1722727 h 1779774"/>
                <a:gd name="connsiteX3426" fmla="*/ 945414 w 2299605"/>
                <a:gd name="connsiteY3426" fmla="*/ 1720445 h 1779774"/>
                <a:gd name="connsiteX3427" fmla="*/ 947697 w 2299605"/>
                <a:gd name="connsiteY3427" fmla="*/ 1720445 h 1779774"/>
                <a:gd name="connsiteX3428" fmla="*/ 949981 w 2299605"/>
                <a:gd name="connsiteY3428" fmla="*/ 1718163 h 1779774"/>
                <a:gd name="connsiteX3429" fmla="*/ 952264 w 2299605"/>
                <a:gd name="connsiteY3429" fmla="*/ 1718163 h 1779774"/>
                <a:gd name="connsiteX3430" fmla="*/ 954548 w 2299605"/>
                <a:gd name="connsiteY3430" fmla="*/ 1718163 h 1779774"/>
                <a:gd name="connsiteX3431" fmla="*/ 956832 w 2299605"/>
                <a:gd name="connsiteY3431" fmla="*/ 1715881 h 1779774"/>
                <a:gd name="connsiteX3432" fmla="*/ 959115 w 2299605"/>
                <a:gd name="connsiteY3432" fmla="*/ 1715881 h 1779774"/>
                <a:gd name="connsiteX3433" fmla="*/ 961399 w 2299605"/>
                <a:gd name="connsiteY3433" fmla="*/ 1715881 h 1779774"/>
                <a:gd name="connsiteX3434" fmla="*/ 963682 w 2299605"/>
                <a:gd name="connsiteY3434" fmla="*/ 1715881 h 1779774"/>
                <a:gd name="connsiteX3435" fmla="*/ 965966 w 2299605"/>
                <a:gd name="connsiteY3435" fmla="*/ 1715881 h 1779774"/>
                <a:gd name="connsiteX3436" fmla="*/ 968250 w 2299605"/>
                <a:gd name="connsiteY3436" fmla="*/ 1713599 h 1779774"/>
                <a:gd name="connsiteX3437" fmla="*/ 970533 w 2299605"/>
                <a:gd name="connsiteY3437" fmla="*/ 1713599 h 1779774"/>
                <a:gd name="connsiteX3438" fmla="*/ 970533 w 2299605"/>
                <a:gd name="connsiteY3438" fmla="*/ 1715881 h 1779774"/>
                <a:gd name="connsiteX3439" fmla="*/ 972817 w 2299605"/>
                <a:gd name="connsiteY3439" fmla="*/ 1715881 h 1779774"/>
                <a:gd name="connsiteX3440" fmla="*/ 972817 w 2299605"/>
                <a:gd name="connsiteY3440" fmla="*/ 1713599 h 1779774"/>
                <a:gd name="connsiteX3441" fmla="*/ 972817 w 2299605"/>
                <a:gd name="connsiteY3441" fmla="*/ 1711318 h 1779774"/>
                <a:gd name="connsiteX3442" fmla="*/ 970533 w 2299605"/>
                <a:gd name="connsiteY3442" fmla="*/ 1711318 h 1779774"/>
                <a:gd name="connsiteX3443" fmla="*/ 970533 w 2299605"/>
                <a:gd name="connsiteY3443" fmla="*/ 1709036 h 1779774"/>
                <a:gd name="connsiteX3444" fmla="*/ 972817 w 2299605"/>
                <a:gd name="connsiteY3444" fmla="*/ 1706754 h 1779774"/>
                <a:gd name="connsiteX3445" fmla="*/ 970533 w 2299605"/>
                <a:gd name="connsiteY3445" fmla="*/ 1706754 h 1779774"/>
                <a:gd name="connsiteX3446" fmla="*/ 970533 w 2299605"/>
                <a:gd name="connsiteY3446" fmla="*/ 1704472 h 1779774"/>
                <a:gd name="connsiteX3447" fmla="*/ 970533 w 2299605"/>
                <a:gd name="connsiteY3447" fmla="*/ 1702190 h 1779774"/>
                <a:gd name="connsiteX3448" fmla="*/ 972817 w 2299605"/>
                <a:gd name="connsiteY3448" fmla="*/ 1702190 h 1779774"/>
                <a:gd name="connsiteX3449" fmla="*/ 972817 w 2299605"/>
                <a:gd name="connsiteY3449" fmla="*/ 1699908 h 1779774"/>
                <a:gd name="connsiteX3450" fmla="*/ 975100 w 2299605"/>
                <a:gd name="connsiteY3450" fmla="*/ 1697635 h 1779774"/>
                <a:gd name="connsiteX3451" fmla="*/ 975100 w 2299605"/>
                <a:gd name="connsiteY3451" fmla="*/ 1695344 h 1779774"/>
                <a:gd name="connsiteX3452" fmla="*/ 977384 w 2299605"/>
                <a:gd name="connsiteY3452" fmla="*/ 1695344 h 1779774"/>
                <a:gd name="connsiteX3453" fmla="*/ 977384 w 2299605"/>
                <a:gd name="connsiteY3453" fmla="*/ 1693072 h 1779774"/>
                <a:gd name="connsiteX3454" fmla="*/ 979668 w 2299605"/>
                <a:gd name="connsiteY3454" fmla="*/ 1693072 h 1779774"/>
                <a:gd name="connsiteX3455" fmla="*/ 981951 w 2299605"/>
                <a:gd name="connsiteY3455" fmla="*/ 1693072 h 1779774"/>
                <a:gd name="connsiteX3456" fmla="*/ 981951 w 2299605"/>
                <a:gd name="connsiteY3456" fmla="*/ 1690790 h 1779774"/>
                <a:gd name="connsiteX3457" fmla="*/ 984235 w 2299605"/>
                <a:gd name="connsiteY3457" fmla="*/ 1690790 h 1779774"/>
                <a:gd name="connsiteX3458" fmla="*/ 986518 w 2299605"/>
                <a:gd name="connsiteY3458" fmla="*/ 1690790 h 1779774"/>
                <a:gd name="connsiteX3459" fmla="*/ 986518 w 2299605"/>
                <a:gd name="connsiteY3459" fmla="*/ 1688508 h 1779774"/>
                <a:gd name="connsiteX3460" fmla="*/ 988802 w 2299605"/>
                <a:gd name="connsiteY3460" fmla="*/ 1688508 h 1779774"/>
                <a:gd name="connsiteX3461" fmla="*/ 991086 w 2299605"/>
                <a:gd name="connsiteY3461" fmla="*/ 1688508 h 1779774"/>
                <a:gd name="connsiteX3462" fmla="*/ 991086 w 2299605"/>
                <a:gd name="connsiteY3462" fmla="*/ 1686226 h 1779774"/>
                <a:gd name="connsiteX3463" fmla="*/ 993369 w 2299605"/>
                <a:gd name="connsiteY3463" fmla="*/ 1686226 h 1779774"/>
                <a:gd name="connsiteX3464" fmla="*/ 995653 w 2299605"/>
                <a:gd name="connsiteY3464" fmla="*/ 1686226 h 1779774"/>
                <a:gd name="connsiteX3465" fmla="*/ 995653 w 2299605"/>
                <a:gd name="connsiteY3465" fmla="*/ 1683944 h 1779774"/>
                <a:gd name="connsiteX3466" fmla="*/ 997936 w 2299605"/>
                <a:gd name="connsiteY3466" fmla="*/ 1683944 h 1779774"/>
                <a:gd name="connsiteX3467" fmla="*/ 997936 w 2299605"/>
                <a:gd name="connsiteY3467" fmla="*/ 1681662 h 1779774"/>
                <a:gd name="connsiteX3468" fmla="*/ 1000220 w 2299605"/>
                <a:gd name="connsiteY3468" fmla="*/ 1681662 h 1779774"/>
                <a:gd name="connsiteX3469" fmla="*/ 1002504 w 2299605"/>
                <a:gd name="connsiteY3469" fmla="*/ 1681662 h 1779774"/>
                <a:gd name="connsiteX3470" fmla="*/ 1002504 w 2299605"/>
                <a:gd name="connsiteY3470" fmla="*/ 1679380 h 1779774"/>
                <a:gd name="connsiteX3471" fmla="*/ 1004787 w 2299605"/>
                <a:gd name="connsiteY3471" fmla="*/ 1677099 h 1779774"/>
                <a:gd name="connsiteX3472" fmla="*/ 1004787 w 2299605"/>
                <a:gd name="connsiteY3472" fmla="*/ 1674817 h 1779774"/>
                <a:gd name="connsiteX3473" fmla="*/ 1007071 w 2299605"/>
                <a:gd name="connsiteY3473" fmla="*/ 1674817 h 1779774"/>
                <a:gd name="connsiteX3474" fmla="*/ 1007071 w 2299605"/>
                <a:gd name="connsiteY3474" fmla="*/ 1672535 h 1779774"/>
                <a:gd name="connsiteX3475" fmla="*/ 1009354 w 2299605"/>
                <a:gd name="connsiteY3475" fmla="*/ 1672535 h 1779774"/>
                <a:gd name="connsiteX3476" fmla="*/ 1009354 w 2299605"/>
                <a:gd name="connsiteY3476" fmla="*/ 1670253 h 1779774"/>
                <a:gd name="connsiteX3477" fmla="*/ 1011638 w 2299605"/>
                <a:gd name="connsiteY3477" fmla="*/ 1670253 h 1779774"/>
                <a:gd name="connsiteX3478" fmla="*/ 1011638 w 2299605"/>
                <a:gd name="connsiteY3478" fmla="*/ 1667971 h 1779774"/>
                <a:gd name="connsiteX3479" fmla="*/ 1013922 w 2299605"/>
                <a:gd name="connsiteY3479" fmla="*/ 1667971 h 1779774"/>
                <a:gd name="connsiteX3480" fmla="*/ 1016205 w 2299605"/>
                <a:gd name="connsiteY3480" fmla="*/ 1667971 h 1779774"/>
                <a:gd name="connsiteX3481" fmla="*/ 1016205 w 2299605"/>
                <a:gd name="connsiteY3481" fmla="*/ 1665689 h 1779774"/>
                <a:gd name="connsiteX3482" fmla="*/ 1018489 w 2299605"/>
                <a:gd name="connsiteY3482" fmla="*/ 1665689 h 1779774"/>
                <a:gd name="connsiteX3483" fmla="*/ 1020772 w 2299605"/>
                <a:gd name="connsiteY3483" fmla="*/ 1665689 h 1779774"/>
                <a:gd name="connsiteX3484" fmla="*/ 1020772 w 2299605"/>
                <a:gd name="connsiteY3484" fmla="*/ 1663407 h 1779774"/>
                <a:gd name="connsiteX3485" fmla="*/ 1023056 w 2299605"/>
                <a:gd name="connsiteY3485" fmla="*/ 1663407 h 1779774"/>
                <a:gd name="connsiteX3486" fmla="*/ 1025340 w 2299605"/>
                <a:gd name="connsiteY3486" fmla="*/ 1663407 h 1779774"/>
                <a:gd name="connsiteX3487" fmla="*/ 1025340 w 2299605"/>
                <a:gd name="connsiteY3487" fmla="*/ 1661125 h 1779774"/>
                <a:gd name="connsiteX3488" fmla="*/ 1027623 w 2299605"/>
                <a:gd name="connsiteY3488" fmla="*/ 1661125 h 1779774"/>
                <a:gd name="connsiteX3489" fmla="*/ 1027623 w 2299605"/>
                <a:gd name="connsiteY3489" fmla="*/ 1658844 h 1779774"/>
                <a:gd name="connsiteX3490" fmla="*/ 1027623 w 2299605"/>
                <a:gd name="connsiteY3490" fmla="*/ 1656562 h 1779774"/>
                <a:gd name="connsiteX3491" fmla="*/ 1029907 w 2299605"/>
                <a:gd name="connsiteY3491" fmla="*/ 1656562 h 1779774"/>
                <a:gd name="connsiteX3492" fmla="*/ 1029907 w 2299605"/>
                <a:gd name="connsiteY3492" fmla="*/ 1654279 h 1779774"/>
                <a:gd name="connsiteX3493" fmla="*/ 1029907 w 2299605"/>
                <a:gd name="connsiteY3493" fmla="*/ 1651998 h 1779774"/>
                <a:gd name="connsiteX3494" fmla="*/ 1032190 w 2299605"/>
                <a:gd name="connsiteY3494" fmla="*/ 1651998 h 1779774"/>
                <a:gd name="connsiteX3495" fmla="*/ 1032190 w 2299605"/>
                <a:gd name="connsiteY3495" fmla="*/ 1649716 h 1779774"/>
                <a:gd name="connsiteX3496" fmla="*/ 1032190 w 2299605"/>
                <a:gd name="connsiteY3496" fmla="*/ 1647434 h 1779774"/>
                <a:gd name="connsiteX3497" fmla="*/ 1032190 w 2299605"/>
                <a:gd name="connsiteY3497" fmla="*/ 1645152 h 1779774"/>
                <a:gd name="connsiteX3498" fmla="*/ 1034474 w 2299605"/>
                <a:gd name="connsiteY3498" fmla="*/ 1645152 h 1779774"/>
                <a:gd name="connsiteX3499" fmla="*/ 1034474 w 2299605"/>
                <a:gd name="connsiteY3499" fmla="*/ 1642870 h 1779774"/>
                <a:gd name="connsiteX3500" fmla="*/ 1034474 w 2299605"/>
                <a:gd name="connsiteY3500" fmla="*/ 1640588 h 1779774"/>
                <a:gd name="connsiteX3501" fmla="*/ 1036757 w 2299605"/>
                <a:gd name="connsiteY3501" fmla="*/ 1640588 h 1779774"/>
                <a:gd name="connsiteX3502" fmla="*/ 1036757 w 2299605"/>
                <a:gd name="connsiteY3502" fmla="*/ 1638306 h 1779774"/>
                <a:gd name="connsiteX3503" fmla="*/ 1039041 w 2299605"/>
                <a:gd name="connsiteY3503" fmla="*/ 1638306 h 1779774"/>
                <a:gd name="connsiteX3504" fmla="*/ 1039041 w 2299605"/>
                <a:gd name="connsiteY3504" fmla="*/ 1636024 h 1779774"/>
                <a:gd name="connsiteX3505" fmla="*/ 1041325 w 2299605"/>
                <a:gd name="connsiteY3505" fmla="*/ 1636024 h 1779774"/>
                <a:gd name="connsiteX3506" fmla="*/ 1041325 w 2299605"/>
                <a:gd name="connsiteY3506" fmla="*/ 1633743 h 1779774"/>
                <a:gd name="connsiteX3507" fmla="*/ 1043608 w 2299605"/>
                <a:gd name="connsiteY3507" fmla="*/ 1633743 h 1779774"/>
                <a:gd name="connsiteX3508" fmla="*/ 1043608 w 2299605"/>
                <a:gd name="connsiteY3508" fmla="*/ 1631461 h 1779774"/>
                <a:gd name="connsiteX3509" fmla="*/ 1045892 w 2299605"/>
                <a:gd name="connsiteY3509" fmla="*/ 1631461 h 1779774"/>
                <a:gd name="connsiteX3510" fmla="*/ 1048175 w 2299605"/>
                <a:gd name="connsiteY3510" fmla="*/ 1631461 h 1779774"/>
                <a:gd name="connsiteX3511" fmla="*/ 1048175 w 2299605"/>
                <a:gd name="connsiteY3511" fmla="*/ 1629179 h 1779774"/>
                <a:gd name="connsiteX3512" fmla="*/ 1050459 w 2299605"/>
                <a:gd name="connsiteY3512" fmla="*/ 1629179 h 1779774"/>
                <a:gd name="connsiteX3513" fmla="*/ 1050459 w 2299605"/>
                <a:gd name="connsiteY3513" fmla="*/ 1626897 h 1779774"/>
                <a:gd name="connsiteX3514" fmla="*/ 1052743 w 2299605"/>
                <a:gd name="connsiteY3514" fmla="*/ 1626897 h 1779774"/>
                <a:gd name="connsiteX3515" fmla="*/ 1052743 w 2299605"/>
                <a:gd name="connsiteY3515" fmla="*/ 1624615 h 1779774"/>
                <a:gd name="connsiteX3516" fmla="*/ 1055026 w 2299605"/>
                <a:gd name="connsiteY3516" fmla="*/ 1624615 h 1779774"/>
                <a:gd name="connsiteX3517" fmla="*/ 1057310 w 2299605"/>
                <a:gd name="connsiteY3517" fmla="*/ 1624615 h 1779774"/>
                <a:gd name="connsiteX3518" fmla="*/ 1057310 w 2299605"/>
                <a:gd name="connsiteY3518" fmla="*/ 1622333 h 1779774"/>
                <a:gd name="connsiteX3519" fmla="*/ 1059594 w 2299605"/>
                <a:gd name="connsiteY3519" fmla="*/ 1622333 h 1779774"/>
                <a:gd name="connsiteX3520" fmla="*/ 1061877 w 2299605"/>
                <a:gd name="connsiteY3520" fmla="*/ 1622333 h 1779774"/>
                <a:gd name="connsiteX3521" fmla="*/ 1061877 w 2299605"/>
                <a:gd name="connsiteY3521" fmla="*/ 1620051 h 1779774"/>
                <a:gd name="connsiteX3522" fmla="*/ 1064161 w 2299605"/>
                <a:gd name="connsiteY3522" fmla="*/ 1620051 h 1779774"/>
                <a:gd name="connsiteX3523" fmla="*/ 1066444 w 2299605"/>
                <a:gd name="connsiteY3523" fmla="*/ 1620051 h 1779774"/>
                <a:gd name="connsiteX3524" fmla="*/ 1066444 w 2299605"/>
                <a:gd name="connsiteY3524" fmla="*/ 1617769 h 1779774"/>
                <a:gd name="connsiteX3525" fmla="*/ 1068728 w 2299605"/>
                <a:gd name="connsiteY3525" fmla="*/ 1617769 h 1779774"/>
                <a:gd name="connsiteX3526" fmla="*/ 1071011 w 2299605"/>
                <a:gd name="connsiteY3526" fmla="*/ 1617769 h 1779774"/>
                <a:gd name="connsiteX3527" fmla="*/ 1071011 w 2299605"/>
                <a:gd name="connsiteY3527" fmla="*/ 1615488 h 1779774"/>
                <a:gd name="connsiteX3528" fmla="*/ 1073295 w 2299605"/>
                <a:gd name="connsiteY3528" fmla="*/ 1615488 h 1779774"/>
                <a:gd name="connsiteX3529" fmla="*/ 1075579 w 2299605"/>
                <a:gd name="connsiteY3529" fmla="*/ 1615488 h 1779774"/>
                <a:gd name="connsiteX3530" fmla="*/ 1077862 w 2299605"/>
                <a:gd name="connsiteY3530" fmla="*/ 1615488 h 1779774"/>
                <a:gd name="connsiteX3531" fmla="*/ 1080146 w 2299605"/>
                <a:gd name="connsiteY3531" fmla="*/ 1615488 h 1779774"/>
                <a:gd name="connsiteX3532" fmla="*/ 1080146 w 2299605"/>
                <a:gd name="connsiteY3532" fmla="*/ 1613206 h 1779774"/>
                <a:gd name="connsiteX3533" fmla="*/ 1082429 w 2299605"/>
                <a:gd name="connsiteY3533" fmla="*/ 1613206 h 1779774"/>
                <a:gd name="connsiteX3534" fmla="*/ 1084713 w 2299605"/>
                <a:gd name="connsiteY3534" fmla="*/ 1613206 h 1779774"/>
                <a:gd name="connsiteX3535" fmla="*/ 1086997 w 2299605"/>
                <a:gd name="connsiteY3535" fmla="*/ 1613206 h 1779774"/>
                <a:gd name="connsiteX3536" fmla="*/ 1086997 w 2299605"/>
                <a:gd name="connsiteY3536" fmla="*/ 1610923 h 1779774"/>
                <a:gd name="connsiteX3537" fmla="*/ 1089280 w 2299605"/>
                <a:gd name="connsiteY3537" fmla="*/ 1610923 h 1779774"/>
                <a:gd name="connsiteX3538" fmla="*/ 1091564 w 2299605"/>
                <a:gd name="connsiteY3538" fmla="*/ 1610923 h 1779774"/>
                <a:gd name="connsiteX3539" fmla="*/ 1093847 w 2299605"/>
                <a:gd name="connsiteY3539" fmla="*/ 1610923 h 1779774"/>
                <a:gd name="connsiteX3540" fmla="*/ 1093847 w 2299605"/>
                <a:gd name="connsiteY3540" fmla="*/ 1608642 h 1779774"/>
                <a:gd name="connsiteX3541" fmla="*/ 1096140 w 2299605"/>
                <a:gd name="connsiteY3541" fmla="*/ 1608642 h 1779774"/>
                <a:gd name="connsiteX3542" fmla="*/ 1098415 w 2299605"/>
                <a:gd name="connsiteY3542" fmla="*/ 1608642 h 1779774"/>
                <a:gd name="connsiteX3543" fmla="*/ 1100698 w 2299605"/>
                <a:gd name="connsiteY3543" fmla="*/ 1608642 h 1779774"/>
                <a:gd name="connsiteX3544" fmla="*/ 1102982 w 2299605"/>
                <a:gd name="connsiteY3544" fmla="*/ 1608642 h 1779774"/>
                <a:gd name="connsiteX3545" fmla="*/ 1105265 w 2299605"/>
                <a:gd name="connsiteY3545" fmla="*/ 1608642 h 1779774"/>
                <a:gd name="connsiteX3546" fmla="*/ 1105265 w 2299605"/>
                <a:gd name="connsiteY3546" fmla="*/ 1606360 h 1779774"/>
                <a:gd name="connsiteX3547" fmla="*/ 1107549 w 2299605"/>
                <a:gd name="connsiteY3547" fmla="*/ 1606360 h 1779774"/>
                <a:gd name="connsiteX3548" fmla="*/ 1109842 w 2299605"/>
                <a:gd name="connsiteY3548" fmla="*/ 1606360 h 1779774"/>
                <a:gd name="connsiteX3549" fmla="*/ 1112116 w 2299605"/>
                <a:gd name="connsiteY3549" fmla="*/ 1606360 h 1779774"/>
                <a:gd name="connsiteX3550" fmla="*/ 1114400 w 2299605"/>
                <a:gd name="connsiteY3550" fmla="*/ 1606360 h 1779774"/>
                <a:gd name="connsiteX3551" fmla="*/ 1116693 w 2299605"/>
                <a:gd name="connsiteY3551" fmla="*/ 1606360 h 1779774"/>
                <a:gd name="connsiteX3552" fmla="*/ 1118967 w 2299605"/>
                <a:gd name="connsiteY3552" fmla="*/ 1606360 h 1779774"/>
                <a:gd name="connsiteX3553" fmla="*/ 1121260 w 2299605"/>
                <a:gd name="connsiteY3553" fmla="*/ 1606360 h 1779774"/>
                <a:gd name="connsiteX3554" fmla="*/ 1123544 w 2299605"/>
                <a:gd name="connsiteY3554" fmla="*/ 1606360 h 1779774"/>
                <a:gd name="connsiteX3555" fmla="*/ 1125827 w 2299605"/>
                <a:gd name="connsiteY3555" fmla="*/ 1606360 h 1779774"/>
                <a:gd name="connsiteX3556" fmla="*/ 1128101 w 2299605"/>
                <a:gd name="connsiteY3556" fmla="*/ 1606360 h 1779774"/>
                <a:gd name="connsiteX3557" fmla="*/ 1130394 w 2299605"/>
                <a:gd name="connsiteY3557" fmla="*/ 1606360 h 1779774"/>
                <a:gd name="connsiteX3558" fmla="*/ 1132669 w 2299605"/>
                <a:gd name="connsiteY3558" fmla="*/ 1606360 h 1779774"/>
                <a:gd name="connsiteX3559" fmla="*/ 1134962 w 2299605"/>
                <a:gd name="connsiteY3559" fmla="*/ 1606360 h 1779774"/>
                <a:gd name="connsiteX3560" fmla="*/ 1137245 w 2299605"/>
                <a:gd name="connsiteY3560" fmla="*/ 1606360 h 1779774"/>
                <a:gd name="connsiteX3561" fmla="*/ 1137245 w 2299605"/>
                <a:gd name="connsiteY3561" fmla="*/ 1608642 h 1779774"/>
                <a:gd name="connsiteX3562" fmla="*/ 1139529 w 2299605"/>
                <a:gd name="connsiteY3562" fmla="*/ 1608642 h 1779774"/>
                <a:gd name="connsiteX3563" fmla="*/ 1139529 w 2299605"/>
                <a:gd name="connsiteY3563" fmla="*/ 1606360 h 1779774"/>
                <a:gd name="connsiteX3564" fmla="*/ 1141803 w 2299605"/>
                <a:gd name="connsiteY3564" fmla="*/ 1606360 h 1779774"/>
                <a:gd name="connsiteX3565" fmla="*/ 1144096 w 2299605"/>
                <a:gd name="connsiteY3565" fmla="*/ 1606360 h 1779774"/>
                <a:gd name="connsiteX3566" fmla="*/ 1144096 w 2299605"/>
                <a:gd name="connsiteY3566" fmla="*/ 1608642 h 1779774"/>
                <a:gd name="connsiteX3567" fmla="*/ 1146380 w 2299605"/>
                <a:gd name="connsiteY3567" fmla="*/ 1608642 h 1779774"/>
                <a:gd name="connsiteX3568" fmla="*/ 1148663 w 2299605"/>
                <a:gd name="connsiteY3568" fmla="*/ 1608642 h 1779774"/>
                <a:gd name="connsiteX3569" fmla="*/ 1150947 w 2299605"/>
                <a:gd name="connsiteY3569" fmla="*/ 1608642 h 1779774"/>
                <a:gd name="connsiteX3570" fmla="*/ 1153230 w 2299605"/>
                <a:gd name="connsiteY3570" fmla="*/ 1608642 h 1779774"/>
                <a:gd name="connsiteX3571" fmla="*/ 1155504 w 2299605"/>
                <a:gd name="connsiteY3571" fmla="*/ 1608642 h 1779774"/>
                <a:gd name="connsiteX3572" fmla="*/ 1157798 w 2299605"/>
                <a:gd name="connsiteY3572" fmla="*/ 1608642 h 1779774"/>
                <a:gd name="connsiteX3573" fmla="*/ 1157798 w 2299605"/>
                <a:gd name="connsiteY3573" fmla="*/ 1610923 h 1779774"/>
                <a:gd name="connsiteX3574" fmla="*/ 1160081 w 2299605"/>
                <a:gd name="connsiteY3574" fmla="*/ 1610923 h 1779774"/>
                <a:gd name="connsiteX3575" fmla="*/ 1162365 w 2299605"/>
                <a:gd name="connsiteY3575" fmla="*/ 1610923 h 1779774"/>
                <a:gd name="connsiteX3576" fmla="*/ 1164648 w 2299605"/>
                <a:gd name="connsiteY3576" fmla="*/ 1610923 h 1779774"/>
                <a:gd name="connsiteX3577" fmla="*/ 1166932 w 2299605"/>
                <a:gd name="connsiteY3577" fmla="*/ 1610923 h 1779774"/>
                <a:gd name="connsiteX3578" fmla="*/ 1169216 w 2299605"/>
                <a:gd name="connsiteY3578" fmla="*/ 1610923 h 1779774"/>
                <a:gd name="connsiteX3579" fmla="*/ 1171499 w 2299605"/>
                <a:gd name="connsiteY3579" fmla="*/ 1610923 h 1779774"/>
                <a:gd name="connsiteX3580" fmla="*/ 1173783 w 2299605"/>
                <a:gd name="connsiteY3580" fmla="*/ 1610923 h 1779774"/>
                <a:gd name="connsiteX3581" fmla="*/ 1173783 w 2299605"/>
                <a:gd name="connsiteY3581" fmla="*/ 1613206 h 1779774"/>
                <a:gd name="connsiteX3582" fmla="*/ 1176066 w 2299605"/>
                <a:gd name="connsiteY3582" fmla="*/ 1613206 h 1779774"/>
                <a:gd name="connsiteX3583" fmla="*/ 1176066 w 2299605"/>
                <a:gd name="connsiteY3583" fmla="*/ 1610923 h 1779774"/>
                <a:gd name="connsiteX3584" fmla="*/ 1178350 w 2299605"/>
                <a:gd name="connsiteY3584" fmla="*/ 1610923 h 1779774"/>
                <a:gd name="connsiteX3585" fmla="*/ 1178350 w 2299605"/>
                <a:gd name="connsiteY3585" fmla="*/ 1608642 h 1779774"/>
                <a:gd name="connsiteX3586" fmla="*/ 1180634 w 2299605"/>
                <a:gd name="connsiteY3586" fmla="*/ 1608642 h 1779774"/>
                <a:gd name="connsiteX3587" fmla="*/ 1182917 w 2299605"/>
                <a:gd name="connsiteY3587" fmla="*/ 1608642 h 1779774"/>
                <a:gd name="connsiteX3588" fmla="*/ 1182917 w 2299605"/>
                <a:gd name="connsiteY3588" fmla="*/ 1606360 h 1779774"/>
                <a:gd name="connsiteX3589" fmla="*/ 1182917 w 2299605"/>
                <a:gd name="connsiteY3589" fmla="*/ 1604078 h 1779774"/>
                <a:gd name="connsiteX3590" fmla="*/ 1182917 w 2299605"/>
                <a:gd name="connsiteY3590" fmla="*/ 1601796 h 1779774"/>
                <a:gd name="connsiteX3591" fmla="*/ 1182917 w 2299605"/>
                <a:gd name="connsiteY3591" fmla="*/ 1599514 h 1779774"/>
                <a:gd name="connsiteX3592" fmla="*/ 1182917 w 2299605"/>
                <a:gd name="connsiteY3592" fmla="*/ 1597232 h 1779774"/>
                <a:gd name="connsiteX3593" fmla="*/ 1182917 w 2299605"/>
                <a:gd name="connsiteY3593" fmla="*/ 1594950 h 1779774"/>
                <a:gd name="connsiteX3594" fmla="*/ 1182917 w 2299605"/>
                <a:gd name="connsiteY3594" fmla="*/ 1592668 h 1779774"/>
                <a:gd name="connsiteX3595" fmla="*/ 1180634 w 2299605"/>
                <a:gd name="connsiteY3595" fmla="*/ 1592668 h 1779774"/>
                <a:gd name="connsiteX3596" fmla="*/ 1178350 w 2299605"/>
                <a:gd name="connsiteY3596" fmla="*/ 1592668 h 1779774"/>
                <a:gd name="connsiteX3597" fmla="*/ 1178350 w 2299605"/>
                <a:gd name="connsiteY3597" fmla="*/ 1590387 h 1779774"/>
                <a:gd name="connsiteX3598" fmla="*/ 1176066 w 2299605"/>
                <a:gd name="connsiteY3598" fmla="*/ 1590387 h 1779774"/>
                <a:gd name="connsiteX3599" fmla="*/ 1176066 w 2299605"/>
                <a:gd name="connsiteY3599" fmla="*/ 1588105 h 1779774"/>
                <a:gd name="connsiteX3600" fmla="*/ 1176066 w 2299605"/>
                <a:gd name="connsiteY3600" fmla="*/ 1585823 h 1779774"/>
                <a:gd name="connsiteX3601" fmla="*/ 1173783 w 2299605"/>
                <a:gd name="connsiteY3601" fmla="*/ 1585823 h 1779774"/>
                <a:gd name="connsiteX3602" fmla="*/ 1173783 w 2299605"/>
                <a:gd name="connsiteY3602" fmla="*/ 1583541 h 1779774"/>
                <a:gd name="connsiteX3603" fmla="*/ 1176066 w 2299605"/>
                <a:gd name="connsiteY3603" fmla="*/ 1583541 h 1779774"/>
                <a:gd name="connsiteX3604" fmla="*/ 1176066 w 2299605"/>
                <a:gd name="connsiteY3604" fmla="*/ 1581259 h 1779774"/>
                <a:gd name="connsiteX3605" fmla="*/ 1178350 w 2299605"/>
                <a:gd name="connsiteY3605" fmla="*/ 1581259 h 1779774"/>
                <a:gd name="connsiteX3606" fmla="*/ 1178350 w 2299605"/>
                <a:gd name="connsiteY3606" fmla="*/ 1578977 h 1779774"/>
                <a:gd name="connsiteX3607" fmla="*/ 1180634 w 2299605"/>
                <a:gd name="connsiteY3607" fmla="*/ 1578977 h 1779774"/>
                <a:gd name="connsiteX3608" fmla="*/ 1180634 w 2299605"/>
                <a:gd name="connsiteY3608" fmla="*/ 1576695 h 1779774"/>
                <a:gd name="connsiteX3609" fmla="*/ 1182917 w 2299605"/>
                <a:gd name="connsiteY3609" fmla="*/ 1576695 h 1779774"/>
                <a:gd name="connsiteX3610" fmla="*/ 1182917 w 2299605"/>
                <a:gd name="connsiteY3610" fmla="*/ 1574413 h 1779774"/>
                <a:gd name="connsiteX3611" fmla="*/ 1185201 w 2299605"/>
                <a:gd name="connsiteY3611" fmla="*/ 1574413 h 1779774"/>
                <a:gd name="connsiteX3612" fmla="*/ 1187484 w 2299605"/>
                <a:gd name="connsiteY3612" fmla="*/ 1574413 h 1779774"/>
                <a:gd name="connsiteX3613" fmla="*/ 1187484 w 2299605"/>
                <a:gd name="connsiteY3613" fmla="*/ 1572132 h 1779774"/>
                <a:gd name="connsiteX3614" fmla="*/ 1189768 w 2299605"/>
                <a:gd name="connsiteY3614" fmla="*/ 1572132 h 1779774"/>
                <a:gd name="connsiteX3615" fmla="*/ 1189768 w 2299605"/>
                <a:gd name="connsiteY3615" fmla="*/ 1569849 h 1779774"/>
                <a:gd name="connsiteX3616" fmla="*/ 1192052 w 2299605"/>
                <a:gd name="connsiteY3616" fmla="*/ 1569849 h 1779774"/>
                <a:gd name="connsiteX3617" fmla="*/ 1194335 w 2299605"/>
                <a:gd name="connsiteY3617" fmla="*/ 1569849 h 1779774"/>
                <a:gd name="connsiteX3618" fmla="*/ 1196619 w 2299605"/>
                <a:gd name="connsiteY3618" fmla="*/ 1569849 h 1779774"/>
                <a:gd name="connsiteX3619" fmla="*/ 1196619 w 2299605"/>
                <a:gd name="connsiteY3619" fmla="*/ 1567567 h 1779774"/>
                <a:gd name="connsiteX3620" fmla="*/ 1198902 w 2299605"/>
                <a:gd name="connsiteY3620" fmla="*/ 1567567 h 1779774"/>
                <a:gd name="connsiteX3621" fmla="*/ 1201186 w 2299605"/>
                <a:gd name="connsiteY3621" fmla="*/ 1567567 h 1779774"/>
                <a:gd name="connsiteX3622" fmla="*/ 1203469 w 2299605"/>
                <a:gd name="connsiteY3622" fmla="*/ 1567567 h 1779774"/>
                <a:gd name="connsiteX3623" fmla="*/ 1205753 w 2299605"/>
                <a:gd name="connsiteY3623" fmla="*/ 1567567 h 1779774"/>
                <a:gd name="connsiteX3624" fmla="*/ 1205753 w 2299605"/>
                <a:gd name="connsiteY3624" fmla="*/ 1565286 h 1779774"/>
                <a:gd name="connsiteX3625" fmla="*/ 1208037 w 2299605"/>
                <a:gd name="connsiteY3625" fmla="*/ 1565286 h 1779774"/>
                <a:gd name="connsiteX3626" fmla="*/ 1210320 w 2299605"/>
                <a:gd name="connsiteY3626" fmla="*/ 1565286 h 1779774"/>
                <a:gd name="connsiteX3627" fmla="*/ 1212604 w 2299605"/>
                <a:gd name="connsiteY3627" fmla="*/ 1565286 h 1779774"/>
                <a:gd name="connsiteX3628" fmla="*/ 1214888 w 2299605"/>
                <a:gd name="connsiteY3628" fmla="*/ 1565286 h 1779774"/>
                <a:gd name="connsiteX3629" fmla="*/ 1217171 w 2299605"/>
                <a:gd name="connsiteY3629" fmla="*/ 1565286 h 1779774"/>
                <a:gd name="connsiteX3630" fmla="*/ 1219455 w 2299605"/>
                <a:gd name="connsiteY3630" fmla="*/ 1565286 h 1779774"/>
                <a:gd name="connsiteX3631" fmla="*/ 1221738 w 2299605"/>
                <a:gd name="connsiteY3631" fmla="*/ 1565286 h 1779774"/>
                <a:gd name="connsiteX3632" fmla="*/ 1224022 w 2299605"/>
                <a:gd name="connsiteY3632" fmla="*/ 1565286 h 1779774"/>
                <a:gd name="connsiteX3633" fmla="*/ 1226306 w 2299605"/>
                <a:gd name="connsiteY3633" fmla="*/ 1565286 h 1779774"/>
                <a:gd name="connsiteX3634" fmla="*/ 1228589 w 2299605"/>
                <a:gd name="connsiteY3634" fmla="*/ 1565286 h 1779774"/>
                <a:gd name="connsiteX3635" fmla="*/ 1230873 w 2299605"/>
                <a:gd name="connsiteY3635" fmla="*/ 1565286 h 1779774"/>
                <a:gd name="connsiteX3636" fmla="*/ 1233156 w 2299605"/>
                <a:gd name="connsiteY3636" fmla="*/ 1565286 h 1779774"/>
                <a:gd name="connsiteX3637" fmla="*/ 1235440 w 2299605"/>
                <a:gd name="connsiteY3637" fmla="*/ 1565286 h 1779774"/>
                <a:gd name="connsiteX3638" fmla="*/ 1237723 w 2299605"/>
                <a:gd name="connsiteY3638" fmla="*/ 1565286 h 1779774"/>
                <a:gd name="connsiteX3639" fmla="*/ 1240007 w 2299605"/>
                <a:gd name="connsiteY3639" fmla="*/ 1565286 h 1779774"/>
                <a:gd name="connsiteX3640" fmla="*/ 1242291 w 2299605"/>
                <a:gd name="connsiteY3640" fmla="*/ 1565286 h 1779774"/>
                <a:gd name="connsiteX3641" fmla="*/ 1244574 w 2299605"/>
                <a:gd name="connsiteY3641" fmla="*/ 1565286 h 1779774"/>
                <a:gd name="connsiteX3642" fmla="*/ 1246858 w 2299605"/>
                <a:gd name="connsiteY3642" fmla="*/ 1565286 h 1779774"/>
                <a:gd name="connsiteX3643" fmla="*/ 1246858 w 2299605"/>
                <a:gd name="connsiteY3643" fmla="*/ 1567567 h 1779774"/>
                <a:gd name="connsiteX3644" fmla="*/ 1249141 w 2299605"/>
                <a:gd name="connsiteY3644" fmla="*/ 1567567 h 1779774"/>
                <a:gd name="connsiteX3645" fmla="*/ 1251425 w 2299605"/>
                <a:gd name="connsiteY3645" fmla="*/ 1567567 h 1779774"/>
                <a:gd name="connsiteX3646" fmla="*/ 1253709 w 2299605"/>
                <a:gd name="connsiteY3646" fmla="*/ 1567567 h 1779774"/>
                <a:gd name="connsiteX3647" fmla="*/ 1255992 w 2299605"/>
                <a:gd name="connsiteY3647" fmla="*/ 1567567 h 1779774"/>
                <a:gd name="connsiteX3648" fmla="*/ 1258276 w 2299605"/>
                <a:gd name="connsiteY3648" fmla="*/ 1567567 h 1779774"/>
                <a:gd name="connsiteX3649" fmla="*/ 1260559 w 2299605"/>
                <a:gd name="connsiteY3649" fmla="*/ 1567567 h 1779774"/>
                <a:gd name="connsiteX3650" fmla="*/ 1262843 w 2299605"/>
                <a:gd name="connsiteY3650" fmla="*/ 1567567 h 1779774"/>
                <a:gd name="connsiteX3651" fmla="*/ 1265127 w 2299605"/>
                <a:gd name="connsiteY3651" fmla="*/ 1567567 h 1779774"/>
                <a:gd name="connsiteX3652" fmla="*/ 1265127 w 2299605"/>
                <a:gd name="connsiteY3652" fmla="*/ 1569849 h 1779774"/>
                <a:gd name="connsiteX3653" fmla="*/ 1267410 w 2299605"/>
                <a:gd name="connsiteY3653" fmla="*/ 1569849 h 1779774"/>
                <a:gd name="connsiteX3654" fmla="*/ 1269694 w 2299605"/>
                <a:gd name="connsiteY3654" fmla="*/ 1569849 h 1779774"/>
                <a:gd name="connsiteX3655" fmla="*/ 1271977 w 2299605"/>
                <a:gd name="connsiteY3655" fmla="*/ 1569849 h 1779774"/>
                <a:gd name="connsiteX3656" fmla="*/ 1274261 w 2299605"/>
                <a:gd name="connsiteY3656" fmla="*/ 1569849 h 1779774"/>
                <a:gd name="connsiteX3657" fmla="*/ 1276545 w 2299605"/>
                <a:gd name="connsiteY3657" fmla="*/ 1569849 h 1779774"/>
                <a:gd name="connsiteX3658" fmla="*/ 1276545 w 2299605"/>
                <a:gd name="connsiteY3658" fmla="*/ 1572132 h 1779774"/>
                <a:gd name="connsiteX3659" fmla="*/ 1278828 w 2299605"/>
                <a:gd name="connsiteY3659" fmla="*/ 1572132 h 1779774"/>
                <a:gd name="connsiteX3660" fmla="*/ 1281112 w 2299605"/>
                <a:gd name="connsiteY3660" fmla="*/ 1572132 h 1779774"/>
                <a:gd name="connsiteX3661" fmla="*/ 1283395 w 2299605"/>
                <a:gd name="connsiteY3661" fmla="*/ 1572132 h 1779774"/>
                <a:gd name="connsiteX3662" fmla="*/ 1283395 w 2299605"/>
                <a:gd name="connsiteY3662" fmla="*/ 1574413 h 1779774"/>
                <a:gd name="connsiteX3663" fmla="*/ 1285679 w 2299605"/>
                <a:gd name="connsiteY3663" fmla="*/ 1574413 h 1779774"/>
                <a:gd name="connsiteX3664" fmla="*/ 1287963 w 2299605"/>
                <a:gd name="connsiteY3664" fmla="*/ 1574413 h 1779774"/>
                <a:gd name="connsiteX3665" fmla="*/ 1290246 w 2299605"/>
                <a:gd name="connsiteY3665" fmla="*/ 1574413 h 1779774"/>
                <a:gd name="connsiteX3666" fmla="*/ 1290246 w 2299605"/>
                <a:gd name="connsiteY3666" fmla="*/ 1576695 h 1779774"/>
                <a:gd name="connsiteX3667" fmla="*/ 1292530 w 2299605"/>
                <a:gd name="connsiteY3667" fmla="*/ 1576695 h 1779774"/>
                <a:gd name="connsiteX3668" fmla="*/ 1294813 w 2299605"/>
                <a:gd name="connsiteY3668" fmla="*/ 1576695 h 1779774"/>
                <a:gd name="connsiteX3669" fmla="*/ 1297097 w 2299605"/>
                <a:gd name="connsiteY3669" fmla="*/ 1576695 h 1779774"/>
                <a:gd name="connsiteX3670" fmla="*/ 1297097 w 2299605"/>
                <a:gd name="connsiteY3670" fmla="*/ 1578977 h 1779774"/>
                <a:gd name="connsiteX3671" fmla="*/ 1299381 w 2299605"/>
                <a:gd name="connsiteY3671" fmla="*/ 1578977 h 1779774"/>
                <a:gd name="connsiteX3672" fmla="*/ 1299381 w 2299605"/>
                <a:gd name="connsiteY3672" fmla="*/ 1581259 h 1779774"/>
                <a:gd name="connsiteX3673" fmla="*/ 1301664 w 2299605"/>
                <a:gd name="connsiteY3673" fmla="*/ 1581259 h 1779774"/>
                <a:gd name="connsiteX3674" fmla="*/ 1303948 w 2299605"/>
                <a:gd name="connsiteY3674" fmla="*/ 1581259 h 1779774"/>
                <a:gd name="connsiteX3675" fmla="*/ 1306231 w 2299605"/>
                <a:gd name="connsiteY3675" fmla="*/ 1581259 h 1779774"/>
                <a:gd name="connsiteX3676" fmla="*/ 1306231 w 2299605"/>
                <a:gd name="connsiteY3676" fmla="*/ 1583541 h 1779774"/>
                <a:gd name="connsiteX3677" fmla="*/ 1308515 w 2299605"/>
                <a:gd name="connsiteY3677" fmla="*/ 1583541 h 1779774"/>
                <a:gd name="connsiteX3678" fmla="*/ 1308515 w 2299605"/>
                <a:gd name="connsiteY3678" fmla="*/ 1581259 h 1779774"/>
                <a:gd name="connsiteX3679" fmla="*/ 1310799 w 2299605"/>
                <a:gd name="connsiteY3679" fmla="*/ 1581259 h 1779774"/>
                <a:gd name="connsiteX3680" fmla="*/ 1310799 w 2299605"/>
                <a:gd name="connsiteY3680" fmla="*/ 1583541 h 1779774"/>
                <a:gd name="connsiteX3681" fmla="*/ 1313082 w 2299605"/>
                <a:gd name="connsiteY3681" fmla="*/ 1583541 h 1779774"/>
                <a:gd name="connsiteX3682" fmla="*/ 1315366 w 2299605"/>
                <a:gd name="connsiteY3682" fmla="*/ 1583541 h 1779774"/>
                <a:gd name="connsiteX3683" fmla="*/ 1317649 w 2299605"/>
                <a:gd name="connsiteY3683" fmla="*/ 1583541 h 1779774"/>
                <a:gd name="connsiteX3684" fmla="*/ 1317649 w 2299605"/>
                <a:gd name="connsiteY3684" fmla="*/ 1585823 h 1779774"/>
                <a:gd name="connsiteX3685" fmla="*/ 1319933 w 2299605"/>
                <a:gd name="connsiteY3685" fmla="*/ 1585823 h 1779774"/>
                <a:gd name="connsiteX3686" fmla="*/ 1322217 w 2299605"/>
                <a:gd name="connsiteY3686" fmla="*/ 1585823 h 1779774"/>
                <a:gd name="connsiteX3687" fmla="*/ 1322217 w 2299605"/>
                <a:gd name="connsiteY3687" fmla="*/ 1588105 h 1779774"/>
                <a:gd name="connsiteX3688" fmla="*/ 1324500 w 2299605"/>
                <a:gd name="connsiteY3688" fmla="*/ 1588105 h 1779774"/>
                <a:gd name="connsiteX3689" fmla="*/ 1326784 w 2299605"/>
                <a:gd name="connsiteY3689" fmla="*/ 1588105 h 1779774"/>
                <a:gd name="connsiteX3690" fmla="*/ 1329067 w 2299605"/>
                <a:gd name="connsiteY3690" fmla="*/ 1588105 h 1779774"/>
                <a:gd name="connsiteX3691" fmla="*/ 1331351 w 2299605"/>
                <a:gd name="connsiteY3691" fmla="*/ 1588105 h 1779774"/>
                <a:gd name="connsiteX3692" fmla="*/ 1333635 w 2299605"/>
                <a:gd name="connsiteY3692" fmla="*/ 1588105 h 1779774"/>
                <a:gd name="connsiteX3693" fmla="*/ 1333635 w 2299605"/>
                <a:gd name="connsiteY3693" fmla="*/ 1585823 h 1779774"/>
                <a:gd name="connsiteX3694" fmla="*/ 1335918 w 2299605"/>
                <a:gd name="connsiteY3694" fmla="*/ 1585823 h 1779774"/>
                <a:gd name="connsiteX3695" fmla="*/ 1338202 w 2299605"/>
                <a:gd name="connsiteY3695" fmla="*/ 1585823 h 1779774"/>
                <a:gd name="connsiteX3696" fmla="*/ 1340485 w 2299605"/>
                <a:gd name="connsiteY3696" fmla="*/ 1585823 h 1779774"/>
                <a:gd name="connsiteX3697" fmla="*/ 1340485 w 2299605"/>
                <a:gd name="connsiteY3697" fmla="*/ 1583541 h 1779774"/>
                <a:gd name="connsiteX3698" fmla="*/ 1342769 w 2299605"/>
                <a:gd name="connsiteY3698" fmla="*/ 1583541 h 1779774"/>
                <a:gd name="connsiteX3699" fmla="*/ 1345053 w 2299605"/>
                <a:gd name="connsiteY3699" fmla="*/ 1583541 h 1779774"/>
                <a:gd name="connsiteX3700" fmla="*/ 1345053 w 2299605"/>
                <a:gd name="connsiteY3700" fmla="*/ 1581259 h 1779774"/>
                <a:gd name="connsiteX3701" fmla="*/ 1347336 w 2299605"/>
                <a:gd name="connsiteY3701" fmla="*/ 1581259 h 1779774"/>
                <a:gd name="connsiteX3702" fmla="*/ 1349620 w 2299605"/>
                <a:gd name="connsiteY3702" fmla="*/ 1581259 h 1779774"/>
                <a:gd name="connsiteX3703" fmla="*/ 1351903 w 2299605"/>
                <a:gd name="connsiteY3703" fmla="*/ 1581259 h 1779774"/>
                <a:gd name="connsiteX3704" fmla="*/ 1354187 w 2299605"/>
                <a:gd name="connsiteY3704" fmla="*/ 1581259 h 1779774"/>
                <a:gd name="connsiteX3705" fmla="*/ 1354187 w 2299605"/>
                <a:gd name="connsiteY3705" fmla="*/ 1578977 h 1779774"/>
                <a:gd name="connsiteX3706" fmla="*/ 1356470 w 2299605"/>
                <a:gd name="connsiteY3706" fmla="*/ 1578977 h 1779774"/>
                <a:gd name="connsiteX3707" fmla="*/ 1356470 w 2299605"/>
                <a:gd name="connsiteY3707" fmla="*/ 1576695 h 1779774"/>
                <a:gd name="connsiteX3708" fmla="*/ 1358754 w 2299605"/>
                <a:gd name="connsiteY3708" fmla="*/ 1576695 h 1779774"/>
                <a:gd name="connsiteX3709" fmla="*/ 1358754 w 2299605"/>
                <a:gd name="connsiteY3709" fmla="*/ 1574413 h 1779774"/>
                <a:gd name="connsiteX3710" fmla="*/ 1361038 w 2299605"/>
                <a:gd name="connsiteY3710" fmla="*/ 1574413 h 1779774"/>
                <a:gd name="connsiteX3711" fmla="*/ 1363321 w 2299605"/>
                <a:gd name="connsiteY3711" fmla="*/ 1574413 h 1779774"/>
                <a:gd name="connsiteX3712" fmla="*/ 1363321 w 2299605"/>
                <a:gd name="connsiteY3712" fmla="*/ 1572132 h 1779774"/>
                <a:gd name="connsiteX3713" fmla="*/ 1365605 w 2299605"/>
                <a:gd name="connsiteY3713" fmla="*/ 1572132 h 1779774"/>
                <a:gd name="connsiteX3714" fmla="*/ 1367889 w 2299605"/>
                <a:gd name="connsiteY3714" fmla="*/ 1572132 h 1779774"/>
                <a:gd name="connsiteX3715" fmla="*/ 1367889 w 2299605"/>
                <a:gd name="connsiteY3715" fmla="*/ 1569849 h 1779774"/>
                <a:gd name="connsiteX3716" fmla="*/ 1367889 w 2299605"/>
                <a:gd name="connsiteY3716" fmla="*/ 1567567 h 1779774"/>
                <a:gd name="connsiteX3717" fmla="*/ 1370172 w 2299605"/>
                <a:gd name="connsiteY3717" fmla="*/ 1567567 h 1779774"/>
                <a:gd name="connsiteX3718" fmla="*/ 1372456 w 2299605"/>
                <a:gd name="connsiteY3718" fmla="*/ 1567567 h 1779774"/>
                <a:gd name="connsiteX3719" fmla="*/ 1372456 w 2299605"/>
                <a:gd name="connsiteY3719" fmla="*/ 1565286 h 1779774"/>
                <a:gd name="connsiteX3720" fmla="*/ 1370172 w 2299605"/>
                <a:gd name="connsiteY3720" fmla="*/ 1565286 h 1779774"/>
                <a:gd name="connsiteX3721" fmla="*/ 1370172 w 2299605"/>
                <a:gd name="connsiteY3721" fmla="*/ 1563004 h 1779774"/>
                <a:gd name="connsiteX3722" fmla="*/ 1370172 w 2299605"/>
                <a:gd name="connsiteY3722" fmla="*/ 1560722 h 1779774"/>
                <a:gd name="connsiteX3723" fmla="*/ 1372456 w 2299605"/>
                <a:gd name="connsiteY3723" fmla="*/ 1560722 h 1779774"/>
                <a:gd name="connsiteX3724" fmla="*/ 1372456 w 2299605"/>
                <a:gd name="connsiteY3724" fmla="*/ 1558440 h 1779774"/>
                <a:gd name="connsiteX3725" fmla="*/ 1374739 w 2299605"/>
                <a:gd name="connsiteY3725" fmla="*/ 1558440 h 1779774"/>
                <a:gd name="connsiteX3726" fmla="*/ 1377023 w 2299605"/>
                <a:gd name="connsiteY3726" fmla="*/ 1558440 h 1779774"/>
                <a:gd name="connsiteX3727" fmla="*/ 1379307 w 2299605"/>
                <a:gd name="connsiteY3727" fmla="*/ 1556158 h 1779774"/>
                <a:gd name="connsiteX3728" fmla="*/ 1381590 w 2299605"/>
                <a:gd name="connsiteY3728" fmla="*/ 1556158 h 1779774"/>
                <a:gd name="connsiteX3729" fmla="*/ 1383874 w 2299605"/>
                <a:gd name="connsiteY3729" fmla="*/ 1556158 h 1779774"/>
                <a:gd name="connsiteX3730" fmla="*/ 1386157 w 2299605"/>
                <a:gd name="connsiteY3730" fmla="*/ 1556158 h 1779774"/>
                <a:gd name="connsiteX3731" fmla="*/ 1388441 w 2299605"/>
                <a:gd name="connsiteY3731" fmla="*/ 1556158 h 1779774"/>
                <a:gd name="connsiteX3732" fmla="*/ 1390724 w 2299605"/>
                <a:gd name="connsiteY3732" fmla="*/ 1556158 h 1779774"/>
                <a:gd name="connsiteX3733" fmla="*/ 1393008 w 2299605"/>
                <a:gd name="connsiteY3733" fmla="*/ 1556158 h 1779774"/>
                <a:gd name="connsiteX3734" fmla="*/ 1395292 w 2299605"/>
                <a:gd name="connsiteY3734" fmla="*/ 1556158 h 1779774"/>
                <a:gd name="connsiteX3735" fmla="*/ 1395292 w 2299605"/>
                <a:gd name="connsiteY3735" fmla="*/ 1553876 h 1779774"/>
                <a:gd name="connsiteX3736" fmla="*/ 1397575 w 2299605"/>
                <a:gd name="connsiteY3736" fmla="*/ 1553876 h 1779774"/>
                <a:gd name="connsiteX3737" fmla="*/ 1399859 w 2299605"/>
                <a:gd name="connsiteY3737" fmla="*/ 1553876 h 1779774"/>
                <a:gd name="connsiteX3738" fmla="*/ 1402142 w 2299605"/>
                <a:gd name="connsiteY3738" fmla="*/ 1553876 h 1779774"/>
                <a:gd name="connsiteX3739" fmla="*/ 1402142 w 2299605"/>
                <a:gd name="connsiteY3739" fmla="*/ 1551594 h 1779774"/>
                <a:gd name="connsiteX3740" fmla="*/ 1404426 w 2299605"/>
                <a:gd name="connsiteY3740" fmla="*/ 1551594 h 1779774"/>
                <a:gd name="connsiteX3741" fmla="*/ 1406710 w 2299605"/>
                <a:gd name="connsiteY3741" fmla="*/ 1551594 h 1779774"/>
                <a:gd name="connsiteX3742" fmla="*/ 1408993 w 2299605"/>
                <a:gd name="connsiteY3742" fmla="*/ 1551594 h 1779774"/>
                <a:gd name="connsiteX3743" fmla="*/ 1411277 w 2299605"/>
                <a:gd name="connsiteY3743" fmla="*/ 1551594 h 1779774"/>
                <a:gd name="connsiteX3744" fmla="*/ 1413560 w 2299605"/>
                <a:gd name="connsiteY3744" fmla="*/ 1551594 h 1779774"/>
                <a:gd name="connsiteX3745" fmla="*/ 1415844 w 2299605"/>
                <a:gd name="connsiteY3745" fmla="*/ 1551594 h 1779774"/>
                <a:gd name="connsiteX3746" fmla="*/ 1418128 w 2299605"/>
                <a:gd name="connsiteY3746" fmla="*/ 1551594 h 1779774"/>
                <a:gd name="connsiteX3747" fmla="*/ 1420411 w 2299605"/>
                <a:gd name="connsiteY3747" fmla="*/ 1551594 h 1779774"/>
                <a:gd name="connsiteX3748" fmla="*/ 1420411 w 2299605"/>
                <a:gd name="connsiteY3748" fmla="*/ 1553876 h 1779774"/>
                <a:gd name="connsiteX3749" fmla="*/ 1422695 w 2299605"/>
                <a:gd name="connsiteY3749" fmla="*/ 1553876 h 1779774"/>
                <a:gd name="connsiteX3750" fmla="*/ 1424978 w 2299605"/>
                <a:gd name="connsiteY3750" fmla="*/ 1553876 h 1779774"/>
                <a:gd name="connsiteX3751" fmla="*/ 1427262 w 2299605"/>
                <a:gd name="connsiteY3751" fmla="*/ 1553876 h 1779774"/>
                <a:gd name="connsiteX3752" fmla="*/ 1429546 w 2299605"/>
                <a:gd name="connsiteY3752" fmla="*/ 1553876 h 1779774"/>
                <a:gd name="connsiteX3753" fmla="*/ 1429546 w 2299605"/>
                <a:gd name="connsiteY3753" fmla="*/ 1556158 h 1779774"/>
                <a:gd name="connsiteX3754" fmla="*/ 1431829 w 2299605"/>
                <a:gd name="connsiteY3754" fmla="*/ 1556158 h 1779774"/>
                <a:gd name="connsiteX3755" fmla="*/ 1434113 w 2299605"/>
                <a:gd name="connsiteY3755" fmla="*/ 1556158 h 1779774"/>
                <a:gd name="connsiteX3756" fmla="*/ 1436396 w 2299605"/>
                <a:gd name="connsiteY3756" fmla="*/ 1556158 h 1779774"/>
                <a:gd name="connsiteX3757" fmla="*/ 1436396 w 2299605"/>
                <a:gd name="connsiteY3757" fmla="*/ 1558440 h 1779774"/>
                <a:gd name="connsiteX3758" fmla="*/ 1438680 w 2299605"/>
                <a:gd name="connsiteY3758" fmla="*/ 1558440 h 1779774"/>
                <a:gd name="connsiteX3759" fmla="*/ 1440964 w 2299605"/>
                <a:gd name="connsiteY3759" fmla="*/ 1558440 h 1779774"/>
                <a:gd name="connsiteX3760" fmla="*/ 1443247 w 2299605"/>
                <a:gd name="connsiteY3760" fmla="*/ 1558440 h 1779774"/>
                <a:gd name="connsiteX3761" fmla="*/ 1445531 w 2299605"/>
                <a:gd name="connsiteY3761" fmla="*/ 1558440 h 1779774"/>
                <a:gd name="connsiteX3762" fmla="*/ 1445531 w 2299605"/>
                <a:gd name="connsiteY3762" fmla="*/ 1560722 h 1779774"/>
                <a:gd name="connsiteX3763" fmla="*/ 1447814 w 2299605"/>
                <a:gd name="connsiteY3763" fmla="*/ 1560722 h 1779774"/>
                <a:gd name="connsiteX3764" fmla="*/ 1450098 w 2299605"/>
                <a:gd name="connsiteY3764" fmla="*/ 1560722 h 1779774"/>
                <a:gd name="connsiteX3765" fmla="*/ 1452382 w 2299605"/>
                <a:gd name="connsiteY3765" fmla="*/ 1560722 h 1779774"/>
                <a:gd name="connsiteX3766" fmla="*/ 1454665 w 2299605"/>
                <a:gd name="connsiteY3766" fmla="*/ 1560722 h 1779774"/>
                <a:gd name="connsiteX3767" fmla="*/ 1454665 w 2299605"/>
                <a:gd name="connsiteY3767" fmla="*/ 1563004 h 1779774"/>
                <a:gd name="connsiteX3768" fmla="*/ 1456949 w 2299605"/>
                <a:gd name="connsiteY3768" fmla="*/ 1563004 h 1779774"/>
                <a:gd name="connsiteX3769" fmla="*/ 1459232 w 2299605"/>
                <a:gd name="connsiteY3769" fmla="*/ 1563004 h 1779774"/>
                <a:gd name="connsiteX3770" fmla="*/ 1461516 w 2299605"/>
                <a:gd name="connsiteY3770" fmla="*/ 1563004 h 1779774"/>
                <a:gd name="connsiteX3771" fmla="*/ 1463799 w 2299605"/>
                <a:gd name="connsiteY3771" fmla="*/ 1563004 h 1779774"/>
                <a:gd name="connsiteX3772" fmla="*/ 1466083 w 2299605"/>
                <a:gd name="connsiteY3772" fmla="*/ 1563004 h 1779774"/>
                <a:gd name="connsiteX3773" fmla="*/ 1468367 w 2299605"/>
                <a:gd name="connsiteY3773" fmla="*/ 1563004 h 1779774"/>
                <a:gd name="connsiteX3774" fmla="*/ 1470650 w 2299605"/>
                <a:gd name="connsiteY3774" fmla="*/ 1563004 h 1779774"/>
                <a:gd name="connsiteX3775" fmla="*/ 1472934 w 2299605"/>
                <a:gd name="connsiteY3775" fmla="*/ 1563004 h 1779774"/>
                <a:gd name="connsiteX3776" fmla="*/ 1475218 w 2299605"/>
                <a:gd name="connsiteY3776" fmla="*/ 1563004 h 1779774"/>
                <a:gd name="connsiteX3777" fmla="*/ 1477501 w 2299605"/>
                <a:gd name="connsiteY3777" fmla="*/ 1563004 h 1779774"/>
                <a:gd name="connsiteX3778" fmla="*/ 1477501 w 2299605"/>
                <a:gd name="connsiteY3778" fmla="*/ 1560722 h 1779774"/>
                <a:gd name="connsiteX3779" fmla="*/ 1479785 w 2299605"/>
                <a:gd name="connsiteY3779" fmla="*/ 1560722 h 1779774"/>
                <a:gd name="connsiteX3780" fmla="*/ 1479785 w 2299605"/>
                <a:gd name="connsiteY3780" fmla="*/ 1558440 h 1779774"/>
                <a:gd name="connsiteX3781" fmla="*/ 1482068 w 2299605"/>
                <a:gd name="connsiteY3781" fmla="*/ 1558440 h 1779774"/>
                <a:gd name="connsiteX3782" fmla="*/ 1484352 w 2299605"/>
                <a:gd name="connsiteY3782" fmla="*/ 1558440 h 1779774"/>
                <a:gd name="connsiteX3783" fmla="*/ 1486636 w 2299605"/>
                <a:gd name="connsiteY3783" fmla="*/ 1558440 h 1779774"/>
                <a:gd name="connsiteX3784" fmla="*/ 1488919 w 2299605"/>
                <a:gd name="connsiteY3784" fmla="*/ 1558440 h 1779774"/>
                <a:gd name="connsiteX3785" fmla="*/ 1491203 w 2299605"/>
                <a:gd name="connsiteY3785" fmla="*/ 1558440 h 1779774"/>
                <a:gd name="connsiteX3786" fmla="*/ 1491203 w 2299605"/>
                <a:gd name="connsiteY3786" fmla="*/ 1556158 h 1779774"/>
                <a:gd name="connsiteX3787" fmla="*/ 1493486 w 2299605"/>
                <a:gd name="connsiteY3787" fmla="*/ 1556158 h 1779774"/>
                <a:gd name="connsiteX3788" fmla="*/ 1495770 w 2299605"/>
                <a:gd name="connsiteY3788" fmla="*/ 1556158 h 1779774"/>
                <a:gd name="connsiteX3789" fmla="*/ 1498053 w 2299605"/>
                <a:gd name="connsiteY3789" fmla="*/ 1556158 h 1779774"/>
                <a:gd name="connsiteX3790" fmla="*/ 1500337 w 2299605"/>
                <a:gd name="connsiteY3790" fmla="*/ 1556158 h 1779774"/>
                <a:gd name="connsiteX3791" fmla="*/ 1502621 w 2299605"/>
                <a:gd name="connsiteY3791" fmla="*/ 1556158 h 1779774"/>
                <a:gd name="connsiteX3792" fmla="*/ 1504904 w 2299605"/>
                <a:gd name="connsiteY3792" fmla="*/ 1556158 h 1779774"/>
                <a:gd name="connsiteX3793" fmla="*/ 1504904 w 2299605"/>
                <a:gd name="connsiteY3793" fmla="*/ 1553876 h 1779774"/>
                <a:gd name="connsiteX3794" fmla="*/ 1507188 w 2299605"/>
                <a:gd name="connsiteY3794" fmla="*/ 1553876 h 1779774"/>
                <a:gd name="connsiteX3795" fmla="*/ 1509471 w 2299605"/>
                <a:gd name="connsiteY3795" fmla="*/ 1553876 h 1779774"/>
                <a:gd name="connsiteX3796" fmla="*/ 1511755 w 2299605"/>
                <a:gd name="connsiteY3796" fmla="*/ 1553876 h 1779774"/>
                <a:gd name="connsiteX3797" fmla="*/ 1511755 w 2299605"/>
                <a:gd name="connsiteY3797" fmla="*/ 1551594 h 1779774"/>
                <a:gd name="connsiteX3798" fmla="*/ 1514039 w 2299605"/>
                <a:gd name="connsiteY3798" fmla="*/ 1551594 h 1779774"/>
                <a:gd name="connsiteX3799" fmla="*/ 1516322 w 2299605"/>
                <a:gd name="connsiteY3799" fmla="*/ 1551594 h 1779774"/>
                <a:gd name="connsiteX3800" fmla="*/ 1516322 w 2299605"/>
                <a:gd name="connsiteY3800" fmla="*/ 1549312 h 1779774"/>
                <a:gd name="connsiteX3801" fmla="*/ 1518606 w 2299605"/>
                <a:gd name="connsiteY3801" fmla="*/ 1549312 h 1779774"/>
                <a:gd name="connsiteX3802" fmla="*/ 1518606 w 2299605"/>
                <a:gd name="connsiteY3802" fmla="*/ 1547031 h 1779774"/>
                <a:gd name="connsiteX3803" fmla="*/ 1520889 w 2299605"/>
                <a:gd name="connsiteY3803" fmla="*/ 1547031 h 1779774"/>
                <a:gd name="connsiteX3804" fmla="*/ 1523173 w 2299605"/>
                <a:gd name="connsiteY3804" fmla="*/ 1547031 h 1779774"/>
                <a:gd name="connsiteX3805" fmla="*/ 1523173 w 2299605"/>
                <a:gd name="connsiteY3805" fmla="*/ 1544758 h 1779774"/>
                <a:gd name="connsiteX3806" fmla="*/ 1525457 w 2299605"/>
                <a:gd name="connsiteY3806" fmla="*/ 1544758 h 1779774"/>
                <a:gd name="connsiteX3807" fmla="*/ 1525457 w 2299605"/>
                <a:gd name="connsiteY3807" fmla="*/ 1542476 h 1779774"/>
                <a:gd name="connsiteX3808" fmla="*/ 1527740 w 2299605"/>
                <a:gd name="connsiteY3808" fmla="*/ 1542476 h 1779774"/>
                <a:gd name="connsiteX3809" fmla="*/ 1527740 w 2299605"/>
                <a:gd name="connsiteY3809" fmla="*/ 1540194 h 1779774"/>
                <a:gd name="connsiteX3810" fmla="*/ 1530024 w 2299605"/>
                <a:gd name="connsiteY3810" fmla="*/ 1540194 h 1779774"/>
                <a:gd name="connsiteX3811" fmla="*/ 1532307 w 2299605"/>
                <a:gd name="connsiteY3811" fmla="*/ 1540194 h 1779774"/>
                <a:gd name="connsiteX3812" fmla="*/ 1534591 w 2299605"/>
                <a:gd name="connsiteY3812" fmla="*/ 1540194 h 1779774"/>
                <a:gd name="connsiteX3813" fmla="*/ 1534591 w 2299605"/>
                <a:gd name="connsiteY3813" fmla="*/ 1537913 h 1779774"/>
                <a:gd name="connsiteX3814" fmla="*/ 1536875 w 2299605"/>
                <a:gd name="connsiteY3814" fmla="*/ 1537913 h 1779774"/>
                <a:gd name="connsiteX3815" fmla="*/ 1536875 w 2299605"/>
                <a:gd name="connsiteY3815" fmla="*/ 1535630 h 1779774"/>
                <a:gd name="connsiteX3816" fmla="*/ 1534591 w 2299605"/>
                <a:gd name="connsiteY3816" fmla="*/ 1535630 h 1779774"/>
                <a:gd name="connsiteX3817" fmla="*/ 1532307 w 2299605"/>
                <a:gd name="connsiteY3817" fmla="*/ 1535630 h 1779774"/>
                <a:gd name="connsiteX3818" fmla="*/ 1532307 w 2299605"/>
                <a:gd name="connsiteY3818" fmla="*/ 1533348 h 1779774"/>
                <a:gd name="connsiteX3819" fmla="*/ 1532307 w 2299605"/>
                <a:gd name="connsiteY3819" fmla="*/ 1531067 h 1779774"/>
                <a:gd name="connsiteX3820" fmla="*/ 1534591 w 2299605"/>
                <a:gd name="connsiteY3820" fmla="*/ 1531067 h 1779774"/>
                <a:gd name="connsiteX3821" fmla="*/ 1534591 w 2299605"/>
                <a:gd name="connsiteY3821" fmla="*/ 1528785 h 1779774"/>
                <a:gd name="connsiteX3822" fmla="*/ 1534591 w 2299605"/>
                <a:gd name="connsiteY3822" fmla="*/ 1526503 h 1779774"/>
                <a:gd name="connsiteX3823" fmla="*/ 1536875 w 2299605"/>
                <a:gd name="connsiteY3823" fmla="*/ 1526503 h 1779774"/>
                <a:gd name="connsiteX3824" fmla="*/ 1536875 w 2299605"/>
                <a:gd name="connsiteY3824" fmla="*/ 1524221 h 1779774"/>
                <a:gd name="connsiteX3825" fmla="*/ 1539158 w 2299605"/>
                <a:gd name="connsiteY3825" fmla="*/ 1524221 h 1779774"/>
                <a:gd name="connsiteX3826" fmla="*/ 1541442 w 2299605"/>
                <a:gd name="connsiteY3826" fmla="*/ 1524221 h 1779774"/>
                <a:gd name="connsiteX3827" fmla="*/ 1541442 w 2299605"/>
                <a:gd name="connsiteY3827" fmla="*/ 1521939 h 1779774"/>
                <a:gd name="connsiteX3828" fmla="*/ 1543725 w 2299605"/>
                <a:gd name="connsiteY3828" fmla="*/ 1521939 h 1779774"/>
                <a:gd name="connsiteX3829" fmla="*/ 1546009 w 2299605"/>
                <a:gd name="connsiteY3829" fmla="*/ 1521939 h 1779774"/>
                <a:gd name="connsiteX3830" fmla="*/ 1546009 w 2299605"/>
                <a:gd name="connsiteY3830" fmla="*/ 1519657 h 1779774"/>
                <a:gd name="connsiteX3831" fmla="*/ 1543725 w 2299605"/>
                <a:gd name="connsiteY3831" fmla="*/ 1519657 h 1779774"/>
                <a:gd name="connsiteX3832" fmla="*/ 1543725 w 2299605"/>
                <a:gd name="connsiteY3832" fmla="*/ 1517375 h 1779774"/>
                <a:gd name="connsiteX3833" fmla="*/ 1541442 w 2299605"/>
                <a:gd name="connsiteY3833" fmla="*/ 1517375 h 1779774"/>
                <a:gd name="connsiteX3834" fmla="*/ 1539158 w 2299605"/>
                <a:gd name="connsiteY3834" fmla="*/ 1517375 h 1779774"/>
                <a:gd name="connsiteX3835" fmla="*/ 1536875 w 2299605"/>
                <a:gd name="connsiteY3835" fmla="*/ 1517375 h 1779774"/>
                <a:gd name="connsiteX3836" fmla="*/ 1534591 w 2299605"/>
                <a:gd name="connsiteY3836" fmla="*/ 1517375 h 1779774"/>
                <a:gd name="connsiteX3837" fmla="*/ 1534591 w 2299605"/>
                <a:gd name="connsiteY3837" fmla="*/ 1515093 h 1779774"/>
                <a:gd name="connsiteX3838" fmla="*/ 1534591 w 2299605"/>
                <a:gd name="connsiteY3838" fmla="*/ 1512812 h 1779774"/>
                <a:gd name="connsiteX3839" fmla="*/ 1534591 w 2299605"/>
                <a:gd name="connsiteY3839" fmla="*/ 1510530 h 1779774"/>
                <a:gd name="connsiteX3840" fmla="*/ 1534591 w 2299605"/>
                <a:gd name="connsiteY3840" fmla="*/ 1508248 h 1779774"/>
                <a:gd name="connsiteX3841" fmla="*/ 1534591 w 2299605"/>
                <a:gd name="connsiteY3841" fmla="*/ 1505966 h 1779774"/>
                <a:gd name="connsiteX3842" fmla="*/ 1536875 w 2299605"/>
                <a:gd name="connsiteY3842" fmla="*/ 1505966 h 1779774"/>
                <a:gd name="connsiteX3843" fmla="*/ 1536875 w 2299605"/>
                <a:gd name="connsiteY3843" fmla="*/ 1503684 h 1779774"/>
                <a:gd name="connsiteX3844" fmla="*/ 1536875 w 2299605"/>
                <a:gd name="connsiteY3844" fmla="*/ 1501402 h 1779774"/>
                <a:gd name="connsiteX3845" fmla="*/ 1539158 w 2299605"/>
                <a:gd name="connsiteY3845" fmla="*/ 1501402 h 1779774"/>
                <a:gd name="connsiteX3846" fmla="*/ 1539158 w 2299605"/>
                <a:gd name="connsiteY3846" fmla="*/ 1499120 h 1779774"/>
                <a:gd name="connsiteX3847" fmla="*/ 1541442 w 2299605"/>
                <a:gd name="connsiteY3847" fmla="*/ 1499120 h 1779774"/>
                <a:gd name="connsiteX3848" fmla="*/ 1541442 w 2299605"/>
                <a:gd name="connsiteY3848" fmla="*/ 1496838 h 1779774"/>
                <a:gd name="connsiteX3849" fmla="*/ 1543725 w 2299605"/>
                <a:gd name="connsiteY3849" fmla="*/ 1496838 h 1779774"/>
                <a:gd name="connsiteX3850" fmla="*/ 1543725 w 2299605"/>
                <a:gd name="connsiteY3850" fmla="*/ 1494557 h 1779774"/>
                <a:gd name="connsiteX3851" fmla="*/ 1546009 w 2299605"/>
                <a:gd name="connsiteY3851" fmla="*/ 1494557 h 1779774"/>
                <a:gd name="connsiteX3852" fmla="*/ 1546009 w 2299605"/>
                <a:gd name="connsiteY3852" fmla="*/ 1492274 h 1779774"/>
                <a:gd name="connsiteX3853" fmla="*/ 1548293 w 2299605"/>
                <a:gd name="connsiteY3853" fmla="*/ 1492274 h 1779774"/>
                <a:gd name="connsiteX3854" fmla="*/ 1548293 w 2299605"/>
                <a:gd name="connsiteY3854" fmla="*/ 1489992 h 1779774"/>
                <a:gd name="connsiteX3855" fmla="*/ 1550576 w 2299605"/>
                <a:gd name="connsiteY3855" fmla="*/ 1489992 h 1779774"/>
                <a:gd name="connsiteX3856" fmla="*/ 1552860 w 2299605"/>
                <a:gd name="connsiteY3856" fmla="*/ 1489992 h 1779774"/>
                <a:gd name="connsiteX3857" fmla="*/ 1552860 w 2299605"/>
                <a:gd name="connsiteY3857" fmla="*/ 1487711 h 1779774"/>
                <a:gd name="connsiteX3858" fmla="*/ 1555143 w 2299605"/>
                <a:gd name="connsiteY3858" fmla="*/ 1487711 h 1779774"/>
                <a:gd name="connsiteX3859" fmla="*/ 1557427 w 2299605"/>
                <a:gd name="connsiteY3859" fmla="*/ 1487711 h 1779774"/>
                <a:gd name="connsiteX3860" fmla="*/ 1557427 w 2299605"/>
                <a:gd name="connsiteY3860" fmla="*/ 1485429 h 1779774"/>
                <a:gd name="connsiteX3861" fmla="*/ 1559711 w 2299605"/>
                <a:gd name="connsiteY3861" fmla="*/ 1485429 h 1779774"/>
                <a:gd name="connsiteX3862" fmla="*/ 1561994 w 2299605"/>
                <a:gd name="connsiteY3862" fmla="*/ 1485429 h 1779774"/>
                <a:gd name="connsiteX3863" fmla="*/ 1561994 w 2299605"/>
                <a:gd name="connsiteY3863" fmla="*/ 1483147 h 1779774"/>
                <a:gd name="connsiteX3864" fmla="*/ 1564278 w 2299605"/>
                <a:gd name="connsiteY3864" fmla="*/ 1483147 h 1779774"/>
                <a:gd name="connsiteX3865" fmla="*/ 1566561 w 2299605"/>
                <a:gd name="connsiteY3865" fmla="*/ 1483147 h 1779774"/>
                <a:gd name="connsiteX3866" fmla="*/ 1568845 w 2299605"/>
                <a:gd name="connsiteY3866" fmla="*/ 1483147 h 1779774"/>
                <a:gd name="connsiteX3867" fmla="*/ 1571128 w 2299605"/>
                <a:gd name="connsiteY3867" fmla="*/ 1483147 h 1779774"/>
                <a:gd name="connsiteX3868" fmla="*/ 1571128 w 2299605"/>
                <a:gd name="connsiteY3868" fmla="*/ 1480865 h 1779774"/>
                <a:gd name="connsiteX3869" fmla="*/ 1573412 w 2299605"/>
                <a:gd name="connsiteY3869" fmla="*/ 1480865 h 1779774"/>
                <a:gd name="connsiteX3870" fmla="*/ 1575696 w 2299605"/>
                <a:gd name="connsiteY3870" fmla="*/ 1480865 h 1779774"/>
                <a:gd name="connsiteX3871" fmla="*/ 1577979 w 2299605"/>
                <a:gd name="connsiteY3871" fmla="*/ 1480865 h 1779774"/>
                <a:gd name="connsiteX3872" fmla="*/ 1580263 w 2299605"/>
                <a:gd name="connsiteY3872" fmla="*/ 1480865 h 1779774"/>
                <a:gd name="connsiteX3873" fmla="*/ 1582547 w 2299605"/>
                <a:gd name="connsiteY3873" fmla="*/ 1480865 h 1779774"/>
                <a:gd name="connsiteX3874" fmla="*/ 1582547 w 2299605"/>
                <a:gd name="connsiteY3874" fmla="*/ 1478583 h 1779774"/>
                <a:gd name="connsiteX3875" fmla="*/ 1584830 w 2299605"/>
                <a:gd name="connsiteY3875" fmla="*/ 1478583 h 1779774"/>
                <a:gd name="connsiteX3876" fmla="*/ 1587114 w 2299605"/>
                <a:gd name="connsiteY3876" fmla="*/ 1478583 h 1779774"/>
                <a:gd name="connsiteX3877" fmla="*/ 1589397 w 2299605"/>
                <a:gd name="connsiteY3877" fmla="*/ 1478583 h 1779774"/>
                <a:gd name="connsiteX3878" fmla="*/ 1589397 w 2299605"/>
                <a:gd name="connsiteY3878" fmla="*/ 1480865 h 1779774"/>
                <a:gd name="connsiteX3879" fmla="*/ 1591681 w 2299605"/>
                <a:gd name="connsiteY3879" fmla="*/ 1480865 h 1779774"/>
                <a:gd name="connsiteX3880" fmla="*/ 1593965 w 2299605"/>
                <a:gd name="connsiteY3880" fmla="*/ 1480865 h 1779774"/>
                <a:gd name="connsiteX3881" fmla="*/ 1593965 w 2299605"/>
                <a:gd name="connsiteY3881" fmla="*/ 1478583 h 1779774"/>
                <a:gd name="connsiteX3882" fmla="*/ 1596248 w 2299605"/>
                <a:gd name="connsiteY3882" fmla="*/ 1478583 h 1779774"/>
                <a:gd name="connsiteX3883" fmla="*/ 1598532 w 2299605"/>
                <a:gd name="connsiteY3883" fmla="*/ 1478583 h 1779774"/>
                <a:gd name="connsiteX3884" fmla="*/ 1600815 w 2299605"/>
                <a:gd name="connsiteY3884" fmla="*/ 1478583 h 1779774"/>
                <a:gd name="connsiteX3885" fmla="*/ 1603099 w 2299605"/>
                <a:gd name="connsiteY3885" fmla="*/ 1478583 h 1779774"/>
                <a:gd name="connsiteX3886" fmla="*/ 1603099 w 2299605"/>
                <a:gd name="connsiteY3886" fmla="*/ 1476301 h 1779774"/>
                <a:gd name="connsiteX3887" fmla="*/ 1605382 w 2299605"/>
                <a:gd name="connsiteY3887" fmla="*/ 1476301 h 1779774"/>
                <a:gd name="connsiteX3888" fmla="*/ 1607666 w 2299605"/>
                <a:gd name="connsiteY3888" fmla="*/ 1476301 h 1779774"/>
                <a:gd name="connsiteX3889" fmla="*/ 1609950 w 2299605"/>
                <a:gd name="connsiteY3889" fmla="*/ 1476301 h 1779774"/>
                <a:gd name="connsiteX3890" fmla="*/ 1609950 w 2299605"/>
                <a:gd name="connsiteY3890" fmla="*/ 1474019 h 1779774"/>
                <a:gd name="connsiteX3891" fmla="*/ 1612233 w 2299605"/>
                <a:gd name="connsiteY3891" fmla="*/ 1474019 h 1779774"/>
                <a:gd name="connsiteX3892" fmla="*/ 1614517 w 2299605"/>
                <a:gd name="connsiteY3892" fmla="*/ 1474019 h 1779774"/>
                <a:gd name="connsiteX3893" fmla="*/ 1614517 w 2299605"/>
                <a:gd name="connsiteY3893" fmla="*/ 1471737 h 1779774"/>
                <a:gd name="connsiteX3894" fmla="*/ 1616800 w 2299605"/>
                <a:gd name="connsiteY3894" fmla="*/ 1471737 h 1779774"/>
                <a:gd name="connsiteX3895" fmla="*/ 1619084 w 2299605"/>
                <a:gd name="connsiteY3895" fmla="*/ 1471737 h 1779774"/>
                <a:gd name="connsiteX3896" fmla="*/ 1619084 w 2299605"/>
                <a:gd name="connsiteY3896" fmla="*/ 1469456 h 1779774"/>
                <a:gd name="connsiteX3897" fmla="*/ 1616800 w 2299605"/>
                <a:gd name="connsiteY3897" fmla="*/ 1469456 h 1779774"/>
                <a:gd name="connsiteX3898" fmla="*/ 1616800 w 2299605"/>
                <a:gd name="connsiteY3898" fmla="*/ 1467174 h 1779774"/>
                <a:gd name="connsiteX3899" fmla="*/ 1614517 w 2299605"/>
                <a:gd name="connsiteY3899" fmla="*/ 1467174 h 1779774"/>
                <a:gd name="connsiteX3900" fmla="*/ 1614517 w 2299605"/>
                <a:gd name="connsiteY3900" fmla="*/ 1464892 h 1779774"/>
                <a:gd name="connsiteX3901" fmla="*/ 1612233 w 2299605"/>
                <a:gd name="connsiteY3901" fmla="*/ 1464892 h 1779774"/>
                <a:gd name="connsiteX3902" fmla="*/ 1612233 w 2299605"/>
                <a:gd name="connsiteY3902" fmla="*/ 1467174 h 1779774"/>
                <a:gd name="connsiteX3903" fmla="*/ 1609950 w 2299605"/>
                <a:gd name="connsiteY3903" fmla="*/ 1467174 h 1779774"/>
                <a:gd name="connsiteX3904" fmla="*/ 1609950 w 2299605"/>
                <a:gd name="connsiteY3904" fmla="*/ 1464892 h 1779774"/>
                <a:gd name="connsiteX3905" fmla="*/ 1607666 w 2299605"/>
                <a:gd name="connsiteY3905" fmla="*/ 1464892 h 1779774"/>
                <a:gd name="connsiteX3906" fmla="*/ 1605382 w 2299605"/>
                <a:gd name="connsiteY3906" fmla="*/ 1464892 h 1779774"/>
                <a:gd name="connsiteX3907" fmla="*/ 1605382 w 2299605"/>
                <a:gd name="connsiteY3907" fmla="*/ 1462610 h 1779774"/>
                <a:gd name="connsiteX3908" fmla="*/ 1603099 w 2299605"/>
                <a:gd name="connsiteY3908" fmla="*/ 1462610 h 1779774"/>
                <a:gd name="connsiteX3909" fmla="*/ 1600815 w 2299605"/>
                <a:gd name="connsiteY3909" fmla="*/ 1462610 h 1779774"/>
                <a:gd name="connsiteX3910" fmla="*/ 1600815 w 2299605"/>
                <a:gd name="connsiteY3910" fmla="*/ 1460328 h 1779774"/>
                <a:gd name="connsiteX3911" fmla="*/ 1600815 w 2299605"/>
                <a:gd name="connsiteY3911" fmla="*/ 1458046 h 1779774"/>
                <a:gd name="connsiteX3912" fmla="*/ 1600815 w 2299605"/>
                <a:gd name="connsiteY3912" fmla="*/ 1455764 h 1779774"/>
                <a:gd name="connsiteX3913" fmla="*/ 1600815 w 2299605"/>
                <a:gd name="connsiteY3913" fmla="*/ 1453482 h 1779774"/>
                <a:gd name="connsiteX3914" fmla="*/ 1600815 w 2299605"/>
                <a:gd name="connsiteY3914" fmla="*/ 1451201 h 1779774"/>
                <a:gd name="connsiteX3915" fmla="*/ 1600815 w 2299605"/>
                <a:gd name="connsiteY3915" fmla="*/ 1448918 h 1779774"/>
                <a:gd name="connsiteX3916" fmla="*/ 1603099 w 2299605"/>
                <a:gd name="connsiteY3916" fmla="*/ 1448918 h 1779774"/>
                <a:gd name="connsiteX3917" fmla="*/ 1603099 w 2299605"/>
                <a:gd name="connsiteY3917" fmla="*/ 1446636 h 1779774"/>
                <a:gd name="connsiteX3918" fmla="*/ 1603099 w 2299605"/>
                <a:gd name="connsiteY3918" fmla="*/ 1444355 h 1779774"/>
                <a:gd name="connsiteX3919" fmla="*/ 1603099 w 2299605"/>
                <a:gd name="connsiteY3919" fmla="*/ 1442073 h 1779774"/>
                <a:gd name="connsiteX3920" fmla="*/ 1605382 w 2299605"/>
                <a:gd name="connsiteY3920" fmla="*/ 1442073 h 1779774"/>
                <a:gd name="connsiteX3921" fmla="*/ 1605382 w 2299605"/>
                <a:gd name="connsiteY3921" fmla="*/ 1439791 h 1779774"/>
                <a:gd name="connsiteX3922" fmla="*/ 1607666 w 2299605"/>
                <a:gd name="connsiteY3922" fmla="*/ 1439791 h 1779774"/>
                <a:gd name="connsiteX3923" fmla="*/ 1607666 w 2299605"/>
                <a:gd name="connsiteY3923" fmla="*/ 1437509 h 1779774"/>
                <a:gd name="connsiteX3924" fmla="*/ 1607666 w 2299605"/>
                <a:gd name="connsiteY3924" fmla="*/ 1435227 h 1779774"/>
                <a:gd name="connsiteX3925" fmla="*/ 1609950 w 2299605"/>
                <a:gd name="connsiteY3925" fmla="*/ 1435227 h 1779774"/>
                <a:gd name="connsiteX3926" fmla="*/ 1609950 w 2299605"/>
                <a:gd name="connsiteY3926" fmla="*/ 1432945 h 1779774"/>
                <a:gd name="connsiteX3927" fmla="*/ 1612233 w 2299605"/>
                <a:gd name="connsiteY3927" fmla="*/ 1432945 h 1779774"/>
                <a:gd name="connsiteX3928" fmla="*/ 1612233 w 2299605"/>
                <a:gd name="connsiteY3928" fmla="*/ 1430663 h 1779774"/>
                <a:gd name="connsiteX3929" fmla="*/ 1614517 w 2299605"/>
                <a:gd name="connsiteY3929" fmla="*/ 1430663 h 1779774"/>
                <a:gd name="connsiteX3930" fmla="*/ 1614517 w 2299605"/>
                <a:gd name="connsiteY3930" fmla="*/ 1428381 h 1779774"/>
                <a:gd name="connsiteX3931" fmla="*/ 1616800 w 2299605"/>
                <a:gd name="connsiteY3931" fmla="*/ 1428381 h 1779774"/>
                <a:gd name="connsiteX3932" fmla="*/ 1616800 w 2299605"/>
                <a:gd name="connsiteY3932" fmla="*/ 1426100 h 1779774"/>
                <a:gd name="connsiteX3933" fmla="*/ 1619084 w 2299605"/>
                <a:gd name="connsiteY3933" fmla="*/ 1426100 h 1779774"/>
                <a:gd name="connsiteX3934" fmla="*/ 1621368 w 2299605"/>
                <a:gd name="connsiteY3934" fmla="*/ 1426100 h 1779774"/>
                <a:gd name="connsiteX3935" fmla="*/ 1621368 w 2299605"/>
                <a:gd name="connsiteY3935" fmla="*/ 1423818 h 1779774"/>
                <a:gd name="connsiteX3936" fmla="*/ 1623651 w 2299605"/>
                <a:gd name="connsiteY3936" fmla="*/ 1423818 h 1779774"/>
                <a:gd name="connsiteX3937" fmla="*/ 1625935 w 2299605"/>
                <a:gd name="connsiteY3937" fmla="*/ 1423818 h 1779774"/>
                <a:gd name="connsiteX3938" fmla="*/ 1625935 w 2299605"/>
                <a:gd name="connsiteY3938" fmla="*/ 1421535 h 1779774"/>
                <a:gd name="connsiteX3939" fmla="*/ 1628218 w 2299605"/>
                <a:gd name="connsiteY3939" fmla="*/ 1421535 h 1779774"/>
                <a:gd name="connsiteX3940" fmla="*/ 1630502 w 2299605"/>
                <a:gd name="connsiteY3940" fmla="*/ 1421535 h 1779774"/>
                <a:gd name="connsiteX3941" fmla="*/ 1630502 w 2299605"/>
                <a:gd name="connsiteY3941" fmla="*/ 1419254 h 1779774"/>
                <a:gd name="connsiteX3942" fmla="*/ 1632786 w 2299605"/>
                <a:gd name="connsiteY3942" fmla="*/ 1419254 h 1779774"/>
                <a:gd name="connsiteX3943" fmla="*/ 1635069 w 2299605"/>
                <a:gd name="connsiteY3943" fmla="*/ 1419254 h 1779774"/>
                <a:gd name="connsiteX3944" fmla="*/ 1635069 w 2299605"/>
                <a:gd name="connsiteY3944" fmla="*/ 1416972 h 1779774"/>
                <a:gd name="connsiteX3945" fmla="*/ 1637353 w 2299605"/>
                <a:gd name="connsiteY3945" fmla="*/ 1416972 h 1779774"/>
                <a:gd name="connsiteX3946" fmla="*/ 1639636 w 2299605"/>
                <a:gd name="connsiteY3946" fmla="*/ 1416972 h 1779774"/>
                <a:gd name="connsiteX3947" fmla="*/ 1641920 w 2299605"/>
                <a:gd name="connsiteY3947" fmla="*/ 1416972 h 1779774"/>
                <a:gd name="connsiteX3948" fmla="*/ 1641920 w 2299605"/>
                <a:gd name="connsiteY3948" fmla="*/ 1414690 h 1779774"/>
                <a:gd name="connsiteX3949" fmla="*/ 1644204 w 2299605"/>
                <a:gd name="connsiteY3949" fmla="*/ 1414690 h 1779774"/>
                <a:gd name="connsiteX3950" fmla="*/ 1646487 w 2299605"/>
                <a:gd name="connsiteY3950" fmla="*/ 1414690 h 1779774"/>
                <a:gd name="connsiteX3951" fmla="*/ 1648771 w 2299605"/>
                <a:gd name="connsiteY3951" fmla="*/ 1414690 h 1779774"/>
                <a:gd name="connsiteX3952" fmla="*/ 1651054 w 2299605"/>
                <a:gd name="connsiteY3952" fmla="*/ 1414690 h 1779774"/>
                <a:gd name="connsiteX3953" fmla="*/ 1653338 w 2299605"/>
                <a:gd name="connsiteY3953" fmla="*/ 1414690 h 1779774"/>
                <a:gd name="connsiteX3954" fmla="*/ 1653338 w 2299605"/>
                <a:gd name="connsiteY3954" fmla="*/ 1412408 h 1779774"/>
                <a:gd name="connsiteX3955" fmla="*/ 1655622 w 2299605"/>
                <a:gd name="connsiteY3955" fmla="*/ 1412408 h 1779774"/>
                <a:gd name="connsiteX3956" fmla="*/ 1657905 w 2299605"/>
                <a:gd name="connsiteY3956" fmla="*/ 1412408 h 1779774"/>
                <a:gd name="connsiteX3957" fmla="*/ 1660189 w 2299605"/>
                <a:gd name="connsiteY3957" fmla="*/ 1412408 h 1779774"/>
                <a:gd name="connsiteX3958" fmla="*/ 1662472 w 2299605"/>
                <a:gd name="connsiteY3958" fmla="*/ 1412408 h 1779774"/>
                <a:gd name="connsiteX3959" fmla="*/ 1664756 w 2299605"/>
                <a:gd name="connsiteY3959" fmla="*/ 1412408 h 1779774"/>
                <a:gd name="connsiteX3960" fmla="*/ 1667040 w 2299605"/>
                <a:gd name="connsiteY3960" fmla="*/ 1412408 h 1779774"/>
                <a:gd name="connsiteX3961" fmla="*/ 1669323 w 2299605"/>
                <a:gd name="connsiteY3961" fmla="*/ 1412408 h 1779774"/>
                <a:gd name="connsiteX3962" fmla="*/ 1671607 w 2299605"/>
                <a:gd name="connsiteY3962" fmla="*/ 1412408 h 1779774"/>
                <a:gd name="connsiteX3963" fmla="*/ 1673890 w 2299605"/>
                <a:gd name="connsiteY3963" fmla="*/ 1412408 h 1779774"/>
                <a:gd name="connsiteX3964" fmla="*/ 1676174 w 2299605"/>
                <a:gd name="connsiteY3964" fmla="*/ 1412408 h 1779774"/>
                <a:gd name="connsiteX3965" fmla="*/ 1678458 w 2299605"/>
                <a:gd name="connsiteY3965" fmla="*/ 1412408 h 1779774"/>
                <a:gd name="connsiteX3966" fmla="*/ 1680741 w 2299605"/>
                <a:gd name="connsiteY3966" fmla="*/ 1412408 h 1779774"/>
                <a:gd name="connsiteX3967" fmla="*/ 1683025 w 2299605"/>
                <a:gd name="connsiteY3967" fmla="*/ 1412408 h 1779774"/>
                <a:gd name="connsiteX3968" fmla="*/ 1683025 w 2299605"/>
                <a:gd name="connsiteY3968" fmla="*/ 1414690 h 1779774"/>
                <a:gd name="connsiteX3969" fmla="*/ 1685308 w 2299605"/>
                <a:gd name="connsiteY3969" fmla="*/ 1414690 h 1779774"/>
                <a:gd name="connsiteX3970" fmla="*/ 1687592 w 2299605"/>
                <a:gd name="connsiteY3970" fmla="*/ 1414690 h 1779774"/>
                <a:gd name="connsiteX3971" fmla="*/ 1689876 w 2299605"/>
                <a:gd name="connsiteY3971" fmla="*/ 1414690 h 1779774"/>
                <a:gd name="connsiteX3972" fmla="*/ 1692159 w 2299605"/>
                <a:gd name="connsiteY3972" fmla="*/ 1414690 h 1779774"/>
                <a:gd name="connsiteX3973" fmla="*/ 1692159 w 2299605"/>
                <a:gd name="connsiteY3973" fmla="*/ 1412408 h 1779774"/>
                <a:gd name="connsiteX3974" fmla="*/ 1694443 w 2299605"/>
                <a:gd name="connsiteY3974" fmla="*/ 1412408 h 1779774"/>
                <a:gd name="connsiteX3975" fmla="*/ 1696726 w 2299605"/>
                <a:gd name="connsiteY3975" fmla="*/ 1412408 h 1779774"/>
                <a:gd name="connsiteX3976" fmla="*/ 1699010 w 2299605"/>
                <a:gd name="connsiteY3976" fmla="*/ 1412408 h 1779774"/>
                <a:gd name="connsiteX3977" fmla="*/ 1701294 w 2299605"/>
                <a:gd name="connsiteY3977" fmla="*/ 1412408 h 1779774"/>
                <a:gd name="connsiteX3978" fmla="*/ 1703577 w 2299605"/>
                <a:gd name="connsiteY3978" fmla="*/ 1412408 h 1779774"/>
                <a:gd name="connsiteX3979" fmla="*/ 1703577 w 2299605"/>
                <a:gd name="connsiteY3979" fmla="*/ 1414690 h 1779774"/>
                <a:gd name="connsiteX3980" fmla="*/ 1705861 w 2299605"/>
                <a:gd name="connsiteY3980" fmla="*/ 1414690 h 1779774"/>
                <a:gd name="connsiteX3981" fmla="*/ 1705861 w 2299605"/>
                <a:gd name="connsiteY3981" fmla="*/ 1412408 h 1779774"/>
                <a:gd name="connsiteX3982" fmla="*/ 1708144 w 2299605"/>
                <a:gd name="connsiteY3982" fmla="*/ 1412408 h 1779774"/>
                <a:gd name="connsiteX3983" fmla="*/ 1710428 w 2299605"/>
                <a:gd name="connsiteY3983" fmla="*/ 1412408 h 1779774"/>
                <a:gd name="connsiteX3984" fmla="*/ 1712711 w 2299605"/>
                <a:gd name="connsiteY3984" fmla="*/ 1412408 h 1779774"/>
                <a:gd name="connsiteX3985" fmla="*/ 1714995 w 2299605"/>
                <a:gd name="connsiteY3985" fmla="*/ 1412408 h 1779774"/>
                <a:gd name="connsiteX3986" fmla="*/ 1717279 w 2299605"/>
                <a:gd name="connsiteY3986" fmla="*/ 1412408 h 1779774"/>
                <a:gd name="connsiteX3987" fmla="*/ 1717279 w 2299605"/>
                <a:gd name="connsiteY3987" fmla="*/ 1410126 h 1779774"/>
                <a:gd name="connsiteX3988" fmla="*/ 1719562 w 2299605"/>
                <a:gd name="connsiteY3988" fmla="*/ 1410126 h 1779774"/>
                <a:gd name="connsiteX3989" fmla="*/ 1719562 w 2299605"/>
                <a:gd name="connsiteY3989" fmla="*/ 1407845 h 1779774"/>
                <a:gd name="connsiteX3990" fmla="*/ 1721846 w 2299605"/>
                <a:gd name="connsiteY3990" fmla="*/ 1407845 h 1779774"/>
                <a:gd name="connsiteX3991" fmla="*/ 1724129 w 2299605"/>
                <a:gd name="connsiteY3991" fmla="*/ 1407845 h 1779774"/>
                <a:gd name="connsiteX3992" fmla="*/ 1724129 w 2299605"/>
                <a:gd name="connsiteY3992" fmla="*/ 1410126 h 1779774"/>
                <a:gd name="connsiteX3993" fmla="*/ 1726413 w 2299605"/>
                <a:gd name="connsiteY3993" fmla="*/ 1410126 h 1779774"/>
                <a:gd name="connsiteX3994" fmla="*/ 1726413 w 2299605"/>
                <a:gd name="connsiteY3994" fmla="*/ 1407845 h 1779774"/>
                <a:gd name="connsiteX3995" fmla="*/ 1728697 w 2299605"/>
                <a:gd name="connsiteY3995" fmla="*/ 1407845 h 1779774"/>
                <a:gd name="connsiteX3996" fmla="*/ 1728697 w 2299605"/>
                <a:gd name="connsiteY3996" fmla="*/ 1405562 h 1779774"/>
                <a:gd name="connsiteX3997" fmla="*/ 1730980 w 2299605"/>
                <a:gd name="connsiteY3997" fmla="*/ 1405562 h 1779774"/>
                <a:gd name="connsiteX3998" fmla="*/ 1730980 w 2299605"/>
                <a:gd name="connsiteY3998" fmla="*/ 1403280 h 1779774"/>
                <a:gd name="connsiteX3999" fmla="*/ 1733264 w 2299605"/>
                <a:gd name="connsiteY3999" fmla="*/ 1403280 h 1779774"/>
                <a:gd name="connsiteX4000" fmla="*/ 1733264 w 2299605"/>
                <a:gd name="connsiteY4000" fmla="*/ 1400999 h 1779774"/>
                <a:gd name="connsiteX4001" fmla="*/ 1735548 w 2299605"/>
                <a:gd name="connsiteY4001" fmla="*/ 1400999 h 1779774"/>
                <a:gd name="connsiteX4002" fmla="*/ 1735548 w 2299605"/>
                <a:gd name="connsiteY4002" fmla="*/ 1398717 h 1779774"/>
                <a:gd name="connsiteX4003" fmla="*/ 1737831 w 2299605"/>
                <a:gd name="connsiteY4003" fmla="*/ 1398717 h 1779774"/>
                <a:gd name="connsiteX4004" fmla="*/ 1740115 w 2299605"/>
                <a:gd name="connsiteY4004" fmla="*/ 1398717 h 1779774"/>
                <a:gd name="connsiteX4005" fmla="*/ 1740115 w 2299605"/>
                <a:gd name="connsiteY4005" fmla="*/ 1396435 h 1779774"/>
                <a:gd name="connsiteX4006" fmla="*/ 1742398 w 2299605"/>
                <a:gd name="connsiteY4006" fmla="*/ 1396435 h 1779774"/>
                <a:gd name="connsiteX4007" fmla="*/ 1744682 w 2299605"/>
                <a:gd name="connsiteY4007" fmla="*/ 1396435 h 1779774"/>
                <a:gd name="connsiteX4008" fmla="*/ 1744682 w 2299605"/>
                <a:gd name="connsiteY4008" fmla="*/ 1394153 h 1779774"/>
                <a:gd name="connsiteX4009" fmla="*/ 1744682 w 2299605"/>
                <a:gd name="connsiteY4009" fmla="*/ 1391871 h 1779774"/>
                <a:gd name="connsiteX4010" fmla="*/ 1746965 w 2299605"/>
                <a:gd name="connsiteY4010" fmla="*/ 1391871 h 1779774"/>
                <a:gd name="connsiteX4011" fmla="*/ 1746965 w 2299605"/>
                <a:gd name="connsiteY4011" fmla="*/ 1389589 h 1779774"/>
                <a:gd name="connsiteX4012" fmla="*/ 1749249 w 2299605"/>
                <a:gd name="connsiteY4012" fmla="*/ 1389589 h 1779774"/>
                <a:gd name="connsiteX4013" fmla="*/ 1749249 w 2299605"/>
                <a:gd name="connsiteY4013" fmla="*/ 1387307 h 1779774"/>
                <a:gd name="connsiteX4014" fmla="*/ 1751533 w 2299605"/>
                <a:gd name="connsiteY4014" fmla="*/ 1387307 h 1779774"/>
                <a:gd name="connsiteX4015" fmla="*/ 1751533 w 2299605"/>
                <a:gd name="connsiteY4015" fmla="*/ 1385025 h 1779774"/>
                <a:gd name="connsiteX4016" fmla="*/ 1753816 w 2299605"/>
                <a:gd name="connsiteY4016" fmla="*/ 1385025 h 1779774"/>
                <a:gd name="connsiteX4017" fmla="*/ 1756100 w 2299605"/>
                <a:gd name="connsiteY4017" fmla="*/ 1385025 h 1779774"/>
                <a:gd name="connsiteX4018" fmla="*/ 1758383 w 2299605"/>
                <a:gd name="connsiteY4018" fmla="*/ 1385025 h 1779774"/>
                <a:gd name="connsiteX4019" fmla="*/ 1760667 w 2299605"/>
                <a:gd name="connsiteY4019" fmla="*/ 1385025 h 1779774"/>
                <a:gd name="connsiteX4020" fmla="*/ 1762951 w 2299605"/>
                <a:gd name="connsiteY4020" fmla="*/ 1385025 h 1779774"/>
                <a:gd name="connsiteX4021" fmla="*/ 1765234 w 2299605"/>
                <a:gd name="connsiteY4021" fmla="*/ 1385025 h 1779774"/>
                <a:gd name="connsiteX4022" fmla="*/ 1765234 w 2299605"/>
                <a:gd name="connsiteY4022" fmla="*/ 1387307 h 1779774"/>
                <a:gd name="connsiteX4023" fmla="*/ 1767518 w 2299605"/>
                <a:gd name="connsiteY4023" fmla="*/ 1387307 h 1779774"/>
                <a:gd name="connsiteX4024" fmla="*/ 1769801 w 2299605"/>
                <a:gd name="connsiteY4024" fmla="*/ 1387307 h 1779774"/>
                <a:gd name="connsiteX4025" fmla="*/ 1772085 w 2299605"/>
                <a:gd name="connsiteY4025" fmla="*/ 1387307 h 1779774"/>
                <a:gd name="connsiteX4026" fmla="*/ 1774369 w 2299605"/>
                <a:gd name="connsiteY4026" fmla="*/ 1387307 h 1779774"/>
                <a:gd name="connsiteX4027" fmla="*/ 1776652 w 2299605"/>
                <a:gd name="connsiteY4027" fmla="*/ 1387307 h 1779774"/>
                <a:gd name="connsiteX4028" fmla="*/ 1778936 w 2299605"/>
                <a:gd name="connsiteY4028" fmla="*/ 1387307 h 1779774"/>
                <a:gd name="connsiteX4029" fmla="*/ 1781219 w 2299605"/>
                <a:gd name="connsiteY4029" fmla="*/ 1387307 h 1779774"/>
                <a:gd name="connsiteX4030" fmla="*/ 1783503 w 2299605"/>
                <a:gd name="connsiteY4030" fmla="*/ 1387307 h 1779774"/>
                <a:gd name="connsiteX4031" fmla="*/ 1783503 w 2299605"/>
                <a:gd name="connsiteY4031" fmla="*/ 1389589 h 1779774"/>
                <a:gd name="connsiteX4032" fmla="*/ 1785787 w 2299605"/>
                <a:gd name="connsiteY4032" fmla="*/ 1389589 h 1779774"/>
                <a:gd name="connsiteX4033" fmla="*/ 1788070 w 2299605"/>
                <a:gd name="connsiteY4033" fmla="*/ 1389589 h 1779774"/>
                <a:gd name="connsiteX4034" fmla="*/ 1790354 w 2299605"/>
                <a:gd name="connsiteY4034" fmla="*/ 1389589 h 1779774"/>
                <a:gd name="connsiteX4035" fmla="*/ 1792637 w 2299605"/>
                <a:gd name="connsiteY4035" fmla="*/ 1389589 h 1779774"/>
                <a:gd name="connsiteX4036" fmla="*/ 1794921 w 2299605"/>
                <a:gd name="connsiteY4036" fmla="*/ 1389589 h 1779774"/>
                <a:gd name="connsiteX4037" fmla="*/ 1794921 w 2299605"/>
                <a:gd name="connsiteY4037" fmla="*/ 1391871 h 1779774"/>
                <a:gd name="connsiteX4038" fmla="*/ 1797205 w 2299605"/>
                <a:gd name="connsiteY4038" fmla="*/ 1391871 h 1779774"/>
                <a:gd name="connsiteX4039" fmla="*/ 1799488 w 2299605"/>
                <a:gd name="connsiteY4039" fmla="*/ 1391871 h 1779774"/>
                <a:gd name="connsiteX4040" fmla="*/ 1801772 w 2299605"/>
                <a:gd name="connsiteY4040" fmla="*/ 1391871 h 1779774"/>
                <a:gd name="connsiteX4041" fmla="*/ 1804055 w 2299605"/>
                <a:gd name="connsiteY4041" fmla="*/ 1391871 h 1779774"/>
                <a:gd name="connsiteX4042" fmla="*/ 1804055 w 2299605"/>
                <a:gd name="connsiteY4042" fmla="*/ 1394153 h 1779774"/>
                <a:gd name="connsiteX4043" fmla="*/ 1806339 w 2299605"/>
                <a:gd name="connsiteY4043" fmla="*/ 1394153 h 1779774"/>
                <a:gd name="connsiteX4044" fmla="*/ 1808623 w 2299605"/>
                <a:gd name="connsiteY4044" fmla="*/ 1394153 h 1779774"/>
                <a:gd name="connsiteX4045" fmla="*/ 1810906 w 2299605"/>
                <a:gd name="connsiteY4045" fmla="*/ 1394153 h 1779774"/>
                <a:gd name="connsiteX4046" fmla="*/ 1810906 w 2299605"/>
                <a:gd name="connsiteY4046" fmla="*/ 1396435 h 1779774"/>
                <a:gd name="connsiteX4047" fmla="*/ 1813190 w 2299605"/>
                <a:gd name="connsiteY4047" fmla="*/ 1396435 h 1779774"/>
                <a:gd name="connsiteX4048" fmla="*/ 1815473 w 2299605"/>
                <a:gd name="connsiteY4048" fmla="*/ 1396435 h 1779774"/>
                <a:gd name="connsiteX4049" fmla="*/ 1817757 w 2299605"/>
                <a:gd name="connsiteY4049" fmla="*/ 1396435 h 1779774"/>
                <a:gd name="connsiteX4050" fmla="*/ 1817757 w 2299605"/>
                <a:gd name="connsiteY4050" fmla="*/ 1398717 h 1779774"/>
                <a:gd name="connsiteX4051" fmla="*/ 1820040 w 2299605"/>
                <a:gd name="connsiteY4051" fmla="*/ 1398717 h 1779774"/>
                <a:gd name="connsiteX4052" fmla="*/ 1822324 w 2299605"/>
                <a:gd name="connsiteY4052" fmla="*/ 1398717 h 1779774"/>
                <a:gd name="connsiteX4053" fmla="*/ 1822324 w 2299605"/>
                <a:gd name="connsiteY4053" fmla="*/ 1396435 h 1779774"/>
                <a:gd name="connsiteX4054" fmla="*/ 1824608 w 2299605"/>
                <a:gd name="connsiteY4054" fmla="*/ 1396435 h 1779774"/>
                <a:gd name="connsiteX4055" fmla="*/ 1826891 w 2299605"/>
                <a:gd name="connsiteY4055" fmla="*/ 1396435 h 1779774"/>
                <a:gd name="connsiteX4056" fmla="*/ 1829175 w 2299605"/>
                <a:gd name="connsiteY4056" fmla="*/ 1396435 h 1779774"/>
                <a:gd name="connsiteX4057" fmla="*/ 1831458 w 2299605"/>
                <a:gd name="connsiteY4057" fmla="*/ 1396435 h 1779774"/>
                <a:gd name="connsiteX4058" fmla="*/ 1833742 w 2299605"/>
                <a:gd name="connsiteY4058" fmla="*/ 1396435 h 1779774"/>
                <a:gd name="connsiteX4059" fmla="*/ 1833742 w 2299605"/>
                <a:gd name="connsiteY4059" fmla="*/ 1398717 h 1779774"/>
                <a:gd name="connsiteX4060" fmla="*/ 1836026 w 2299605"/>
                <a:gd name="connsiteY4060" fmla="*/ 1398717 h 1779774"/>
                <a:gd name="connsiteX4061" fmla="*/ 1838309 w 2299605"/>
                <a:gd name="connsiteY4061" fmla="*/ 1398717 h 1779774"/>
                <a:gd name="connsiteX4062" fmla="*/ 1840593 w 2299605"/>
                <a:gd name="connsiteY4062" fmla="*/ 1398717 h 1779774"/>
                <a:gd name="connsiteX4063" fmla="*/ 1840593 w 2299605"/>
                <a:gd name="connsiteY4063" fmla="*/ 1400999 h 1779774"/>
                <a:gd name="connsiteX4064" fmla="*/ 1842877 w 2299605"/>
                <a:gd name="connsiteY4064" fmla="*/ 1400999 h 1779774"/>
                <a:gd name="connsiteX4065" fmla="*/ 1845160 w 2299605"/>
                <a:gd name="connsiteY4065" fmla="*/ 1400999 h 1779774"/>
                <a:gd name="connsiteX4066" fmla="*/ 1845160 w 2299605"/>
                <a:gd name="connsiteY4066" fmla="*/ 1403280 h 1779774"/>
                <a:gd name="connsiteX4067" fmla="*/ 1847444 w 2299605"/>
                <a:gd name="connsiteY4067" fmla="*/ 1403280 h 1779774"/>
                <a:gd name="connsiteX4068" fmla="*/ 1849727 w 2299605"/>
                <a:gd name="connsiteY4068" fmla="*/ 1403280 h 1779774"/>
                <a:gd name="connsiteX4069" fmla="*/ 1852011 w 2299605"/>
                <a:gd name="connsiteY4069" fmla="*/ 1403280 h 1779774"/>
                <a:gd name="connsiteX4070" fmla="*/ 1854294 w 2299605"/>
                <a:gd name="connsiteY4070" fmla="*/ 1403280 h 1779774"/>
                <a:gd name="connsiteX4071" fmla="*/ 1856578 w 2299605"/>
                <a:gd name="connsiteY4071" fmla="*/ 1403280 h 1779774"/>
                <a:gd name="connsiteX4072" fmla="*/ 1856578 w 2299605"/>
                <a:gd name="connsiteY4072" fmla="*/ 1405562 h 1779774"/>
                <a:gd name="connsiteX4073" fmla="*/ 1858862 w 2299605"/>
                <a:gd name="connsiteY4073" fmla="*/ 1405562 h 1779774"/>
                <a:gd name="connsiteX4074" fmla="*/ 1861145 w 2299605"/>
                <a:gd name="connsiteY4074" fmla="*/ 1405562 h 1779774"/>
                <a:gd name="connsiteX4075" fmla="*/ 1863429 w 2299605"/>
                <a:gd name="connsiteY4075" fmla="*/ 1405562 h 1779774"/>
                <a:gd name="connsiteX4076" fmla="*/ 1865712 w 2299605"/>
                <a:gd name="connsiteY4076" fmla="*/ 1405562 h 1779774"/>
                <a:gd name="connsiteX4077" fmla="*/ 1865712 w 2299605"/>
                <a:gd name="connsiteY4077" fmla="*/ 1407845 h 1779774"/>
                <a:gd name="connsiteX4078" fmla="*/ 1867996 w 2299605"/>
                <a:gd name="connsiteY4078" fmla="*/ 1407845 h 1779774"/>
                <a:gd name="connsiteX4079" fmla="*/ 1870280 w 2299605"/>
                <a:gd name="connsiteY4079" fmla="*/ 1407845 h 1779774"/>
                <a:gd name="connsiteX4080" fmla="*/ 1872563 w 2299605"/>
                <a:gd name="connsiteY4080" fmla="*/ 1407845 h 1779774"/>
                <a:gd name="connsiteX4081" fmla="*/ 1874847 w 2299605"/>
                <a:gd name="connsiteY4081" fmla="*/ 1407845 h 1779774"/>
                <a:gd name="connsiteX4082" fmla="*/ 1874847 w 2299605"/>
                <a:gd name="connsiteY4082" fmla="*/ 1410126 h 1779774"/>
                <a:gd name="connsiteX4083" fmla="*/ 1877131 w 2299605"/>
                <a:gd name="connsiteY4083" fmla="*/ 1410126 h 1779774"/>
                <a:gd name="connsiteX4084" fmla="*/ 1879414 w 2299605"/>
                <a:gd name="connsiteY4084" fmla="*/ 1410126 h 1779774"/>
                <a:gd name="connsiteX4085" fmla="*/ 1881698 w 2299605"/>
                <a:gd name="connsiteY4085" fmla="*/ 1410126 h 1779774"/>
                <a:gd name="connsiteX4086" fmla="*/ 1881698 w 2299605"/>
                <a:gd name="connsiteY4086" fmla="*/ 1412408 h 1779774"/>
                <a:gd name="connsiteX4087" fmla="*/ 1883981 w 2299605"/>
                <a:gd name="connsiteY4087" fmla="*/ 1412408 h 1779774"/>
                <a:gd name="connsiteX4088" fmla="*/ 1886265 w 2299605"/>
                <a:gd name="connsiteY4088" fmla="*/ 1412408 h 1779774"/>
                <a:gd name="connsiteX4089" fmla="*/ 1886265 w 2299605"/>
                <a:gd name="connsiteY4089" fmla="*/ 1414690 h 1779774"/>
                <a:gd name="connsiteX4090" fmla="*/ 1888548 w 2299605"/>
                <a:gd name="connsiteY4090" fmla="*/ 1414690 h 1779774"/>
                <a:gd name="connsiteX4091" fmla="*/ 1888548 w 2299605"/>
                <a:gd name="connsiteY4091" fmla="*/ 1416972 h 1779774"/>
                <a:gd name="connsiteX4092" fmla="*/ 1890832 w 2299605"/>
                <a:gd name="connsiteY4092" fmla="*/ 1416972 h 1779774"/>
                <a:gd name="connsiteX4093" fmla="*/ 1893116 w 2299605"/>
                <a:gd name="connsiteY4093" fmla="*/ 1416972 h 1779774"/>
                <a:gd name="connsiteX4094" fmla="*/ 1895399 w 2299605"/>
                <a:gd name="connsiteY4094" fmla="*/ 1416972 h 1779774"/>
                <a:gd name="connsiteX4095" fmla="*/ 1895399 w 2299605"/>
                <a:gd name="connsiteY4095" fmla="*/ 1414690 h 1779774"/>
                <a:gd name="connsiteX4096" fmla="*/ 1895399 w 2299605"/>
                <a:gd name="connsiteY4096" fmla="*/ 1412408 h 1779774"/>
                <a:gd name="connsiteX4097" fmla="*/ 1897683 w 2299605"/>
                <a:gd name="connsiteY4097" fmla="*/ 1412408 h 1779774"/>
                <a:gd name="connsiteX4098" fmla="*/ 1899966 w 2299605"/>
                <a:gd name="connsiteY4098" fmla="*/ 1412408 h 1779774"/>
                <a:gd name="connsiteX4099" fmla="*/ 1899966 w 2299605"/>
                <a:gd name="connsiteY4099" fmla="*/ 1410126 h 1779774"/>
                <a:gd name="connsiteX4100" fmla="*/ 1902250 w 2299605"/>
                <a:gd name="connsiteY4100" fmla="*/ 1410126 h 1779774"/>
                <a:gd name="connsiteX4101" fmla="*/ 1904533 w 2299605"/>
                <a:gd name="connsiteY4101" fmla="*/ 1410126 h 1779774"/>
                <a:gd name="connsiteX4102" fmla="*/ 1906817 w 2299605"/>
                <a:gd name="connsiteY4102" fmla="*/ 1410126 h 1779774"/>
                <a:gd name="connsiteX4103" fmla="*/ 1909101 w 2299605"/>
                <a:gd name="connsiteY4103" fmla="*/ 1410126 h 1779774"/>
                <a:gd name="connsiteX4104" fmla="*/ 1909101 w 2299605"/>
                <a:gd name="connsiteY4104" fmla="*/ 1412408 h 1779774"/>
                <a:gd name="connsiteX4105" fmla="*/ 1911384 w 2299605"/>
                <a:gd name="connsiteY4105" fmla="*/ 1412408 h 1779774"/>
                <a:gd name="connsiteX4106" fmla="*/ 1913668 w 2299605"/>
                <a:gd name="connsiteY4106" fmla="*/ 1412408 h 1779774"/>
                <a:gd name="connsiteX4107" fmla="*/ 1915952 w 2299605"/>
                <a:gd name="connsiteY4107" fmla="*/ 1412408 h 1779774"/>
                <a:gd name="connsiteX4108" fmla="*/ 1918235 w 2299605"/>
                <a:gd name="connsiteY4108" fmla="*/ 1412408 h 1779774"/>
                <a:gd name="connsiteX4109" fmla="*/ 1918235 w 2299605"/>
                <a:gd name="connsiteY4109" fmla="*/ 1414690 h 1779774"/>
                <a:gd name="connsiteX4110" fmla="*/ 1920519 w 2299605"/>
                <a:gd name="connsiteY4110" fmla="*/ 1414690 h 1779774"/>
                <a:gd name="connsiteX4111" fmla="*/ 1922802 w 2299605"/>
                <a:gd name="connsiteY4111" fmla="*/ 1414690 h 1779774"/>
                <a:gd name="connsiteX4112" fmla="*/ 1925086 w 2299605"/>
                <a:gd name="connsiteY4112" fmla="*/ 1414690 h 1779774"/>
                <a:gd name="connsiteX4113" fmla="*/ 1927370 w 2299605"/>
                <a:gd name="connsiteY4113" fmla="*/ 1414690 h 1779774"/>
                <a:gd name="connsiteX4114" fmla="*/ 1929653 w 2299605"/>
                <a:gd name="connsiteY4114" fmla="*/ 1414690 h 1779774"/>
                <a:gd name="connsiteX4115" fmla="*/ 1931937 w 2299605"/>
                <a:gd name="connsiteY4115" fmla="*/ 1414690 h 1779774"/>
                <a:gd name="connsiteX4116" fmla="*/ 1934220 w 2299605"/>
                <a:gd name="connsiteY4116" fmla="*/ 1414690 h 1779774"/>
                <a:gd name="connsiteX4117" fmla="*/ 1934220 w 2299605"/>
                <a:gd name="connsiteY4117" fmla="*/ 1412408 h 1779774"/>
                <a:gd name="connsiteX4118" fmla="*/ 1936504 w 2299605"/>
                <a:gd name="connsiteY4118" fmla="*/ 1412408 h 1779774"/>
                <a:gd name="connsiteX4119" fmla="*/ 1938787 w 2299605"/>
                <a:gd name="connsiteY4119" fmla="*/ 1412408 h 1779774"/>
                <a:gd name="connsiteX4120" fmla="*/ 1941071 w 2299605"/>
                <a:gd name="connsiteY4120" fmla="*/ 1412408 h 1779774"/>
                <a:gd name="connsiteX4121" fmla="*/ 1943355 w 2299605"/>
                <a:gd name="connsiteY4121" fmla="*/ 1412408 h 1779774"/>
                <a:gd name="connsiteX4122" fmla="*/ 1945638 w 2299605"/>
                <a:gd name="connsiteY4122" fmla="*/ 1412408 h 1779774"/>
                <a:gd name="connsiteX4123" fmla="*/ 1947922 w 2299605"/>
                <a:gd name="connsiteY4123" fmla="*/ 1412408 h 1779774"/>
                <a:gd name="connsiteX4124" fmla="*/ 1950206 w 2299605"/>
                <a:gd name="connsiteY4124" fmla="*/ 1412408 h 1779774"/>
                <a:gd name="connsiteX4125" fmla="*/ 1950206 w 2299605"/>
                <a:gd name="connsiteY4125" fmla="*/ 1414690 h 1779774"/>
                <a:gd name="connsiteX4126" fmla="*/ 1952489 w 2299605"/>
                <a:gd name="connsiteY4126" fmla="*/ 1414690 h 1779774"/>
                <a:gd name="connsiteX4127" fmla="*/ 1954773 w 2299605"/>
                <a:gd name="connsiteY4127" fmla="*/ 1414690 h 1779774"/>
                <a:gd name="connsiteX4128" fmla="*/ 1957056 w 2299605"/>
                <a:gd name="connsiteY4128" fmla="*/ 1414690 h 1779774"/>
                <a:gd name="connsiteX4129" fmla="*/ 1957056 w 2299605"/>
                <a:gd name="connsiteY4129" fmla="*/ 1412408 h 1779774"/>
                <a:gd name="connsiteX4130" fmla="*/ 1959340 w 2299605"/>
                <a:gd name="connsiteY4130" fmla="*/ 1412408 h 1779774"/>
                <a:gd name="connsiteX4131" fmla="*/ 1961623 w 2299605"/>
                <a:gd name="connsiteY4131" fmla="*/ 1412408 h 1779774"/>
                <a:gd name="connsiteX4132" fmla="*/ 1961623 w 2299605"/>
                <a:gd name="connsiteY4132" fmla="*/ 1414690 h 1779774"/>
                <a:gd name="connsiteX4133" fmla="*/ 1963907 w 2299605"/>
                <a:gd name="connsiteY4133" fmla="*/ 1414690 h 1779774"/>
                <a:gd name="connsiteX4134" fmla="*/ 1963907 w 2299605"/>
                <a:gd name="connsiteY4134" fmla="*/ 1412408 h 1779774"/>
                <a:gd name="connsiteX4135" fmla="*/ 1966191 w 2299605"/>
                <a:gd name="connsiteY4135" fmla="*/ 1412408 h 1779774"/>
                <a:gd name="connsiteX4136" fmla="*/ 1968474 w 2299605"/>
                <a:gd name="connsiteY4136" fmla="*/ 1412408 h 1779774"/>
                <a:gd name="connsiteX4137" fmla="*/ 1970758 w 2299605"/>
                <a:gd name="connsiteY4137" fmla="*/ 1412408 h 1779774"/>
                <a:gd name="connsiteX4138" fmla="*/ 1973041 w 2299605"/>
                <a:gd name="connsiteY4138" fmla="*/ 1412408 h 1779774"/>
                <a:gd name="connsiteX4139" fmla="*/ 1973041 w 2299605"/>
                <a:gd name="connsiteY4139" fmla="*/ 1414690 h 1779774"/>
                <a:gd name="connsiteX4140" fmla="*/ 1975325 w 2299605"/>
                <a:gd name="connsiteY4140" fmla="*/ 1414690 h 1779774"/>
                <a:gd name="connsiteX4141" fmla="*/ 1977609 w 2299605"/>
                <a:gd name="connsiteY4141" fmla="*/ 1414690 h 1779774"/>
                <a:gd name="connsiteX4142" fmla="*/ 1979892 w 2299605"/>
                <a:gd name="connsiteY4142" fmla="*/ 1414690 h 1779774"/>
                <a:gd name="connsiteX4143" fmla="*/ 1982176 w 2299605"/>
                <a:gd name="connsiteY4143" fmla="*/ 1414690 h 1779774"/>
                <a:gd name="connsiteX4144" fmla="*/ 1984460 w 2299605"/>
                <a:gd name="connsiteY4144" fmla="*/ 1414690 h 1779774"/>
                <a:gd name="connsiteX4145" fmla="*/ 1986743 w 2299605"/>
                <a:gd name="connsiteY4145" fmla="*/ 1414690 h 1779774"/>
                <a:gd name="connsiteX4146" fmla="*/ 1989027 w 2299605"/>
                <a:gd name="connsiteY4146" fmla="*/ 1414690 h 1779774"/>
                <a:gd name="connsiteX4147" fmla="*/ 1989027 w 2299605"/>
                <a:gd name="connsiteY4147" fmla="*/ 1416972 h 1779774"/>
                <a:gd name="connsiteX4148" fmla="*/ 1991310 w 2299605"/>
                <a:gd name="connsiteY4148" fmla="*/ 1416972 h 1779774"/>
                <a:gd name="connsiteX4149" fmla="*/ 1993594 w 2299605"/>
                <a:gd name="connsiteY4149" fmla="*/ 1416972 h 1779774"/>
                <a:gd name="connsiteX4150" fmla="*/ 1995877 w 2299605"/>
                <a:gd name="connsiteY4150" fmla="*/ 1416972 h 1779774"/>
                <a:gd name="connsiteX4151" fmla="*/ 1995877 w 2299605"/>
                <a:gd name="connsiteY4151" fmla="*/ 1419254 h 1779774"/>
                <a:gd name="connsiteX4152" fmla="*/ 1998161 w 2299605"/>
                <a:gd name="connsiteY4152" fmla="*/ 1419254 h 1779774"/>
                <a:gd name="connsiteX4153" fmla="*/ 2000445 w 2299605"/>
                <a:gd name="connsiteY4153" fmla="*/ 1419254 h 1779774"/>
                <a:gd name="connsiteX4154" fmla="*/ 2002728 w 2299605"/>
                <a:gd name="connsiteY4154" fmla="*/ 1419254 h 1779774"/>
                <a:gd name="connsiteX4155" fmla="*/ 2005012 w 2299605"/>
                <a:gd name="connsiteY4155" fmla="*/ 1419254 h 1779774"/>
                <a:gd name="connsiteX4156" fmla="*/ 2007295 w 2299605"/>
                <a:gd name="connsiteY4156" fmla="*/ 1419254 h 1779774"/>
                <a:gd name="connsiteX4157" fmla="*/ 2009579 w 2299605"/>
                <a:gd name="connsiteY4157" fmla="*/ 1419254 h 1779774"/>
                <a:gd name="connsiteX4158" fmla="*/ 2011862 w 2299605"/>
                <a:gd name="connsiteY4158" fmla="*/ 1419254 h 1779774"/>
                <a:gd name="connsiteX4159" fmla="*/ 2014146 w 2299605"/>
                <a:gd name="connsiteY4159" fmla="*/ 1419254 h 1779774"/>
                <a:gd name="connsiteX4160" fmla="*/ 2016430 w 2299605"/>
                <a:gd name="connsiteY4160" fmla="*/ 1419254 h 1779774"/>
                <a:gd name="connsiteX4161" fmla="*/ 2018713 w 2299605"/>
                <a:gd name="connsiteY4161" fmla="*/ 1419254 h 1779774"/>
                <a:gd name="connsiteX4162" fmla="*/ 2020997 w 2299605"/>
                <a:gd name="connsiteY4162" fmla="*/ 1419254 h 1779774"/>
                <a:gd name="connsiteX4163" fmla="*/ 2023281 w 2299605"/>
                <a:gd name="connsiteY4163" fmla="*/ 1419254 h 1779774"/>
                <a:gd name="connsiteX4164" fmla="*/ 2025564 w 2299605"/>
                <a:gd name="connsiteY4164" fmla="*/ 1419254 h 1779774"/>
                <a:gd name="connsiteX4165" fmla="*/ 2027848 w 2299605"/>
                <a:gd name="connsiteY4165" fmla="*/ 1419254 h 1779774"/>
                <a:gd name="connsiteX4166" fmla="*/ 2030131 w 2299605"/>
                <a:gd name="connsiteY4166" fmla="*/ 1419254 h 1779774"/>
                <a:gd name="connsiteX4167" fmla="*/ 2032415 w 2299605"/>
                <a:gd name="connsiteY4167" fmla="*/ 1419254 h 1779774"/>
                <a:gd name="connsiteX4168" fmla="*/ 2034699 w 2299605"/>
                <a:gd name="connsiteY4168" fmla="*/ 1419254 h 1779774"/>
                <a:gd name="connsiteX4169" fmla="*/ 2036982 w 2299605"/>
                <a:gd name="connsiteY4169" fmla="*/ 1419254 h 1779774"/>
                <a:gd name="connsiteX4170" fmla="*/ 2039266 w 2299605"/>
                <a:gd name="connsiteY4170" fmla="*/ 1419254 h 1779774"/>
                <a:gd name="connsiteX4171" fmla="*/ 2041549 w 2299605"/>
                <a:gd name="connsiteY4171" fmla="*/ 1419254 h 1779774"/>
                <a:gd name="connsiteX4172" fmla="*/ 2041549 w 2299605"/>
                <a:gd name="connsiteY4172" fmla="*/ 1416972 h 1779774"/>
                <a:gd name="connsiteX4173" fmla="*/ 2039266 w 2299605"/>
                <a:gd name="connsiteY4173" fmla="*/ 1416972 h 1779774"/>
                <a:gd name="connsiteX4174" fmla="*/ 2036982 w 2299605"/>
                <a:gd name="connsiteY4174" fmla="*/ 1416972 h 1779774"/>
                <a:gd name="connsiteX4175" fmla="*/ 2034699 w 2299605"/>
                <a:gd name="connsiteY4175" fmla="*/ 1416972 h 1779774"/>
                <a:gd name="connsiteX4176" fmla="*/ 2032415 w 2299605"/>
                <a:gd name="connsiteY4176" fmla="*/ 1416972 h 1779774"/>
                <a:gd name="connsiteX4177" fmla="*/ 2032415 w 2299605"/>
                <a:gd name="connsiteY4177" fmla="*/ 1414690 h 1779774"/>
                <a:gd name="connsiteX4178" fmla="*/ 2030131 w 2299605"/>
                <a:gd name="connsiteY4178" fmla="*/ 1414690 h 1779774"/>
                <a:gd name="connsiteX4179" fmla="*/ 2030131 w 2299605"/>
                <a:gd name="connsiteY4179" fmla="*/ 1412408 h 1779774"/>
                <a:gd name="connsiteX4180" fmla="*/ 2030131 w 2299605"/>
                <a:gd name="connsiteY4180" fmla="*/ 1410126 h 1779774"/>
                <a:gd name="connsiteX4181" fmla="*/ 2030131 w 2299605"/>
                <a:gd name="connsiteY4181" fmla="*/ 1407845 h 1779774"/>
                <a:gd name="connsiteX4182" fmla="*/ 2030131 w 2299605"/>
                <a:gd name="connsiteY4182" fmla="*/ 1405562 h 1779774"/>
                <a:gd name="connsiteX4183" fmla="*/ 2032415 w 2299605"/>
                <a:gd name="connsiteY4183" fmla="*/ 1405562 h 1779774"/>
                <a:gd name="connsiteX4184" fmla="*/ 2032415 w 2299605"/>
                <a:gd name="connsiteY4184" fmla="*/ 1403280 h 1779774"/>
                <a:gd name="connsiteX4185" fmla="*/ 2032415 w 2299605"/>
                <a:gd name="connsiteY4185" fmla="*/ 1400999 h 1779774"/>
                <a:gd name="connsiteX4186" fmla="*/ 2032415 w 2299605"/>
                <a:gd name="connsiteY4186" fmla="*/ 1398717 h 1779774"/>
                <a:gd name="connsiteX4187" fmla="*/ 2032415 w 2299605"/>
                <a:gd name="connsiteY4187" fmla="*/ 1396435 h 1779774"/>
                <a:gd name="connsiteX4188" fmla="*/ 2032415 w 2299605"/>
                <a:gd name="connsiteY4188" fmla="*/ 1394153 h 1779774"/>
                <a:gd name="connsiteX4189" fmla="*/ 2034699 w 2299605"/>
                <a:gd name="connsiteY4189" fmla="*/ 1394153 h 1779774"/>
                <a:gd name="connsiteX4190" fmla="*/ 2034699 w 2299605"/>
                <a:gd name="connsiteY4190" fmla="*/ 1391871 h 1779774"/>
                <a:gd name="connsiteX4191" fmla="*/ 2036982 w 2299605"/>
                <a:gd name="connsiteY4191" fmla="*/ 1391871 h 1779774"/>
                <a:gd name="connsiteX4192" fmla="*/ 2036982 w 2299605"/>
                <a:gd name="connsiteY4192" fmla="*/ 1389589 h 1779774"/>
                <a:gd name="connsiteX4193" fmla="*/ 2039266 w 2299605"/>
                <a:gd name="connsiteY4193" fmla="*/ 1389589 h 1779774"/>
                <a:gd name="connsiteX4194" fmla="*/ 2039266 w 2299605"/>
                <a:gd name="connsiteY4194" fmla="*/ 1387307 h 1779774"/>
                <a:gd name="connsiteX4195" fmla="*/ 2041549 w 2299605"/>
                <a:gd name="connsiteY4195" fmla="*/ 1387307 h 1779774"/>
                <a:gd name="connsiteX4196" fmla="*/ 2041549 w 2299605"/>
                <a:gd name="connsiteY4196" fmla="*/ 1385025 h 1779774"/>
                <a:gd name="connsiteX4197" fmla="*/ 2043833 w 2299605"/>
                <a:gd name="connsiteY4197" fmla="*/ 1385025 h 1779774"/>
                <a:gd name="connsiteX4198" fmla="*/ 2043833 w 2299605"/>
                <a:gd name="connsiteY4198" fmla="*/ 1382753 h 1779774"/>
                <a:gd name="connsiteX4199" fmla="*/ 2046116 w 2299605"/>
                <a:gd name="connsiteY4199" fmla="*/ 1382753 h 1779774"/>
                <a:gd name="connsiteX4200" fmla="*/ 2046116 w 2299605"/>
                <a:gd name="connsiteY4200" fmla="*/ 1380471 h 1779774"/>
                <a:gd name="connsiteX4201" fmla="*/ 2048400 w 2299605"/>
                <a:gd name="connsiteY4201" fmla="*/ 1380471 h 1779774"/>
                <a:gd name="connsiteX4202" fmla="*/ 2050684 w 2299605"/>
                <a:gd name="connsiteY4202" fmla="*/ 1380471 h 1779774"/>
                <a:gd name="connsiteX4203" fmla="*/ 2050684 w 2299605"/>
                <a:gd name="connsiteY4203" fmla="*/ 1378189 h 1779774"/>
                <a:gd name="connsiteX4204" fmla="*/ 2052967 w 2299605"/>
                <a:gd name="connsiteY4204" fmla="*/ 1378189 h 1779774"/>
                <a:gd name="connsiteX4205" fmla="*/ 2055251 w 2299605"/>
                <a:gd name="connsiteY4205" fmla="*/ 1378189 h 1779774"/>
                <a:gd name="connsiteX4206" fmla="*/ 2057535 w 2299605"/>
                <a:gd name="connsiteY4206" fmla="*/ 1378189 h 1779774"/>
                <a:gd name="connsiteX4207" fmla="*/ 2059818 w 2299605"/>
                <a:gd name="connsiteY4207" fmla="*/ 1378189 h 1779774"/>
                <a:gd name="connsiteX4208" fmla="*/ 2059818 w 2299605"/>
                <a:gd name="connsiteY4208" fmla="*/ 1375908 h 1779774"/>
                <a:gd name="connsiteX4209" fmla="*/ 2062102 w 2299605"/>
                <a:gd name="connsiteY4209" fmla="*/ 1375908 h 1779774"/>
                <a:gd name="connsiteX4210" fmla="*/ 2064385 w 2299605"/>
                <a:gd name="connsiteY4210" fmla="*/ 1375908 h 1779774"/>
                <a:gd name="connsiteX4211" fmla="*/ 2066669 w 2299605"/>
                <a:gd name="connsiteY4211" fmla="*/ 1375908 h 1779774"/>
                <a:gd name="connsiteX4212" fmla="*/ 2068952 w 2299605"/>
                <a:gd name="connsiteY4212" fmla="*/ 1375908 h 1779774"/>
                <a:gd name="connsiteX4213" fmla="*/ 2071236 w 2299605"/>
                <a:gd name="connsiteY4213" fmla="*/ 1375908 h 1779774"/>
                <a:gd name="connsiteX4214" fmla="*/ 2073520 w 2299605"/>
                <a:gd name="connsiteY4214" fmla="*/ 1375908 h 1779774"/>
                <a:gd name="connsiteX4215" fmla="*/ 2075803 w 2299605"/>
                <a:gd name="connsiteY4215" fmla="*/ 1375908 h 1779774"/>
                <a:gd name="connsiteX4216" fmla="*/ 2078087 w 2299605"/>
                <a:gd name="connsiteY4216" fmla="*/ 1375908 h 1779774"/>
                <a:gd name="connsiteX4217" fmla="*/ 2080370 w 2299605"/>
                <a:gd name="connsiteY4217" fmla="*/ 1375908 h 1779774"/>
                <a:gd name="connsiteX4218" fmla="*/ 2080370 w 2299605"/>
                <a:gd name="connsiteY4218" fmla="*/ 1373625 h 1779774"/>
                <a:gd name="connsiteX4219" fmla="*/ 2082654 w 2299605"/>
                <a:gd name="connsiteY4219" fmla="*/ 1373625 h 1779774"/>
                <a:gd name="connsiteX4220" fmla="*/ 2084938 w 2299605"/>
                <a:gd name="connsiteY4220" fmla="*/ 1373625 h 1779774"/>
                <a:gd name="connsiteX4221" fmla="*/ 2084938 w 2299605"/>
                <a:gd name="connsiteY4221" fmla="*/ 1371343 h 1779774"/>
                <a:gd name="connsiteX4222" fmla="*/ 2087221 w 2299605"/>
                <a:gd name="connsiteY4222" fmla="*/ 1371343 h 1779774"/>
                <a:gd name="connsiteX4223" fmla="*/ 2087221 w 2299605"/>
                <a:gd name="connsiteY4223" fmla="*/ 1369062 h 1779774"/>
                <a:gd name="connsiteX4224" fmla="*/ 2089505 w 2299605"/>
                <a:gd name="connsiteY4224" fmla="*/ 1369062 h 1779774"/>
                <a:gd name="connsiteX4225" fmla="*/ 2089505 w 2299605"/>
                <a:gd name="connsiteY4225" fmla="*/ 1366780 h 1779774"/>
                <a:gd name="connsiteX4226" fmla="*/ 2091789 w 2299605"/>
                <a:gd name="connsiteY4226" fmla="*/ 1366780 h 1779774"/>
                <a:gd name="connsiteX4227" fmla="*/ 2094072 w 2299605"/>
                <a:gd name="connsiteY4227" fmla="*/ 1366780 h 1779774"/>
                <a:gd name="connsiteX4228" fmla="*/ 2096356 w 2299605"/>
                <a:gd name="connsiteY4228" fmla="*/ 1366780 h 1779774"/>
                <a:gd name="connsiteX4229" fmla="*/ 2098639 w 2299605"/>
                <a:gd name="connsiteY4229" fmla="*/ 1366780 h 1779774"/>
                <a:gd name="connsiteX4230" fmla="*/ 2100923 w 2299605"/>
                <a:gd name="connsiteY4230" fmla="*/ 1366780 h 1779774"/>
                <a:gd name="connsiteX4231" fmla="*/ 2103206 w 2299605"/>
                <a:gd name="connsiteY4231" fmla="*/ 1366780 h 1779774"/>
                <a:gd name="connsiteX4232" fmla="*/ 2105490 w 2299605"/>
                <a:gd name="connsiteY4232" fmla="*/ 1366780 h 1779774"/>
                <a:gd name="connsiteX4233" fmla="*/ 2107774 w 2299605"/>
                <a:gd name="connsiteY4233" fmla="*/ 1366780 h 1779774"/>
                <a:gd name="connsiteX4234" fmla="*/ 2107774 w 2299605"/>
                <a:gd name="connsiteY4234" fmla="*/ 1364498 h 1779774"/>
                <a:gd name="connsiteX4235" fmla="*/ 2110057 w 2299605"/>
                <a:gd name="connsiteY4235" fmla="*/ 1364498 h 1779774"/>
                <a:gd name="connsiteX4236" fmla="*/ 2112341 w 2299605"/>
                <a:gd name="connsiteY4236" fmla="*/ 1364498 h 1779774"/>
                <a:gd name="connsiteX4237" fmla="*/ 2114625 w 2299605"/>
                <a:gd name="connsiteY4237" fmla="*/ 1364498 h 1779774"/>
                <a:gd name="connsiteX4238" fmla="*/ 2114625 w 2299605"/>
                <a:gd name="connsiteY4238" fmla="*/ 1366780 h 1779774"/>
                <a:gd name="connsiteX4239" fmla="*/ 2116908 w 2299605"/>
                <a:gd name="connsiteY4239" fmla="*/ 1366780 h 1779774"/>
                <a:gd name="connsiteX4240" fmla="*/ 2119192 w 2299605"/>
                <a:gd name="connsiteY4240" fmla="*/ 1366780 h 1779774"/>
                <a:gd name="connsiteX4241" fmla="*/ 2121475 w 2299605"/>
                <a:gd name="connsiteY4241" fmla="*/ 1366780 h 1779774"/>
                <a:gd name="connsiteX4242" fmla="*/ 2121475 w 2299605"/>
                <a:gd name="connsiteY4242" fmla="*/ 1364498 h 1779774"/>
                <a:gd name="connsiteX4243" fmla="*/ 2123759 w 2299605"/>
                <a:gd name="connsiteY4243" fmla="*/ 1364498 h 1779774"/>
                <a:gd name="connsiteX4244" fmla="*/ 2123759 w 2299605"/>
                <a:gd name="connsiteY4244" fmla="*/ 1362216 h 1779774"/>
                <a:gd name="connsiteX4245" fmla="*/ 2123759 w 2299605"/>
                <a:gd name="connsiteY4245" fmla="*/ 1359934 h 1779774"/>
                <a:gd name="connsiteX4246" fmla="*/ 2121475 w 2299605"/>
                <a:gd name="connsiteY4246" fmla="*/ 1359934 h 1779774"/>
                <a:gd name="connsiteX4247" fmla="*/ 2121475 w 2299605"/>
                <a:gd name="connsiteY4247" fmla="*/ 1357652 h 1779774"/>
                <a:gd name="connsiteX4248" fmla="*/ 2121475 w 2299605"/>
                <a:gd name="connsiteY4248" fmla="*/ 1355370 h 1779774"/>
                <a:gd name="connsiteX4249" fmla="*/ 2119192 w 2299605"/>
                <a:gd name="connsiteY4249" fmla="*/ 1355370 h 1779774"/>
                <a:gd name="connsiteX4250" fmla="*/ 2119192 w 2299605"/>
                <a:gd name="connsiteY4250" fmla="*/ 1353088 h 1779774"/>
                <a:gd name="connsiteX4251" fmla="*/ 2119192 w 2299605"/>
                <a:gd name="connsiteY4251" fmla="*/ 1350807 h 1779774"/>
                <a:gd name="connsiteX4252" fmla="*/ 2119192 w 2299605"/>
                <a:gd name="connsiteY4252" fmla="*/ 1348524 h 1779774"/>
                <a:gd name="connsiteX4253" fmla="*/ 2119192 w 2299605"/>
                <a:gd name="connsiteY4253" fmla="*/ 1346243 h 1779774"/>
                <a:gd name="connsiteX4254" fmla="*/ 2121475 w 2299605"/>
                <a:gd name="connsiteY4254" fmla="*/ 1346243 h 1779774"/>
                <a:gd name="connsiteX4255" fmla="*/ 2121475 w 2299605"/>
                <a:gd name="connsiteY4255" fmla="*/ 1343961 h 1779774"/>
                <a:gd name="connsiteX4256" fmla="*/ 2121475 w 2299605"/>
                <a:gd name="connsiteY4256" fmla="*/ 1341679 h 1779774"/>
                <a:gd name="connsiteX4257" fmla="*/ 2121475 w 2299605"/>
                <a:gd name="connsiteY4257" fmla="*/ 1339397 h 1779774"/>
                <a:gd name="connsiteX4258" fmla="*/ 2119192 w 2299605"/>
                <a:gd name="connsiteY4258" fmla="*/ 1339397 h 1779774"/>
                <a:gd name="connsiteX4259" fmla="*/ 2119192 w 2299605"/>
                <a:gd name="connsiteY4259" fmla="*/ 1337115 h 1779774"/>
                <a:gd name="connsiteX4260" fmla="*/ 2121475 w 2299605"/>
                <a:gd name="connsiteY4260" fmla="*/ 1337115 h 1779774"/>
                <a:gd name="connsiteX4261" fmla="*/ 2123759 w 2299605"/>
                <a:gd name="connsiteY4261" fmla="*/ 1337115 h 1779774"/>
                <a:gd name="connsiteX4262" fmla="*/ 2123759 w 2299605"/>
                <a:gd name="connsiteY4262" fmla="*/ 1334833 h 1779774"/>
                <a:gd name="connsiteX4263" fmla="*/ 2126042 w 2299605"/>
                <a:gd name="connsiteY4263" fmla="*/ 1334833 h 1779774"/>
                <a:gd name="connsiteX4264" fmla="*/ 2126042 w 2299605"/>
                <a:gd name="connsiteY4264" fmla="*/ 1332551 h 1779774"/>
                <a:gd name="connsiteX4265" fmla="*/ 2123759 w 2299605"/>
                <a:gd name="connsiteY4265" fmla="*/ 1332551 h 1779774"/>
                <a:gd name="connsiteX4266" fmla="*/ 2123759 w 2299605"/>
                <a:gd name="connsiteY4266" fmla="*/ 1330269 h 1779774"/>
                <a:gd name="connsiteX4267" fmla="*/ 2121475 w 2299605"/>
                <a:gd name="connsiteY4267" fmla="*/ 1330269 h 1779774"/>
                <a:gd name="connsiteX4268" fmla="*/ 2121475 w 2299605"/>
                <a:gd name="connsiteY4268" fmla="*/ 1327988 h 1779774"/>
                <a:gd name="connsiteX4269" fmla="*/ 2123759 w 2299605"/>
                <a:gd name="connsiteY4269" fmla="*/ 1327988 h 1779774"/>
                <a:gd name="connsiteX4270" fmla="*/ 2126042 w 2299605"/>
                <a:gd name="connsiteY4270" fmla="*/ 1327988 h 1779774"/>
                <a:gd name="connsiteX4271" fmla="*/ 2126042 w 2299605"/>
                <a:gd name="connsiteY4271" fmla="*/ 1325706 h 1779774"/>
                <a:gd name="connsiteX4272" fmla="*/ 2128326 w 2299605"/>
                <a:gd name="connsiteY4272" fmla="*/ 1325706 h 1779774"/>
                <a:gd name="connsiteX4273" fmla="*/ 2130610 w 2299605"/>
                <a:gd name="connsiteY4273" fmla="*/ 1325706 h 1779774"/>
                <a:gd name="connsiteX4274" fmla="*/ 2132893 w 2299605"/>
                <a:gd name="connsiteY4274" fmla="*/ 1325706 h 1779774"/>
                <a:gd name="connsiteX4275" fmla="*/ 2135177 w 2299605"/>
                <a:gd name="connsiteY4275" fmla="*/ 1325706 h 1779774"/>
                <a:gd name="connsiteX4276" fmla="*/ 2135177 w 2299605"/>
                <a:gd name="connsiteY4276" fmla="*/ 1323424 h 1779774"/>
                <a:gd name="connsiteX4277" fmla="*/ 2137460 w 2299605"/>
                <a:gd name="connsiteY4277" fmla="*/ 1323424 h 1779774"/>
                <a:gd name="connsiteX4278" fmla="*/ 2137460 w 2299605"/>
                <a:gd name="connsiteY4278" fmla="*/ 1321142 h 1779774"/>
                <a:gd name="connsiteX4279" fmla="*/ 2137460 w 2299605"/>
                <a:gd name="connsiteY4279" fmla="*/ 1318860 h 1779774"/>
                <a:gd name="connsiteX4280" fmla="*/ 2139744 w 2299605"/>
                <a:gd name="connsiteY4280" fmla="*/ 1318860 h 1779774"/>
                <a:gd name="connsiteX4281" fmla="*/ 2139744 w 2299605"/>
                <a:gd name="connsiteY4281" fmla="*/ 1316578 h 1779774"/>
                <a:gd name="connsiteX4282" fmla="*/ 2142028 w 2299605"/>
                <a:gd name="connsiteY4282" fmla="*/ 1316578 h 1779774"/>
                <a:gd name="connsiteX4283" fmla="*/ 2130610 w 2299605"/>
                <a:gd name="connsiteY4283" fmla="*/ 1314296 h 1779774"/>
                <a:gd name="connsiteX4284" fmla="*/ 2112341 w 2299605"/>
                <a:gd name="connsiteY4284" fmla="*/ 1309732 h 1779774"/>
                <a:gd name="connsiteX4285" fmla="*/ 2107774 w 2299605"/>
                <a:gd name="connsiteY4285" fmla="*/ 1305168 h 1779774"/>
                <a:gd name="connsiteX4286" fmla="*/ 2091789 w 2299605"/>
                <a:gd name="connsiteY4286" fmla="*/ 1302887 h 1779774"/>
                <a:gd name="connsiteX4287" fmla="*/ 2089505 w 2299605"/>
                <a:gd name="connsiteY4287" fmla="*/ 1291477 h 1779774"/>
                <a:gd name="connsiteX4288" fmla="*/ 2089505 w 2299605"/>
                <a:gd name="connsiteY4288" fmla="*/ 1289195 h 1779774"/>
                <a:gd name="connsiteX4289" fmla="*/ 2087221 w 2299605"/>
                <a:gd name="connsiteY4289" fmla="*/ 1289195 h 1779774"/>
                <a:gd name="connsiteX4290" fmla="*/ 2084938 w 2299605"/>
                <a:gd name="connsiteY4290" fmla="*/ 1286913 h 1779774"/>
                <a:gd name="connsiteX4291" fmla="*/ 2082654 w 2299605"/>
                <a:gd name="connsiteY4291" fmla="*/ 1286913 h 1779774"/>
                <a:gd name="connsiteX4292" fmla="*/ 2080370 w 2299605"/>
                <a:gd name="connsiteY4292" fmla="*/ 1286913 h 1779774"/>
                <a:gd name="connsiteX4293" fmla="*/ 2075803 w 2299605"/>
                <a:gd name="connsiteY4293" fmla="*/ 1284632 h 1779774"/>
                <a:gd name="connsiteX4294" fmla="*/ 2075803 w 2299605"/>
                <a:gd name="connsiteY4294" fmla="*/ 1286913 h 1779774"/>
                <a:gd name="connsiteX4295" fmla="*/ 2073520 w 2299605"/>
                <a:gd name="connsiteY4295" fmla="*/ 1286913 h 1779774"/>
                <a:gd name="connsiteX4296" fmla="*/ 2071236 w 2299605"/>
                <a:gd name="connsiteY4296" fmla="*/ 1286913 h 1779774"/>
                <a:gd name="connsiteX4297" fmla="*/ 2071236 w 2299605"/>
                <a:gd name="connsiteY4297" fmla="*/ 1289195 h 1779774"/>
                <a:gd name="connsiteX4298" fmla="*/ 2068952 w 2299605"/>
                <a:gd name="connsiteY4298" fmla="*/ 1289195 h 1779774"/>
                <a:gd name="connsiteX4299" fmla="*/ 2066669 w 2299605"/>
                <a:gd name="connsiteY4299" fmla="*/ 1289195 h 1779774"/>
                <a:gd name="connsiteX4300" fmla="*/ 2066669 w 2299605"/>
                <a:gd name="connsiteY4300" fmla="*/ 1296041 h 1779774"/>
                <a:gd name="connsiteX4301" fmla="*/ 2059818 w 2299605"/>
                <a:gd name="connsiteY4301" fmla="*/ 1296041 h 1779774"/>
                <a:gd name="connsiteX4302" fmla="*/ 2055251 w 2299605"/>
                <a:gd name="connsiteY4302" fmla="*/ 1293759 h 1779774"/>
                <a:gd name="connsiteX4303" fmla="*/ 2046116 w 2299605"/>
                <a:gd name="connsiteY4303" fmla="*/ 1293759 h 1779774"/>
                <a:gd name="connsiteX4304" fmla="*/ 2041549 w 2299605"/>
                <a:gd name="connsiteY4304" fmla="*/ 1291477 h 1779774"/>
                <a:gd name="connsiteX4305" fmla="*/ 2034699 w 2299605"/>
                <a:gd name="connsiteY4305" fmla="*/ 1291477 h 1779774"/>
                <a:gd name="connsiteX4306" fmla="*/ 2041549 w 2299605"/>
                <a:gd name="connsiteY4306" fmla="*/ 1284632 h 1779774"/>
                <a:gd name="connsiteX4307" fmla="*/ 2046116 w 2299605"/>
                <a:gd name="connsiteY4307" fmla="*/ 1277786 h 1779774"/>
                <a:gd name="connsiteX4308" fmla="*/ 2046116 w 2299605"/>
                <a:gd name="connsiteY4308" fmla="*/ 1273222 h 1779774"/>
                <a:gd name="connsiteX4309" fmla="*/ 2046116 w 2299605"/>
                <a:gd name="connsiteY4309" fmla="*/ 1270940 h 1779774"/>
                <a:gd name="connsiteX4310" fmla="*/ 2048400 w 2299605"/>
                <a:gd name="connsiteY4310" fmla="*/ 1268658 h 1779774"/>
                <a:gd name="connsiteX4311" fmla="*/ 2048400 w 2299605"/>
                <a:gd name="connsiteY4311" fmla="*/ 1266376 h 1779774"/>
                <a:gd name="connsiteX4312" fmla="*/ 2048400 w 2299605"/>
                <a:gd name="connsiteY4312" fmla="*/ 1264095 h 1779774"/>
                <a:gd name="connsiteX4313" fmla="*/ 2048400 w 2299605"/>
                <a:gd name="connsiteY4313" fmla="*/ 1259531 h 1779774"/>
                <a:gd name="connsiteX4314" fmla="*/ 2052967 w 2299605"/>
                <a:gd name="connsiteY4314" fmla="*/ 1259531 h 1779774"/>
                <a:gd name="connsiteX4315" fmla="*/ 2057535 w 2299605"/>
                <a:gd name="connsiteY4315" fmla="*/ 1259531 h 1779774"/>
                <a:gd name="connsiteX4316" fmla="*/ 2059818 w 2299605"/>
                <a:gd name="connsiteY4316" fmla="*/ 1259531 h 1779774"/>
                <a:gd name="connsiteX4317" fmla="*/ 2062102 w 2299605"/>
                <a:gd name="connsiteY4317" fmla="*/ 1259531 h 1779774"/>
                <a:gd name="connsiteX4318" fmla="*/ 2068952 w 2299605"/>
                <a:gd name="connsiteY4318" fmla="*/ 1257249 h 1779774"/>
                <a:gd name="connsiteX4319" fmla="*/ 2068952 w 2299605"/>
                <a:gd name="connsiteY4319" fmla="*/ 1254967 h 1779774"/>
                <a:gd name="connsiteX4320" fmla="*/ 2073520 w 2299605"/>
                <a:gd name="connsiteY4320" fmla="*/ 1254967 h 1779774"/>
                <a:gd name="connsiteX4321" fmla="*/ 2075803 w 2299605"/>
                <a:gd name="connsiteY4321" fmla="*/ 1254967 h 1779774"/>
                <a:gd name="connsiteX4322" fmla="*/ 2078087 w 2299605"/>
                <a:gd name="connsiteY4322" fmla="*/ 1252685 h 1779774"/>
                <a:gd name="connsiteX4323" fmla="*/ 2082654 w 2299605"/>
                <a:gd name="connsiteY4323" fmla="*/ 1250403 h 1779774"/>
                <a:gd name="connsiteX4324" fmla="*/ 2082654 w 2299605"/>
                <a:gd name="connsiteY4324" fmla="*/ 1243557 h 1779774"/>
                <a:gd name="connsiteX4325" fmla="*/ 2087221 w 2299605"/>
                <a:gd name="connsiteY4325" fmla="*/ 1238994 h 1779774"/>
                <a:gd name="connsiteX4326" fmla="*/ 2087221 w 2299605"/>
                <a:gd name="connsiteY4326" fmla="*/ 1236712 h 1779774"/>
                <a:gd name="connsiteX4327" fmla="*/ 2087221 w 2299605"/>
                <a:gd name="connsiteY4327" fmla="*/ 1229876 h 1779774"/>
                <a:gd name="connsiteX4328" fmla="*/ 2098639 w 2299605"/>
                <a:gd name="connsiteY4328" fmla="*/ 1238994 h 1779774"/>
                <a:gd name="connsiteX4329" fmla="*/ 2112341 w 2299605"/>
                <a:gd name="connsiteY4329" fmla="*/ 1236712 h 1779774"/>
                <a:gd name="connsiteX4330" fmla="*/ 2119192 w 2299605"/>
                <a:gd name="connsiteY4330" fmla="*/ 1236712 h 1779774"/>
                <a:gd name="connsiteX4331" fmla="*/ 2121475 w 2299605"/>
                <a:gd name="connsiteY4331" fmla="*/ 1238994 h 1779774"/>
                <a:gd name="connsiteX4332" fmla="*/ 2126042 w 2299605"/>
                <a:gd name="connsiteY4332" fmla="*/ 1238994 h 1779774"/>
                <a:gd name="connsiteX4333" fmla="*/ 2128326 w 2299605"/>
                <a:gd name="connsiteY4333" fmla="*/ 1238994 h 1779774"/>
                <a:gd name="connsiteX4334" fmla="*/ 2128326 w 2299605"/>
                <a:gd name="connsiteY4334" fmla="*/ 1229876 h 1779774"/>
                <a:gd name="connsiteX4335" fmla="*/ 2128326 w 2299605"/>
                <a:gd name="connsiteY4335" fmla="*/ 1218466 h 1779774"/>
                <a:gd name="connsiteX4336" fmla="*/ 2107774 w 2299605"/>
                <a:gd name="connsiteY4336" fmla="*/ 1204775 h 1779774"/>
                <a:gd name="connsiteX4337" fmla="*/ 2107774 w 2299605"/>
                <a:gd name="connsiteY4337" fmla="*/ 1197929 h 1779774"/>
                <a:gd name="connsiteX4338" fmla="*/ 2107774 w 2299605"/>
                <a:gd name="connsiteY4338" fmla="*/ 1195647 h 1779774"/>
                <a:gd name="connsiteX4339" fmla="*/ 2100923 w 2299605"/>
                <a:gd name="connsiteY4339" fmla="*/ 1197929 h 1779774"/>
                <a:gd name="connsiteX4340" fmla="*/ 2100923 w 2299605"/>
                <a:gd name="connsiteY4340" fmla="*/ 1179674 h 1779774"/>
                <a:gd name="connsiteX4341" fmla="*/ 2103206 w 2299605"/>
                <a:gd name="connsiteY4341" fmla="*/ 1170546 h 1779774"/>
                <a:gd name="connsiteX4342" fmla="*/ 2103206 w 2299605"/>
                <a:gd name="connsiteY4342" fmla="*/ 1165983 h 1779774"/>
                <a:gd name="connsiteX4343" fmla="*/ 2094072 w 2299605"/>
                <a:gd name="connsiteY4343" fmla="*/ 1161419 h 1779774"/>
                <a:gd name="connsiteX4344" fmla="*/ 2087221 w 2299605"/>
                <a:gd name="connsiteY4344" fmla="*/ 1159137 h 1779774"/>
                <a:gd name="connsiteX4345" fmla="*/ 2082654 w 2299605"/>
                <a:gd name="connsiteY4345" fmla="*/ 1156855 h 1779774"/>
                <a:gd name="connsiteX4346" fmla="*/ 2071236 w 2299605"/>
                <a:gd name="connsiteY4346" fmla="*/ 1154573 h 1779774"/>
                <a:gd name="connsiteX4347" fmla="*/ 2068952 w 2299605"/>
                <a:gd name="connsiteY4347" fmla="*/ 1152291 h 1779774"/>
                <a:gd name="connsiteX4348" fmla="*/ 2066669 w 2299605"/>
                <a:gd name="connsiteY4348" fmla="*/ 1150009 h 1779774"/>
                <a:gd name="connsiteX4349" fmla="*/ 2066669 w 2299605"/>
                <a:gd name="connsiteY4349" fmla="*/ 1147727 h 1779774"/>
                <a:gd name="connsiteX4350" fmla="*/ 2064385 w 2299605"/>
                <a:gd name="connsiteY4350" fmla="*/ 1145445 h 1779774"/>
                <a:gd name="connsiteX4351" fmla="*/ 2055251 w 2299605"/>
                <a:gd name="connsiteY4351" fmla="*/ 1147727 h 1779774"/>
                <a:gd name="connsiteX4352" fmla="*/ 2052967 w 2299605"/>
                <a:gd name="connsiteY4352" fmla="*/ 1147727 h 1779774"/>
                <a:gd name="connsiteX4353" fmla="*/ 2039266 w 2299605"/>
                <a:gd name="connsiteY4353" fmla="*/ 1145445 h 1779774"/>
                <a:gd name="connsiteX4354" fmla="*/ 2034699 w 2299605"/>
                <a:gd name="connsiteY4354" fmla="*/ 1147727 h 1779774"/>
                <a:gd name="connsiteX4355" fmla="*/ 2030131 w 2299605"/>
                <a:gd name="connsiteY4355" fmla="*/ 1147727 h 1779774"/>
                <a:gd name="connsiteX4356" fmla="*/ 2027848 w 2299605"/>
                <a:gd name="connsiteY4356" fmla="*/ 1147727 h 1779774"/>
                <a:gd name="connsiteX4357" fmla="*/ 2020997 w 2299605"/>
                <a:gd name="connsiteY4357" fmla="*/ 1147727 h 1779774"/>
                <a:gd name="connsiteX4358" fmla="*/ 2016430 w 2299605"/>
                <a:gd name="connsiteY4358" fmla="*/ 1147727 h 1779774"/>
                <a:gd name="connsiteX4359" fmla="*/ 2018713 w 2299605"/>
                <a:gd name="connsiteY4359" fmla="*/ 1154573 h 1779774"/>
                <a:gd name="connsiteX4360" fmla="*/ 2016430 w 2299605"/>
                <a:gd name="connsiteY4360" fmla="*/ 1152291 h 1779774"/>
                <a:gd name="connsiteX4361" fmla="*/ 2011862 w 2299605"/>
                <a:gd name="connsiteY4361" fmla="*/ 1145445 h 1779774"/>
                <a:gd name="connsiteX4362" fmla="*/ 2009579 w 2299605"/>
                <a:gd name="connsiteY4362" fmla="*/ 1143163 h 1779774"/>
                <a:gd name="connsiteX4363" fmla="*/ 2007295 w 2299605"/>
                <a:gd name="connsiteY4363" fmla="*/ 1138600 h 1779774"/>
                <a:gd name="connsiteX4364" fmla="*/ 2005012 w 2299605"/>
                <a:gd name="connsiteY4364" fmla="*/ 1136318 h 1779774"/>
                <a:gd name="connsiteX4365" fmla="*/ 2002728 w 2299605"/>
                <a:gd name="connsiteY4365" fmla="*/ 1134036 h 1779774"/>
                <a:gd name="connsiteX4366" fmla="*/ 2000445 w 2299605"/>
                <a:gd name="connsiteY4366" fmla="*/ 1131754 h 1779774"/>
                <a:gd name="connsiteX4367" fmla="*/ 1998161 w 2299605"/>
                <a:gd name="connsiteY4367" fmla="*/ 1129472 h 1779774"/>
                <a:gd name="connsiteX4368" fmla="*/ 1995877 w 2299605"/>
                <a:gd name="connsiteY4368" fmla="*/ 1127190 h 1779774"/>
                <a:gd name="connsiteX4369" fmla="*/ 1995877 w 2299605"/>
                <a:gd name="connsiteY4369" fmla="*/ 1124908 h 1779774"/>
                <a:gd name="connsiteX4370" fmla="*/ 1986743 w 2299605"/>
                <a:gd name="connsiteY4370" fmla="*/ 1124908 h 1779774"/>
                <a:gd name="connsiteX4371" fmla="*/ 1982176 w 2299605"/>
                <a:gd name="connsiteY4371" fmla="*/ 1124908 h 1779774"/>
                <a:gd name="connsiteX4372" fmla="*/ 1977609 w 2299605"/>
                <a:gd name="connsiteY4372" fmla="*/ 1124908 h 1779774"/>
                <a:gd name="connsiteX4373" fmla="*/ 1959340 w 2299605"/>
                <a:gd name="connsiteY4373" fmla="*/ 1127190 h 1779774"/>
                <a:gd name="connsiteX4374" fmla="*/ 1954773 w 2299605"/>
                <a:gd name="connsiteY4374" fmla="*/ 1127190 h 1779774"/>
                <a:gd name="connsiteX4375" fmla="*/ 1952489 w 2299605"/>
                <a:gd name="connsiteY4375" fmla="*/ 1127190 h 1779774"/>
                <a:gd name="connsiteX4376" fmla="*/ 1945638 w 2299605"/>
                <a:gd name="connsiteY4376" fmla="*/ 1127190 h 1779774"/>
                <a:gd name="connsiteX4377" fmla="*/ 1943355 w 2299605"/>
                <a:gd name="connsiteY4377" fmla="*/ 1127190 h 1779774"/>
                <a:gd name="connsiteX4378" fmla="*/ 1938787 w 2299605"/>
                <a:gd name="connsiteY4378" fmla="*/ 1127190 h 1779774"/>
                <a:gd name="connsiteX4379" fmla="*/ 1931937 w 2299605"/>
                <a:gd name="connsiteY4379" fmla="*/ 1134036 h 1779774"/>
                <a:gd name="connsiteX4380" fmla="*/ 1915952 w 2299605"/>
                <a:gd name="connsiteY4380" fmla="*/ 1134036 h 1779774"/>
                <a:gd name="connsiteX4381" fmla="*/ 1897683 w 2299605"/>
                <a:gd name="connsiteY4381" fmla="*/ 1138600 h 1779774"/>
                <a:gd name="connsiteX4382" fmla="*/ 1886265 w 2299605"/>
                <a:gd name="connsiteY4382" fmla="*/ 1143163 h 1779774"/>
                <a:gd name="connsiteX4383" fmla="*/ 1883981 w 2299605"/>
                <a:gd name="connsiteY4383" fmla="*/ 1143163 h 1779774"/>
                <a:gd name="connsiteX4384" fmla="*/ 1870280 w 2299605"/>
                <a:gd name="connsiteY4384" fmla="*/ 1147727 h 1779774"/>
                <a:gd name="connsiteX4385" fmla="*/ 1861145 w 2299605"/>
                <a:gd name="connsiteY4385" fmla="*/ 1145445 h 1779774"/>
                <a:gd name="connsiteX4386" fmla="*/ 1847444 w 2299605"/>
                <a:gd name="connsiteY4386" fmla="*/ 1145445 h 1779774"/>
                <a:gd name="connsiteX4387" fmla="*/ 1833742 w 2299605"/>
                <a:gd name="connsiteY4387" fmla="*/ 1145445 h 1779774"/>
                <a:gd name="connsiteX4388" fmla="*/ 1831458 w 2299605"/>
                <a:gd name="connsiteY4388" fmla="*/ 1145445 h 1779774"/>
                <a:gd name="connsiteX4389" fmla="*/ 1817757 w 2299605"/>
                <a:gd name="connsiteY4389" fmla="*/ 1145445 h 1779774"/>
                <a:gd name="connsiteX4390" fmla="*/ 1815473 w 2299605"/>
                <a:gd name="connsiteY4390" fmla="*/ 1145445 h 1779774"/>
                <a:gd name="connsiteX4391" fmla="*/ 1817757 w 2299605"/>
                <a:gd name="connsiteY4391" fmla="*/ 1143163 h 1779774"/>
                <a:gd name="connsiteX4392" fmla="*/ 1806339 w 2299605"/>
                <a:gd name="connsiteY4392" fmla="*/ 1138600 h 1779774"/>
                <a:gd name="connsiteX4393" fmla="*/ 1801772 w 2299605"/>
                <a:gd name="connsiteY4393" fmla="*/ 1136318 h 1779774"/>
                <a:gd name="connsiteX4394" fmla="*/ 1801772 w 2299605"/>
                <a:gd name="connsiteY4394" fmla="*/ 1134036 h 1779774"/>
                <a:gd name="connsiteX4395" fmla="*/ 1801772 w 2299605"/>
                <a:gd name="connsiteY4395" fmla="*/ 1131754 h 1779774"/>
                <a:gd name="connsiteX4396" fmla="*/ 1801772 w 2299605"/>
                <a:gd name="connsiteY4396" fmla="*/ 1129472 h 1779774"/>
                <a:gd name="connsiteX4397" fmla="*/ 1801772 w 2299605"/>
                <a:gd name="connsiteY4397" fmla="*/ 1106653 h 1779774"/>
                <a:gd name="connsiteX4398" fmla="*/ 1813190 w 2299605"/>
                <a:gd name="connsiteY4398" fmla="*/ 1106653 h 1779774"/>
                <a:gd name="connsiteX4399" fmla="*/ 1813190 w 2299605"/>
                <a:gd name="connsiteY4399" fmla="*/ 1099807 h 1779774"/>
                <a:gd name="connsiteX4400" fmla="*/ 1817757 w 2299605"/>
                <a:gd name="connsiteY4400" fmla="*/ 1099807 h 1779774"/>
                <a:gd name="connsiteX4401" fmla="*/ 1826891 w 2299605"/>
                <a:gd name="connsiteY4401" fmla="*/ 1081552 h 1779774"/>
                <a:gd name="connsiteX4402" fmla="*/ 1826891 w 2299605"/>
                <a:gd name="connsiteY4402" fmla="*/ 1079270 h 1779774"/>
                <a:gd name="connsiteX4403" fmla="*/ 1829175 w 2299605"/>
                <a:gd name="connsiteY4403" fmla="*/ 1072434 h 1779774"/>
                <a:gd name="connsiteX4404" fmla="*/ 1833742 w 2299605"/>
                <a:gd name="connsiteY4404" fmla="*/ 1065588 h 1779774"/>
                <a:gd name="connsiteX4405" fmla="*/ 1833742 w 2299605"/>
                <a:gd name="connsiteY4405" fmla="*/ 1063307 h 1779774"/>
                <a:gd name="connsiteX4406" fmla="*/ 1838309 w 2299605"/>
                <a:gd name="connsiteY4406" fmla="*/ 1058743 h 1779774"/>
                <a:gd name="connsiteX4407" fmla="*/ 1842877 w 2299605"/>
                <a:gd name="connsiteY4407" fmla="*/ 1054179 h 1779774"/>
                <a:gd name="connsiteX4408" fmla="*/ 1847444 w 2299605"/>
                <a:gd name="connsiteY4408" fmla="*/ 1049615 h 1779774"/>
                <a:gd name="connsiteX4409" fmla="*/ 1847444 w 2299605"/>
                <a:gd name="connsiteY4409" fmla="*/ 1047333 h 1779774"/>
                <a:gd name="connsiteX4410" fmla="*/ 1852011 w 2299605"/>
                <a:gd name="connsiteY4410" fmla="*/ 1029078 h 1779774"/>
                <a:gd name="connsiteX4411" fmla="*/ 1861145 w 2299605"/>
                <a:gd name="connsiteY4411" fmla="*/ 1015387 h 1779774"/>
                <a:gd name="connsiteX4412" fmla="*/ 1867996 w 2299605"/>
                <a:gd name="connsiteY4412" fmla="*/ 1006259 h 1779774"/>
                <a:gd name="connsiteX4413" fmla="*/ 1872563 w 2299605"/>
                <a:gd name="connsiteY4413" fmla="*/ 1001695 h 1779774"/>
                <a:gd name="connsiteX4414" fmla="*/ 1872563 w 2299605"/>
                <a:gd name="connsiteY4414" fmla="*/ 988004 h 1779774"/>
                <a:gd name="connsiteX4415" fmla="*/ 1870280 w 2299605"/>
                <a:gd name="connsiteY4415" fmla="*/ 985722 h 1779774"/>
                <a:gd name="connsiteX4416" fmla="*/ 1867996 w 2299605"/>
                <a:gd name="connsiteY4416" fmla="*/ 983440 h 1779774"/>
                <a:gd name="connsiteX4417" fmla="*/ 1863429 w 2299605"/>
                <a:gd name="connsiteY4417" fmla="*/ 978876 h 1779774"/>
                <a:gd name="connsiteX4418" fmla="*/ 1863429 w 2299605"/>
                <a:gd name="connsiteY4418" fmla="*/ 976595 h 1779774"/>
                <a:gd name="connsiteX4419" fmla="*/ 1874847 w 2299605"/>
                <a:gd name="connsiteY4419" fmla="*/ 967467 h 1779774"/>
                <a:gd name="connsiteX4420" fmla="*/ 1872563 w 2299605"/>
                <a:gd name="connsiteY4420" fmla="*/ 960621 h 1779774"/>
                <a:gd name="connsiteX4421" fmla="*/ 1867996 w 2299605"/>
                <a:gd name="connsiteY4421" fmla="*/ 949212 h 1779774"/>
                <a:gd name="connsiteX4422" fmla="*/ 1886265 w 2299605"/>
                <a:gd name="connsiteY4422" fmla="*/ 928675 h 1779774"/>
                <a:gd name="connsiteX4423" fmla="*/ 1886265 w 2299605"/>
                <a:gd name="connsiteY4423" fmla="*/ 917275 h 1779774"/>
                <a:gd name="connsiteX4424" fmla="*/ 1909101 w 2299605"/>
                <a:gd name="connsiteY4424" fmla="*/ 917275 h 1779774"/>
                <a:gd name="connsiteX4425" fmla="*/ 1918235 w 2299605"/>
                <a:gd name="connsiteY4425" fmla="*/ 917275 h 1779774"/>
                <a:gd name="connsiteX4426" fmla="*/ 1925086 w 2299605"/>
                <a:gd name="connsiteY4426" fmla="*/ 910429 h 1779774"/>
                <a:gd name="connsiteX4427" fmla="*/ 1922802 w 2299605"/>
                <a:gd name="connsiteY4427" fmla="*/ 905865 h 1779774"/>
                <a:gd name="connsiteX4428" fmla="*/ 1920519 w 2299605"/>
                <a:gd name="connsiteY4428" fmla="*/ 903583 h 1779774"/>
                <a:gd name="connsiteX4429" fmla="*/ 1918235 w 2299605"/>
                <a:gd name="connsiteY4429" fmla="*/ 896738 h 1779774"/>
                <a:gd name="connsiteX4430" fmla="*/ 1913668 w 2299605"/>
                <a:gd name="connsiteY4430" fmla="*/ 885328 h 1779774"/>
                <a:gd name="connsiteX4431" fmla="*/ 1918235 w 2299605"/>
                <a:gd name="connsiteY4431" fmla="*/ 883046 h 1779774"/>
                <a:gd name="connsiteX4432" fmla="*/ 1934220 w 2299605"/>
                <a:gd name="connsiteY4432" fmla="*/ 871637 h 1779774"/>
                <a:gd name="connsiteX4433" fmla="*/ 1936504 w 2299605"/>
                <a:gd name="connsiteY4433" fmla="*/ 871637 h 1779774"/>
                <a:gd name="connsiteX4434" fmla="*/ 1938787 w 2299605"/>
                <a:gd name="connsiteY4434" fmla="*/ 871637 h 1779774"/>
                <a:gd name="connsiteX4435" fmla="*/ 1947922 w 2299605"/>
                <a:gd name="connsiteY4435" fmla="*/ 871637 h 1779774"/>
                <a:gd name="connsiteX4436" fmla="*/ 1950206 w 2299605"/>
                <a:gd name="connsiteY4436" fmla="*/ 876201 h 1779774"/>
                <a:gd name="connsiteX4437" fmla="*/ 1952489 w 2299605"/>
                <a:gd name="connsiteY4437" fmla="*/ 878483 h 1779774"/>
                <a:gd name="connsiteX4438" fmla="*/ 1970758 w 2299605"/>
                <a:gd name="connsiteY4438" fmla="*/ 880764 h 1779774"/>
                <a:gd name="connsiteX4439" fmla="*/ 1986743 w 2299605"/>
                <a:gd name="connsiteY4439" fmla="*/ 887610 h 1779774"/>
                <a:gd name="connsiteX4440" fmla="*/ 1989027 w 2299605"/>
                <a:gd name="connsiteY4440" fmla="*/ 887610 h 1779774"/>
                <a:gd name="connsiteX4441" fmla="*/ 1991310 w 2299605"/>
                <a:gd name="connsiteY4441" fmla="*/ 887610 h 1779774"/>
                <a:gd name="connsiteX4442" fmla="*/ 2014146 w 2299605"/>
                <a:gd name="connsiteY4442" fmla="*/ 892174 h 1779774"/>
                <a:gd name="connsiteX4443" fmla="*/ 2020997 w 2299605"/>
                <a:gd name="connsiteY4443" fmla="*/ 867073 h 1779774"/>
                <a:gd name="connsiteX4444" fmla="*/ 2005012 w 2299605"/>
                <a:gd name="connsiteY4444" fmla="*/ 869355 h 1779774"/>
                <a:gd name="connsiteX4445" fmla="*/ 2005012 w 2299605"/>
                <a:gd name="connsiteY4445" fmla="*/ 864791 h 1779774"/>
                <a:gd name="connsiteX4446" fmla="*/ 2005012 w 2299605"/>
                <a:gd name="connsiteY4446" fmla="*/ 855664 h 1779774"/>
                <a:gd name="connsiteX4447" fmla="*/ 2005012 w 2299605"/>
                <a:gd name="connsiteY4447" fmla="*/ 853382 h 1779774"/>
                <a:gd name="connsiteX4448" fmla="*/ 1998161 w 2299605"/>
                <a:gd name="connsiteY4448" fmla="*/ 846536 h 1779774"/>
                <a:gd name="connsiteX4449" fmla="*/ 1998161 w 2299605"/>
                <a:gd name="connsiteY4449" fmla="*/ 844254 h 1779774"/>
                <a:gd name="connsiteX4450" fmla="*/ 1977609 w 2299605"/>
                <a:gd name="connsiteY4450" fmla="*/ 832844 h 1779774"/>
                <a:gd name="connsiteX4451" fmla="*/ 1975325 w 2299605"/>
                <a:gd name="connsiteY4451" fmla="*/ 830563 h 1779774"/>
                <a:gd name="connsiteX4452" fmla="*/ 1982176 w 2299605"/>
                <a:gd name="connsiteY4452" fmla="*/ 825999 h 1779774"/>
                <a:gd name="connsiteX4453" fmla="*/ 1984460 w 2299605"/>
                <a:gd name="connsiteY4453" fmla="*/ 823717 h 1779774"/>
                <a:gd name="connsiteX4454" fmla="*/ 1986743 w 2299605"/>
                <a:gd name="connsiteY4454" fmla="*/ 805462 h 1779774"/>
                <a:gd name="connsiteX4455" fmla="*/ 1982176 w 2299605"/>
                <a:gd name="connsiteY4455" fmla="*/ 794052 h 1779774"/>
                <a:gd name="connsiteX4456" fmla="*/ 1979892 w 2299605"/>
                <a:gd name="connsiteY4456" fmla="*/ 782643 h 1779774"/>
                <a:gd name="connsiteX4457" fmla="*/ 1968474 w 2299605"/>
                <a:gd name="connsiteY4457" fmla="*/ 771233 h 1779774"/>
                <a:gd name="connsiteX4458" fmla="*/ 1963907 w 2299605"/>
                <a:gd name="connsiteY4458" fmla="*/ 766670 h 1779774"/>
                <a:gd name="connsiteX4459" fmla="*/ 1963907 w 2299605"/>
                <a:gd name="connsiteY4459" fmla="*/ 752988 h 1779774"/>
                <a:gd name="connsiteX4460" fmla="*/ 1963907 w 2299605"/>
                <a:gd name="connsiteY4460" fmla="*/ 746142 h 1779774"/>
                <a:gd name="connsiteX4461" fmla="*/ 1954773 w 2299605"/>
                <a:gd name="connsiteY4461" fmla="*/ 730169 h 1779774"/>
                <a:gd name="connsiteX4462" fmla="*/ 1970758 w 2299605"/>
                <a:gd name="connsiteY4462" fmla="*/ 721041 h 1779774"/>
                <a:gd name="connsiteX4463" fmla="*/ 1973041 w 2299605"/>
                <a:gd name="connsiteY4463" fmla="*/ 721041 h 1779774"/>
                <a:gd name="connsiteX4464" fmla="*/ 1977609 w 2299605"/>
                <a:gd name="connsiteY4464" fmla="*/ 721041 h 1779774"/>
                <a:gd name="connsiteX4465" fmla="*/ 1984460 w 2299605"/>
                <a:gd name="connsiteY4465" fmla="*/ 718759 h 1779774"/>
                <a:gd name="connsiteX4466" fmla="*/ 1984460 w 2299605"/>
                <a:gd name="connsiteY4466" fmla="*/ 714196 h 1779774"/>
                <a:gd name="connsiteX4467" fmla="*/ 1986743 w 2299605"/>
                <a:gd name="connsiteY4467" fmla="*/ 711914 h 1779774"/>
                <a:gd name="connsiteX4468" fmla="*/ 1991310 w 2299605"/>
                <a:gd name="connsiteY4468" fmla="*/ 700504 h 1779774"/>
                <a:gd name="connsiteX4469" fmla="*/ 1991310 w 2299605"/>
                <a:gd name="connsiteY4469" fmla="*/ 698222 h 1779774"/>
                <a:gd name="connsiteX4470" fmla="*/ 1995877 w 2299605"/>
                <a:gd name="connsiteY4470" fmla="*/ 702786 h 1779774"/>
                <a:gd name="connsiteX4471" fmla="*/ 1998161 w 2299605"/>
                <a:gd name="connsiteY4471" fmla="*/ 705068 h 1779774"/>
                <a:gd name="connsiteX4472" fmla="*/ 2000445 w 2299605"/>
                <a:gd name="connsiteY4472" fmla="*/ 705068 h 1779774"/>
                <a:gd name="connsiteX4473" fmla="*/ 2002728 w 2299605"/>
                <a:gd name="connsiteY4473" fmla="*/ 707350 h 1779774"/>
                <a:gd name="connsiteX4474" fmla="*/ 2005012 w 2299605"/>
                <a:gd name="connsiteY4474" fmla="*/ 707350 h 1779774"/>
                <a:gd name="connsiteX4475" fmla="*/ 2011862 w 2299605"/>
                <a:gd name="connsiteY4475" fmla="*/ 709632 h 1779774"/>
                <a:gd name="connsiteX4476" fmla="*/ 2018713 w 2299605"/>
                <a:gd name="connsiteY4476" fmla="*/ 714196 h 1779774"/>
                <a:gd name="connsiteX4477" fmla="*/ 2023281 w 2299605"/>
                <a:gd name="connsiteY4477" fmla="*/ 705068 h 1779774"/>
                <a:gd name="connsiteX4478" fmla="*/ 2023281 w 2299605"/>
                <a:gd name="connsiteY4478" fmla="*/ 702786 h 1779774"/>
                <a:gd name="connsiteX4479" fmla="*/ 2023281 w 2299605"/>
                <a:gd name="connsiteY4479" fmla="*/ 700504 h 1779774"/>
                <a:gd name="connsiteX4480" fmla="*/ 2025564 w 2299605"/>
                <a:gd name="connsiteY4480" fmla="*/ 700504 h 1779774"/>
                <a:gd name="connsiteX4481" fmla="*/ 2025564 w 2299605"/>
                <a:gd name="connsiteY4481" fmla="*/ 698222 h 1779774"/>
                <a:gd name="connsiteX4482" fmla="*/ 2032415 w 2299605"/>
                <a:gd name="connsiteY4482" fmla="*/ 686813 h 1779774"/>
                <a:gd name="connsiteX4483" fmla="*/ 2043833 w 2299605"/>
                <a:gd name="connsiteY4483" fmla="*/ 686813 h 1779774"/>
                <a:gd name="connsiteX4484" fmla="*/ 2052967 w 2299605"/>
                <a:gd name="connsiteY4484" fmla="*/ 686813 h 1779774"/>
                <a:gd name="connsiteX4485" fmla="*/ 2057535 w 2299605"/>
                <a:gd name="connsiteY4485" fmla="*/ 686813 h 1779774"/>
                <a:gd name="connsiteX4486" fmla="*/ 2062102 w 2299605"/>
                <a:gd name="connsiteY4486" fmla="*/ 689095 h 1779774"/>
                <a:gd name="connsiteX4487" fmla="*/ 2068952 w 2299605"/>
                <a:gd name="connsiteY4487" fmla="*/ 689095 h 1779774"/>
                <a:gd name="connsiteX4488" fmla="*/ 2078087 w 2299605"/>
                <a:gd name="connsiteY4488" fmla="*/ 691376 h 1779774"/>
                <a:gd name="connsiteX4489" fmla="*/ 2082654 w 2299605"/>
                <a:gd name="connsiteY4489" fmla="*/ 691376 h 1779774"/>
                <a:gd name="connsiteX4490" fmla="*/ 2105490 w 2299605"/>
                <a:gd name="connsiteY4490" fmla="*/ 691376 h 1779774"/>
                <a:gd name="connsiteX4491" fmla="*/ 2107774 w 2299605"/>
                <a:gd name="connsiteY4491" fmla="*/ 691376 h 1779774"/>
                <a:gd name="connsiteX4492" fmla="*/ 2112341 w 2299605"/>
                <a:gd name="connsiteY4492" fmla="*/ 686813 h 1779774"/>
                <a:gd name="connsiteX4493" fmla="*/ 2110057 w 2299605"/>
                <a:gd name="connsiteY4493" fmla="*/ 682249 h 1779774"/>
                <a:gd name="connsiteX4494" fmla="*/ 2105490 w 2299605"/>
                <a:gd name="connsiteY4494" fmla="*/ 675403 h 1779774"/>
                <a:gd name="connsiteX4495" fmla="*/ 2100923 w 2299605"/>
                <a:gd name="connsiteY4495" fmla="*/ 673121 h 1779774"/>
                <a:gd name="connsiteX4496" fmla="*/ 2105490 w 2299605"/>
                <a:gd name="connsiteY4496" fmla="*/ 659430 h 1779774"/>
                <a:gd name="connsiteX4497" fmla="*/ 2107774 w 2299605"/>
                <a:gd name="connsiteY4497" fmla="*/ 652584 h 1779774"/>
                <a:gd name="connsiteX4498" fmla="*/ 2107774 w 2299605"/>
                <a:gd name="connsiteY4498" fmla="*/ 650303 h 1779774"/>
                <a:gd name="connsiteX4499" fmla="*/ 2107774 w 2299605"/>
                <a:gd name="connsiteY4499" fmla="*/ 648020 h 1779774"/>
                <a:gd name="connsiteX4500" fmla="*/ 2116908 w 2299605"/>
                <a:gd name="connsiteY4500" fmla="*/ 645739 h 1779774"/>
                <a:gd name="connsiteX4501" fmla="*/ 2121475 w 2299605"/>
                <a:gd name="connsiteY4501" fmla="*/ 641175 h 1779774"/>
                <a:gd name="connsiteX4502" fmla="*/ 2123759 w 2299605"/>
                <a:gd name="connsiteY4502" fmla="*/ 638893 h 1779774"/>
                <a:gd name="connsiteX4503" fmla="*/ 2128326 w 2299605"/>
                <a:gd name="connsiteY4503" fmla="*/ 636611 h 1779774"/>
                <a:gd name="connsiteX4504" fmla="*/ 2130610 w 2299605"/>
                <a:gd name="connsiteY4504" fmla="*/ 634329 h 1779774"/>
                <a:gd name="connsiteX4505" fmla="*/ 2135177 w 2299605"/>
                <a:gd name="connsiteY4505" fmla="*/ 632047 h 1779774"/>
                <a:gd name="connsiteX4506" fmla="*/ 2142028 w 2299605"/>
                <a:gd name="connsiteY4506" fmla="*/ 622920 h 1779774"/>
                <a:gd name="connsiteX4507" fmla="*/ 2146595 w 2299605"/>
                <a:gd name="connsiteY4507" fmla="*/ 625202 h 1779774"/>
                <a:gd name="connsiteX4508" fmla="*/ 2148879 w 2299605"/>
                <a:gd name="connsiteY4508" fmla="*/ 627483 h 1779774"/>
                <a:gd name="connsiteX4509" fmla="*/ 2153446 w 2299605"/>
                <a:gd name="connsiteY4509" fmla="*/ 629765 h 1779774"/>
                <a:gd name="connsiteX4510" fmla="*/ 2160296 w 2299605"/>
                <a:gd name="connsiteY4510" fmla="*/ 636611 h 1779774"/>
                <a:gd name="connsiteX4511" fmla="*/ 2167147 w 2299605"/>
                <a:gd name="connsiteY4511" fmla="*/ 643457 h 1779774"/>
                <a:gd name="connsiteX4512" fmla="*/ 2167147 w 2299605"/>
                <a:gd name="connsiteY4512" fmla="*/ 645739 h 1779774"/>
                <a:gd name="connsiteX4513" fmla="*/ 2169431 w 2299605"/>
                <a:gd name="connsiteY4513" fmla="*/ 645739 h 1779774"/>
                <a:gd name="connsiteX4514" fmla="*/ 2171714 w 2299605"/>
                <a:gd name="connsiteY4514" fmla="*/ 648020 h 1779774"/>
                <a:gd name="connsiteX4515" fmla="*/ 2176282 w 2299605"/>
                <a:gd name="connsiteY4515" fmla="*/ 650303 h 1779774"/>
                <a:gd name="connsiteX4516" fmla="*/ 2183132 w 2299605"/>
                <a:gd name="connsiteY4516" fmla="*/ 652584 h 1779774"/>
                <a:gd name="connsiteX4517" fmla="*/ 2185416 w 2299605"/>
                <a:gd name="connsiteY4517" fmla="*/ 652584 h 1779774"/>
                <a:gd name="connsiteX4518" fmla="*/ 2189983 w 2299605"/>
                <a:gd name="connsiteY4518" fmla="*/ 650303 h 1779774"/>
                <a:gd name="connsiteX4519" fmla="*/ 2194550 w 2299605"/>
                <a:gd name="connsiteY4519" fmla="*/ 645739 h 1779774"/>
                <a:gd name="connsiteX4520" fmla="*/ 2196834 w 2299605"/>
                <a:gd name="connsiteY4520" fmla="*/ 643457 h 1779774"/>
                <a:gd name="connsiteX4521" fmla="*/ 2199118 w 2299605"/>
                <a:gd name="connsiteY4521" fmla="*/ 643457 h 1779774"/>
                <a:gd name="connsiteX4522" fmla="*/ 2201401 w 2299605"/>
                <a:gd name="connsiteY4522" fmla="*/ 643457 h 1779774"/>
                <a:gd name="connsiteX4523" fmla="*/ 2203685 w 2299605"/>
                <a:gd name="connsiteY4523" fmla="*/ 641175 h 1779774"/>
                <a:gd name="connsiteX4524" fmla="*/ 2208252 w 2299605"/>
                <a:gd name="connsiteY4524" fmla="*/ 636611 h 1779774"/>
                <a:gd name="connsiteX4525" fmla="*/ 2210535 w 2299605"/>
                <a:gd name="connsiteY4525" fmla="*/ 632047 h 1779774"/>
                <a:gd name="connsiteX4526" fmla="*/ 2217386 w 2299605"/>
                <a:gd name="connsiteY4526" fmla="*/ 629765 h 1779774"/>
                <a:gd name="connsiteX4527" fmla="*/ 2219670 w 2299605"/>
                <a:gd name="connsiteY4527" fmla="*/ 629765 h 1779774"/>
                <a:gd name="connsiteX4528" fmla="*/ 2233372 w 2299605"/>
                <a:gd name="connsiteY4528" fmla="*/ 627483 h 1779774"/>
                <a:gd name="connsiteX4529" fmla="*/ 2237939 w 2299605"/>
                <a:gd name="connsiteY4529" fmla="*/ 622920 h 1779774"/>
                <a:gd name="connsiteX4530" fmla="*/ 2237939 w 2299605"/>
                <a:gd name="connsiteY4530" fmla="*/ 620638 h 1779774"/>
                <a:gd name="connsiteX4531" fmla="*/ 2237939 w 2299605"/>
                <a:gd name="connsiteY4531" fmla="*/ 618356 h 1779774"/>
                <a:gd name="connsiteX4532" fmla="*/ 2237939 w 2299605"/>
                <a:gd name="connsiteY4532" fmla="*/ 616074 h 1779774"/>
                <a:gd name="connsiteX4533" fmla="*/ 2235655 w 2299605"/>
                <a:gd name="connsiteY4533" fmla="*/ 611520 h 1779774"/>
                <a:gd name="connsiteX4534" fmla="*/ 2237939 w 2299605"/>
                <a:gd name="connsiteY4534" fmla="*/ 611520 h 1779774"/>
                <a:gd name="connsiteX4535" fmla="*/ 2240222 w 2299605"/>
                <a:gd name="connsiteY4535" fmla="*/ 611520 h 1779774"/>
                <a:gd name="connsiteX4536" fmla="*/ 2247083 w 2299605"/>
                <a:gd name="connsiteY4536" fmla="*/ 613802 h 1779774"/>
                <a:gd name="connsiteX4537" fmla="*/ 2253924 w 2299605"/>
                <a:gd name="connsiteY4537" fmla="*/ 613802 h 1779774"/>
                <a:gd name="connsiteX4538" fmla="*/ 2256208 w 2299605"/>
                <a:gd name="connsiteY4538" fmla="*/ 613802 h 1779774"/>
                <a:gd name="connsiteX4539" fmla="*/ 2258501 w 2299605"/>
                <a:gd name="connsiteY4539" fmla="*/ 613802 h 1779774"/>
                <a:gd name="connsiteX4540" fmla="*/ 2263058 w 2299605"/>
                <a:gd name="connsiteY4540" fmla="*/ 609238 h 1779774"/>
                <a:gd name="connsiteX4541" fmla="*/ 2258501 w 2299605"/>
                <a:gd name="connsiteY4541" fmla="*/ 606956 h 1779774"/>
                <a:gd name="connsiteX4542" fmla="*/ 2260784 w 2299605"/>
                <a:gd name="connsiteY4542" fmla="*/ 604674 h 1779774"/>
                <a:gd name="connsiteX4543" fmla="*/ 2263058 w 2299605"/>
                <a:gd name="connsiteY4543" fmla="*/ 602392 h 1779774"/>
                <a:gd name="connsiteX4544" fmla="*/ 2267625 w 2299605"/>
                <a:gd name="connsiteY4544" fmla="*/ 600110 h 1779774"/>
                <a:gd name="connsiteX4545" fmla="*/ 2269918 w 2299605"/>
                <a:gd name="connsiteY4545" fmla="*/ 597828 h 1779774"/>
                <a:gd name="connsiteX4546" fmla="*/ 2269918 w 2299605"/>
                <a:gd name="connsiteY4546" fmla="*/ 593264 h 1779774"/>
                <a:gd name="connsiteX4547" fmla="*/ 2269918 w 2299605"/>
                <a:gd name="connsiteY4547" fmla="*/ 586419 h 1779774"/>
                <a:gd name="connsiteX4548" fmla="*/ 2267625 w 2299605"/>
                <a:gd name="connsiteY4548" fmla="*/ 586419 h 1779774"/>
                <a:gd name="connsiteX4549" fmla="*/ 2260784 w 2299605"/>
                <a:gd name="connsiteY4549" fmla="*/ 581855 h 1779774"/>
                <a:gd name="connsiteX4550" fmla="*/ 2258501 w 2299605"/>
                <a:gd name="connsiteY4550" fmla="*/ 584137 h 1779774"/>
                <a:gd name="connsiteX4551" fmla="*/ 2256208 w 2299605"/>
                <a:gd name="connsiteY4551" fmla="*/ 593264 h 1779774"/>
                <a:gd name="connsiteX4552" fmla="*/ 2256208 w 2299605"/>
                <a:gd name="connsiteY4552" fmla="*/ 584137 h 1779774"/>
                <a:gd name="connsiteX4553" fmla="*/ 2256208 w 2299605"/>
                <a:gd name="connsiteY4553" fmla="*/ 581855 h 1779774"/>
                <a:gd name="connsiteX4554" fmla="*/ 2258501 w 2299605"/>
                <a:gd name="connsiteY4554" fmla="*/ 575009 h 1779774"/>
                <a:gd name="connsiteX4555" fmla="*/ 2260784 w 2299605"/>
                <a:gd name="connsiteY4555" fmla="*/ 575009 h 1779774"/>
                <a:gd name="connsiteX4556" fmla="*/ 2260784 w 2299605"/>
                <a:gd name="connsiteY4556" fmla="*/ 572728 h 1779774"/>
                <a:gd name="connsiteX4557" fmla="*/ 2263058 w 2299605"/>
                <a:gd name="connsiteY4557" fmla="*/ 570446 h 1779774"/>
                <a:gd name="connsiteX4558" fmla="*/ 2265351 w 2299605"/>
                <a:gd name="connsiteY4558" fmla="*/ 570446 h 1779774"/>
                <a:gd name="connsiteX4559" fmla="*/ 2269918 w 2299605"/>
                <a:gd name="connsiteY4559" fmla="*/ 570446 h 1779774"/>
                <a:gd name="connsiteX4560" fmla="*/ 2272202 w 2299605"/>
                <a:gd name="connsiteY4560" fmla="*/ 568164 h 1779774"/>
                <a:gd name="connsiteX4561" fmla="*/ 2269918 w 2299605"/>
                <a:gd name="connsiteY4561" fmla="*/ 565882 h 1779774"/>
                <a:gd name="connsiteX4562" fmla="*/ 2267625 w 2299605"/>
                <a:gd name="connsiteY4562" fmla="*/ 563600 h 1779774"/>
                <a:gd name="connsiteX4563" fmla="*/ 2269918 w 2299605"/>
                <a:gd name="connsiteY4563" fmla="*/ 556754 h 1779774"/>
                <a:gd name="connsiteX4564" fmla="*/ 2269918 w 2299605"/>
                <a:gd name="connsiteY4564" fmla="*/ 552191 h 1779774"/>
                <a:gd name="connsiteX4565" fmla="*/ 2274486 w 2299605"/>
                <a:gd name="connsiteY4565" fmla="*/ 552191 h 1779774"/>
                <a:gd name="connsiteX4566" fmla="*/ 2283620 w 2299605"/>
                <a:gd name="connsiteY4566" fmla="*/ 554472 h 1779774"/>
                <a:gd name="connsiteX4567" fmla="*/ 2283620 w 2299605"/>
                <a:gd name="connsiteY4567" fmla="*/ 552191 h 1779774"/>
                <a:gd name="connsiteX4568" fmla="*/ 2288187 w 2299605"/>
                <a:gd name="connsiteY4568" fmla="*/ 549908 h 1779774"/>
                <a:gd name="connsiteX4569" fmla="*/ 2288187 w 2299605"/>
                <a:gd name="connsiteY4569" fmla="*/ 547627 h 1779774"/>
                <a:gd name="connsiteX4570" fmla="*/ 2288187 w 2299605"/>
                <a:gd name="connsiteY4570" fmla="*/ 545345 h 1779774"/>
                <a:gd name="connsiteX4571" fmla="*/ 2285904 w 2299605"/>
                <a:gd name="connsiteY4571" fmla="*/ 545345 h 1779774"/>
                <a:gd name="connsiteX4572" fmla="*/ 2285904 w 2299605"/>
                <a:gd name="connsiteY4572" fmla="*/ 543063 h 1779774"/>
                <a:gd name="connsiteX4573" fmla="*/ 2292755 w 2299605"/>
                <a:gd name="connsiteY4573" fmla="*/ 536217 h 1779774"/>
                <a:gd name="connsiteX4574" fmla="*/ 2295038 w 2299605"/>
                <a:gd name="connsiteY4574" fmla="*/ 533935 h 1779774"/>
                <a:gd name="connsiteX4575" fmla="*/ 2299605 w 2299605"/>
                <a:gd name="connsiteY4575" fmla="*/ 527090 h 177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</a:cxnLst>
              <a:rect l="l" t="t" r="r" b="b"/>
              <a:pathLst>
                <a:path w="2299605" h="1779774">
                  <a:moveTo>
                    <a:pt x="2295038" y="524808"/>
                  </a:moveTo>
                  <a:lnTo>
                    <a:pt x="2292755" y="522526"/>
                  </a:lnTo>
                  <a:lnTo>
                    <a:pt x="2290471" y="522526"/>
                  </a:lnTo>
                  <a:lnTo>
                    <a:pt x="2285904" y="517962"/>
                  </a:lnTo>
                  <a:lnTo>
                    <a:pt x="2288187" y="515680"/>
                  </a:lnTo>
                  <a:lnTo>
                    <a:pt x="2290471" y="513398"/>
                  </a:lnTo>
                  <a:lnTo>
                    <a:pt x="2288187" y="513398"/>
                  </a:lnTo>
                  <a:lnTo>
                    <a:pt x="2283620" y="508835"/>
                  </a:lnTo>
                  <a:lnTo>
                    <a:pt x="2276760" y="506552"/>
                  </a:lnTo>
                  <a:lnTo>
                    <a:pt x="2274486" y="504271"/>
                  </a:lnTo>
                  <a:lnTo>
                    <a:pt x="2272202" y="504271"/>
                  </a:lnTo>
                  <a:lnTo>
                    <a:pt x="2272202" y="506552"/>
                  </a:lnTo>
                  <a:lnTo>
                    <a:pt x="2267625" y="506552"/>
                  </a:lnTo>
                  <a:lnTo>
                    <a:pt x="2260784" y="508835"/>
                  </a:lnTo>
                  <a:lnTo>
                    <a:pt x="2258501" y="508835"/>
                  </a:lnTo>
                  <a:lnTo>
                    <a:pt x="2256208" y="508835"/>
                  </a:lnTo>
                  <a:lnTo>
                    <a:pt x="2256208" y="499707"/>
                  </a:lnTo>
                  <a:lnTo>
                    <a:pt x="2258501" y="499707"/>
                  </a:lnTo>
                  <a:lnTo>
                    <a:pt x="2263058" y="483734"/>
                  </a:lnTo>
                  <a:lnTo>
                    <a:pt x="2269918" y="486015"/>
                  </a:lnTo>
                  <a:lnTo>
                    <a:pt x="2272202" y="486015"/>
                  </a:lnTo>
                  <a:lnTo>
                    <a:pt x="2272202" y="483734"/>
                  </a:lnTo>
                  <a:lnTo>
                    <a:pt x="2274486" y="483734"/>
                  </a:lnTo>
                  <a:lnTo>
                    <a:pt x="2274486" y="481452"/>
                  </a:lnTo>
                  <a:lnTo>
                    <a:pt x="2274486" y="472324"/>
                  </a:lnTo>
                  <a:lnTo>
                    <a:pt x="2276760" y="472324"/>
                  </a:lnTo>
                  <a:lnTo>
                    <a:pt x="2281337" y="472324"/>
                  </a:lnTo>
                  <a:lnTo>
                    <a:pt x="2283620" y="470042"/>
                  </a:lnTo>
                  <a:lnTo>
                    <a:pt x="2283620" y="467760"/>
                  </a:lnTo>
                  <a:lnTo>
                    <a:pt x="2272202" y="463196"/>
                  </a:lnTo>
                  <a:lnTo>
                    <a:pt x="2272202" y="460915"/>
                  </a:lnTo>
                  <a:lnTo>
                    <a:pt x="2272202" y="458633"/>
                  </a:lnTo>
                  <a:lnTo>
                    <a:pt x="2269918" y="458633"/>
                  </a:lnTo>
                  <a:lnTo>
                    <a:pt x="2263058" y="460915"/>
                  </a:lnTo>
                  <a:lnTo>
                    <a:pt x="2258501" y="460915"/>
                  </a:lnTo>
                  <a:lnTo>
                    <a:pt x="2256208" y="460915"/>
                  </a:lnTo>
                  <a:lnTo>
                    <a:pt x="2253924" y="460915"/>
                  </a:lnTo>
                  <a:lnTo>
                    <a:pt x="2251650" y="463196"/>
                  </a:lnTo>
                  <a:lnTo>
                    <a:pt x="2244799" y="467760"/>
                  </a:lnTo>
                  <a:lnTo>
                    <a:pt x="2237939" y="454069"/>
                  </a:lnTo>
                  <a:lnTo>
                    <a:pt x="2233372" y="451796"/>
                  </a:lnTo>
                  <a:lnTo>
                    <a:pt x="2231097" y="447233"/>
                  </a:lnTo>
                  <a:lnTo>
                    <a:pt x="2228814" y="435823"/>
                  </a:lnTo>
                  <a:lnTo>
                    <a:pt x="2228814" y="433541"/>
                  </a:lnTo>
                  <a:lnTo>
                    <a:pt x="2233372" y="426696"/>
                  </a:lnTo>
                  <a:lnTo>
                    <a:pt x="2221954" y="426696"/>
                  </a:lnTo>
                  <a:lnTo>
                    <a:pt x="2215112" y="426696"/>
                  </a:lnTo>
                  <a:lnTo>
                    <a:pt x="2205968" y="426696"/>
                  </a:lnTo>
                  <a:lnTo>
                    <a:pt x="2203685" y="428978"/>
                  </a:lnTo>
                  <a:lnTo>
                    <a:pt x="2205968" y="431259"/>
                  </a:lnTo>
                  <a:lnTo>
                    <a:pt x="2201401" y="444951"/>
                  </a:lnTo>
                  <a:lnTo>
                    <a:pt x="2201401" y="451796"/>
                  </a:lnTo>
                  <a:lnTo>
                    <a:pt x="2201401" y="454069"/>
                  </a:lnTo>
                  <a:lnTo>
                    <a:pt x="2199118" y="456351"/>
                  </a:lnTo>
                  <a:lnTo>
                    <a:pt x="2196834" y="458633"/>
                  </a:lnTo>
                  <a:lnTo>
                    <a:pt x="2194550" y="460915"/>
                  </a:lnTo>
                  <a:lnTo>
                    <a:pt x="2192267" y="460915"/>
                  </a:lnTo>
                  <a:lnTo>
                    <a:pt x="2189983" y="463196"/>
                  </a:lnTo>
                  <a:lnTo>
                    <a:pt x="2189983" y="465478"/>
                  </a:lnTo>
                  <a:lnTo>
                    <a:pt x="2189983" y="467760"/>
                  </a:lnTo>
                  <a:lnTo>
                    <a:pt x="2189983" y="472324"/>
                  </a:lnTo>
                  <a:lnTo>
                    <a:pt x="2189983" y="474606"/>
                  </a:lnTo>
                  <a:lnTo>
                    <a:pt x="2187700" y="476888"/>
                  </a:lnTo>
                  <a:lnTo>
                    <a:pt x="2185416" y="479170"/>
                  </a:lnTo>
                  <a:lnTo>
                    <a:pt x="2183132" y="479170"/>
                  </a:lnTo>
                  <a:lnTo>
                    <a:pt x="2183132" y="481452"/>
                  </a:lnTo>
                  <a:lnTo>
                    <a:pt x="2180849" y="481452"/>
                  </a:lnTo>
                  <a:lnTo>
                    <a:pt x="2178565" y="481452"/>
                  </a:lnTo>
                  <a:lnTo>
                    <a:pt x="2176282" y="481452"/>
                  </a:lnTo>
                  <a:lnTo>
                    <a:pt x="2162580" y="460915"/>
                  </a:lnTo>
                  <a:lnTo>
                    <a:pt x="2158013" y="458633"/>
                  </a:lnTo>
                  <a:lnTo>
                    <a:pt x="2160296" y="454069"/>
                  </a:lnTo>
                  <a:lnTo>
                    <a:pt x="2151162" y="451796"/>
                  </a:lnTo>
                  <a:lnTo>
                    <a:pt x="2164864" y="438105"/>
                  </a:lnTo>
                  <a:lnTo>
                    <a:pt x="2162580" y="435823"/>
                  </a:lnTo>
                  <a:lnTo>
                    <a:pt x="2162580" y="431259"/>
                  </a:lnTo>
                  <a:lnTo>
                    <a:pt x="2158013" y="431259"/>
                  </a:lnTo>
                  <a:lnTo>
                    <a:pt x="2153446" y="431259"/>
                  </a:lnTo>
                  <a:lnTo>
                    <a:pt x="2148879" y="428978"/>
                  </a:lnTo>
                  <a:lnTo>
                    <a:pt x="2146595" y="428978"/>
                  </a:lnTo>
                  <a:lnTo>
                    <a:pt x="2139744" y="424414"/>
                  </a:lnTo>
                  <a:lnTo>
                    <a:pt x="2132893" y="424414"/>
                  </a:lnTo>
                  <a:lnTo>
                    <a:pt x="2123759" y="408440"/>
                  </a:lnTo>
                  <a:lnTo>
                    <a:pt x="2116908" y="406159"/>
                  </a:lnTo>
                  <a:lnTo>
                    <a:pt x="2114625" y="406159"/>
                  </a:lnTo>
                  <a:lnTo>
                    <a:pt x="2107774" y="406159"/>
                  </a:lnTo>
                  <a:lnTo>
                    <a:pt x="2103206" y="408440"/>
                  </a:lnTo>
                  <a:lnTo>
                    <a:pt x="2098639" y="408440"/>
                  </a:lnTo>
                  <a:lnTo>
                    <a:pt x="2098639" y="410723"/>
                  </a:lnTo>
                  <a:lnTo>
                    <a:pt x="2094072" y="410723"/>
                  </a:lnTo>
                  <a:lnTo>
                    <a:pt x="2089505" y="410723"/>
                  </a:lnTo>
                  <a:lnTo>
                    <a:pt x="2082654" y="408440"/>
                  </a:lnTo>
                  <a:lnTo>
                    <a:pt x="2080370" y="408440"/>
                  </a:lnTo>
                  <a:lnTo>
                    <a:pt x="2075803" y="413004"/>
                  </a:lnTo>
                  <a:lnTo>
                    <a:pt x="2071236" y="419850"/>
                  </a:lnTo>
                  <a:lnTo>
                    <a:pt x="2068952" y="419850"/>
                  </a:lnTo>
                  <a:lnTo>
                    <a:pt x="2068952" y="422132"/>
                  </a:lnTo>
                  <a:lnTo>
                    <a:pt x="2068952" y="424414"/>
                  </a:lnTo>
                  <a:lnTo>
                    <a:pt x="2055251" y="426696"/>
                  </a:lnTo>
                  <a:lnTo>
                    <a:pt x="2052967" y="426696"/>
                  </a:lnTo>
                  <a:lnTo>
                    <a:pt x="2050684" y="431259"/>
                  </a:lnTo>
                  <a:lnTo>
                    <a:pt x="2041549" y="431259"/>
                  </a:lnTo>
                  <a:lnTo>
                    <a:pt x="2025564" y="426696"/>
                  </a:lnTo>
                  <a:lnTo>
                    <a:pt x="2014146" y="422132"/>
                  </a:lnTo>
                  <a:lnTo>
                    <a:pt x="2011862" y="419850"/>
                  </a:lnTo>
                  <a:lnTo>
                    <a:pt x="2009579" y="426696"/>
                  </a:lnTo>
                  <a:lnTo>
                    <a:pt x="2007295" y="428978"/>
                  </a:lnTo>
                  <a:lnTo>
                    <a:pt x="2007295" y="431259"/>
                  </a:lnTo>
                  <a:lnTo>
                    <a:pt x="2007295" y="433541"/>
                  </a:lnTo>
                  <a:lnTo>
                    <a:pt x="2009579" y="435823"/>
                  </a:lnTo>
                  <a:lnTo>
                    <a:pt x="2005012" y="435823"/>
                  </a:lnTo>
                  <a:lnTo>
                    <a:pt x="2002728" y="435823"/>
                  </a:lnTo>
                  <a:lnTo>
                    <a:pt x="2002728" y="438105"/>
                  </a:lnTo>
                  <a:lnTo>
                    <a:pt x="2000445" y="435823"/>
                  </a:lnTo>
                  <a:lnTo>
                    <a:pt x="1998161" y="435823"/>
                  </a:lnTo>
                  <a:lnTo>
                    <a:pt x="1995877" y="435823"/>
                  </a:lnTo>
                  <a:lnTo>
                    <a:pt x="1993594" y="435823"/>
                  </a:lnTo>
                  <a:lnTo>
                    <a:pt x="1991310" y="435823"/>
                  </a:lnTo>
                  <a:lnTo>
                    <a:pt x="1989027" y="435823"/>
                  </a:lnTo>
                  <a:lnTo>
                    <a:pt x="1986743" y="435823"/>
                  </a:lnTo>
                  <a:lnTo>
                    <a:pt x="1973041" y="444951"/>
                  </a:lnTo>
                  <a:lnTo>
                    <a:pt x="1970758" y="447233"/>
                  </a:lnTo>
                  <a:lnTo>
                    <a:pt x="1968474" y="449515"/>
                  </a:lnTo>
                  <a:lnTo>
                    <a:pt x="1966191" y="454069"/>
                  </a:lnTo>
                  <a:lnTo>
                    <a:pt x="1963907" y="456351"/>
                  </a:lnTo>
                  <a:lnTo>
                    <a:pt x="1963907" y="458633"/>
                  </a:lnTo>
                  <a:lnTo>
                    <a:pt x="1961623" y="463196"/>
                  </a:lnTo>
                  <a:lnTo>
                    <a:pt x="1959340" y="465478"/>
                  </a:lnTo>
                  <a:lnTo>
                    <a:pt x="1959340" y="467760"/>
                  </a:lnTo>
                  <a:lnTo>
                    <a:pt x="1959340" y="472324"/>
                  </a:lnTo>
                  <a:lnTo>
                    <a:pt x="1959340" y="479170"/>
                  </a:lnTo>
                  <a:lnTo>
                    <a:pt x="1959340" y="481452"/>
                  </a:lnTo>
                  <a:lnTo>
                    <a:pt x="1957056" y="483734"/>
                  </a:lnTo>
                  <a:lnTo>
                    <a:pt x="1954773" y="486015"/>
                  </a:lnTo>
                  <a:lnTo>
                    <a:pt x="1954773" y="488297"/>
                  </a:lnTo>
                  <a:lnTo>
                    <a:pt x="1952489" y="488297"/>
                  </a:lnTo>
                  <a:lnTo>
                    <a:pt x="1952489" y="490579"/>
                  </a:lnTo>
                  <a:lnTo>
                    <a:pt x="1950206" y="492861"/>
                  </a:lnTo>
                  <a:lnTo>
                    <a:pt x="1947922" y="495143"/>
                  </a:lnTo>
                  <a:lnTo>
                    <a:pt x="1947922" y="497425"/>
                  </a:lnTo>
                  <a:lnTo>
                    <a:pt x="1947922" y="499707"/>
                  </a:lnTo>
                  <a:lnTo>
                    <a:pt x="1947922" y="501989"/>
                  </a:lnTo>
                  <a:lnTo>
                    <a:pt x="1950206" y="504271"/>
                  </a:lnTo>
                  <a:lnTo>
                    <a:pt x="1936504" y="517962"/>
                  </a:lnTo>
                  <a:lnTo>
                    <a:pt x="1929653" y="522526"/>
                  </a:lnTo>
                  <a:lnTo>
                    <a:pt x="1925086" y="529371"/>
                  </a:lnTo>
                  <a:lnTo>
                    <a:pt x="1922802" y="531653"/>
                  </a:lnTo>
                  <a:lnTo>
                    <a:pt x="1920519" y="533935"/>
                  </a:lnTo>
                  <a:lnTo>
                    <a:pt x="1918235" y="536217"/>
                  </a:lnTo>
                  <a:lnTo>
                    <a:pt x="1913668" y="540781"/>
                  </a:lnTo>
                  <a:lnTo>
                    <a:pt x="1911384" y="540781"/>
                  </a:lnTo>
                  <a:lnTo>
                    <a:pt x="1906817" y="540781"/>
                  </a:lnTo>
                  <a:lnTo>
                    <a:pt x="1904533" y="547627"/>
                  </a:lnTo>
                  <a:lnTo>
                    <a:pt x="1899966" y="545345"/>
                  </a:lnTo>
                  <a:lnTo>
                    <a:pt x="1895399" y="540781"/>
                  </a:lnTo>
                  <a:lnTo>
                    <a:pt x="1895399" y="538499"/>
                  </a:lnTo>
                  <a:lnTo>
                    <a:pt x="1890832" y="538499"/>
                  </a:lnTo>
                  <a:lnTo>
                    <a:pt x="1888548" y="533935"/>
                  </a:lnTo>
                  <a:lnTo>
                    <a:pt x="1888548" y="529371"/>
                  </a:lnTo>
                  <a:lnTo>
                    <a:pt x="1888548" y="522526"/>
                  </a:lnTo>
                  <a:lnTo>
                    <a:pt x="1888548" y="520244"/>
                  </a:lnTo>
                  <a:lnTo>
                    <a:pt x="1890832" y="517962"/>
                  </a:lnTo>
                  <a:lnTo>
                    <a:pt x="1890832" y="515680"/>
                  </a:lnTo>
                  <a:lnTo>
                    <a:pt x="1893116" y="513398"/>
                  </a:lnTo>
                  <a:lnTo>
                    <a:pt x="1883981" y="508835"/>
                  </a:lnTo>
                  <a:lnTo>
                    <a:pt x="1881698" y="508835"/>
                  </a:lnTo>
                  <a:lnTo>
                    <a:pt x="1870280" y="504271"/>
                  </a:lnTo>
                  <a:lnTo>
                    <a:pt x="1861145" y="501989"/>
                  </a:lnTo>
                  <a:lnTo>
                    <a:pt x="1852011" y="504271"/>
                  </a:lnTo>
                  <a:lnTo>
                    <a:pt x="1833742" y="508835"/>
                  </a:lnTo>
                  <a:lnTo>
                    <a:pt x="1824608" y="504271"/>
                  </a:lnTo>
                  <a:lnTo>
                    <a:pt x="1820040" y="492861"/>
                  </a:lnTo>
                  <a:lnTo>
                    <a:pt x="1817757" y="486015"/>
                  </a:lnTo>
                  <a:lnTo>
                    <a:pt x="1806339" y="495143"/>
                  </a:lnTo>
                  <a:lnTo>
                    <a:pt x="1790354" y="501989"/>
                  </a:lnTo>
                  <a:lnTo>
                    <a:pt x="1783503" y="490579"/>
                  </a:lnTo>
                  <a:lnTo>
                    <a:pt x="1774369" y="479170"/>
                  </a:lnTo>
                  <a:lnTo>
                    <a:pt x="1765234" y="483734"/>
                  </a:lnTo>
                  <a:lnTo>
                    <a:pt x="1753816" y="488297"/>
                  </a:lnTo>
                  <a:lnTo>
                    <a:pt x="1751533" y="488297"/>
                  </a:lnTo>
                  <a:lnTo>
                    <a:pt x="1749249" y="488297"/>
                  </a:lnTo>
                  <a:lnTo>
                    <a:pt x="1746965" y="490579"/>
                  </a:lnTo>
                  <a:lnTo>
                    <a:pt x="1744682" y="490579"/>
                  </a:lnTo>
                  <a:lnTo>
                    <a:pt x="1744682" y="488297"/>
                  </a:lnTo>
                  <a:lnTo>
                    <a:pt x="1742398" y="488297"/>
                  </a:lnTo>
                  <a:lnTo>
                    <a:pt x="1740115" y="488297"/>
                  </a:lnTo>
                  <a:lnTo>
                    <a:pt x="1737831" y="488297"/>
                  </a:lnTo>
                  <a:lnTo>
                    <a:pt x="1737831" y="490579"/>
                  </a:lnTo>
                  <a:lnTo>
                    <a:pt x="1735548" y="490579"/>
                  </a:lnTo>
                  <a:lnTo>
                    <a:pt x="1733264" y="490579"/>
                  </a:lnTo>
                  <a:lnTo>
                    <a:pt x="1730980" y="490579"/>
                  </a:lnTo>
                  <a:lnTo>
                    <a:pt x="1724129" y="488297"/>
                  </a:lnTo>
                  <a:lnTo>
                    <a:pt x="1719562" y="483734"/>
                  </a:lnTo>
                  <a:lnTo>
                    <a:pt x="1724129" y="470042"/>
                  </a:lnTo>
                  <a:lnTo>
                    <a:pt x="1728697" y="456351"/>
                  </a:lnTo>
                  <a:lnTo>
                    <a:pt x="1733264" y="451796"/>
                  </a:lnTo>
                  <a:lnTo>
                    <a:pt x="1712711" y="447233"/>
                  </a:lnTo>
                  <a:lnTo>
                    <a:pt x="1712711" y="442669"/>
                  </a:lnTo>
                  <a:lnTo>
                    <a:pt x="1712711" y="440387"/>
                  </a:lnTo>
                  <a:lnTo>
                    <a:pt x="1712711" y="438105"/>
                  </a:lnTo>
                  <a:lnTo>
                    <a:pt x="1712711" y="435823"/>
                  </a:lnTo>
                  <a:lnTo>
                    <a:pt x="1712711" y="433541"/>
                  </a:lnTo>
                  <a:lnTo>
                    <a:pt x="1710428" y="431259"/>
                  </a:lnTo>
                  <a:lnTo>
                    <a:pt x="1708144" y="431259"/>
                  </a:lnTo>
                  <a:lnTo>
                    <a:pt x="1705861" y="431259"/>
                  </a:lnTo>
                  <a:lnTo>
                    <a:pt x="1701294" y="431259"/>
                  </a:lnTo>
                  <a:lnTo>
                    <a:pt x="1696726" y="431259"/>
                  </a:lnTo>
                  <a:lnTo>
                    <a:pt x="1694443" y="431259"/>
                  </a:lnTo>
                  <a:lnTo>
                    <a:pt x="1689876" y="431259"/>
                  </a:lnTo>
                  <a:lnTo>
                    <a:pt x="1687592" y="431259"/>
                  </a:lnTo>
                  <a:lnTo>
                    <a:pt x="1687592" y="428978"/>
                  </a:lnTo>
                  <a:lnTo>
                    <a:pt x="1664756" y="417568"/>
                  </a:lnTo>
                  <a:lnTo>
                    <a:pt x="1662472" y="415286"/>
                  </a:lnTo>
                  <a:lnTo>
                    <a:pt x="1637353" y="406159"/>
                  </a:lnTo>
                  <a:lnTo>
                    <a:pt x="1635069" y="403877"/>
                  </a:lnTo>
                  <a:lnTo>
                    <a:pt x="1621368" y="397031"/>
                  </a:lnTo>
                  <a:lnTo>
                    <a:pt x="1616800" y="399313"/>
                  </a:lnTo>
                  <a:lnTo>
                    <a:pt x="1614517" y="399313"/>
                  </a:lnTo>
                  <a:lnTo>
                    <a:pt x="1607666" y="401595"/>
                  </a:lnTo>
                  <a:lnTo>
                    <a:pt x="1605382" y="431259"/>
                  </a:lnTo>
                  <a:lnTo>
                    <a:pt x="1600815" y="431259"/>
                  </a:lnTo>
                  <a:lnTo>
                    <a:pt x="1598532" y="447233"/>
                  </a:lnTo>
                  <a:lnTo>
                    <a:pt x="1591681" y="460915"/>
                  </a:lnTo>
                  <a:lnTo>
                    <a:pt x="1587114" y="472324"/>
                  </a:lnTo>
                  <a:lnTo>
                    <a:pt x="1587114" y="474606"/>
                  </a:lnTo>
                  <a:lnTo>
                    <a:pt x="1587114" y="479170"/>
                  </a:lnTo>
                  <a:lnTo>
                    <a:pt x="1589397" y="483734"/>
                  </a:lnTo>
                  <a:lnTo>
                    <a:pt x="1587114" y="486015"/>
                  </a:lnTo>
                  <a:lnTo>
                    <a:pt x="1584830" y="486015"/>
                  </a:lnTo>
                  <a:lnTo>
                    <a:pt x="1580263" y="488297"/>
                  </a:lnTo>
                  <a:lnTo>
                    <a:pt x="1577979" y="490579"/>
                  </a:lnTo>
                  <a:lnTo>
                    <a:pt x="1573412" y="492861"/>
                  </a:lnTo>
                  <a:lnTo>
                    <a:pt x="1573412" y="495143"/>
                  </a:lnTo>
                  <a:lnTo>
                    <a:pt x="1575696" y="495143"/>
                  </a:lnTo>
                  <a:lnTo>
                    <a:pt x="1577979" y="495143"/>
                  </a:lnTo>
                  <a:lnTo>
                    <a:pt x="1577979" y="497425"/>
                  </a:lnTo>
                  <a:lnTo>
                    <a:pt x="1577979" y="499707"/>
                  </a:lnTo>
                  <a:lnTo>
                    <a:pt x="1577979" y="501989"/>
                  </a:lnTo>
                  <a:lnTo>
                    <a:pt x="1577979" y="506552"/>
                  </a:lnTo>
                  <a:lnTo>
                    <a:pt x="1577979" y="508835"/>
                  </a:lnTo>
                  <a:lnTo>
                    <a:pt x="1577979" y="511116"/>
                  </a:lnTo>
                  <a:lnTo>
                    <a:pt x="1577979" y="515680"/>
                  </a:lnTo>
                  <a:lnTo>
                    <a:pt x="1577979" y="517962"/>
                  </a:lnTo>
                  <a:lnTo>
                    <a:pt x="1577979" y="520244"/>
                  </a:lnTo>
                  <a:lnTo>
                    <a:pt x="1575696" y="524808"/>
                  </a:lnTo>
                  <a:lnTo>
                    <a:pt x="1575696" y="527090"/>
                  </a:lnTo>
                  <a:lnTo>
                    <a:pt x="1573412" y="527090"/>
                  </a:lnTo>
                  <a:lnTo>
                    <a:pt x="1571128" y="524808"/>
                  </a:lnTo>
                  <a:lnTo>
                    <a:pt x="1568845" y="524808"/>
                  </a:lnTo>
                  <a:lnTo>
                    <a:pt x="1566561" y="524808"/>
                  </a:lnTo>
                  <a:lnTo>
                    <a:pt x="1564278" y="524808"/>
                  </a:lnTo>
                  <a:lnTo>
                    <a:pt x="1561994" y="522526"/>
                  </a:lnTo>
                  <a:lnTo>
                    <a:pt x="1561994" y="520244"/>
                  </a:lnTo>
                  <a:lnTo>
                    <a:pt x="1559711" y="517962"/>
                  </a:lnTo>
                  <a:lnTo>
                    <a:pt x="1557427" y="515680"/>
                  </a:lnTo>
                  <a:lnTo>
                    <a:pt x="1552860" y="513398"/>
                  </a:lnTo>
                  <a:lnTo>
                    <a:pt x="1550576" y="513398"/>
                  </a:lnTo>
                  <a:lnTo>
                    <a:pt x="1548293" y="513398"/>
                  </a:lnTo>
                  <a:lnTo>
                    <a:pt x="1546009" y="513398"/>
                  </a:lnTo>
                  <a:lnTo>
                    <a:pt x="1546009" y="515680"/>
                  </a:lnTo>
                  <a:lnTo>
                    <a:pt x="1546009" y="517962"/>
                  </a:lnTo>
                  <a:lnTo>
                    <a:pt x="1548293" y="517962"/>
                  </a:lnTo>
                  <a:lnTo>
                    <a:pt x="1548293" y="520244"/>
                  </a:lnTo>
                  <a:lnTo>
                    <a:pt x="1548293" y="522526"/>
                  </a:lnTo>
                  <a:lnTo>
                    <a:pt x="1548293" y="524808"/>
                  </a:lnTo>
                  <a:lnTo>
                    <a:pt x="1550576" y="524808"/>
                  </a:lnTo>
                  <a:lnTo>
                    <a:pt x="1550576" y="527090"/>
                  </a:lnTo>
                  <a:lnTo>
                    <a:pt x="1552860" y="527090"/>
                  </a:lnTo>
                  <a:lnTo>
                    <a:pt x="1552860" y="529371"/>
                  </a:lnTo>
                  <a:lnTo>
                    <a:pt x="1552860" y="531653"/>
                  </a:lnTo>
                  <a:lnTo>
                    <a:pt x="1552860" y="538499"/>
                  </a:lnTo>
                  <a:lnTo>
                    <a:pt x="1552860" y="540781"/>
                  </a:lnTo>
                  <a:lnTo>
                    <a:pt x="1552860" y="543063"/>
                  </a:lnTo>
                  <a:lnTo>
                    <a:pt x="1546009" y="545345"/>
                  </a:lnTo>
                  <a:lnTo>
                    <a:pt x="1543725" y="547627"/>
                  </a:lnTo>
                  <a:lnTo>
                    <a:pt x="1546009" y="552191"/>
                  </a:lnTo>
                  <a:lnTo>
                    <a:pt x="1548293" y="554472"/>
                  </a:lnTo>
                  <a:lnTo>
                    <a:pt x="1548293" y="556754"/>
                  </a:lnTo>
                  <a:lnTo>
                    <a:pt x="1548293" y="559036"/>
                  </a:lnTo>
                  <a:lnTo>
                    <a:pt x="1550576" y="559036"/>
                  </a:lnTo>
                  <a:lnTo>
                    <a:pt x="1550576" y="561318"/>
                  </a:lnTo>
                  <a:lnTo>
                    <a:pt x="1550576" y="563600"/>
                  </a:lnTo>
                  <a:lnTo>
                    <a:pt x="1552860" y="565882"/>
                  </a:lnTo>
                  <a:lnTo>
                    <a:pt x="1552860" y="570446"/>
                  </a:lnTo>
                  <a:lnTo>
                    <a:pt x="1552860" y="572728"/>
                  </a:lnTo>
                  <a:lnTo>
                    <a:pt x="1550576" y="575009"/>
                  </a:lnTo>
                  <a:lnTo>
                    <a:pt x="1548293" y="577291"/>
                  </a:lnTo>
                  <a:lnTo>
                    <a:pt x="1548293" y="579573"/>
                  </a:lnTo>
                  <a:lnTo>
                    <a:pt x="1546009" y="579573"/>
                  </a:lnTo>
                  <a:lnTo>
                    <a:pt x="1548293" y="581855"/>
                  </a:lnTo>
                  <a:lnTo>
                    <a:pt x="1548293" y="584137"/>
                  </a:lnTo>
                  <a:lnTo>
                    <a:pt x="1552860" y="588701"/>
                  </a:lnTo>
                  <a:lnTo>
                    <a:pt x="1552860" y="590983"/>
                  </a:lnTo>
                  <a:lnTo>
                    <a:pt x="1557427" y="593264"/>
                  </a:lnTo>
                  <a:lnTo>
                    <a:pt x="1561994" y="595547"/>
                  </a:lnTo>
                  <a:lnTo>
                    <a:pt x="1564278" y="595547"/>
                  </a:lnTo>
                  <a:lnTo>
                    <a:pt x="1566561" y="597828"/>
                  </a:lnTo>
                  <a:lnTo>
                    <a:pt x="1568845" y="597828"/>
                  </a:lnTo>
                  <a:lnTo>
                    <a:pt x="1566561" y="600110"/>
                  </a:lnTo>
                  <a:lnTo>
                    <a:pt x="1564278" y="602392"/>
                  </a:lnTo>
                  <a:lnTo>
                    <a:pt x="1561994" y="606956"/>
                  </a:lnTo>
                  <a:lnTo>
                    <a:pt x="1561994" y="609238"/>
                  </a:lnTo>
                  <a:lnTo>
                    <a:pt x="1559711" y="613802"/>
                  </a:lnTo>
                  <a:lnTo>
                    <a:pt x="1559711" y="616074"/>
                  </a:lnTo>
                  <a:lnTo>
                    <a:pt x="1557427" y="620638"/>
                  </a:lnTo>
                  <a:lnTo>
                    <a:pt x="1557427" y="622920"/>
                  </a:lnTo>
                  <a:lnTo>
                    <a:pt x="1557427" y="625202"/>
                  </a:lnTo>
                  <a:lnTo>
                    <a:pt x="1555143" y="629765"/>
                  </a:lnTo>
                  <a:lnTo>
                    <a:pt x="1555143" y="632047"/>
                  </a:lnTo>
                  <a:lnTo>
                    <a:pt x="1552860" y="629765"/>
                  </a:lnTo>
                  <a:lnTo>
                    <a:pt x="1552860" y="625202"/>
                  </a:lnTo>
                  <a:lnTo>
                    <a:pt x="1550576" y="622920"/>
                  </a:lnTo>
                  <a:lnTo>
                    <a:pt x="1548293" y="616074"/>
                  </a:lnTo>
                  <a:lnTo>
                    <a:pt x="1548293" y="611520"/>
                  </a:lnTo>
                  <a:lnTo>
                    <a:pt x="1546009" y="609238"/>
                  </a:lnTo>
                  <a:lnTo>
                    <a:pt x="1546009" y="606956"/>
                  </a:lnTo>
                  <a:lnTo>
                    <a:pt x="1543725" y="609238"/>
                  </a:lnTo>
                  <a:lnTo>
                    <a:pt x="1539158" y="611520"/>
                  </a:lnTo>
                  <a:lnTo>
                    <a:pt x="1534591" y="613802"/>
                  </a:lnTo>
                  <a:lnTo>
                    <a:pt x="1532307" y="618356"/>
                  </a:lnTo>
                  <a:lnTo>
                    <a:pt x="1527740" y="620638"/>
                  </a:lnTo>
                  <a:lnTo>
                    <a:pt x="1527740" y="622920"/>
                  </a:lnTo>
                  <a:lnTo>
                    <a:pt x="1527740" y="625202"/>
                  </a:lnTo>
                  <a:lnTo>
                    <a:pt x="1527740" y="627483"/>
                  </a:lnTo>
                  <a:lnTo>
                    <a:pt x="1525457" y="632047"/>
                  </a:lnTo>
                  <a:lnTo>
                    <a:pt x="1525457" y="634329"/>
                  </a:lnTo>
                  <a:lnTo>
                    <a:pt x="1525457" y="636611"/>
                  </a:lnTo>
                  <a:lnTo>
                    <a:pt x="1525457" y="641175"/>
                  </a:lnTo>
                  <a:lnTo>
                    <a:pt x="1525457" y="643457"/>
                  </a:lnTo>
                  <a:lnTo>
                    <a:pt x="1525457" y="645739"/>
                  </a:lnTo>
                  <a:lnTo>
                    <a:pt x="1525457" y="648020"/>
                  </a:lnTo>
                  <a:lnTo>
                    <a:pt x="1525457" y="650303"/>
                  </a:lnTo>
                  <a:lnTo>
                    <a:pt x="1523173" y="650303"/>
                  </a:lnTo>
                  <a:lnTo>
                    <a:pt x="1523173" y="652584"/>
                  </a:lnTo>
                  <a:lnTo>
                    <a:pt x="1523173" y="654866"/>
                  </a:lnTo>
                  <a:lnTo>
                    <a:pt x="1523173" y="657148"/>
                  </a:lnTo>
                  <a:lnTo>
                    <a:pt x="1520889" y="657148"/>
                  </a:lnTo>
                  <a:lnTo>
                    <a:pt x="1520889" y="659430"/>
                  </a:lnTo>
                  <a:lnTo>
                    <a:pt x="1518606" y="659430"/>
                  </a:lnTo>
                  <a:lnTo>
                    <a:pt x="1516322" y="661712"/>
                  </a:lnTo>
                  <a:lnTo>
                    <a:pt x="1514039" y="661712"/>
                  </a:lnTo>
                  <a:lnTo>
                    <a:pt x="1514039" y="663994"/>
                  </a:lnTo>
                  <a:lnTo>
                    <a:pt x="1511755" y="663994"/>
                  </a:lnTo>
                  <a:lnTo>
                    <a:pt x="1509471" y="663994"/>
                  </a:lnTo>
                  <a:lnTo>
                    <a:pt x="1504904" y="666276"/>
                  </a:lnTo>
                  <a:lnTo>
                    <a:pt x="1502621" y="666276"/>
                  </a:lnTo>
                  <a:lnTo>
                    <a:pt x="1502621" y="668558"/>
                  </a:lnTo>
                  <a:lnTo>
                    <a:pt x="1500337" y="668558"/>
                  </a:lnTo>
                  <a:lnTo>
                    <a:pt x="1500337" y="670840"/>
                  </a:lnTo>
                  <a:lnTo>
                    <a:pt x="1500337" y="673121"/>
                  </a:lnTo>
                  <a:lnTo>
                    <a:pt x="1500337" y="675403"/>
                  </a:lnTo>
                  <a:lnTo>
                    <a:pt x="1500337" y="677685"/>
                  </a:lnTo>
                  <a:lnTo>
                    <a:pt x="1500337" y="679967"/>
                  </a:lnTo>
                  <a:lnTo>
                    <a:pt x="1498053" y="679967"/>
                  </a:lnTo>
                  <a:lnTo>
                    <a:pt x="1498053" y="682249"/>
                  </a:lnTo>
                  <a:lnTo>
                    <a:pt x="1495770" y="682249"/>
                  </a:lnTo>
                  <a:lnTo>
                    <a:pt x="1495770" y="679967"/>
                  </a:lnTo>
                  <a:lnTo>
                    <a:pt x="1493486" y="679967"/>
                  </a:lnTo>
                  <a:lnTo>
                    <a:pt x="1491203" y="679967"/>
                  </a:lnTo>
                  <a:lnTo>
                    <a:pt x="1491203" y="682249"/>
                  </a:lnTo>
                  <a:lnTo>
                    <a:pt x="1491203" y="684531"/>
                  </a:lnTo>
                  <a:lnTo>
                    <a:pt x="1491203" y="686813"/>
                  </a:lnTo>
                  <a:lnTo>
                    <a:pt x="1488919" y="686813"/>
                  </a:lnTo>
                  <a:lnTo>
                    <a:pt x="1486636" y="686813"/>
                  </a:lnTo>
                  <a:lnTo>
                    <a:pt x="1484352" y="689095"/>
                  </a:lnTo>
                  <a:lnTo>
                    <a:pt x="1482068" y="689095"/>
                  </a:lnTo>
                  <a:lnTo>
                    <a:pt x="1479785" y="689095"/>
                  </a:lnTo>
                  <a:lnTo>
                    <a:pt x="1477501" y="689095"/>
                  </a:lnTo>
                  <a:lnTo>
                    <a:pt x="1475218" y="689095"/>
                  </a:lnTo>
                  <a:lnTo>
                    <a:pt x="1472934" y="689095"/>
                  </a:lnTo>
                  <a:lnTo>
                    <a:pt x="1470650" y="689095"/>
                  </a:lnTo>
                  <a:lnTo>
                    <a:pt x="1470650" y="686813"/>
                  </a:lnTo>
                  <a:lnTo>
                    <a:pt x="1466083" y="686813"/>
                  </a:lnTo>
                  <a:lnTo>
                    <a:pt x="1463799" y="684531"/>
                  </a:lnTo>
                  <a:lnTo>
                    <a:pt x="1461516" y="684531"/>
                  </a:lnTo>
                  <a:lnTo>
                    <a:pt x="1459232" y="684531"/>
                  </a:lnTo>
                  <a:lnTo>
                    <a:pt x="1456949" y="684531"/>
                  </a:lnTo>
                  <a:lnTo>
                    <a:pt x="1456949" y="682249"/>
                  </a:lnTo>
                  <a:lnTo>
                    <a:pt x="1454665" y="682249"/>
                  </a:lnTo>
                  <a:lnTo>
                    <a:pt x="1452382" y="682249"/>
                  </a:lnTo>
                  <a:lnTo>
                    <a:pt x="1450098" y="682249"/>
                  </a:lnTo>
                  <a:lnTo>
                    <a:pt x="1447814" y="679967"/>
                  </a:lnTo>
                  <a:lnTo>
                    <a:pt x="1443247" y="675403"/>
                  </a:lnTo>
                  <a:lnTo>
                    <a:pt x="1445531" y="670840"/>
                  </a:lnTo>
                  <a:lnTo>
                    <a:pt x="1440964" y="670840"/>
                  </a:lnTo>
                  <a:lnTo>
                    <a:pt x="1436396" y="670840"/>
                  </a:lnTo>
                  <a:lnTo>
                    <a:pt x="1434113" y="666276"/>
                  </a:lnTo>
                  <a:lnTo>
                    <a:pt x="1431829" y="663994"/>
                  </a:lnTo>
                  <a:lnTo>
                    <a:pt x="1431829" y="661712"/>
                  </a:lnTo>
                  <a:lnTo>
                    <a:pt x="1427262" y="666276"/>
                  </a:lnTo>
                  <a:lnTo>
                    <a:pt x="1424978" y="670840"/>
                  </a:lnTo>
                  <a:lnTo>
                    <a:pt x="1422695" y="670840"/>
                  </a:lnTo>
                  <a:lnTo>
                    <a:pt x="1420411" y="675403"/>
                  </a:lnTo>
                  <a:lnTo>
                    <a:pt x="1418128" y="677685"/>
                  </a:lnTo>
                  <a:lnTo>
                    <a:pt x="1418128" y="679967"/>
                  </a:lnTo>
                  <a:lnTo>
                    <a:pt x="1415844" y="679967"/>
                  </a:lnTo>
                  <a:lnTo>
                    <a:pt x="1413560" y="679967"/>
                  </a:lnTo>
                  <a:lnTo>
                    <a:pt x="1411277" y="679967"/>
                  </a:lnTo>
                  <a:lnTo>
                    <a:pt x="1408993" y="677685"/>
                  </a:lnTo>
                  <a:lnTo>
                    <a:pt x="1406710" y="675403"/>
                  </a:lnTo>
                  <a:lnTo>
                    <a:pt x="1406710" y="673121"/>
                  </a:lnTo>
                  <a:lnTo>
                    <a:pt x="1404426" y="670840"/>
                  </a:lnTo>
                  <a:lnTo>
                    <a:pt x="1402142" y="668558"/>
                  </a:lnTo>
                  <a:lnTo>
                    <a:pt x="1399859" y="666276"/>
                  </a:lnTo>
                  <a:lnTo>
                    <a:pt x="1397575" y="666276"/>
                  </a:lnTo>
                  <a:lnTo>
                    <a:pt x="1395292" y="666276"/>
                  </a:lnTo>
                  <a:lnTo>
                    <a:pt x="1393008" y="666276"/>
                  </a:lnTo>
                  <a:lnTo>
                    <a:pt x="1390724" y="666276"/>
                  </a:lnTo>
                  <a:lnTo>
                    <a:pt x="1388441" y="666276"/>
                  </a:lnTo>
                  <a:lnTo>
                    <a:pt x="1386157" y="666276"/>
                  </a:lnTo>
                  <a:lnTo>
                    <a:pt x="1383874" y="668558"/>
                  </a:lnTo>
                  <a:lnTo>
                    <a:pt x="1381590" y="668558"/>
                  </a:lnTo>
                  <a:lnTo>
                    <a:pt x="1381590" y="670840"/>
                  </a:lnTo>
                  <a:lnTo>
                    <a:pt x="1379307" y="670840"/>
                  </a:lnTo>
                  <a:lnTo>
                    <a:pt x="1377023" y="670840"/>
                  </a:lnTo>
                  <a:lnTo>
                    <a:pt x="1374739" y="673121"/>
                  </a:lnTo>
                  <a:lnTo>
                    <a:pt x="1372456" y="673121"/>
                  </a:lnTo>
                  <a:lnTo>
                    <a:pt x="1370172" y="673121"/>
                  </a:lnTo>
                  <a:lnTo>
                    <a:pt x="1367889" y="675403"/>
                  </a:lnTo>
                  <a:lnTo>
                    <a:pt x="1365605" y="675403"/>
                  </a:lnTo>
                  <a:lnTo>
                    <a:pt x="1363321" y="675403"/>
                  </a:lnTo>
                  <a:lnTo>
                    <a:pt x="1361038" y="675403"/>
                  </a:lnTo>
                  <a:lnTo>
                    <a:pt x="1363321" y="677685"/>
                  </a:lnTo>
                  <a:lnTo>
                    <a:pt x="1363321" y="679967"/>
                  </a:lnTo>
                  <a:lnTo>
                    <a:pt x="1363321" y="682249"/>
                  </a:lnTo>
                  <a:lnTo>
                    <a:pt x="1363321" y="684531"/>
                  </a:lnTo>
                  <a:lnTo>
                    <a:pt x="1363321" y="686813"/>
                  </a:lnTo>
                  <a:lnTo>
                    <a:pt x="1365605" y="686813"/>
                  </a:lnTo>
                  <a:lnTo>
                    <a:pt x="1365605" y="689095"/>
                  </a:lnTo>
                  <a:lnTo>
                    <a:pt x="1365605" y="691376"/>
                  </a:lnTo>
                  <a:lnTo>
                    <a:pt x="1365605" y="693659"/>
                  </a:lnTo>
                  <a:lnTo>
                    <a:pt x="1365605" y="695940"/>
                  </a:lnTo>
                  <a:lnTo>
                    <a:pt x="1367889" y="698222"/>
                  </a:lnTo>
                  <a:lnTo>
                    <a:pt x="1367889" y="700504"/>
                  </a:lnTo>
                  <a:lnTo>
                    <a:pt x="1367889" y="702786"/>
                  </a:lnTo>
                  <a:lnTo>
                    <a:pt x="1370172" y="705068"/>
                  </a:lnTo>
                  <a:lnTo>
                    <a:pt x="1372456" y="709632"/>
                  </a:lnTo>
                  <a:lnTo>
                    <a:pt x="1372456" y="711914"/>
                  </a:lnTo>
                  <a:lnTo>
                    <a:pt x="1370172" y="714196"/>
                  </a:lnTo>
                  <a:lnTo>
                    <a:pt x="1370172" y="716477"/>
                  </a:lnTo>
                  <a:lnTo>
                    <a:pt x="1358754" y="721041"/>
                  </a:lnTo>
                  <a:lnTo>
                    <a:pt x="1351903" y="718759"/>
                  </a:lnTo>
                  <a:lnTo>
                    <a:pt x="1345053" y="718759"/>
                  </a:lnTo>
                  <a:lnTo>
                    <a:pt x="1342769" y="718759"/>
                  </a:lnTo>
                  <a:lnTo>
                    <a:pt x="1340485" y="721041"/>
                  </a:lnTo>
                  <a:lnTo>
                    <a:pt x="1338202" y="723323"/>
                  </a:lnTo>
                  <a:lnTo>
                    <a:pt x="1335918" y="725605"/>
                  </a:lnTo>
                  <a:lnTo>
                    <a:pt x="1333635" y="727887"/>
                  </a:lnTo>
                  <a:lnTo>
                    <a:pt x="1331351" y="730169"/>
                  </a:lnTo>
                  <a:lnTo>
                    <a:pt x="1331351" y="732451"/>
                  </a:lnTo>
                  <a:lnTo>
                    <a:pt x="1329067" y="734732"/>
                  </a:lnTo>
                  <a:lnTo>
                    <a:pt x="1329067" y="737015"/>
                  </a:lnTo>
                  <a:lnTo>
                    <a:pt x="1319933" y="734732"/>
                  </a:lnTo>
                  <a:lnTo>
                    <a:pt x="1317649" y="737015"/>
                  </a:lnTo>
                  <a:lnTo>
                    <a:pt x="1313082" y="739296"/>
                  </a:lnTo>
                  <a:lnTo>
                    <a:pt x="1310799" y="741578"/>
                  </a:lnTo>
                  <a:lnTo>
                    <a:pt x="1308515" y="741578"/>
                  </a:lnTo>
                  <a:lnTo>
                    <a:pt x="1306231" y="743860"/>
                  </a:lnTo>
                  <a:lnTo>
                    <a:pt x="1303948" y="743860"/>
                  </a:lnTo>
                  <a:lnTo>
                    <a:pt x="1301664" y="746142"/>
                  </a:lnTo>
                  <a:lnTo>
                    <a:pt x="1299381" y="746142"/>
                  </a:lnTo>
                  <a:lnTo>
                    <a:pt x="1297097" y="743860"/>
                  </a:lnTo>
                  <a:lnTo>
                    <a:pt x="1292530" y="743860"/>
                  </a:lnTo>
                  <a:lnTo>
                    <a:pt x="1290246" y="743860"/>
                  </a:lnTo>
                  <a:lnTo>
                    <a:pt x="1290246" y="741578"/>
                  </a:lnTo>
                  <a:lnTo>
                    <a:pt x="1287963" y="741578"/>
                  </a:lnTo>
                  <a:lnTo>
                    <a:pt x="1285679" y="741578"/>
                  </a:lnTo>
                  <a:lnTo>
                    <a:pt x="1283395" y="741578"/>
                  </a:lnTo>
                  <a:lnTo>
                    <a:pt x="1283395" y="743860"/>
                  </a:lnTo>
                  <a:lnTo>
                    <a:pt x="1283395" y="746142"/>
                  </a:lnTo>
                  <a:lnTo>
                    <a:pt x="1283395" y="748424"/>
                  </a:lnTo>
                  <a:lnTo>
                    <a:pt x="1283395" y="750706"/>
                  </a:lnTo>
                  <a:lnTo>
                    <a:pt x="1283395" y="752988"/>
                  </a:lnTo>
                  <a:lnTo>
                    <a:pt x="1283395" y="755270"/>
                  </a:lnTo>
                  <a:lnTo>
                    <a:pt x="1281112" y="757552"/>
                  </a:lnTo>
                  <a:lnTo>
                    <a:pt x="1281112" y="759833"/>
                  </a:lnTo>
                  <a:lnTo>
                    <a:pt x="1278828" y="764397"/>
                  </a:lnTo>
                  <a:lnTo>
                    <a:pt x="1278828" y="766670"/>
                  </a:lnTo>
                  <a:lnTo>
                    <a:pt x="1276545" y="766670"/>
                  </a:lnTo>
                  <a:lnTo>
                    <a:pt x="1276545" y="768951"/>
                  </a:lnTo>
                  <a:lnTo>
                    <a:pt x="1274261" y="771233"/>
                  </a:lnTo>
                  <a:lnTo>
                    <a:pt x="1271977" y="771233"/>
                  </a:lnTo>
                  <a:lnTo>
                    <a:pt x="1271977" y="773515"/>
                  </a:lnTo>
                  <a:lnTo>
                    <a:pt x="1269694" y="773515"/>
                  </a:lnTo>
                  <a:lnTo>
                    <a:pt x="1267410" y="773515"/>
                  </a:lnTo>
                  <a:lnTo>
                    <a:pt x="1265127" y="775797"/>
                  </a:lnTo>
                  <a:lnTo>
                    <a:pt x="1262843" y="775797"/>
                  </a:lnTo>
                  <a:lnTo>
                    <a:pt x="1260559" y="778079"/>
                  </a:lnTo>
                  <a:lnTo>
                    <a:pt x="1258276" y="780361"/>
                  </a:lnTo>
                  <a:lnTo>
                    <a:pt x="1249141" y="794052"/>
                  </a:lnTo>
                  <a:lnTo>
                    <a:pt x="1246858" y="794052"/>
                  </a:lnTo>
                  <a:lnTo>
                    <a:pt x="1244574" y="796334"/>
                  </a:lnTo>
                  <a:lnTo>
                    <a:pt x="1244574" y="798616"/>
                  </a:lnTo>
                  <a:lnTo>
                    <a:pt x="1242291" y="800898"/>
                  </a:lnTo>
                  <a:lnTo>
                    <a:pt x="1242291" y="803180"/>
                  </a:lnTo>
                  <a:lnTo>
                    <a:pt x="1242291" y="805462"/>
                  </a:lnTo>
                  <a:lnTo>
                    <a:pt x="1240007" y="807744"/>
                  </a:lnTo>
                  <a:lnTo>
                    <a:pt x="1240007" y="810026"/>
                  </a:lnTo>
                  <a:lnTo>
                    <a:pt x="1237723" y="816871"/>
                  </a:lnTo>
                  <a:lnTo>
                    <a:pt x="1237723" y="819153"/>
                  </a:lnTo>
                  <a:lnTo>
                    <a:pt x="1235440" y="821435"/>
                  </a:lnTo>
                  <a:lnTo>
                    <a:pt x="1233156" y="823717"/>
                  </a:lnTo>
                  <a:lnTo>
                    <a:pt x="1233156" y="825999"/>
                  </a:lnTo>
                  <a:lnTo>
                    <a:pt x="1233156" y="828281"/>
                  </a:lnTo>
                  <a:lnTo>
                    <a:pt x="1230873" y="830563"/>
                  </a:lnTo>
                  <a:lnTo>
                    <a:pt x="1230873" y="832844"/>
                  </a:lnTo>
                  <a:lnTo>
                    <a:pt x="1233156" y="832844"/>
                  </a:lnTo>
                  <a:lnTo>
                    <a:pt x="1233156" y="837408"/>
                  </a:lnTo>
                  <a:lnTo>
                    <a:pt x="1235440" y="839690"/>
                  </a:lnTo>
                  <a:lnTo>
                    <a:pt x="1237723" y="844254"/>
                  </a:lnTo>
                  <a:lnTo>
                    <a:pt x="1237723" y="846536"/>
                  </a:lnTo>
                  <a:lnTo>
                    <a:pt x="1235440" y="848818"/>
                  </a:lnTo>
                  <a:lnTo>
                    <a:pt x="1233156" y="848818"/>
                  </a:lnTo>
                  <a:lnTo>
                    <a:pt x="1230873" y="851100"/>
                  </a:lnTo>
                  <a:lnTo>
                    <a:pt x="1228589" y="853382"/>
                  </a:lnTo>
                  <a:lnTo>
                    <a:pt x="1226306" y="853382"/>
                  </a:lnTo>
                  <a:lnTo>
                    <a:pt x="1224022" y="855664"/>
                  </a:lnTo>
                  <a:lnTo>
                    <a:pt x="1221738" y="855664"/>
                  </a:lnTo>
                  <a:lnTo>
                    <a:pt x="1219455" y="855664"/>
                  </a:lnTo>
                  <a:lnTo>
                    <a:pt x="1219455" y="857945"/>
                  </a:lnTo>
                  <a:lnTo>
                    <a:pt x="1217171" y="857945"/>
                  </a:lnTo>
                  <a:lnTo>
                    <a:pt x="1212604" y="857945"/>
                  </a:lnTo>
                  <a:lnTo>
                    <a:pt x="1212604" y="860227"/>
                  </a:lnTo>
                  <a:lnTo>
                    <a:pt x="1210320" y="860227"/>
                  </a:lnTo>
                  <a:lnTo>
                    <a:pt x="1208037" y="860227"/>
                  </a:lnTo>
                  <a:lnTo>
                    <a:pt x="1205753" y="860227"/>
                  </a:lnTo>
                  <a:lnTo>
                    <a:pt x="1203469" y="860227"/>
                  </a:lnTo>
                  <a:lnTo>
                    <a:pt x="1201186" y="857945"/>
                  </a:lnTo>
                  <a:lnTo>
                    <a:pt x="1198902" y="857945"/>
                  </a:lnTo>
                  <a:lnTo>
                    <a:pt x="1196619" y="857945"/>
                  </a:lnTo>
                  <a:lnTo>
                    <a:pt x="1192052" y="857945"/>
                  </a:lnTo>
                  <a:lnTo>
                    <a:pt x="1187484" y="857945"/>
                  </a:lnTo>
                  <a:lnTo>
                    <a:pt x="1185201" y="855664"/>
                  </a:lnTo>
                  <a:lnTo>
                    <a:pt x="1180634" y="855664"/>
                  </a:lnTo>
                  <a:lnTo>
                    <a:pt x="1178350" y="855664"/>
                  </a:lnTo>
                  <a:lnTo>
                    <a:pt x="1176066" y="855664"/>
                  </a:lnTo>
                  <a:lnTo>
                    <a:pt x="1173783" y="855664"/>
                  </a:lnTo>
                  <a:lnTo>
                    <a:pt x="1171499" y="855664"/>
                  </a:lnTo>
                  <a:lnTo>
                    <a:pt x="1169216" y="855664"/>
                  </a:lnTo>
                  <a:lnTo>
                    <a:pt x="1164648" y="857945"/>
                  </a:lnTo>
                  <a:lnTo>
                    <a:pt x="1162365" y="857945"/>
                  </a:lnTo>
                  <a:lnTo>
                    <a:pt x="1160081" y="857945"/>
                  </a:lnTo>
                  <a:lnTo>
                    <a:pt x="1155504" y="860227"/>
                  </a:lnTo>
                  <a:lnTo>
                    <a:pt x="1153230" y="860227"/>
                  </a:lnTo>
                  <a:lnTo>
                    <a:pt x="1148663" y="862509"/>
                  </a:lnTo>
                  <a:lnTo>
                    <a:pt x="1146380" y="862509"/>
                  </a:lnTo>
                  <a:lnTo>
                    <a:pt x="1144096" y="862509"/>
                  </a:lnTo>
                  <a:lnTo>
                    <a:pt x="1141803" y="864791"/>
                  </a:lnTo>
                  <a:lnTo>
                    <a:pt x="1139529" y="864791"/>
                  </a:lnTo>
                  <a:lnTo>
                    <a:pt x="1132669" y="867073"/>
                  </a:lnTo>
                  <a:lnTo>
                    <a:pt x="1130394" y="867073"/>
                  </a:lnTo>
                  <a:lnTo>
                    <a:pt x="1130394" y="869355"/>
                  </a:lnTo>
                  <a:lnTo>
                    <a:pt x="1128101" y="871637"/>
                  </a:lnTo>
                  <a:lnTo>
                    <a:pt x="1128101" y="873919"/>
                  </a:lnTo>
                  <a:lnTo>
                    <a:pt x="1125827" y="873919"/>
                  </a:lnTo>
                  <a:lnTo>
                    <a:pt x="1125827" y="878483"/>
                  </a:lnTo>
                  <a:lnTo>
                    <a:pt x="1123544" y="880764"/>
                  </a:lnTo>
                  <a:lnTo>
                    <a:pt x="1121260" y="883046"/>
                  </a:lnTo>
                  <a:lnTo>
                    <a:pt x="1114400" y="887610"/>
                  </a:lnTo>
                  <a:lnTo>
                    <a:pt x="1112116" y="887610"/>
                  </a:lnTo>
                  <a:lnTo>
                    <a:pt x="1112116" y="889892"/>
                  </a:lnTo>
                  <a:lnTo>
                    <a:pt x="1112116" y="892174"/>
                  </a:lnTo>
                  <a:lnTo>
                    <a:pt x="1112116" y="894456"/>
                  </a:lnTo>
                  <a:lnTo>
                    <a:pt x="1114400" y="894456"/>
                  </a:lnTo>
                  <a:lnTo>
                    <a:pt x="1114400" y="896738"/>
                  </a:lnTo>
                  <a:lnTo>
                    <a:pt x="1114400" y="899020"/>
                  </a:lnTo>
                  <a:lnTo>
                    <a:pt x="1116693" y="901301"/>
                  </a:lnTo>
                  <a:lnTo>
                    <a:pt x="1116693" y="903583"/>
                  </a:lnTo>
                  <a:lnTo>
                    <a:pt x="1118967" y="903583"/>
                  </a:lnTo>
                  <a:lnTo>
                    <a:pt x="1118967" y="905865"/>
                  </a:lnTo>
                  <a:lnTo>
                    <a:pt x="1121260" y="905865"/>
                  </a:lnTo>
                  <a:lnTo>
                    <a:pt x="1121260" y="908147"/>
                  </a:lnTo>
                  <a:lnTo>
                    <a:pt x="1121260" y="910429"/>
                  </a:lnTo>
                  <a:lnTo>
                    <a:pt x="1123544" y="910429"/>
                  </a:lnTo>
                  <a:lnTo>
                    <a:pt x="1123544" y="912711"/>
                  </a:lnTo>
                  <a:lnTo>
                    <a:pt x="1125827" y="912711"/>
                  </a:lnTo>
                  <a:lnTo>
                    <a:pt x="1125827" y="914993"/>
                  </a:lnTo>
                  <a:lnTo>
                    <a:pt x="1128101" y="917275"/>
                  </a:lnTo>
                  <a:lnTo>
                    <a:pt x="1128101" y="919557"/>
                  </a:lnTo>
                  <a:lnTo>
                    <a:pt x="1128101" y="921839"/>
                  </a:lnTo>
                  <a:lnTo>
                    <a:pt x="1128101" y="924111"/>
                  </a:lnTo>
                  <a:lnTo>
                    <a:pt x="1130394" y="926393"/>
                  </a:lnTo>
                  <a:lnTo>
                    <a:pt x="1130394" y="928675"/>
                  </a:lnTo>
                  <a:lnTo>
                    <a:pt x="1130394" y="930957"/>
                  </a:lnTo>
                  <a:lnTo>
                    <a:pt x="1130394" y="933239"/>
                  </a:lnTo>
                  <a:lnTo>
                    <a:pt x="1128101" y="935520"/>
                  </a:lnTo>
                  <a:lnTo>
                    <a:pt x="1125827" y="946930"/>
                  </a:lnTo>
                  <a:lnTo>
                    <a:pt x="1118967" y="962903"/>
                  </a:lnTo>
                  <a:lnTo>
                    <a:pt x="1118967" y="965185"/>
                  </a:lnTo>
                  <a:lnTo>
                    <a:pt x="1116693" y="965185"/>
                  </a:lnTo>
                  <a:lnTo>
                    <a:pt x="1114400" y="965185"/>
                  </a:lnTo>
                  <a:lnTo>
                    <a:pt x="1112116" y="967467"/>
                  </a:lnTo>
                  <a:lnTo>
                    <a:pt x="1109842" y="969749"/>
                  </a:lnTo>
                  <a:lnTo>
                    <a:pt x="1107549" y="969749"/>
                  </a:lnTo>
                  <a:lnTo>
                    <a:pt x="1105265" y="969749"/>
                  </a:lnTo>
                  <a:lnTo>
                    <a:pt x="1102982" y="972031"/>
                  </a:lnTo>
                  <a:lnTo>
                    <a:pt x="1100698" y="972031"/>
                  </a:lnTo>
                  <a:lnTo>
                    <a:pt x="1100698" y="974313"/>
                  </a:lnTo>
                  <a:lnTo>
                    <a:pt x="1100698" y="976595"/>
                  </a:lnTo>
                  <a:lnTo>
                    <a:pt x="1100698" y="978876"/>
                  </a:lnTo>
                  <a:lnTo>
                    <a:pt x="1098415" y="981158"/>
                  </a:lnTo>
                  <a:lnTo>
                    <a:pt x="1098415" y="983440"/>
                  </a:lnTo>
                  <a:lnTo>
                    <a:pt x="1098415" y="985722"/>
                  </a:lnTo>
                  <a:lnTo>
                    <a:pt x="1096140" y="985722"/>
                  </a:lnTo>
                  <a:lnTo>
                    <a:pt x="1093847" y="985722"/>
                  </a:lnTo>
                  <a:lnTo>
                    <a:pt x="1091564" y="985722"/>
                  </a:lnTo>
                  <a:lnTo>
                    <a:pt x="1089280" y="985722"/>
                  </a:lnTo>
                  <a:lnTo>
                    <a:pt x="1084713" y="983440"/>
                  </a:lnTo>
                  <a:lnTo>
                    <a:pt x="1082429" y="983440"/>
                  </a:lnTo>
                  <a:lnTo>
                    <a:pt x="1080146" y="983440"/>
                  </a:lnTo>
                  <a:lnTo>
                    <a:pt x="1077862" y="983440"/>
                  </a:lnTo>
                  <a:lnTo>
                    <a:pt x="1075579" y="983440"/>
                  </a:lnTo>
                  <a:lnTo>
                    <a:pt x="1071011" y="983440"/>
                  </a:lnTo>
                  <a:lnTo>
                    <a:pt x="1068728" y="981158"/>
                  </a:lnTo>
                  <a:lnTo>
                    <a:pt x="1068728" y="983440"/>
                  </a:lnTo>
                  <a:lnTo>
                    <a:pt x="1066444" y="983440"/>
                  </a:lnTo>
                  <a:lnTo>
                    <a:pt x="1066444" y="985722"/>
                  </a:lnTo>
                  <a:lnTo>
                    <a:pt x="1064161" y="985722"/>
                  </a:lnTo>
                  <a:lnTo>
                    <a:pt x="1061877" y="985722"/>
                  </a:lnTo>
                  <a:lnTo>
                    <a:pt x="1061877" y="988004"/>
                  </a:lnTo>
                  <a:lnTo>
                    <a:pt x="1059594" y="988004"/>
                  </a:lnTo>
                  <a:lnTo>
                    <a:pt x="1057310" y="988004"/>
                  </a:lnTo>
                  <a:lnTo>
                    <a:pt x="1055026" y="988004"/>
                  </a:lnTo>
                  <a:lnTo>
                    <a:pt x="1052743" y="988004"/>
                  </a:lnTo>
                  <a:lnTo>
                    <a:pt x="1050459" y="988004"/>
                  </a:lnTo>
                  <a:lnTo>
                    <a:pt x="1048175" y="988004"/>
                  </a:lnTo>
                  <a:lnTo>
                    <a:pt x="1048175" y="985722"/>
                  </a:lnTo>
                  <a:lnTo>
                    <a:pt x="1048175" y="983440"/>
                  </a:lnTo>
                  <a:lnTo>
                    <a:pt x="1048175" y="981158"/>
                  </a:lnTo>
                  <a:lnTo>
                    <a:pt x="1048175" y="978876"/>
                  </a:lnTo>
                  <a:lnTo>
                    <a:pt x="1045892" y="976595"/>
                  </a:lnTo>
                  <a:lnTo>
                    <a:pt x="1043608" y="974313"/>
                  </a:lnTo>
                  <a:lnTo>
                    <a:pt x="1043608" y="972031"/>
                  </a:lnTo>
                  <a:lnTo>
                    <a:pt x="1039041" y="967467"/>
                  </a:lnTo>
                  <a:lnTo>
                    <a:pt x="1039041" y="965185"/>
                  </a:lnTo>
                  <a:lnTo>
                    <a:pt x="1036757" y="962903"/>
                  </a:lnTo>
                  <a:lnTo>
                    <a:pt x="1036757" y="965185"/>
                  </a:lnTo>
                  <a:lnTo>
                    <a:pt x="1034474" y="967467"/>
                  </a:lnTo>
                  <a:lnTo>
                    <a:pt x="1032190" y="969749"/>
                  </a:lnTo>
                  <a:lnTo>
                    <a:pt x="1029907" y="972031"/>
                  </a:lnTo>
                  <a:lnTo>
                    <a:pt x="1027623" y="974313"/>
                  </a:lnTo>
                  <a:lnTo>
                    <a:pt x="1027623" y="976595"/>
                  </a:lnTo>
                  <a:lnTo>
                    <a:pt x="1023056" y="981158"/>
                  </a:lnTo>
                  <a:lnTo>
                    <a:pt x="1023056" y="983440"/>
                  </a:lnTo>
                  <a:lnTo>
                    <a:pt x="1020772" y="983440"/>
                  </a:lnTo>
                  <a:lnTo>
                    <a:pt x="1020772" y="985722"/>
                  </a:lnTo>
                  <a:lnTo>
                    <a:pt x="1016205" y="990286"/>
                  </a:lnTo>
                  <a:lnTo>
                    <a:pt x="1007071" y="990286"/>
                  </a:lnTo>
                  <a:lnTo>
                    <a:pt x="1004787" y="990286"/>
                  </a:lnTo>
                  <a:lnTo>
                    <a:pt x="995653" y="990286"/>
                  </a:lnTo>
                  <a:lnTo>
                    <a:pt x="995653" y="988004"/>
                  </a:lnTo>
                  <a:lnTo>
                    <a:pt x="991086" y="988004"/>
                  </a:lnTo>
                  <a:lnTo>
                    <a:pt x="991086" y="985722"/>
                  </a:lnTo>
                  <a:lnTo>
                    <a:pt x="988802" y="985722"/>
                  </a:lnTo>
                  <a:lnTo>
                    <a:pt x="986518" y="983440"/>
                  </a:lnTo>
                  <a:lnTo>
                    <a:pt x="984235" y="983440"/>
                  </a:lnTo>
                  <a:lnTo>
                    <a:pt x="984235" y="981158"/>
                  </a:lnTo>
                  <a:lnTo>
                    <a:pt x="981951" y="981158"/>
                  </a:lnTo>
                  <a:lnTo>
                    <a:pt x="979668" y="978876"/>
                  </a:lnTo>
                  <a:lnTo>
                    <a:pt x="977384" y="978876"/>
                  </a:lnTo>
                  <a:lnTo>
                    <a:pt x="977384" y="976595"/>
                  </a:lnTo>
                  <a:lnTo>
                    <a:pt x="975100" y="976595"/>
                  </a:lnTo>
                  <a:lnTo>
                    <a:pt x="972817" y="976595"/>
                  </a:lnTo>
                  <a:lnTo>
                    <a:pt x="970533" y="978876"/>
                  </a:lnTo>
                  <a:lnTo>
                    <a:pt x="968250" y="978876"/>
                  </a:lnTo>
                  <a:lnTo>
                    <a:pt x="968250" y="976595"/>
                  </a:lnTo>
                  <a:lnTo>
                    <a:pt x="968250" y="974313"/>
                  </a:lnTo>
                  <a:lnTo>
                    <a:pt x="968250" y="972031"/>
                  </a:lnTo>
                  <a:lnTo>
                    <a:pt x="968250" y="969749"/>
                  </a:lnTo>
                  <a:lnTo>
                    <a:pt x="968250" y="967467"/>
                  </a:lnTo>
                  <a:lnTo>
                    <a:pt x="968250" y="965185"/>
                  </a:lnTo>
                  <a:lnTo>
                    <a:pt x="965966" y="962903"/>
                  </a:lnTo>
                  <a:lnTo>
                    <a:pt x="965966" y="960621"/>
                  </a:lnTo>
                  <a:lnTo>
                    <a:pt x="963682" y="960621"/>
                  </a:lnTo>
                  <a:lnTo>
                    <a:pt x="963682" y="958339"/>
                  </a:lnTo>
                  <a:lnTo>
                    <a:pt x="961399" y="958339"/>
                  </a:lnTo>
                  <a:lnTo>
                    <a:pt x="959115" y="958339"/>
                  </a:lnTo>
                  <a:lnTo>
                    <a:pt x="959115" y="956058"/>
                  </a:lnTo>
                  <a:lnTo>
                    <a:pt x="956832" y="956058"/>
                  </a:lnTo>
                  <a:lnTo>
                    <a:pt x="956832" y="953776"/>
                  </a:lnTo>
                  <a:lnTo>
                    <a:pt x="954548" y="951494"/>
                  </a:lnTo>
                  <a:lnTo>
                    <a:pt x="954548" y="949212"/>
                  </a:lnTo>
                  <a:lnTo>
                    <a:pt x="952264" y="949212"/>
                  </a:lnTo>
                  <a:lnTo>
                    <a:pt x="952264" y="946930"/>
                  </a:lnTo>
                  <a:lnTo>
                    <a:pt x="949981" y="944648"/>
                  </a:lnTo>
                  <a:lnTo>
                    <a:pt x="947697" y="940084"/>
                  </a:lnTo>
                  <a:lnTo>
                    <a:pt x="945414" y="940084"/>
                  </a:lnTo>
                  <a:lnTo>
                    <a:pt x="945414" y="937802"/>
                  </a:lnTo>
                  <a:lnTo>
                    <a:pt x="943130" y="937802"/>
                  </a:lnTo>
                  <a:lnTo>
                    <a:pt x="940846" y="937802"/>
                  </a:lnTo>
                  <a:lnTo>
                    <a:pt x="938563" y="937802"/>
                  </a:lnTo>
                  <a:lnTo>
                    <a:pt x="936279" y="937802"/>
                  </a:lnTo>
                  <a:lnTo>
                    <a:pt x="933996" y="935520"/>
                  </a:lnTo>
                  <a:lnTo>
                    <a:pt x="931712" y="935520"/>
                  </a:lnTo>
                  <a:lnTo>
                    <a:pt x="929428" y="935520"/>
                  </a:lnTo>
                  <a:lnTo>
                    <a:pt x="927145" y="935520"/>
                  </a:lnTo>
                  <a:lnTo>
                    <a:pt x="924861" y="935520"/>
                  </a:lnTo>
                  <a:lnTo>
                    <a:pt x="924861" y="933239"/>
                  </a:lnTo>
                  <a:lnTo>
                    <a:pt x="922578" y="933239"/>
                  </a:lnTo>
                  <a:lnTo>
                    <a:pt x="920294" y="933239"/>
                  </a:lnTo>
                  <a:lnTo>
                    <a:pt x="918010" y="930957"/>
                  </a:lnTo>
                  <a:lnTo>
                    <a:pt x="915727" y="930957"/>
                  </a:lnTo>
                  <a:lnTo>
                    <a:pt x="913443" y="928675"/>
                  </a:lnTo>
                  <a:lnTo>
                    <a:pt x="911160" y="926393"/>
                  </a:lnTo>
                  <a:lnTo>
                    <a:pt x="908876" y="924111"/>
                  </a:lnTo>
                  <a:lnTo>
                    <a:pt x="906593" y="921839"/>
                  </a:lnTo>
                  <a:lnTo>
                    <a:pt x="904309" y="919557"/>
                  </a:lnTo>
                  <a:lnTo>
                    <a:pt x="904309" y="917275"/>
                  </a:lnTo>
                  <a:lnTo>
                    <a:pt x="904309" y="914993"/>
                  </a:lnTo>
                  <a:lnTo>
                    <a:pt x="904309" y="912711"/>
                  </a:lnTo>
                  <a:lnTo>
                    <a:pt x="904309" y="910429"/>
                  </a:lnTo>
                  <a:lnTo>
                    <a:pt x="904309" y="908147"/>
                  </a:lnTo>
                  <a:lnTo>
                    <a:pt x="904309" y="905865"/>
                  </a:lnTo>
                  <a:lnTo>
                    <a:pt x="904309" y="903583"/>
                  </a:lnTo>
                  <a:lnTo>
                    <a:pt x="904309" y="901301"/>
                  </a:lnTo>
                  <a:lnTo>
                    <a:pt x="904309" y="899020"/>
                  </a:lnTo>
                  <a:lnTo>
                    <a:pt x="904309" y="896738"/>
                  </a:lnTo>
                  <a:lnTo>
                    <a:pt x="904309" y="894456"/>
                  </a:lnTo>
                  <a:lnTo>
                    <a:pt x="904309" y="892174"/>
                  </a:lnTo>
                  <a:lnTo>
                    <a:pt x="904309" y="889892"/>
                  </a:lnTo>
                  <a:lnTo>
                    <a:pt x="902025" y="887610"/>
                  </a:lnTo>
                  <a:lnTo>
                    <a:pt x="899742" y="885328"/>
                  </a:lnTo>
                  <a:lnTo>
                    <a:pt x="899742" y="883046"/>
                  </a:lnTo>
                  <a:lnTo>
                    <a:pt x="897458" y="883046"/>
                  </a:lnTo>
                  <a:lnTo>
                    <a:pt x="895174" y="880764"/>
                  </a:lnTo>
                  <a:lnTo>
                    <a:pt x="892891" y="880764"/>
                  </a:lnTo>
                  <a:lnTo>
                    <a:pt x="890607" y="878483"/>
                  </a:lnTo>
                  <a:lnTo>
                    <a:pt x="888324" y="876201"/>
                  </a:lnTo>
                  <a:lnTo>
                    <a:pt x="886040" y="876201"/>
                  </a:lnTo>
                  <a:lnTo>
                    <a:pt x="883756" y="873919"/>
                  </a:lnTo>
                  <a:lnTo>
                    <a:pt x="883756" y="871637"/>
                  </a:lnTo>
                  <a:lnTo>
                    <a:pt x="883756" y="869355"/>
                  </a:lnTo>
                  <a:lnTo>
                    <a:pt x="883756" y="867073"/>
                  </a:lnTo>
                  <a:lnTo>
                    <a:pt x="883756" y="864791"/>
                  </a:lnTo>
                  <a:lnTo>
                    <a:pt x="881473" y="862509"/>
                  </a:lnTo>
                  <a:lnTo>
                    <a:pt x="881473" y="860227"/>
                  </a:lnTo>
                  <a:lnTo>
                    <a:pt x="879189" y="857945"/>
                  </a:lnTo>
                  <a:lnTo>
                    <a:pt x="879189" y="855664"/>
                  </a:lnTo>
                  <a:lnTo>
                    <a:pt x="876906" y="851100"/>
                  </a:lnTo>
                  <a:lnTo>
                    <a:pt x="876906" y="848818"/>
                  </a:lnTo>
                  <a:lnTo>
                    <a:pt x="874622" y="848818"/>
                  </a:lnTo>
                  <a:lnTo>
                    <a:pt x="874622" y="846536"/>
                  </a:lnTo>
                  <a:lnTo>
                    <a:pt x="874622" y="844254"/>
                  </a:lnTo>
                  <a:lnTo>
                    <a:pt x="874622" y="841972"/>
                  </a:lnTo>
                  <a:lnTo>
                    <a:pt x="874622" y="839690"/>
                  </a:lnTo>
                  <a:lnTo>
                    <a:pt x="876906" y="839690"/>
                  </a:lnTo>
                  <a:lnTo>
                    <a:pt x="874622" y="837408"/>
                  </a:lnTo>
                  <a:lnTo>
                    <a:pt x="874622" y="835127"/>
                  </a:lnTo>
                  <a:lnTo>
                    <a:pt x="872339" y="832844"/>
                  </a:lnTo>
                  <a:lnTo>
                    <a:pt x="872339" y="830563"/>
                  </a:lnTo>
                  <a:lnTo>
                    <a:pt x="870055" y="828281"/>
                  </a:lnTo>
                  <a:lnTo>
                    <a:pt x="870055" y="825999"/>
                  </a:lnTo>
                  <a:lnTo>
                    <a:pt x="870055" y="823717"/>
                  </a:lnTo>
                  <a:lnTo>
                    <a:pt x="867771" y="823717"/>
                  </a:lnTo>
                  <a:lnTo>
                    <a:pt x="867771" y="821435"/>
                  </a:lnTo>
                  <a:lnTo>
                    <a:pt x="865488" y="819153"/>
                  </a:lnTo>
                  <a:lnTo>
                    <a:pt x="865488" y="816871"/>
                  </a:lnTo>
                  <a:lnTo>
                    <a:pt x="865488" y="814589"/>
                  </a:lnTo>
                  <a:lnTo>
                    <a:pt x="865488" y="812308"/>
                  </a:lnTo>
                  <a:lnTo>
                    <a:pt x="865488" y="810026"/>
                  </a:lnTo>
                  <a:lnTo>
                    <a:pt x="865488" y="807744"/>
                  </a:lnTo>
                  <a:lnTo>
                    <a:pt x="863204" y="803180"/>
                  </a:lnTo>
                  <a:lnTo>
                    <a:pt x="863204" y="800898"/>
                  </a:lnTo>
                  <a:lnTo>
                    <a:pt x="863204" y="798616"/>
                  </a:lnTo>
                  <a:lnTo>
                    <a:pt x="860921" y="794052"/>
                  </a:lnTo>
                  <a:lnTo>
                    <a:pt x="860921" y="791771"/>
                  </a:lnTo>
                  <a:lnTo>
                    <a:pt x="860921" y="789488"/>
                  </a:lnTo>
                  <a:lnTo>
                    <a:pt x="858637" y="784925"/>
                  </a:lnTo>
                  <a:lnTo>
                    <a:pt x="858637" y="782643"/>
                  </a:lnTo>
                  <a:lnTo>
                    <a:pt x="858637" y="780361"/>
                  </a:lnTo>
                  <a:lnTo>
                    <a:pt x="856353" y="778079"/>
                  </a:lnTo>
                  <a:lnTo>
                    <a:pt x="856353" y="775797"/>
                  </a:lnTo>
                  <a:lnTo>
                    <a:pt x="863204" y="778079"/>
                  </a:lnTo>
                  <a:lnTo>
                    <a:pt x="870055" y="780361"/>
                  </a:lnTo>
                  <a:lnTo>
                    <a:pt x="872339" y="780361"/>
                  </a:lnTo>
                  <a:lnTo>
                    <a:pt x="874622" y="782643"/>
                  </a:lnTo>
                  <a:lnTo>
                    <a:pt x="876906" y="782643"/>
                  </a:lnTo>
                  <a:lnTo>
                    <a:pt x="881473" y="773515"/>
                  </a:lnTo>
                  <a:lnTo>
                    <a:pt x="886040" y="768951"/>
                  </a:lnTo>
                  <a:lnTo>
                    <a:pt x="888324" y="766670"/>
                  </a:lnTo>
                  <a:lnTo>
                    <a:pt x="883756" y="752988"/>
                  </a:lnTo>
                  <a:lnTo>
                    <a:pt x="888324" y="748424"/>
                  </a:lnTo>
                  <a:lnTo>
                    <a:pt x="897458" y="739296"/>
                  </a:lnTo>
                  <a:lnTo>
                    <a:pt x="902025" y="732451"/>
                  </a:lnTo>
                  <a:lnTo>
                    <a:pt x="904309" y="732451"/>
                  </a:lnTo>
                  <a:lnTo>
                    <a:pt x="906593" y="732451"/>
                  </a:lnTo>
                  <a:lnTo>
                    <a:pt x="908876" y="734732"/>
                  </a:lnTo>
                  <a:lnTo>
                    <a:pt x="911160" y="734732"/>
                  </a:lnTo>
                  <a:lnTo>
                    <a:pt x="913443" y="734732"/>
                  </a:lnTo>
                  <a:lnTo>
                    <a:pt x="915727" y="734732"/>
                  </a:lnTo>
                  <a:lnTo>
                    <a:pt x="913443" y="725605"/>
                  </a:lnTo>
                  <a:lnTo>
                    <a:pt x="913443" y="721041"/>
                  </a:lnTo>
                  <a:lnTo>
                    <a:pt x="911160" y="716477"/>
                  </a:lnTo>
                  <a:lnTo>
                    <a:pt x="911160" y="711914"/>
                  </a:lnTo>
                  <a:lnTo>
                    <a:pt x="911160" y="709632"/>
                  </a:lnTo>
                  <a:lnTo>
                    <a:pt x="908876" y="707350"/>
                  </a:lnTo>
                  <a:lnTo>
                    <a:pt x="908876" y="702786"/>
                  </a:lnTo>
                  <a:lnTo>
                    <a:pt x="908876" y="700504"/>
                  </a:lnTo>
                  <a:lnTo>
                    <a:pt x="906593" y="700504"/>
                  </a:lnTo>
                  <a:lnTo>
                    <a:pt x="904309" y="700504"/>
                  </a:lnTo>
                  <a:lnTo>
                    <a:pt x="902025" y="700504"/>
                  </a:lnTo>
                  <a:lnTo>
                    <a:pt x="899742" y="700504"/>
                  </a:lnTo>
                  <a:lnTo>
                    <a:pt x="897458" y="700504"/>
                  </a:lnTo>
                  <a:lnTo>
                    <a:pt x="895174" y="700504"/>
                  </a:lnTo>
                  <a:lnTo>
                    <a:pt x="888324" y="702786"/>
                  </a:lnTo>
                  <a:lnTo>
                    <a:pt x="886040" y="702786"/>
                  </a:lnTo>
                  <a:lnTo>
                    <a:pt x="883756" y="702786"/>
                  </a:lnTo>
                  <a:lnTo>
                    <a:pt x="881473" y="702786"/>
                  </a:lnTo>
                  <a:lnTo>
                    <a:pt x="883756" y="700504"/>
                  </a:lnTo>
                  <a:lnTo>
                    <a:pt x="883756" y="698222"/>
                  </a:lnTo>
                  <a:lnTo>
                    <a:pt x="883756" y="695940"/>
                  </a:lnTo>
                  <a:lnTo>
                    <a:pt x="883756" y="693659"/>
                  </a:lnTo>
                  <a:lnTo>
                    <a:pt x="886040" y="691376"/>
                  </a:lnTo>
                  <a:lnTo>
                    <a:pt x="886040" y="689095"/>
                  </a:lnTo>
                  <a:lnTo>
                    <a:pt x="886040" y="686813"/>
                  </a:lnTo>
                  <a:lnTo>
                    <a:pt x="886040" y="684531"/>
                  </a:lnTo>
                  <a:lnTo>
                    <a:pt x="881473" y="684531"/>
                  </a:lnTo>
                  <a:lnTo>
                    <a:pt x="879189" y="684531"/>
                  </a:lnTo>
                  <a:lnTo>
                    <a:pt x="876906" y="686813"/>
                  </a:lnTo>
                  <a:lnTo>
                    <a:pt x="874622" y="686813"/>
                  </a:lnTo>
                  <a:lnTo>
                    <a:pt x="872339" y="686813"/>
                  </a:lnTo>
                  <a:lnTo>
                    <a:pt x="870055" y="689095"/>
                  </a:lnTo>
                  <a:lnTo>
                    <a:pt x="867771" y="691376"/>
                  </a:lnTo>
                  <a:lnTo>
                    <a:pt x="867771" y="693659"/>
                  </a:lnTo>
                  <a:lnTo>
                    <a:pt x="865488" y="695940"/>
                  </a:lnTo>
                  <a:lnTo>
                    <a:pt x="863204" y="695940"/>
                  </a:lnTo>
                  <a:lnTo>
                    <a:pt x="863204" y="698222"/>
                  </a:lnTo>
                  <a:lnTo>
                    <a:pt x="863204" y="700504"/>
                  </a:lnTo>
                  <a:lnTo>
                    <a:pt x="863204" y="702786"/>
                  </a:lnTo>
                  <a:lnTo>
                    <a:pt x="863204" y="705068"/>
                  </a:lnTo>
                  <a:lnTo>
                    <a:pt x="860921" y="707350"/>
                  </a:lnTo>
                  <a:lnTo>
                    <a:pt x="860921" y="709632"/>
                  </a:lnTo>
                  <a:lnTo>
                    <a:pt x="858637" y="709632"/>
                  </a:lnTo>
                  <a:lnTo>
                    <a:pt x="858637" y="711914"/>
                  </a:lnTo>
                  <a:lnTo>
                    <a:pt x="858637" y="714196"/>
                  </a:lnTo>
                  <a:lnTo>
                    <a:pt x="856353" y="714196"/>
                  </a:lnTo>
                  <a:lnTo>
                    <a:pt x="854070" y="711914"/>
                  </a:lnTo>
                  <a:lnTo>
                    <a:pt x="854070" y="714196"/>
                  </a:lnTo>
                  <a:lnTo>
                    <a:pt x="849503" y="714196"/>
                  </a:lnTo>
                  <a:lnTo>
                    <a:pt x="847219" y="714196"/>
                  </a:lnTo>
                  <a:lnTo>
                    <a:pt x="844935" y="714196"/>
                  </a:lnTo>
                  <a:lnTo>
                    <a:pt x="842652" y="714196"/>
                  </a:lnTo>
                  <a:lnTo>
                    <a:pt x="842652" y="725605"/>
                  </a:lnTo>
                  <a:lnTo>
                    <a:pt x="840368" y="727887"/>
                  </a:lnTo>
                  <a:lnTo>
                    <a:pt x="840368" y="730169"/>
                  </a:lnTo>
                  <a:lnTo>
                    <a:pt x="840368" y="732451"/>
                  </a:lnTo>
                  <a:lnTo>
                    <a:pt x="840368" y="734732"/>
                  </a:lnTo>
                  <a:lnTo>
                    <a:pt x="838085" y="734732"/>
                  </a:lnTo>
                  <a:lnTo>
                    <a:pt x="835801" y="737015"/>
                  </a:lnTo>
                  <a:lnTo>
                    <a:pt x="835801" y="739296"/>
                  </a:lnTo>
                  <a:lnTo>
                    <a:pt x="833517" y="741578"/>
                  </a:lnTo>
                  <a:lnTo>
                    <a:pt x="831234" y="743860"/>
                  </a:lnTo>
                  <a:lnTo>
                    <a:pt x="831234" y="746142"/>
                  </a:lnTo>
                  <a:lnTo>
                    <a:pt x="828950" y="748424"/>
                  </a:lnTo>
                  <a:lnTo>
                    <a:pt x="826667" y="750706"/>
                  </a:lnTo>
                  <a:lnTo>
                    <a:pt x="824383" y="752988"/>
                  </a:lnTo>
                  <a:lnTo>
                    <a:pt x="819816" y="755270"/>
                  </a:lnTo>
                  <a:lnTo>
                    <a:pt x="817532" y="757552"/>
                  </a:lnTo>
                  <a:lnTo>
                    <a:pt x="815249" y="757552"/>
                  </a:lnTo>
                  <a:lnTo>
                    <a:pt x="806114" y="768951"/>
                  </a:lnTo>
                  <a:lnTo>
                    <a:pt x="801547" y="771233"/>
                  </a:lnTo>
                  <a:lnTo>
                    <a:pt x="799264" y="771233"/>
                  </a:lnTo>
                  <a:lnTo>
                    <a:pt x="796980" y="771233"/>
                  </a:lnTo>
                  <a:lnTo>
                    <a:pt x="792413" y="771233"/>
                  </a:lnTo>
                  <a:lnTo>
                    <a:pt x="790129" y="771233"/>
                  </a:lnTo>
                  <a:lnTo>
                    <a:pt x="785562" y="773515"/>
                  </a:lnTo>
                  <a:lnTo>
                    <a:pt x="783278" y="773515"/>
                  </a:lnTo>
                  <a:lnTo>
                    <a:pt x="780995" y="771233"/>
                  </a:lnTo>
                  <a:lnTo>
                    <a:pt x="778711" y="768951"/>
                  </a:lnTo>
                  <a:lnTo>
                    <a:pt x="776427" y="768951"/>
                  </a:lnTo>
                  <a:lnTo>
                    <a:pt x="774144" y="766670"/>
                  </a:lnTo>
                  <a:lnTo>
                    <a:pt x="771860" y="766670"/>
                  </a:lnTo>
                  <a:lnTo>
                    <a:pt x="769577" y="766670"/>
                  </a:lnTo>
                  <a:lnTo>
                    <a:pt x="765010" y="766670"/>
                  </a:lnTo>
                  <a:lnTo>
                    <a:pt x="765010" y="764397"/>
                  </a:lnTo>
                  <a:lnTo>
                    <a:pt x="762726" y="766670"/>
                  </a:lnTo>
                  <a:lnTo>
                    <a:pt x="762726" y="768951"/>
                  </a:lnTo>
                  <a:lnTo>
                    <a:pt x="762726" y="771233"/>
                  </a:lnTo>
                  <a:lnTo>
                    <a:pt x="760442" y="773515"/>
                  </a:lnTo>
                  <a:lnTo>
                    <a:pt x="760442" y="775797"/>
                  </a:lnTo>
                  <a:lnTo>
                    <a:pt x="760442" y="778079"/>
                  </a:lnTo>
                  <a:lnTo>
                    <a:pt x="760442" y="780361"/>
                  </a:lnTo>
                  <a:lnTo>
                    <a:pt x="758159" y="780361"/>
                  </a:lnTo>
                  <a:lnTo>
                    <a:pt x="755875" y="782643"/>
                  </a:lnTo>
                  <a:lnTo>
                    <a:pt x="753592" y="782643"/>
                  </a:lnTo>
                  <a:lnTo>
                    <a:pt x="751308" y="784925"/>
                  </a:lnTo>
                  <a:lnTo>
                    <a:pt x="746741" y="787207"/>
                  </a:lnTo>
                  <a:lnTo>
                    <a:pt x="735323" y="778079"/>
                  </a:lnTo>
                  <a:lnTo>
                    <a:pt x="735323" y="782643"/>
                  </a:lnTo>
                  <a:lnTo>
                    <a:pt x="735323" y="787207"/>
                  </a:lnTo>
                  <a:lnTo>
                    <a:pt x="726188" y="791771"/>
                  </a:lnTo>
                  <a:lnTo>
                    <a:pt x="728472" y="794052"/>
                  </a:lnTo>
                  <a:lnTo>
                    <a:pt x="730756" y="796334"/>
                  </a:lnTo>
                  <a:lnTo>
                    <a:pt x="733039" y="798616"/>
                  </a:lnTo>
                  <a:lnTo>
                    <a:pt x="735323" y="800898"/>
                  </a:lnTo>
                  <a:lnTo>
                    <a:pt x="733039" y="800898"/>
                  </a:lnTo>
                  <a:lnTo>
                    <a:pt x="730756" y="803180"/>
                  </a:lnTo>
                  <a:lnTo>
                    <a:pt x="728472" y="805462"/>
                  </a:lnTo>
                  <a:lnTo>
                    <a:pt x="726188" y="807744"/>
                  </a:lnTo>
                  <a:lnTo>
                    <a:pt x="723905" y="807744"/>
                  </a:lnTo>
                  <a:lnTo>
                    <a:pt x="721621" y="810026"/>
                  </a:lnTo>
                  <a:lnTo>
                    <a:pt x="719338" y="810026"/>
                  </a:lnTo>
                  <a:lnTo>
                    <a:pt x="714770" y="807744"/>
                  </a:lnTo>
                  <a:lnTo>
                    <a:pt x="710203" y="800898"/>
                  </a:lnTo>
                  <a:lnTo>
                    <a:pt x="707920" y="803180"/>
                  </a:lnTo>
                  <a:lnTo>
                    <a:pt x="705636" y="805462"/>
                  </a:lnTo>
                  <a:lnTo>
                    <a:pt x="705636" y="807744"/>
                  </a:lnTo>
                  <a:lnTo>
                    <a:pt x="703352" y="807744"/>
                  </a:lnTo>
                  <a:lnTo>
                    <a:pt x="703352" y="810026"/>
                  </a:lnTo>
                  <a:lnTo>
                    <a:pt x="701069" y="812308"/>
                  </a:lnTo>
                  <a:lnTo>
                    <a:pt x="698785" y="814589"/>
                  </a:lnTo>
                  <a:lnTo>
                    <a:pt x="698785" y="819153"/>
                  </a:lnTo>
                  <a:lnTo>
                    <a:pt x="701069" y="823717"/>
                  </a:lnTo>
                  <a:lnTo>
                    <a:pt x="701069" y="828281"/>
                  </a:lnTo>
                  <a:lnTo>
                    <a:pt x="701069" y="830563"/>
                  </a:lnTo>
                  <a:lnTo>
                    <a:pt x="698785" y="835127"/>
                  </a:lnTo>
                  <a:lnTo>
                    <a:pt x="698785" y="837408"/>
                  </a:lnTo>
                  <a:lnTo>
                    <a:pt x="698785" y="839690"/>
                  </a:lnTo>
                  <a:lnTo>
                    <a:pt x="696502" y="841972"/>
                  </a:lnTo>
                  <a:lnTo>
                    <a:pt x="696502" y="846536"/>
                  </a:lnTo>
                  <a:lnTo>
                    <a:pt x="696502" y="848818"/>
                  </a:lnTo>
                  <a:lnTo>
                    <a:pt x="696502" y="853382"/>
                  </a:lnTo>
                  <a:lnTo>
                    <a:pt x="698785" y="855664"/>
                  </a:lnTo>
                  <a:lnTo>
                    <a:pt x="698785" y="857945"/>
                  </a:lnTo>
                  <a:lnTo>
                    <a:pt x="698785" y="860227"/>
                  </a:lnTo>
                  <a:lnTo>
                    <a:pt x="698785" y="864791"/>
                  </a:lnTo>
                  <a:lnTo>
                    <a:pt x="696502" y="867073"/>
                  </a:lnTo>
                  <a:lnTo>
                    <a:pt x="696502" y="869355"/>
                  </a:lnTo>
                  <a:lnTo>
                    <a:pt x="696502" y="871637"/>
                  </a:lnTo>
                  <a:lnTo>
                    <a:pt x="696502" y="878483"/>
                  </a:lnTo>
                  <a:lnTo>
                    <a:pt x="696502" y="880764"/>
                  </a:lnTo>
                  <a:lnTo>
                    <a:pt x="696502" y="883046"/>
                  </a:lnTo>
                  <a:lnTo>
                    <a:pt x="694218" y="885328"/>
                  </a:lnTo>
                  <a:lnTo>
                    <a:pt x="694218" y="887610"/>
                  </a:lnTo>
                  <a:lnTo>
                    <a:pt x="691935" y="887610"/>
                  </a:lnTo>
                  <a:lnTo>
                    <a:pt x="691935" y="889892"/>
                  </a:lnTo>
                  <a:lnTo>
                    <a:pt x="689651" y="889892"/>
                  </a:lnTo>
                  <a:lnTo>
                    <a:pt x="687367" y="892174"/>
                  </a:lnTo>
                  <a:lnTo>
                    <a:pt x="685084" y="892174"/>
                  </a:lnTo>
                  <a:lnTo>
                    <a:pt x="682800" y="894456"/>
                  </a:lnTo>
                  <a:lnTo>
                    <a:pt x="680516" y="896738"/>
                  </a:lnTo>
                  <a:lnTo>
                    <a:pt x="678233" y="896738"/>
                  </a:lnTo>
                  <a:lnTo>
                    <a:pt x="673666" y="899020"/>
                  </a:lnTo>
                  <a:lnTo>
                    <a:pt x="671382" y="901301"/>
                  </a:lnTo>
                  <a:lnTo>
                    <a:pt x="666815" y="889892"/>
                  </a:lnTo>
                  <a:lnTo>
                    <a:pt x="659964" y="876201"/>
                  </a:lnTo>
                  <a:lnTo>
                    <a:pt x="655397" y="864791"/>
                  </a:lnTo>
                  <a:lnTo>
                    <a:pt x="653113" y="857945"/>
                  </a:lnTo>
                  <a:lnTo>
                    <a:pt x="655397" y="846536"/>
                  </a:lnTo>
                  <a:lnTo>
                    <a:pt x="655397" y="830563"/>
                  </a:lnTo>
                  <a:lnTo>
                    <a:pt x="662248" y="823717"/>
                  </a:lnTo>
                  <a:lnTo>
                    <a:pt x="659964" y="823717"/>
                  </a:lnTo>
                  <a:lnTo>
                    <a:pt x="659964" y="821435"/>
                  </a:lnTo>
                  <a:lnTo>
                    <a:pt x="659964" y="819153"/>
                  </a:lnTo>
                  <a:lnTo>
                    <a:pt x="657681" y="819153"/>
                  </a:lnTo>
                  <a:lnTo>
                    <a:pt x="655397" y="819153"/>
                  </a:lnTo>
                  <a:lnTo>
                    <a:pt x="653113" y="819153"/>
                  </a:lnTo>
                  <a:lnTo>
                    <a:pt x="653113" y="816871"/>
                  </a:lnTo>
                  <a:lnTo>
                    <a:pt x="650830" y="814589"/>
                  </a:lnTo>
                  <a:lnTo>
                    <a:pt x="650830" y="812308"/>
                  </a:lnTo>
                  <a:lnTo>
                    <a:pt x="650830" y="810026"/>
                  </a:lnTo>
                  <a:lnTo>
                    <a:pt x="648546" y="810026"/>
                  </a:lnTo>
                  <a:lnTo>
                    <a:pt x="648546" y="807744"/>
                  </a:lnTo>
                  <a:lnTo>
                    <a:pt x="648546" y="805462"/>
                  </a:lnTo>
                  <a:lnTo>
                    <a:pt x="646262" y="805462"/>
                  </a:lnTo>
                  <a:lnTo>
                    <a:pt x="646262" y="803180"/>
                  </a:lnTo>
                  <a:lnTo>
                    <a:pt x="643979" y="803180"/>
                  </a:lnTo>
                  <a:lnTo>
                    <a:pt x="643979" y="800898"/>
                  </a:lnTo>
                  <a:lnTo>
                    <a:pt x="643979" y="798616"/>
                  </a:lnTo>
                  <a:lnTo>
                    <a:pt x="641695" y="798616"/>
                  </a:lnTo>
                  <a:lnTo>
                    <a:pt x="641695" y="796334"/>
                  </a:lnTo>
                  <a:lnTo>
                    <a:pt x="641695" y="794052"/>
                  </a:lnTo>
                  <a:lnTo>
                    <a:pt x="639412" y="794052"/>
                  </a:lnTo>
                  <a:lnTo>
                    <a:pt x="639412" y="791771"/>
                  </a:lnTo>
                  <a:lnTo>
                    <a:pt x="637128" y="789488"/>
                  </a:lnTo>
                  <a:lnTo>
                    <a:pt x="634845" y="787207"/>
                  </a:lnTo>
                  <a:lnTo>
                    <a:pt x="634845" y="784925"/>
                  </a:lnTo>
                  <a:lnTo>
                    <a:pt x="632561" y="784925"/>
                  </a:lnTo>
                  <a:lnTo>
                    <a:pt x="632561" y="782643"/>
                  </a:lnTo>
                  <a:lnTo>
                    <a:pt x="630277" y="780361"/>
                  </a:lnTo>
                  <a:lnTo>
                    <a:pt x="630277" y="778079"/>
                  </a:lnTo>
                  <a:lnTo>
                    <a:pt x="627994" y="775797"/>
                  </a:lnTo>
                  <a:lnTo>
                    <a:pt x="627994" y="773515"/>
                  </a:lnTo>
                  <a:lnTo>
                    <a:pt x="625710" y="771233"/>
                  </a:lnTo>
                  <a:lnTo>
                    <a:pt x="625710" y="766670"/>
                  </a:lnTo>
                  <a:lnTo>
                    <a:pt x="621143" y="752988"/>
                  </a:lnTo>
                  <a:lnTo>
                    <a:pt x="618859" y="748424"/>
                  </a:lnTo>
                  <a:lnTo>
                    <a:pt x="618859" y="746142"/>
                  </a:lnTo>
                  <a:lnTo>
                    <a:pt x="625710" y="741578"/>
                  </a:lnTo>
                  <a:lnTo>
                    <a:pt x="634845" y="734732"/>
                  </a:lnTo>
                  <a:lnTo>
                    <a:pt x="637128" y="734732"/>
                  </a:lnTo>
                  <a:lnTo>
                    <a:pt x="643979" y="730169"/>
                  </a:lnTo>
                  <a:lnTo>
                    <a:pt x="646262" y="727887"/>
                  </a:lnTo>
                  <a:lnTo>
                    <a:pt x="648546" y="725605"/>
                  </a:lnTo>
                  <a:lnTo>
                    <a:pt x="646262" y="725605"/>
                  </a:lnTo>
                  <a:lnTo>
                    <a:pt x="643979" y="725605"/>
                  </a:lnTo>
                  <a:lnTo>
                    <a:pt x="643979" y="723323"/>
                  </a:lnTo>
                  <a:lnTo>
                    <a:pt x="643979" y="721041"/>
                  </a:lnTo>
                  <a:lnTo>
                    <a:pt x="643979" y="718759"/>
                  </a:lnTo>
                  <a:lnTo>
                    <a:pt x="646262" y="718759"/>
                  </a:lnTo>
                  <a:lnTo>
                    <a:pt x="646262" y="716477"/>
                  </a:lnTo>
                  <a:lnTo>
                    <a:pt x="648546" y="714196"/>
                  </a:lnTo>
                  <a:lnTo>
                    <a:pt x="648546" y="711914"/>
                  </a:lnTo>
                  <a:lnTo>
                    <a:pt x="646262" y="711914"/>
                  </a:lnTo>
                  <a:lnTo>
                    <a:pt x="646262" y="709632"/>
                  </a:lnTo>
                  <a:lnTo>
                    <a:pt x="648546" y="709632"/>
                  </a:lnTo>
                  <a:lnTo>
                    <a:pt x="646262" y="707350"/>
                  </a:lnTo>
                  <a:lnTo>
                    <a:pt x="646262" y="702786"/>
                  </a:lnTo>
                  <a:lnTo>
                    <a:pt x="648546" y="698222"/>
                  </a:lnTo>
                  <a:lnTo>
                    <a:pt x="641695" y="691376"/>
                  </a:lnTo>
                  <a:lnTo>
                    <a:pt x="639412" y="686813"/>
                  </a:lnTo>
                  <a:lnTo>
                    <a:pt x="637128" y="684531"/>
                  </a:lnTo>
                  <a:lnTo>
                    <a:pt x="639412" y="684531"/>
                  </a:lnTo>
                  <a:lnTo>
                    <a:pt x="641695" y="679967"/>
                  </a:lnTo>
                  <a:lnTo>
                    <a:pt x="643979" y="677685"/>
                  </a:lnTo>
                  <a:lnTo>
                    <a:pt x="648546" y="677685"/>
                  </a:lnTo>
                  <a:lnTo>
                    <a:pt x="648546" y="675403"/>
                  </a:lnTo>
                  <a:lnTo>
                    <a:pt x="650830" y="673121"/>
                  </a:lnTo>
                  <a:lnTo>
                    <a:pt x="650830" y="670840"/>
                  </a:lnTo>
                  <a:lnTo>
                    <a:pt x="648546" y="663994"/>
                  </a:lnTo>
                  <a:lnTo>
                    <a:pt x="648546" y="659430"/>
                  </a:lnTo>
                  <a:lnTo>
                    <a:pt x="646262" y="663994"/>
                  </a:lnTo>
                  <a:lnTo>
                    <a:pt x="641695" y="675403"/>
                  </a:lnTo>
                  <a:lnTo>
                    <a:pt x="639412" y="670840"/>
                  </a:lnTo>
                  <a:lnTo>
                    <a:pt x="641695" y="661712"/>
                  </a:lnTo>
                  <a:lnTo>
                    <a:pt x="639412" y="661712"/>
                  </a:lnTo>
                  <a:lnTo>
                    <a:pt x="639412" y="659430"/>
                  </a:lnTo>
                  <a:lnTo>
                    <a:pt x="639412" y="657148"/>
                  </a:lnTo>
                  <a:lnTo>
                    <a:pt x="639412" y="654866"/>
                  </a:lnTo>
                  <a:lnTo>
                    <a:pt x="637128" y="654866"/>
                  </a:lnTo>
                  <a:lnTo>
                    <a:pt x="634845" y="654866"/>
                  </a:lnTo>
                  <a:lnTo>
                    <a:pt x="632561" y="654866"/>
                  </a:lnTo>
                  <a:lnTo>
                    <a:pt x="630277" y="652584"/>
                  </a:lnTo>
                  <a:lnTo>
                    <a:pt x="627994" y="648020"/>
                  </a:lnTo>
                  <a:lnTo>
                    <a:pt x="625710" y="648020"/>
                  </a:lnTo>
                  <a:lnTo>
                    <a:pt x="625710" y="645739"/>
                  </a:lnTo>
                  <a:lnTo>
                    <a:pt x="623427" y="645739"/>
                  </a:lnTo>
                  <a:lnTo>
                    <a:pt x="621143" y="643457"/>
                  </a:lnTo>
                  <a:lnTo>
                    <a:pt x="621143" y="641175"/>
                  </a:lnTo>
                  <a:lnTo>
                    <a:pt x="616576" y="638893"/>
                  </a:lnTo>
                  <a:lnTo>
                    <a:pt x="614292" y="638893"/>
                  </a:lnTo>
                  <a:lnTo>
                    <a:pt x="614292" y="636611"/>
                  </a:lnTo>
                  <a:lnTo>
                    <a:pt x="609725" y="634329"/>
                  </a:lnTo>
                  <a:lnTo>
                    <a:pt x="607441" y="634329"/>
                  </a:lnTo>
                  <a:lnTo>
                    <a:pt x="605158" y="634329"/>
                  </a:lnTo>
                  <a:lnTo>
                    <a:pt x="602874" y="638893"/>
                  </a:lnTo>
                  <a:lnTo>
                    <a:pt x="602874" y="641175"/>
                  </a:lnTo>
                  <a:lnTo>
                    <a:pt x="600591" y="643457"/>
                  </a:lnTo>
                  <a:lnTo>
                    <a:pt x="598307" y="643457"/>
                  </a:lnTo>
                  <a:lnTo>
                    <a:pt x="598307" y="645739"/>
                  </a:lnTo>
                  <a:lnTo>
                    <a:pt x="596023" y="645739"/>
                  </a:lnTo>
                  <a:lnTo>
                    <a:pt x="593740" y="643457"/>
                  </a:lnTo>
                  <a:lnTo>
                    <a:pt x="593740" y="641175"/>
                  </a:lnTo>
                  <a:lnTo>
                    <a:pt x="591456" y="641175"/>
                  </a:lnTo>
                  <a:lnTo>
                    <a:pt x="591456" y="638893"/>
                  </a:lnTo>
                  <a:lnTo>
                    <a:pt x="589173" y="638893"/>
                  </a:lnTo>
                  <a:lnTo>
                    <a:pt x="586889" y="636611"/>
                  </a:lnTo>
                  <a:lnTo>
                    <a:pt x="584605" y="634329"/>
                  </a:lnTo>
                  <a:lnTo>
                    <a:pt x="582322" y="634329"/>
                  </a:lnTo>
                  <a:lnTo>
                    <a:pt x="582322" y="629765"/>
                  </a:lnTo>
                  <a:lnTo>
                    <a:pt x="580038" y="625202"/>
                  </a:lnTo>
                  <a:lnTo>
                    <a:pt x="580038" y="622920"/>
                  </a:lnTo>
                  <a:lnTo>
                    <a:pt x="577755" y="620638"/>
                  </a:lnTo>
                  <a:lnTo>
                    <a:pt x="570904" y="616074"/>
                  </a:lnTo>
                  <a:lnTo>
                    <a:pt x="566337" y="616074"/>
                  </a:lnTo>
                  <a:lnTo>
                    <a:pt x="566337" y="618356"/>
                  </a:lnTo>
                  <a:lnTo>
                    <a:pt x="564053" y="620638"/>
                  </a:lnTo>
                  <a:lnTo>
                    <a:pt x="561769" y="618356"/>
                  </a:lnTo>
                  <a:lnTo>
                    <a:pt x="559486" y="616074"/>
                  </a:lnTo>
                  <a:lnTo>
                    <a:pt x="559486" y="613802"/>
                  </a:lnTo>
                  <a:lnTo>
                    <a:pt x="559486" y="606956"/>
                  </a:lnTo>
                  <a:lnTo>
                    <a:pt x="561769" y="604674"/>
                  </a:lnTo>
                  <a:lnTo>
                    <a:pt x="561769" y="597828"/>
                  </a:lnTo>
                  <a:lnTo>
                    <a:pt x="564053" y="593264"/>
                  </a:lnTo>
                  <a:lnTo>
                    <a:pt x="564053" y="588701"/>
                  </a:lnTo>
                  <a:lnTo>
                    <a:pt x="564053" y="584137"/>
                  </a:lnTo>
                  <a:lnTo>
                    <a:pt x="564053" y="579573"/>
                  </a:lnTo>
                  <a:lnTo>
                    <a:pt x="564053" y="575009"/>
                  </a:lnTo>
                  <a:lnTo>
                    <a:pt x="559486" y="581855"/>
                  </a:lnTo>
                  <a:lnTo>
                    <a:pt x="557202" y="581855"/>
                  </a:lnTo>
                  <a:lnTo>
                    <a:pt x="557202" y="586419"/>
                  </a:lnTo>
                  <a:lnTo>
                    <a:pt x="554919" y="588701"/>
                  </a:lnTo>
                  <a:lnTo>
                    <a:pt x="552635" y="590983"/>
                  </a:lnTo>
                  <a:lnTo>
                    <a:pt x="550352" y="593264"/>
                  </a:lnTo>
                  <a:lnTo>
                    <a:pt x="550352" y="595547"/>
                  </a:lnTo>
                  <a:lnTo>
                    <a:pt x="548068" y="597828"/>
                  </a:lnTo>
                  <a:lnTo>
                    <a:pt x="545784" y="600110"/>
                  </a:lnTo>
                  <a:lnTo>
                    <a:pt x="543501" y="602392"/>
                  </a:lnTo>
                  <a:lnTo>
                    <a:pt x="543501" y="604674"/>
                  </a:lnTo>
                  <a:lnTo>
                    <a:pt x="541217" y="606956"/>
                  </a:lnTo>
                  <a:lnTo>
                    <a:pt x="538933" y="609238"/>
                  </a:lnTo>
                  <a:lnTo>
                    <a:pt x="538933" y="606956"/>
                  </a:lnTo>
                  <a:lnTo>
                    <a:pt x="536650" y="604674"/>
                  </a:lnTo>
                  <a:lnTo>
                    <a:pt x="536650" y="602392"/>
                  </a:lnTo>
                  <a:lnTo>
                    <a:pt x="536650" y="597828"/>
                  </a:lnTo>
                  <a:lnTo>
                    <a:pt x="534366" y="593264"/>
                  </a:lnTo>
                  <a:lnTo>
                    <a:pt x="532083" y="593264"/>
                  </a:lnTo>
                  <a:lnTo>
                    <a:pt x="529799" y="593264"/>
                  </a:lnTo>
                  <a:lnTo>
                    <a:pt x="527516" y="595547"/>
                  </a:lnTo>
                  <a:lnTo>
                    <a:pt x="525232" y="595547"/>
                  </a:lnTo>
                  <a:lnTo>
                    <a:pt x="522948" y="595547"/>
                  </a:lnTo>
                  <a:lnTo>
                    <a:pt x="522948" y="593264"/>
                  </a:lnTo>
                  <a:lnTo>
                    <a:pt x="520665" y="593264"/>
                  </a:lnTo>
                  <a:lnTo>
                    <a:pt x="520665" y="590983"/>
                  </a:lnTo>
                  <a:lnTo>
                    <a:pt x="518381" y="590983"/>
                  </a:lnTo>
                  <a:lnTo>
                    <a:pt x="518381" y="593264"/>
                  </a:lnTo>
                  <a:lnTo>
                    <a:pt x="516098" y="593264"/>
                  </a:lnTo>
                  <a:lnTo>
                    <a:pt x="516098" y="595547"/>
                  </a:lnTo>
                  <a:lnTo>
                    <a:pt x="513814" y="595547"/>
                  </a:lnTo>
                  <a:lnTo>
                    <a:pt x="511530" y="595547"/>
                  </a:lnTo>
                  <a:lnTo>
                    <a:pt x="509247" y="595547"/>
                  </a:lnTo>
                  <a:lnTo>
                    <a:pt x="506963" y="595547"/>
                  </a:lnTo>
                  <a:lnTo>
                    <a:pt x="504680" y="595547"/>
                  </a:lnTo>
                  <a:lnTo>
                    <a:pt x="504680" y="593264"/>
                  </a:lnTo>
                  <a:lnTo>
                    <a:pt x="502396" y="593264"/>
                  </a:lnTo>
                  <a:lnTo>
                    <a:pt x="500112" y="593264"/>
                  </a:lnTo>
                  <a:lnTo>
                    <a:pt x="500112" y="590983"/>
                  </a:lnTo>
                  <a:lnTo>
                    <a:pt x="497829" y="590983"/>
                  </a:lnTo>
                  <a:lnTo>
                    <a:pt x="495545" y="590983"/>
                  </a:lnTo>
                  <a:lnTo>
                    <a:pt x="493262" y="590983"/>
                  </a:lnTo>
                  <a:lnTo>
                    <a:pt x="493262" y="588701"/>
                  </a:lnTo>
                  <a:lnTo>
                    <a:pt x="490978" y="588701"/>
                  </a:lnTo>
                  <a:lnTo>
                    <a:pt x="488694" y="588701"/>
                  </a:lnTo>
                  <a:lnTo>
                    <a:pt x="486411" y="588701"/>
                  </a:lnTo>
                  <a:lnTo>
                    <a:pt x="486411" y="586419"/>
                  </a:lnTo>
                  <a:lnTo>
                    <a:pt x="484127" y="586419"/>
                  </a:lnTo>
                  <a:lnTo>
                    <a:pt x="481844" y="586419"/>
                  </a:lnTo>
                  <a:lnTo>
                    <a:pt x="479560" y="586419"/>
                  </a:lnTo>
                  <a:lnTo>
                    <a:pt x="477276" y="586419"/>
                  </a:lnTo>
                  <a:lnTo>
                    <a:pt x="474993" y="586419"/>
                  </a:lnTo>
                  <a:lnTo>
                    <a:pt x="472709" y="586419"/>
                  </a:lnTo>
                  <a:lnTo>
                    <a:pt x="472709" y="584137"/>
                  </a:lnTo>
                  <a:lnTo>
                    <a:pt x="472709" y="581855"/>
                  </a:lnTo>
                  <a:lnTo>
                    <a:pt x="472709" y="579573"/>
                  </a:lnTo>
                  <a:lnTo>
                    <a:pt x="474993" y="579573"/>
                  </a:lnTo>
                  <a:lnTo>
                    <a:pt x="474993" y="577291"/>
                  </a:lnTo>
                  <a:lnTo>
                    <a:pt x="472709" y="577291"/>
                  </a:lnTo>
                  <a:lnTo>
                    <a:pt x="472709" y="575009"/>
                  </a:lnTo>
                  <a:lnTo>
                    <a:pt x="472709" y="572728"/>
                  </a:lnTo>
                  <a:lnTo>
                    <a:pt x="470426" y="572728"/>
                  </a:lnTo>
                  <a:lnTo>
                    <a:pt x="470426" y="570446"/>
                  </a:lnTo>
                  <a:lnTo>
                    <a:pt x="472709" y="570446"/>
                  </a:lnTo>
                  <a:lnTo>
                    <a:pt x="472709" y="568164"/>
                  </a:lnTo>
                  <a:lnTo>
                    <a:pt x="472709" y="565882"/>
                  </a:lnTo>
                  <a:lnTo>
                    <a:pt x="474993" y="565882"/>
                  </a:lnTo>
                  <a:lnTo>
                    <a:pt x="477276" y="565882"/>
                  </a:lnTo>
                  <a:lnTo>
                    <a:pt x="479560" y="563600"/>
                  </a:lnTo>
                  <a:lnTo>
                    <a:pt x="479560" y="561318"/>
                  </a:lnTo>
                  <a:lnTo>
                    <a:pt x="479560" y="559036"/>
                  </a:lnTo>
                  <a:lnTo>
                    <a:pt x="481844" y="559036"/>
                  </a:lnTo>
                  <a:lnTo>
                    <a:pt x="481844" y="556754"/>
                  </a:lnTo>
                  <a:lnTo>
                    <a:pt x="484127" y="556754"/>
                  </a:lnTo>
                  <a:lnTo>
                    <a:pt x="486411" y="556754"/>
                  </a:lnTo>
                  <a:lnTo>
                    <a:pt x="486411" y="554472"/>
                  </a:lnTo>
                  <a:lnTo>
                    <a:pt x="488694" y="554472"/>
                  </a:lnTo>
                  <a:lnTo>
                    <a:pt x="488694" y="552191"/>
                  </a:lnTo>
                  <a:lnTo>
                    <a:pt x="488694" y="549908"/>
                  </a:lnTo>
                  <a:lnTo>
                    <a:pt x="490978" y="549908"/>
                  </a:lnTo>
                  <a:lnTo>
                    <a:pt x="490978" y="547627"/>
                  </a:lnTo>
                  <a:lnTo>
                    <a:pt x="488694" y="547627"/>
                  </a:lnTo>
                  <a:lnTo>
                    <a:pt x="486411" y="547627"/>
                  </a:lnTo>
                  <a:lnTo>
                    <a:pt x="486411" y="545345"/>
                  </a:lnTo>
                  <a:lnTo>
                    <a:pt x="484127" y="545345"/>
                  </a:lnTo>
                  <a:lnTo>
                    <a:pt x="481844" y="545345"/>
                  </a:lnTo>
                  <a:lnTo>
                    <a:pt x="481844" y="543063"/>
                  </a:lnTo>
                  <a:lnTo>
                    <a:pt x="484127" y="543063"/>
                  </a:lnTo>
                  <a:lnTo>
                    <a:pt x="484127" y="540781"/>
                  </a:lnTo>
                  <a:lnTo>
                    <a:pt x="481844" y="540781"/>
                  </a:lnTo>
                  <a:lnTo>
                    <a:pt x="481844" y="538499"/>
                  </a:lnTo>
                  <a:lnTo>
                    <a:pt x="484127" y="538499"/>
                  </a:lnTo>
                  <a:lnTo>
                    <a:pt x="484127" y="536217"/>
                  </a:lnTo>
                  <a:lnTo>
                    <a:pt x="486411" y="536217"/>
                  </a:lnTo>
                  <a:lnTo>
                    <a:pt x="488694" y="536217"/>
                  </a:lnTo>
                  <a:lnTo>
                    <a:pt x="490978" y="536217"/>
                  </a:lnTo>
                  <a:lnTo>
                    <a:pt x="493262" y="531653"/>
                  </a:lnTo>
                  <a:lnTo>
                    <a:pt x="490978" y="529371"/>
                  </a:lnTo>
                  <a:lnTo>
                    <a:pt x="488694" y="527090"/>
                  </a:lnTo>
                  <a:lnTo>
                    <a:pt x="486411" y="524808"/>
                  </a:lnTo>
                  <a:lnTo>
                    <a:pt x="484127" y="517962"/>
                  </a:lnTo>
                  <a:lnTo>
                    <a:pt x="481844" y="515680"/>
                  </a:lnTo>
                  <a:lnTo>
                    <a:pt x="481844" y="513398"/>
                  </a:lnTo>
                  <a:lnTo>
                    <a:pt x="477276" y="506552"/>
                  </a:lnTo>
                  <a:lnTo>
                    <a:pt x="474993" y="499707"/>
                  </a:lnTo>
                  <a:lnTo>
                    <a:pt x="477276" y="499707"/>
                  </a:lnTo>
                  <a:lnTo>
                    <a:pt x="481844" y="497425"/>
                  </a:lnTo>
                  <a:lnTo>
                    <a:pt x="481844" y="495143"/>
                  </a:lnTo>
                  <a:lnTo>
                    <a:pt x="481844" y="492861"/>
                  </a:lnTo>
                  <a:lnTo>
                    <a:pt x="484127" y="492861"/>
                  </a:lnTo>
                  <a:lnTo>
                    <a:pt x="484127" y="490579"/>
                  </a:lnTo>
                  <a:lnTo>
                    <a:pt x="484127" y="488297"/>
                  </a:lnTo>
                  <a:lnTo>
                    <a:pt x="481844" y="486015"/>
                  </a:lnTo>
                  <a:lnTo>
                    <a:pt x="481844" y="483734"/>
                  </a:lnTo>
                  <a:lnTo>
                    <a:pt x="479560" y="481452"/>
                  </a:lnTo>
                  <a:lnTo>
                    <a:pt x="479560" y="479170"/>
                  </a:lnTo>
                  <a:lnTo>
                    <a:pt x="481844" y="479170"/>
                  </a:lnTo>
                  <a:lnTo>
                    <a:pt x="481844" y="476888"/>
                  </a:lnTo>
                  <a:lnTo>
                    <a:pt x="481844" y="474606"/>
                  </a:lnTo>
                  <a:lnTo>
                    <a:pt x="484127" y="474606"/>
                  </a:lnTo>
                  <a:lnTo>
                    <a:pt x="484127" y="472324"/>
                  </a:lnTo>
                  <a:lnTo>
                    <a:pt x="484127" y="470042"/>
                  </a:lnTo>
                  <a:lnTo>
                    <a:pt x="486411" y="470042"/>
                  </a:lnTo>
                  <a:lnTo>
                    <a:pt x="486411" y="467760"/>
                  </a:lnTo>
                  <a:lnTo>
                    <a:pt x="486411" y="465478"/>
                  </a:lnTo>
                  <a:lnTo>
                    <a:pt x="484127" y="463196"/>
                  </a:lnTo>
                  <a:lnTo>
                    <a:pt x="484127" y="460915"/>
                  </a:lnTo>
                  <a:lnTo>
                    <a:pt x="484127" y="458633"/>
                  </a:lnTo>
                  <a:lnTo>
                    <a:pt x="481844" y="458633"/>
                  </a:lnTo>
                  <a:lnTo>
                    <a:pt x="479560" y="458633"/>
                  </a:lnTo>
                  <a:lnTo>
                    <a:pt x="477276" y="458633"/>
                  </a:lnTo>
                  <a:lnTo>
                    <a:pt x="477276" y="460915"/>
                  </a:lnTo>
                  <a:lnTo>
                    <a:pt x="474993" y="460915"/>
                  </a:lnTo>
                  <a:lnTo>
                    <a:pt x="472709" y="460915"/>
                  </a:lnTo>
                  <a:lnTo>
                    <a:pt x="472709" y="458633"/>
                  </a:lnTo>
                  <a:lnTo>
                    <a:pt x="472709" y="456351"/>
                  </a:lnTo>
                  <a:lnTo>
                    <a:pt x="474993" y="454069"/>
                  </a:lnTo>
                  <a:lnTo>
                    <a:pt x="474993" y="451796"/>
                  </a:lnTo>
                  <a:lnTo>
                    <a:pt x="477276" y="451796"/>
                  </a:lnTo>
                  <a:lnTo>
                    <a:pt x="477276" y="449515"/>
                  </a:lnTo>
                  <a:lnTo>
                    <a:pt x="477276" y="447233"/>
                  </a:lnTo>
                  <a:lnTo>
                    <a:pt x="479560" y="444951"/>
                  </a:lnTo>
                  <a:lnTo>
                    <a:pt x="479560" y="442669"/>
                  </a:lnTo>
                  <a:lnTo>
                    <a:pt x="481844" y="442669"/>
                  </a:lnTo>
                  <a:lnTo>
                    <a:pt x="481844" y="440387"/>
                  </a:lnTo>
                  <a:lnTo>
                    <a:pt x="479560" y="440387"/>
                  </a:lnTo>
                  <a:lnTo>
                    <a:pt x="479560" y="438105"/>
                  </a:lnTo>
                  <a:lnTo>
                    <a:pt x="477276" y="438105"/>
                  </a:lnTo>
                  <a:lnTo>
                    <a:pt x="477276" y="435823"/>
                  </a:lnTo>
                  <a:lnTo>
                    <a:pt x="474993" y="435823"/>
                  </a:lnTo>
                  <a:lnTo>
                    <a:pt x="472709" y="438105"/>
                  </a:lnTo>
                  <a:lnTo>
                    <a:pt x="470426" y="438105"/>
                  </a:lnTo>
                  <a:lnTo>
                    <a:pt x="468142" y="438105"/>
                  </a:lnTo>
                  <a:lnTo>
                    <a:pt x="465858" y="438105"/>
                  </a:lnTo>
                  <a:lnTo>
                    <a:pt x="465858" y="435823"/>
                  </a:lnTo>
                  <a:lnTo>
                    <a:pt x="463575" y="435823"/>
                  </a:lnTo>
                  <a:lnTo>
                    <a:pt x="461291" y="433541"/>
                  </a:lnTo>
                  <a:lnTo>
                    <a:pt x="459008" y="433541"/>
                  </a:lnTo>
                  <a:lnTo>
                    <a:pt x="459008" y="435823"/>
                  </a:lnTo>
                  <a:lnTo>
                    <a:pt x="456724" y="435823"/>
                  </a:lnTo>
                  <a:lnTo>
                    <a:pt x="454440" y="435823"/>
                  </a:lnTo>
                  <a:lnTo>
                    <a:pt x="454440" y="433541"/>
                  </a:lnTo>
                  <a:lnTo>
                    <a:pt x="456724" y="433541"/>
                  </a:lnTo>
                  <a:lnTo>
                    <a:pt x="456724" y="431259"/>
                  </a:lnTo>
                  <a:lnTo>
                    <a:pt x="459008" y="431259"/>
                  </a:lnTo>
                  <a:lnTo>
                    <a:pt x="459008" y="428978"/>
                  </a:lnTo>
                  <a:lnTo>
                    <a:pt x="459008" y="426696"/>
                  </a:lnTo>
                  <a:lnTo>
                    <a:pt x="459008" y="424414"/>
                  </a:lnTo>
                  <a:lnTo>
                    <a:pt x="459008" y="422132"/>
                  </a:lnTo>
                  <a:lnTo>
                    <a:pt x="461291" y="422132"/>
                  </a:lnTo>
                  <a:lnTo>
                    <a:pt x="461291" y="419850"/>
                  </a:lnTo>
                  <a:lnTo>
                    <a:pt x="461291" y="417568"/>
                  </a:lnTo>
                  <a:lnTo>
                    <a:pt x="463575" y="417568"/>
                  </a:lnTo>
                  <a:lnTo>
                    <a:pt x="463575" y="415286"/>
                  </a:lnTo>
                  <a:lnTo>
                    <a:pt x="463575" y="413004"/>
                  </a:lnTo>
                  <a:lnTo>
                    <a:pt x="463575" y="410723"/>
                  </a:lnTo>
                  <a:lnTo>
                    <a:pt x="463575" y="408440"/>
                  </a:lnTo>
                  <a:lnTo>
                    <a:pt x="463575" y="406159"/>
                  </a:lnTo>
                  <a:lnTo>
                    <a:pt x="463575" y="403877"/>
                  </a:lnTo>
                  <a:lnTo>
                    <a:pt x="463575" y="401595"/>
                  </a:lnTo>
                  <a:lnTo>
                    <a:pt x="463575" y="399313"/>
                  </a:lnTo>
                  <a:lnTo>
                    <a:pt x="463575" y="397031"/>
                  </a:lnTo>
                  <a:lnTo>
                    <a:pt x="461291" y="397031"/>
                  </a:lnTo>
                  <a:lnTo>
                    <a:pt x="461291" y="394749"/>
                  </a:lnTo>
                  <a:lnTo>
                    <a:pt x="459008" y="394749"/>
                  </a:lnTo>
                  <a:lnTo>
                    <a:pt x="459008" y="392467"/>
                  </a:lnTo>
                  <a:lnTo>
                    <a:pt x="459008" y="390185"/>
                  </a:lnTo>
                  <a:lnTo>
                    <a:pt x="461291" y="390185"/>
                  </a:lnTo>
                  <a:lnTo>
                    <a:pt x="459008" y="387903"/>
                  </a:lnTo>
                  <a:lnTo>
                    <a:pt x="459008" y="385622"/>
                  </a:lnTo>
                  <a:lnTo>
                    <a:pt x="459008" y="383340"/>
                  </a:lnTo>
                  <a:lnTo>
                    <a:pt x="456724" y="383340"/>
                  </a:lnTo>
                  <a:lnTo>
                    <a:pt x="456724" y="381058"/>
                  </a:lnTo>
                  <a:lnTo>
                    <a:pt x="454440" y="381058"/>
                  </a:lnTo>
                  <a:lnTo>
                    <a:pt x="454440" y="378776"/>
                  </a:lnTo>
                  <a:lnTo>
                    <a:pt x="452157" y="378776"/>
                  </a:lnTo>
                  <a:lnTo>
                    <a:pt x="452157" y="376494"/>
                  </a:lnTo>
                  <a:lnTo>
                    <a:pt x="449873" y="376494"/>
                  </a:lnTo>
                  <a:lnTo>
                    <a:pt x="447590" y="376494"/>
                  </a:lnTo>
                  <a:lnTo>
                    <a:pt x="447590" y="374212"/>
                  </a:lnTo>
                  <a:lnTo>
                    <a:pt x="445306" y="374212"/>
                  </a:lnTo>
                  <a:lnTo>
                    <a:pt x="443022" y="374212"/>
                  </a:lnTo>
                  <a:lnTo>
                    <a:pt x="443022" y="371930"/>
                  </a:lnTo>
                  <a:lnTo>
                    <a:pt x="440739" y="371930"/>
                  </a:lnTo>
                  <a:lnTo>
                    <a:pt x="440739" y="369648"/>
                  </a:lnTo>
                  <a:lnTo>
                    <a:pt x="443022" y="367366"/>
                  </a:lnTo>
                  <a:lnTo>
                    <a:pt x="443022" y="365084"/>
                  </a:lnTo>
                  <a:lnTo>
                    <a:pt x="445306" y="362803"/>
                  </a:lnTo>
                  <a:lnTo>
                    <a:pt x="445306" y="360521"/>
                  </a:lnTo>
                  <a:lnTo>
                    <a:pt x="445306" y="358239"/>
                  </a:lnTo>
                  <a:lnTo>
                    <a:pt x="447590" y="355957"/>
                  </a:lnTo>
                  <a:lnTo>
                    <a:pt x="447590" y="353675"/>
                  </a:lnTo>
                  <a:lnTo>
                    <a:pt x="449873" y="351393"/>
                  </a:lnTo>
                  <a:lnTo>
                    <a:pt x="447590" y="349111"/>
                  </a:lnTo>
                  <a:lnTo>
                    <a:pt x="445306" y="349111"/>
                  </a:lnTo>
                  <a:lnTo>
                    <a:pt x="443022" y="346829"/>
                  </a:lnTo>
                  <a:lnTo>
                    <a:pt x="440739" y="346829"/>
                  </a:lnTo>
                  <a:lnTo>
                    <a:pt x="438455" y="344547"/>
                  </a:lnTo>
                  <a:lnTo>
                    <a:pt x="436172" y="344547"/>
                  </a:lnTo>
                  <a:lnTo>
                    <a:pt x="433888" y="344547"/>
                  </a:lnTo>
                  <a:lnTo>
                    <a:pt x="433888" y="342266"/>
                  </a:lnTo>
                  <a:lnTo>
                    <a:pt x="431604" y="342266"/>
                  </a:lnTo>
                  <a:lnTo>
                    <a:pt x="431604" y="339984"/>
                  </a:lnTo>
                  <a:lnTo>
                    <a:pt x="429321" y="337702"/>
                  </a:lnTo>
                  <a:lnTo>
                    <a:pt x="429321" y="335420"/>
                  </a:lnTo>
                  <a:lnTo>
                    <a:pt x="429321" y="333138"/>
                  </a:lnTo>
                  <a:lnTo>
                    <a:pt x="427037" y="333138"/>
                  </a:lnTo>
                  <a:lnTo>
                    <a:pt x="427037" y="330856"/>
                  </a:lnTo>
                  <a:lnTo>
                    <a:pt x="427037" y="328574"/>
                  </a:lnTo>
                  <a:lnTo>
                    <a:pt x="424754" y="328574"/>
                  </a:lnTo>
                  <a:lnTo>
                    <a:pt x="424754" y="326292"/>
                  </a:lnTo>
                  <a:lnTo>
                    <a:pt x="424754" y="324010"/>
                  </a:lnTo>
                  <a:lnTo>
                    <a:pt x="424754" y="321728"/>
                  </a:lnTo>
                  <a:lnTo>
                    <a:pt x="424754" y="319447"/>
                  </a:lnTo>
                  <a:lnTo>
                    <a:pt x="424754" y="317165"/>
                  </a:lnTo>
                  <a:lnTo>
                    <a:pt x="424754" y="314883"/>
                  </a:lnTo>
                  <a:lnTo>
                    <a:pt x="424754" y="312601"/>
                  </a:lnTo>
                  <a:lnTo>
                    <a:pt x="424754" y="310319"/>
                  </a:lnTo>
                  <a:lnTo>
                    <a:pt x="424754" y="308037"/>
                  </a:lnTo>
                  <a:lnTo>
                    <a:pt x="424754" y="305755"/>
                  </a:lnTo>
                  <a:lnTo>
                    <a:pt x="424754" y="301201"/>
                  </a:lnTo>
                  <a:lnTo>
                    <a:pt x="422470" y="298919"/>
                  </a:lnTo>
                  <a:lnTo>
                    <a:pt x="422470" y="296637"/>
                  </a:lnTo>
                  <a:lnTo>
                    <a:pt x="422470" y="294355"/>
                  </a:lnTo>
                  <a:lnTo>
                    <a:pt x="422470" y="289791"/>
                  </a:lnTo>
                  <a:lnTo>
                    <a:pt x="422470" y="287510"/>
                  </a:lnTo>
                  <a:lnTo>
                    <a:pt x="422470" y="285228"/>
                  </a:lnTo>
                  <a:lnTo>
                    <a:pt x="422470" y="282946"/>
                  </a:lnTo>
                  <a:lnTo>
                    <a:pt x="422470" y="280664"/>
                  </a:lnTo>
                  <a:lnTo>
                    <a:pt x="422470" y="278382"/>
                  </a:lnTo>
                  <a:lnTo>
                    <a:pt x="420187" y="273818"/>
                  </a:lnTo>
                  <a:lnTo>
                    <a:pt x="417903" y="269254"/>
                  </a:lnTo>
                  <a:lnTo>
                    <a:pt x="417903" y="266972"/>
                  </a:lnTo>
                  <a:lnTo>
                    <a:pt x="415619" y="264691"/>
                  </a:lnTo>
                  <a:lnTo>
                    <a:pt x="406485" y="253281"/>
                  </a:lnTo>
                  <a:lnTo>
                    <a:pt x="406485" y="250999"/>
                  </a:lnTo>
                  <a:lnTo>
                    <a:pt x="406485" y="248717"/>
                  </a:lnTo>
                  <a:lnTo>
                    <a:pt x="404201" y="248717"/>
                  </a:lnTo>
                  <a:lnTo>
                    <a:pt x="404201" y="246435"/>
                  </a:lnTo>
                  <a:lnTo>
                    <a:pt x="404201" y="244154"/>
                  </a:lnTo>
                  <a:lnTo>
                    <a:pt x="404201" y="241872"/>
                  </a:lnTo>
                  <a:lnTo>
                    <a:pt x="404201" y="239590"/>
                  </a:lnTo>
                  <a:lnTo>
                    <a:pt x="404201" y="235026"/>
                  </a:lnTo>
                  <a:lnTo>
                    <a:pt x="404201" y="232744"/>
                  </a:lnTo>
                  <a:lnTo>
                    <a:pt x="404201" y="230462"/>
                  </a:lnTo>
                  <a:lnTo>
                    <a:pt x="404201" y="225898"/>
                  </a:lnTo>
                  <a:lnTo>
                    <a:pt x="404201" y="223616"/>
                  </a:lnTo>
                  <a:lnTo>
                    <a:pt x="404201" y="221335"/>
                  </a:lnTo>
                  <a:lnTo>
                    <a:pt x="404201" y="219053"/>
                  </a:lnTo>
                  <a:lnTo>
                    <a:pt x="408768" y="214489"/>
                  </a:lnTo>
                  <a:lnTo>
                    <a:pt x="411052" y="214489"/>
                  </a:lnTo>
                  <a:lnTo>
                    <a:pt x="413336" y="212207"/>
                  </a:lnTo>
                  <a:lnTo>
                    <a:pt x="415619" y="209925"/>
                  </a:lnTo>
                  <a:lnTo>
                    <a:pt x="420187" y="209925"/>
                  </a:lnTo>
                  <a:lnTo>
                    <a:pt x="422470" y="207643"/>
                  </a:lnTo>
                  <a:lnTo>
                    <a:pt x="424754" y="205361"/>
                  </a:lnTo>
                  <a:lnTo>
                    <a:pt x="429321" y="203079"/>
                  </a:lnTo>
                  <a:lnTo>
                    <a:pt x="424754" y="200798"/>
                  </a:lnTo>
                  <a:lnTo>
                    <a:pt x="422470" y="198516"/>
                  </a:lnTo>
                  <a:lnTo>
                    <a:pt x="420187" y="198516"/>
                  </a:lnTo>
                  <a:lnTo>
                    <a:pt x="415619" y="196234"/>
                  </a:lnTo>
                  <a:lnTo>
                    <a:pt x="411052" y="193952"/>
                  </a:lnTo>
                  <a:lnTo>
                    <a:pt x="406485" y="191670"/>
                  </a:lnTo>
                  <a:lnTo>
                    <a:pt x="401918" y="189388"/>
                  </a:lnTo>
                  <a:lnTo>
                    <a:pt x="397351" y="187106"/>
                  </a:lnTo>
                  <a:lnTo>
                    <a:pt x="392783" y="184824"/>
                  </a:lnTo>
                  <a:lnTo>
                    <a:pt x="388216" y="182542"/>
                  </a:lnTo>
                  <a:lnTo>
                    <a:pt x="388216" y="180260"/>
                  </a:lnTo>
                  <a:lnTo>
                    <a:pt x="417903" y="171133"/>
                  </a:lnTo>
                  <a:lnTo>
                    <a:pt x="417903" y="168851"/>
                  </a:lnTo>
                  <a:lnTo>
                    <a:pt x="417903" y="166569"/>
                  </a:lnTo>
                  <a:lnTo>
                    <a:pt x="415619" y="146032"/>
                  </a:lnTo>
                  <a:lnTo>
                    <a:pt x="415619" y="143750"/>
                  </a:lnTo>
                  <a:lnTo>
                    <a:pt x="413336" y="141478"/>
                  </a:lnTo>
                  <a:lnTo>
                    <a:pt x="413336" y="134632"/>
                  </a:lnTo>
                  <a:lnTo>
                    <a:pt x="413336" y="130068"/>
                  </a:lnTo>
                  <a:lnTo>
                    <a:pt x="413336" y="127786"/>
                  </a:lnTo>
                  <a:lnTo>
                    <a:pt x="411052" y="125504"/>
                  </a:lnTo>
                  <a:lnTo>
                    <a:pt x="411052" y="123223"/>
                  </a:lnTo>
                  <a:lnTo>
                    <a:pt x="411052" y="120940"/>
                  </a:lnTo>
                  <a:lnTo>
                    <a:pt x="408768" y="118659"/>
                  </a:lnTo>
                  <a:lnTo>
                    <a:pt x="404201" y="118659"/>
                  </a:lnTo>
                  <a:lnTo>
                    <a:pt x="399634" y="118659"/>
                  </a:lnTo>
                  <a:lnTo>
                    <a:pt x="397351" y="116377"/>
                  </a:lnTo>
                  <a:lnTo>
                    <a:pt x="395067" y="116377"/>
                  </a:lnTo>
                  <a:lnTo>
                    <a:pt x="392783" y="116377"/>
                  </a:lnTo>
                  <a:lnTo>
                    <a:pt x="390500" y="114095"/>
                  </a:lnTo>
                  <a:lnTo>
                    <a:pt x="388216" y="114095"/>
                  </a:lnTo>
                  <a:lnTo>
                    <a:pt x="383647" y="114095"/>
                  </a:lnTo>
                  <a:lnTo>
                    <a:pt x="383647" y="111813"/>
                  </a:lnTo>
                  <a:lnTo>
                    <a:pt x="381363" y="111813"/>
                  </a:lnTo>
                  <a:lnTo>
                    <a:pt x="379080" y="111813"/>
                  </a:lnTo>
                  <a:lnTo>
                    <a:pt x="376797" y="109531"/>
                  </a:lnTo>
                  <a:lnTo>
                    <a:pt x="374514" y="107249"/>
                  </a:lnTo>
                  <a:lnTo>
                    <a:pt x="372229" y="107249"/>
                  </a:lnTo>
                  <a:lnTo>
                    <a:pt x="372229" y="104967"/>
                  </a:lnTo>
                  <a:lnTo>
                    <a:pt x="367662" y="104967"/>
                  </a:lnTo>
                  <a:lnTo>
                    <a:pt x="365378" y="102685"/>
                  </a:lnTo>
                  <a:lnTo>
                    <a:pt x="363096" y="100404"/>
                  </a:lnTo>
                  <a:lnTo>
                    <a:pt x="356244" y="95840"/>
                  </a:lnTo>
                  <a:lnTo>
                    <a:pt x="353960" y="93558"/>
                  </a:lnTo>
                  <a:lnTo>
                    <a:pt x="353960" y="91276"/>
                  </a:lnTo>
                  <a:lnTo>
                    <a:pt x="353960" y="88994"/>
                  </a:lnTo>
                  <a:lnTo>
                    <a:pt x="351677" y="86712"/>
                  </a:lnTo>
                  <a:lnTo>
                    <a:pt x="351677" y="84430"/>
                  </a:lnTo>
                  <a:lnTo>
                    <a:pt x="351677" y="82148"/>
                  </a:lnTo>
                  <a:lnTo>
                    <a:pt x="351677" y="79867"/>
                  </a:lnTo>
                  <a:lnTo>
                    <a:pt x="351677" y="77584"/>
                  </a:lnTo>
                  <a:lnTo>
                    <a:pt x="351677" y="75303"/>
                  </a:lnTo>
                  <a:lnTo>
                    <a:pt x="351677" y="73021"/>
                  </a:lnTo>
                  <a:lnTo>
                    <a:pt x="349393" y="70739"/>
                  </a:lnTo>
                  <a:lnTo>
                    <a:pt x="347110" y="68457"/>
                  </a:lnTo>
                  <a:lnTo>
                    <a:pt x="347110" y="66175"/>
                  </a:lnTo>
                  <a:lnTo>
                    <a:pt x="344826" y="63893"/>
                  </a:lnTo>
                  <a:lnTo>
                    <a:pt x="342542" y="61611"/>
                  </a:lnTo>
                  <a:lnTo>
                    <a:pt x="342542" y="59329"/>
                  </a:lnTo>
                  <a:lnTo>
                    <a:pt x="340259" y="57047"/>
                  </a:lnTo>
                  <a:lnTo>
                    <a:pt x="337975" y="54766"/>
                  </a:lnTo>
                  <a:lnTo>
                    <a:pt x="337975" y="52484"/>
                  </a:lnTo>
                  <a:lnTo>
                    <a:pt x="333408" y="52484"/>
                  </a:lnTo>
                  <a:lnTo>
                    <a:pt x="331124" y="52484"/>
                  </a:lnTo>
                  <a:lnTo>
                    <a:pt x="328841" y="52484"/>
                  </a:lnTo>
                  <a:lnTo>
                    <a:pt x="326557" y="52484"/>
                  </a:lnTo>
                  <a:lnTo>
                    <a:pt x="324274" y="52484"/>
                  </a:lnTo>
                  <a:lnTo>
                    <a:pt x="319706" y="52484"/>
                  </a:lnTo>
                  <a:lnTo>
                    <a:pt x="315139" y="52484"/>
                  </a:lnTo>
                  <a:lnTo>
                    <a:pt x="310572" y="52484"/>
                  </a:lnTo>
                  <a:lnTo>
                    <a:pt x="308288" y="52484"/>
                  </a:lnTo>
                  <a:lnTo>
                    <a:pt x="303721" y="50202"/>
                  </a:lnTo>
                  <a:lnTo>
                    <a:pt x="299154" y="50202"/>
                  </a:lnTo>
                  <a:lnTo>
                    <a:pt x="296870" y="47920"/>
                  </a:lnTo>
                  <a:lnTo>
                    <a:pt x="296870" y="45638"/>
                  </a:lnTo>
                  <a:lnTo>
                    <a:pt x="294587" y="45638"/>
                  </a:lnTo>
                  <a:lnTo>
                    <a:pt x="294587" y="43356"/>
                  </a:lnTo>
                  <a:lnTo>
                    <a:pt x="292303" y="41074"/>
                  </a:lnTo>
                  <a:lnTo>
                    <a:pt x="292303" y="38792"/>
                  </a:lnTo>
                  <a:lnTo>
                    <a:pt x="290019" y="36511"/>
                  </a:lnTo>
                  <a:lnTo>
                    <a:pt x="287736" y="34228"/>
                  </a:lnTo>
                  <a:lnTo>
                    <a:pt x="287736" y="31947"/>
                  </a:lnTo>
                  <a:lnTo>
                    <a:pt x="285452" y="29665"/>
                  </a:lnTo>
                  <a:lnTo>
                    <a:pt x="285452" y="27383"/>
                  </a:lnTo>
                  <a:lnTo>
                    <a:pt x="283169" y="27383"/>
                  </a:lnTo>
                  <a:lnTo>
                    <a:pt x="283169" y="25101"/>
                  </a:lnTo>
                  <a:lnTo>
                    <a:pt x="280885" y="22819"/>
                  </a:lnTo>
                  <a:lnTo>
                    <a:pt x="280885" y="20537"/>
                  </a:lnTo>
                  <a:lnTo>
                    <a:pt x="276317" y="18255"/>
                  </a:lnTo>
                  <a:lnTo>
                    <a:pt x="276317" y="15973"/>
                  </a:lnTo>
                  <a:lnTo>
                    <a:pt x="269467" y="6846"/>
                  </a:lnTo>
                  <a:lnTo>
                    <a:pt x="269467" y="4564"/>
                  </a:lnTo>
                  <a:lnTo>
                    <a:pt x="267183" y="4564"/>
                  </a:lnTo>
                  <a:lnTo>
                    <a:pt x="267183" y="2282"/>
                  </a:lnTo>
                  <a:lnTo>
                    <a:pt x="264899" y="0"/>
                  </a:lnTo>
                  <a:lnTo>
                    <a:pt x="264899" y="2282"/>
                  </a:lnTo>
                  <a:lnTo>
                    <a:pt x="262615" y="2282"/>
                  </a:lnTo>
                  <a:lnTo>
                    <a:pt x="260332" y="2282"/>
                  </a:lnTo>
                  <a:lnTo>
                    <a:pt x="258049" y="2282"/>
                  </a:lnTo>
                  <a:lnTo>
                    <a:pt x="258049" y="4564"/>
                  </a:lnTo>
                  <a:lnTo>
                    <a:pt x="255765" y="4564"/>
                  </a:lnTo>
                  <a:lnTo>
                    <a:pt x="251198" y="4564"/>
                  </a:lnTo>
                  <a:lnTo>
                    <a:pt x="251198" y="6846"/>
                  </a:lnTo>
                  <a:lnTo>
                    <a:pt x="248914" y="6846"/>
                  </a:lnTo>
                  <a:lnTo>
                    <a:pt x="246630" y="6846"/>
                  </a:lnTo>
                  <a:lnTo>
                    <a:pt x="244347" y="6846"/>
                  </a:lnTo>
                  <a:lnTo>
                    <a:pt x="244347" y="9128"/>
                  </a:lnTo>
                  <a:lnTo>
                    <a:pt x="242063" y="9128"/>
                  </a:lnTo>
                  <a:lnTo>
                    <a:pt x="242063" y="11410"/>
                  </a:lnTo>
                  <a:lnTo>
                    <a:pt x="242063" y="13691"/>
                  </a:lnTo>
                  <a:lnTo>
                    <a:pt x="239780" y="15973"/>
                  </a:lnTo>
                  <a:lnTo>
                    <a:pt x="239780" y="18255"/>
                  </a:lnTo>
                  <a:lnTo>
                    <a:pt x="239780" y="20537"/>
                  </a:lnTo>
                  <a:lnTo>
                    <a:pt x="239780" y="22819"/>
                  </a:lnTo>
                  <a:lnTo>
                    <a:pt x="239780" y="25101"/>
                  </a:lnTo>
                  <a:lnTo>
                    <a:pt x="239780" y="27383"/>
                  </a:lnTo>
                  <a:lnTo>
                    <a:pt x="239780" y="29665"/>
                  </a:lnTo>
                  <a:lnTo>
                    <a:pt x="239780" y="31947"/>
                  </a:lnTo>
                  <a:lnTo>
                    <a:pt x="237496" y="34228"/>
                  </a:lnTo>
                  <a:lnTo>
                    <a:pt x="237496" y="36511"/>
                  </a:lnTo>
                  <a:lnTo>
                    <a:pt x="237496" y="38792"/>
                  </a:lnTo>
                  <a:lnTo>
                    <a:pt x="237496" y="41074"/>
                  </a:lnTo>
                  <a:lnTo>
                    <a:pt x="239780" y="45638"/>
                  </a:lnTo>
                  <a:lnTo>
                    <a:pt x="242063" y="50202"/>
                  </a:lnTo>
                  <a:lnTo>
                    <a:pt x="242063" y="52484"/>
                  </a:lnTo>
                  <a:lnTo>
                    <a:pt x="244347" y="54766"/>
                  </a:lnTo>
                  <a:lnTo>
                    <a:pt x="246630" y="59329"/>
                  </a:lnTo>
                  <a:lnTo>
                    <a:pt x="246630" y="61611"/>
                  </a:lnTo>
                  <a:lnTo>
                    <a:pt x="248914" y="66175"/>
                  </a:lnTo>
                  <a:lnTo>
                    <a:pt x="251198" y="70739"/>
                  </a:lnTo>
                  <a:lnTo>
                    <a:pt x="248914" y="68457"/>
                  </a:lnTo>
                  <a:lnTo>
                    <a:pt x="246630" y="66175"/>
                  </a:lnTo>
                  <a:lnTo>
                    <a:pt x="244347" y="63893"/>
                  </a:lnTo>
                  <a:lnTo>
                    <a:pt x="223794" y="38792"/>
                  </a:lnTo>
                  <a:lnTo>
                    <a:pt x="219227" y="36511"/>
                  </a:lnTo>
                  <a:lnTo>
                    <a:pt x="219227" y="34228"/>
                  </a:lnTo>
                  <a:lnTo>
                    <a:pt x="216944" y="34228"/>
                  </a:lnTo>
                  <a:lnTo>
                    <a:pt x="214660" y="31947"/>
                  </a:lnTo>
                  <a:lnTo>
                    <a:pt x="212376" y="29665"/>
                  </a:lnTo>
                  <a:lnTo>
                    <a:pt x="212376" y="27383"/>
                  </a:lnTo>
                  <a:lnTo>
                    <a:pt x="210093" y="27383"/>
                  </a:lnTo>
                  <a:lnTo>
                    <a:pt x="207809" y="25101"/>
                  </a:lnTo>
                  <a:lnTo>
                    <a:pt x="205526" y="22819"/>
                  </a:lnTo>
                  <a:lnTo>
                    <a:pt x="203242" y="22819"/>
                  </a:lnTo>
                  <a:lnTo>
                    <a:pt x="200958" y="20537"/>
                  </a:lnTo>
                  <a:lnTo>
                    <a:pt x="200958" y="22819"/>
                  </a:lnTo>
                  <a:lnTo>
                    <a:pt x="200958" y="25101"/>
                  </a:lnTo>
                  <a:lnTo>
                    <a:pt x="203242" y="27383"/>
                  </a:lnTo>
                  <a:lnTo>
                    <a:pt x="203242" y="29665"/>
                  </a:lnTo>
                  <a:lnTo>
                    <a:pt x="205526" y="29665"/>
                  </a:lnTo>
                  <a:lnTo>
                    <a:pt x="205526" y="31947"/>
                  </a:lnTo>
                  <a:lnTo>
                    <a:pt x="207809" y="34228"/>
                  </a:lnTo>
                  <a:lnTo>
                    <a:pt x="207809" y="36511"/>
                  </a:lnTo>
                  <a:lnTo>
                    <a:pt x="207809" y="38792"/>
                  </a:lnTo>
                  <a:lnTo>
                    <a:pt x="210093" y="41074"/>
                  </a:lnTo>
                  <a:lnTo>
                    <a:pt x="212376" y="43356"/>
                  </a:lnTo>
                  <a:lnTo>
                    <a:pt x="212376" y="45638"/>
                  </a:lnTo>
                  <a:lnTo>
                    <a:pt x="212376" y="47920"/>
                  </a:lnTo>
                  <a:lnTo>
                    <a:pt x="210093" y="50202"/>
                  </a:lnTo>
                  <a:lnTo>
                    <a:pt x="207809" y="52484"/>
                  </a:lnTo>
                  <a:lnTo>
                    <a:pt x="207809" y="54766"/>
                  </a:lnTo>
                  <a:lnTo>
                    <a:pt x="207809" y="57047"/>
                  </a:lnTo>
                  <a:lnTo>
                    <a:pt x="205526" y="61611"/>
                  </a:lnTo>
                  <a:lnTo>
                    <a:pt x="203242" y="63893"/>
                  </a:lnTo>
                  <a:lnTo>
                    <a:pt x="203242" y="66175"/>
                  </a:lnTo>
                  <a:lnTo>
                    <a:pt x="200958" y="68457"/>
                  </a:lnTo>
                  <a:lnTo>
                    <a:pt x="198675" y="73021"/>
                  </a:lnTo>
                  <a:lnTo>
                    <a:pt x="200958" y="100404"/>
                  </a:lnTo>
                  <a:lnTo>
                    <a:pt x="200958" y="104967"/>
                  </a:lnTo>
                  <a:lnTo>
                    <a:pt x="198675" y="107249"/>
                  </a:lnTo>
                  <a:lnTo>
                    <a:pt x="196390" y="111813"/>
                  </a:lnTo>
                  <a:lnTo>
                    <a:pt x="194108" y="114095"/>
                  </a:lnTo>
                  <a:lnTo>
                    <a:pt x="194108" y="118659"/>
                  </a:lnTo>
                  <a:lnTo>
                    <a:pt x="191824" y="120940"/>
                  </a:lnTo>
                  <a:lnTo>
                    <a:pt x="189540" y="123223"/>
                  </a:lnTo>
                  <a:lnTo>
                    <a:pt x="184972" y="136914"/>
                  </a:lnTo>
                  <a:lnTo>
                    <a:pt x="182690" y="136914"/>
                  </a:lnTo>
                  <a:lnTo>
                    <a:pt x="182690" y="139196"/>
                  </a:lnTo>
                  <a:lnTo>
                    <a:pt x="182690" y="141478"/>
                  </a:lnTo>
                  <a:lnTo>
                    <a:pt x="180406" y="141478"/>
                  </a:lnTo>
                  <a:lnTo>
                    <a:pt x="180406" y="146032"/>
                  </a:lnTo>
                  <a:lnTo>
                    <a:pt x="178122" y="148314"/>
                  </a:lnTo>
                  <a:lnTo>
                    <a:pt x="178122" y="150596"/>
                  </a:lnTo>
                  <a:lnTo>
                    <a:pt x="175839" y="152878"/>
                  </a:lnTo>
                  <a:lnTo>
                    <a:pt x="175839" y="155159"/>
                  </a:lnTo>
                  <a:lnTo>
                    <a:pt x="173554" y="157442"/>
                  </a:lnTo>
                  <a:lnTo>
                    <a:pt x="173554" y="162005"/>
                  </a:lnTo>
                  <a:lnTo>
                    <a:pt x="171271" y="162005"/>
                  </a:lnTo>
                  <a:lnTo>
                    <a:pt x="171271" y="164287"/>
                  </a:lnTo>
                  <a:lnTo>
                    <a:pt x="171271" y="166569"/>
                  </a:lnTo>
                  <a:lnTo>
                    <a:pt x="168987" y="166569"/>
                  </a:lnTo>
                  <a:lnTo>
                    <a:pt x="168987" y="168851"/>
                  </a:lnTo>
                  <a:lnTo>
                    <a:pt x="168987" y="171133"/>
                  </a:lnTo>
                  <a:lnTo>
                    <a:pt x="166704" y="171133"/>
                  </a:lnTo>
                  <a:lnTo>
                    <a:pt x="164421" y="173415"/>
                  </a:lnTo>
                  <a:lnTo>
                    <a:pt x="159853" y="173415"/>
                  </a:lnTo>
                  <a:lnTo>
                    <a:pt x="157569" y="171133"/>
                  </a:lnTo>
                  <a:lnTo>
                    <a:pt x="155286" y="171133"/>
                  </a:lnTo>
                  <a:lnTo>
                    <a:pt x="153003" y="168851"/>
                  </a:lnTo>
                  <a:lnTo>
                    <a:pt x="150719" y="168851"/>
                  </a:lnTo>
                  <a:lnTo>
                    <a:pt x="148435" y="168851"/>
                  </a:lnTo>
                  <a:lnTo>
                    <a:pt x="146151" y="168851"/>
                  </a:lnTo>
                  <a:lnTo>
                    <a:pt x="143868" y="171133"/>
                  </a:lnTo>
                  <a:lnTo>
                    <a:pt x="146151" y="171133"/>
                  </a:lnTo>
                  <a:lnTo>
                    <a:pt x="146151" y="173415"/>
                  </a:lnTo>
                  <a:lnTo>
                    <a:pt x="146151" y="175697"/>
                  </a:lnTo>
                  <a:lnTo>
                    <a:pt x="148435" y="175697"/>
                  </a:lnTo>
                  <a:lnTo>
                    <a:pt x="146151" y="177979"/>
                  </a:lnTo>
                  <a:lnTo>
                    <a:pt x="143868" y="177979"/>
                  </a:lnTo>
                  <a:lnTo>
                    <a:pt x="141584" y="177979"/>
                  </a:lnTo>
                  <a:lnTo>
                    <a:pt x="141584" y="180260"/>
                  </a:lnTo>
                  <a:lnTo>
                    <a:pt x="139300" y="180260"/>
                  </a:lnTo>
                  <a:lnTo>
                    <a:pt x="139300" y="182542"/>
                  </a:lnTo>
                  <a:lnTo>
                    <a:pt x="137017" y="182542"/>
                  </a:lnTo>
                  <a:lnTo>
                    <a:pt x="137017" y="184824"/>
                  </a:lnTo>
                  <a:lnTo>
                    <a:pt x="134733" y="184824"/>
                  </a:lnTo>
                  <a:lnTo>
                    <a:pt x="125599" y="177979"/>
                  </a:lnTo>
                  <a:lnTo>
                    <a:pt x="116464" y="171133"/>
                  </a:lnTo>
                  <a:lnTo>
                    <a:pt x="107330" y="164287"/>
                  </a:lnTo>
                  <a:lnTo>
                    <a:pt x="105046" y="162005"/>
                  </a:lnTo>
                  <a:lnTo>
                    <a:pt x="102763" y="162005"/>
                  </a:lnTo>
                  <a:lnTo>
                    <a:pt x="93628" y="157442"/>
                  </a:lnTo>
                  <a:lnTo>
                    <a:pt x="91344" y="159723"/>
                  </a:lnTo>
                  <a:lnTo>
                    <a:pt x="86778" y="162005"/>
                  </a:lnTo>
                  <a:lnTo>
                    <a:pt x="84494" y="162005"/>
                  </a:lnTo>
                  <a:lnTo>
                    <a:pt x="82210" y="162005"/>
                  </a:lnTo>
                  <a:lnTo>
                    <a:pt x="82210" y="164287"/>
                  </a:lnTo>
                  <a:lnTo>
                    <a:pt x="79927" y="164287"/>
                  </a:lnTo>
                  <a:lnTo>
                    <a:pt x="77643" y="164287"/>
                  </a:lnTo>
                  <a:lnTo>
                    <a:pt x="75360" y="166569"/>
                  </a:lnTo>
                  <a:lnTo>
                    <a:pt x="75360" y="168851"/>
                  </a:lnTo>
                  <a:lnTo>
                    <a:pt x="75360" y="171133"/>
                  </a:lnTo>
                  <a:lnTo>
                    <a:pt x="73076" y="175697"/>
                  </a:lnTo>
                  <a:lnTo>
                    <a:pt x="73076" y="177979"/>
                  </a:lnTo>
                  <a:lnTo>
                    <a:pt x="73076" y="180260"/>
                  </a:lnTo>
                  <a:lnTo>
                    <a:pt x="73076" y="184824"/>
                  </a:lnTo>
                  <a:lnTo>
                    <a:pt x="73076" y="193952"/>
                  </a:lnTo>
                  <a:lnTo>
                    <a:pt x="75360" y="198516"/>
                  </a:lnTo>
                  <a:lnTo>
                    <a:pt x="75360" y="203079"/>
                  </a:lnTo>
                  <a:lnTo>
                    <a:pt x="75360" y="207643"/>
                  </a:lnTo>
                  <a:lnTo>
                    <a:pt x="75360" y="212207"/>
                  </a:lnTo>
                  <a:lnTo>
                    <a:pt x="75360" y="214489"/>
                  </a:lnTo>
                  <a:lnTo>
                    <a:pt x="75360" y="216771"/>
                  </a:lnTo>
                  <a:lnTo>
                    <a:pt x="75360" y="219053"/>
                  </a:lnTo>
                  <a:lnTo>
                    <a:pt x="70792" y="216771"/>
                  </a:lnTo>
                  <a:lnTo>
                    <a:pt x="68509" y="216771"/>
                  </a:lnTo>
                  <a:lnTo>
                    <a:pt x="66225" y="216771"/>
                  </a:lnTo>
                  <a:lnTo>
                    <a:pt x="63941" y="219053"/>
                  </a:lnTo>
                  <a:lnTo>
                    <a:pt x="59374" y="219053"/>
                  </a:lnTo>
                  <a:lnTo>
                    <a:pt x="54807" y="219053"/>
                  </a:lnTo>
                  <a:lnTo>
                    <a:pt x="50239" y="221335"/>
                  </a:lnTo>
                  <a:lnTo>
                    <a:pt x="47957" y="223616"/>
                  </a:lnTo>
                  <a:lnTo>
                    <a:pt x="43389" y="223616"/>
                  </a:lnTo>
                  <a:lnTo>
                    <a:pt x="41105" y="223616"/>
                  </a:lnTo>
                  <a:lnTo>
                    <a:pt x="38821" y="223616"/>
                  </a:lnTo>
                  <a:lnTo>
                    <a:pt x="36538" y="223616"/>
                  </a:lnTo>
                  <a:lnTo>
                    <a:pt x="34255" y="223616"/>
                  </a:lnTo>
                  <a:lnTo>
                    <a:pt x="34255" y="225898"/>
                  </a:lnTo>
                  <a:lnTo>
                    <a:pt x="34255" y="228180"/>
                  </a:lnTo>
                  <a:lnTo>
                    <a:pt x="34255" y="230462"/>
                  </a:lnTo>
                  <a:lnTo>
                    <a:pt x="34255" y="235026"/>
                  </a:lnTo>
                  <a:lnTo>
                    <a:pt x="36538" y="235026"/>
                  </a:lnTo>
                  <a:lnTo>
                    <a:pt x="36538" y="237308"/>
                  </a:lnTo>
                  <a:lnTo>
                    <a:pt x="38821" y="239590"/>
                  </a:lnTo>
                  <a:lnTo>
                    <a:pt x="41105" y="241872"/>
                  </a:lnTo>
                  <a:lnTo>
                    <a:pt x="43389" y="244154"/>
                  </a:lnTo>
                  <a:lnTo>
                    <a:pt x="45673" y="246435"/>
                  </a:lnTo>
                  <a:lnTo>
                    <a:pt x="47957" y="248717"/>
                  </a:lnTo>
                  <a:lnTo>
                    <a:pt x="47957" y="250999"/>
                  </a:lnTo>
                  <a:lnTo>
                    <a:pt x="50239" y="253281"/>
                  </a:lnTo>
                  <a:lnTo>
                    <a:pt x="52523" y="255563"/>
                  </a:lnTo>
                  <a:lnTo>
                    <a:pt x="54807" y="257845"/>
                  </a:lnTo>
                  <a:lnTo>
                    <a:pt x="54807" y="260127"/>
                  </a:lnTo>
                  <a:lnTo>
                    <a:pt x="52523" y="260127"/>
                  </a:lnTo>
                  <a:lnTo>
                    <a:pt x="50239" y="262409"/>
                  </a:lnTo>
                  <a:lnTo>
                    <a:pt x="47957" y="264691"/>
                  </a:lnTo>
                  <a:lnTo>
                    <a:pt x="45673" y="264691"/>
                  </a:lnTo>
                  <a:lnTo>
                    <a:pt x="45673" y="266972"/>
                  </a:lnTo>
                  <a:lnTo>
                    <a:pt x="43389" y="266972"/>
                  </a:lnTo>
                  <a:lnTo>
                    <a:pt x="43389" y="269254"/>
                  </a:lnTo>
                  <a:lnTo>
                    <a:pt x="43389" y="271536"/>
                  </a:lnTo>
                  <a:lnTo>
                    <a:pt x="41105" y="271536"/>
                  </a:lnTo>
                  <a:lnTo>
                    <a:pt x="38821" y="271536"/>
                  </a:lnTo>
                  <a:lnTo>
                    <a:pt x="36538" y="273818"/>
                  </a:lnTo>
                  <a:lnTo>
                    <a:pt x="36538" y="276100"/>
                  </a:lnTo>
                  <a:lnTo>
                    <a:pt x="34255" y="276100"/>
                  </a:lnTo>
                  <a:lnTo>
                    <a:pt x="31970" y="278382"/>
                  </a:lnTo>
                  <a:lnTo>
                    <a:pt x="29687" y="280664"/>
                  </a:lnTo>
                  <a:lnTo>
                    <a:pt x="29687" y="282946"/>
                  </a:lnTo>
                  <a:lnTo>
                    <a:pt x="27403" y="282946"/>
                  </a:lnTo>
                  <a:lnTo>
                    <a:pt x="27403" y="285228"/>
                  </a:lnTo>
                  <a:lnTo>
                    <a:pt x="25120" y="287510"/>
                  </a:lnTo>
                  <a:lnTo>
                    <a:pt x="22836" y="289791"/>
                  </a:lnTo>
                  <a:lnTo>
                    <a:pt x="20552" y="289791"/>
                  </a:lnTo>
                  <a:lnTo>
                    <a:pt x="18269" y="292073"/>
                  </a:lnTo>
                  <a:lnTo>
                    <a:pt x="15985" y="296637"/>
                  </a:lnTo>
                  <a:lnTo>
                    <a:pt x="18269" y="303473"/>
                  </a:lnTo>
                  <a:lnTo>
                    <a:pt x="20552" y="310319"/>
                  </a:lnTo>
                  <a:lnTo>
                    <a:pt x="22836" y="314883"/>
                  </a:lnTo>
                  <a:lnTo>
                    <a:pt x="25120" y="319447"/>
                  </a:lnTo>
                  <a:lnTo>
                    <a:pt x="25120" y="324010"/>
                  </a:lnTo>
                  <a:lnTo>
                    <a:pt x="27403" y="330856"/>
                  </a:lnTo>
                  <a:lnTo>
                    <a:pt x="22836" y="328574"/>
                  </a:lnTo>
                  <a:lnTo>
                    <a:pt x="18269" y="326292"/>
                  </a:lnTo>
                  <a:lnTo>
                    <a:pt x="15985" y="326292"/>
                  </a:lnTo>
                  <a:lnTo>
                    <a:pt x="13702" y="326292"/>
                  </a:lnTo>
                  <a:lnTo>
                    <a:pt x="9134" y="324010"/>
                  </a:lnTo>
                  <a:lnTo>
                    <a:pt x="6851" y="324010"/>
                  </a:lnTo>
                  <a:lnTo>
                    <a:pt x="2284" y="321728"/>
                  </a:lnTo>
                  <a:lnTo>
                    <a:pt x="0" y="321728"/>
                  </a:lnTo>
                  <a:lnTo>
                    <a:pt x="0" y="324010"/>
                  </a:lnTo>
                  <a:lnTo>
                    <a:pt x="2284" y="324010"/>
                  </a:lnTo>
                  <a:lnTo>
                    <a:pt x="2284" y="326292"/>
                  </a:lnTo>
                  <a:lnTo>
                    <a:pt x="4567" y="326292"/>
                  </a:lnTo>
                  <a:lnTo>
                    <a:pt x="4567" y="328574"/>
                  </a:lnTo>
                  <a:lnTo>
                    <a:pt x="4567" y="330856"/>
                  </a:lnTo>
                  <a:lnTo>
                    <a:pt x="6851" y="330856"/>
                  </a:lnTo>
                  <a:lnTo>
                    <a:pt x="9134" y="330856"/>
                  </a:lnTo>
                  <a:lnTo>
                    <a:pt x="9134" y="333138"/>
                  </a:lnTo>
                  <a:lnTo>
                    <a:pt x="11418" y="335420"/>
                  </a:lnTo>
                  <a:lnTo>
                    <a:pt x="11418" y="337702"/>
                  </a:lnTo>
                  <a:lnTo>
                    <a:pt x="13702" y="337702"/>
                  </a:lnTo>
                  <a:lnTo>
                    <a:pt x="13702" y="339984"/>
                  </a:lnTo>
                  <a:lnTo>
                    <a:pt x="15985" y="339984"/>
                  </a:lnTo>
                  <a:lnTo>
                    <a:pt x="15985" y="342266"/>
                  </a:lnTo>
                  <a:lnTo>
                    <a:pt x="18269" y="342266"/>
                  </a:lnTo>
                  <a:lnTo>
                    <a:pt x="18269" y="344547"/>
                  </a:lnTo>
                  <a:lnTo>
                    <a:pt x="20552" y="344547"/>
                  </a:lnTo>
                  <a:lnTo>
                    <a:pt x="20552" y="346829"/>
                  </a:lnTo>
                  <a:lnTo>
                    <a:pt x="22836" y="346829"/>
                  </a:lnTo>
                  <a:lnTo>
                    <a:pt x="22836" y="349111"/>
                  </a:lnTo>
                  <a:lnTo>
                    <a:pt x="25120" y="349111"/>
                  </a:lnTo>
                  <a:lnTo>
                    <a:pt x="25120" y="351393"/>
                  </a:lnTo>
                  <a:lnTo>
                    <a:pt x="27403" y="351393"/>
                  </a:lnTo>
                  <a:lnTo>
                    <a:pt x="29687" y="351393"/>
                  </a:lnTo>
                  <a:lnTo>
                    <a:pt x="29687" y="353675"/>
                  </a:lnTo>
                  <a:lnTo>
                    <a:pt x="31970" y="353675"/>
                  </a:lnTo>
                  <a:lnTo>
                    <a:pt x="31970" y="355957"/>
                  </a:lnTo>
                  <a:lnTo>
                    <a:pt x="34255" y="355957"/>
                  </a:lnTo>
                  <a:lnTo>
                    <a:pt x="34255" y="358239"/>
                  </a:lnTo>
                  <a:lnTo>
                    <a:pt x="36538" y="358239"/>
                  </a:lnTo>
                  <a:lnTo>
                    <a:pt x="36538" y="360521"/>
                  </a:lnTo>
                  <a:lnTo>
                    <a:pt x="38821" y="360521"/>
                  </a:lnTo>
                  <a:lnTo>
                    <a:pt x="41105" y="362803"/>
                  </a:lnTo>
                  <a:lnTo>
                    <a:pt x="41105" y="365084"/>
                  </a:lnTo>
                  <a:lnTo>
                    <a:pt x="43389" y="365084"/>
                  </a:lnTo>
                  <a:lnTo>
                    <a:pt x="43389" y="367366"/>
                  </a:lnTo>
                  <a:lnTo>
                    <a:pt x="45673" y="367366"/>
                  </a:lnTo>
                  <a:lnTo>
                    <a:pt x="45673" y="369648"/>
                  </a:lnTo>
                  <a:lnTo>
                    <a:pt x="45673" y="371930"/>
                  </a:lnTo>
                  <a:lnTo>
                    <a:pt x="47957" y="371930"/>
                  </a:lnTo>
                  <a:lnTo>
                    <a:pt x="47957" y="374212"/>
                  </a:lnTo>
                  <a:lnTo>
                    <a:pt x="47957" y="376494"/>
                  </a:lnTo>
                  <a:lnTo>
                    <a:pt x="47957" y="378776"/>
                  </a:lnTo>
                  <a:lnTo>
                    <a:pt x="47957" y="381058"/>
                  </a:lnTo>
                  <a:lnTo>
                    <a:pt x="47957" y="383340"/>
                  </a:lnTo>
                  <a:lnTo>
                    <a:pt x="47957" y="385622"/>
                  </a:lnTo>
                  <a:lnTo>
                    <a:pt x="47957" y="387903"/>
                  </a:lnTo>
                  <a:lnTo>
                    <a:pt x="50239" y="387903"/>
                  </a:lnTo>
                  <a:lnTo>
                    <a:pt x="50239" y="390185"/>
                  </a:lnTo>
                  <a:lnTo>
                    <a:pt x="52523" y="390185"/>
                  </a:lnTo>
                  <a:lnTo>
                    <a:pt x="52523" y="392467"/>
                  </a:lnTo>
                  <a:lnTo>
                    <a:pt x="52523" y="394749"/>
                  </a:lnTo>
                  <a:lnTo>
                    <a:pt x="54807" y="394749"/>
                  </a:lnTo>
                  <a:lnTo>
                    <a:pt x="54807" y="397031"/>
                  </a:lnTo>
                  <a:lnTo>
                    <a:pt x="57091" y="397031"/>
                  </a:lnTo>
                  <a:lnTo>
                    <a:pt x="57091" y="399313"/>
                  </a:lnTo>
                  <a:lnTo>
                    <a:pt x="57091" y="401595"/>
                  </a:lnTo>
                  <a:lnTo>
                    <a:pt x="59374" y="401595"/>
                  </a:lnTo>
                  <a:lnTo>
                    <a:pt x="59374" y="403877"/>
                  </a:lnTo>
                  <a:lnTo>
                    <a:pt x="61658" y="403877"/>
                  </a:lnTo>
                  <a:lnTo>
                    <a:pt x="61658" y="406159"/>
                  </a:lnTo>
                  <a:lnTo>
                    <a:pt x="63941" y="406159"/>
                  </a:lnTo>
                  <a:lnTo>
                    <a:pt x="66225" y="406159"/>
                  </a:lnTo>
                  <a:lnTo>
                    <a:pt x="66225" y="408440"/>
                  </a:lnTo>
                  <a:lnTo>
                    <a:pt x="68509" y="408440"/>
                  </a:lnTo>
                  <a:lnTo>
                    <a:pt x="68509" y="410723"/>
                  </a:lnTo>
                  <a:lnTo>
                    <a:pt x="70792" y="410723"/>
                  </a:lnTo>
                  <a:lnTo>
                    <a:pt x="70792" y="413004"/>
                  </a:lnTo>
                  <a:lnTo>
                    <a:pt x="70792" y="415286"/>
                  </a:lnTo>
                  <a:lnTo>
                    <a:pt x="73076" y="415286"/>
                  </a:lnTo>
                  <a:lnTo>
                    <a:pt x="73076" y="417568"/>
                  </a:lnTo>
                  <a:lnTo>
                    <a:pt x="75360" y="417568"/>
                  </a:lnTo>
                  <a:lnTo>
                    <a:pt x="75360" y="419850"/>
                  </a:lnTo>
                  <a:lnTo>
                    <a:pt x="75360" y="422132"/>
                  </a:lnTo>
                  <a:lnTo>
                    <a:pt x="77643" y="422132"/>
                  </a:lnTo>
                  <a:lnTo>
                    <a:pt x="79927" y="424414"/>
                  </a:lnTo>
                  <a:lnTo>
                    <a:pt x="79927" y="426696"/>
                  </a:lnTo>
                  <a:lnTo>
                    <a:pt x="82210" y="426696"/>
                  </a:lnTo>
                  <a:lnTo>
                    <a:pt x="84494" y="426696"/>
                  </a:lnTo>
                  <a:lnTo>
                    <a:pt x="84494" y="428978"/>
                  </a:lnTo>
                  <a:lnTo>
                    <a:pt x="86778" y="428978"/>
                  </a:lnTo>
                  <a:lnTo>
                    <a:pt x="86778" y="431259"/>
                  </a:lnTo>
                  <a:lnTo>
                    <a:pt x="89061" y="431259"/>
                  </a:lnTo>
                  <a:lnTo>
                    <a:pt x="89061" y="433541"/>
                  </a:lnTo>
                  <a:lnTo>
                    <a:pt x="89061" y="435823"/>
                  </a:lnTo>
                  <a:lnTo>
                    <a:pt x="91344" y="435823"/>
                  </a:lnTo>
                  <a:lnTo>
                    <a:pt x="91344" y="438105"/>
                  </a:lnTo>
                  <a:lnTo>
                    <a:pt x="93628" y="438105"/>
                  </a:lnTo>
                  <a:lnTo>
                    <a:pt x="93628" y="440387"/>
                  </a:lnTo>
                  <a:lnTo>
                    <a:pt x="95912" y="440387"/>
                  </a:lnTo>
                  <a:lnTo>
                    <a:pt x="95912" y="442669"/>
                  </a:lnTo>
                  <a:lnTo>
                    <a:pt x="98196" y="442669"/>
                  </a:lnTo>
                  <a:lnTo>
                    <a:pt x="98196" y="444951"/>
                  </a:lnTo>
                  <a:lnTo>
                    <a:pt x="98196" y="447233"/>
                  </a:lnTo>
                  <a:lnTo>
                    <a:pt x="100479" y="447233"/>
                  </a:lnTo>
                  <a:lnTo>
                    <a:pt x="100479" y="449515"/>
                  </a:lnTo>
                  <a:lnTo>
                    <a:pt x="102763" y="449515"/>
                  </a:lnTo>
                  <a:lnTo>
                    <a:pt x="105046" y="449515"/>
                  </a:lnTo>
                  <a:lnTo>
                    <a:pt x="105046" y="451796"/>
                  </a:lnTo>
                  <a:lnTo>
                    <a:pt x="105046" y="454069"/>
                  </a:lnTo>
                  <a:lnTo>
                    <a:pt x="107330" y="454069"/>
                  </a:lnTo>
                  <a:lnTo>
                    <a:pt x="109614" y="454069"/>
                  </a:lnTo>
                  <a:lnTo>
                    <a:pt x="109614" y="456351"/>
                  </a:lnTo>
                  <a:lnTo>
                    <a:pt x="109614" y="458633"/>
                  </a:lnTo>
                  <a:lnTo>
                    <a:pt x="111897" y="458633"/>
                  </a:lnTo>
                  <a:lnTo>
                    <a:pt x="111897" y="460915"/>
                  </a:lnTo>
                  <a:lnTo>
                    <a:pt x="114181" y="460915"/>
                  </a:lnTo>
                  <a:lnTo>
                    <a:pt x="114181" y="463196"/>
                  </a:lnTo>
                  <a:lnTo>
                    <a:pt x="116464" y="463196"/>
                  </a:lnTo>
                  <a:lnTo>
                    <a:pt x="116464" y="465478"/>
                  </a:lnTo>
                  <a:lnTo>
                    <a:pt x="118748" y="465478"/>
                  </a:lnTo>
                  <a:lnTo>
                    <a:pt x="121032" y="465478"/>
                  </a:lnTo>
                  <a:lnTo>
                    <a:pt x="121032" y="467760"/>
                  </a:lnTo>
                  <a:lnTo>
                    <a:pt x="123315" y="467760"/>
                  </a:lnTo>
                  <a:lnTo>
                    <a:pt x="123315" y="470042"/>
                  </a:lnTo>
                  <a:lnTo>
                    <a:pt x="125599" y="470042"/>
                  </a:lnTo>
                  <a:lnTo>
                    <a:pt x="125599" y="472324"/>
                  </a:lnTo>
                  <a:lnTo>
                    <a:pt x="127882" y="472324"/>
                  </a:lnTo>
                  <a:lnTo>
                    <a:pt x="127882" y="474606"/>
                  </a:lnTo>
                  <a:lnTo>
                    <a:pt x="130166" y="474606"/>
                  </a:lnTo>
                  <a:lnTo>
                    <a:pt x="130166" y="476888"/>
                  </a:lnTo>
                  <a:lnTo>
                    <a:pt x="132450" y="476888"/>
                  </a:lnTo>
                  <a:lnTo>
                    <a:pt x="132450" y="479170"/>
                  </a:lnTo>
                  <a:lnTo>
                    <a:pt x="134733" y="479170"/>
                  </a:lnTo>
                  <a:lnTo>
                    <a:pt x="134733" y="481452"/>
                  </a:lnTo>
                  <a:lnTo>
                    <a:pt x="137017" y="481452"/>
                  </a:lnTo>
                  <a:lnTo>
                    <a:pt x="137017" y="483734"/>
                  </a:lnTo>
                  <a:lnTo>
                    <a:pt x="137017" y="486015"/>
                  </a:lnTo>
                  <a:lnTo>
                    <a:pt x="139300" y="486015"/>
                  </a:lnTo>
                  <a:lnTo>
                    <a:pt x="139300" y="488297"/>
                  </a:lnTo>
                  <a:lnTo>
                    <a:pt x="141584" y="488297"/>
                  </a:lnTo>
                  <a:lnTo>
                    <a:pt x="141584" y="490579"/>
                  </a:lnTo>
                  <a:lnTo>
                    <a:pt x="141584" y="492861"/>
                  </a:lnTo>
                  <a:lnTo>
                    <a:pt x="141584" y="495143"/>
                  </a:lnTo>
                  <a:lnTo>
                    <a:pt x="141584" y="497425"/>
                  </a:lnTo>
                  <a:lnTo>
                    <a:pt x="143868" y="497425"/>
                  </a:lnTo>
                  <a:lnTo>
                    <a:pt x="143868" y="499707"/>
                  </a:lnTo>
                  <a:lnTo>
                    <a:pt x="146151" y="499707"/>
                  </a:lnTo>
                  <a:lnTo>
                    <a:pt x="146151" y="501989"/>
                  </a:lnTo>
                  <a:lnTo>
                    <a:pt x="148435" y="501989"/>
                  </a:lnTo>
                  <a:lnTo>
                    <a:pt x="148435" y="504271"/>
                  </a:lnTo>
                  <a:lnTo>
                    <a:pt x="148435" y="506552"/>
                  </a:lnTo>
                  <a:lnTo>
                    <a:pt x="150719" y="506552"/>
                  </a:lnTo>
                  <a:lnTo>
                    <a:pt x="150719" y="508835"/>
                  </a:lnTo>
                  <a:lnTo>
                    <a:pt x="153003" y="508835"/>
                  </a:lnTo>
                  <a:lnTo>
                    <a:pt x="153003" y="511116"/>
                  </a:lnTo>
                  <a:lnTo>
                    <a:pt x="155286" y="511116"/>
                  </a:lnTo>
                  <a:lnTo>
                    <a:pt x="155286" y="513398"/>
                  </a:lnTo>
                  <a:lnTo>
                    <a:pt x="155286" y="515680"/>
                  </a:lnTo>
                  <a:lnTo>
                    <a:pt x="155286" y="517962"/>
                  </a:lnTo>
                  <a:lnTo>
                    <a:pt x="157569" y="517962"/>
                  </a:lnTo>
                  <a:lnTo>
                    <a:pt x="157569" y="520244"/>
                  </a:lnTo>
                  <a:lnTo>
                    <a:pt x="159853" y="520244"/>
                  </a:lnTo>
                  <a:lnTo>
                    <a:pt x="159853" y="522526"/>
                  </a:lnTo>
                  <a:lnTo>
                    <a:pt x="162137" y="522526"/>
                  </a:lnTo>
                  <a:lnTo>
                    <a:pt x="162137" y="524808"/>
                  </a:lnTo>
                  <a:lnTo>
                    <a:pt x="162137" y="527090"/>
                  </a:lnTo>
                  <a:lnTo>
                    <a:pt x="164421" y="527090"/>
                  </a:lnTo>
                  <a:lnTo>
                    <a:pt x="164421" y="529371"/>
                  </a:lnTo>
                  <a:lnTo>
                    <a:pt x="166704" y="529371"/>
                  </a:lnTo>
                  <a:lnTo>
                    <a:pt x="166704" y="531653"/>
                  </a:lnTo>
                  <a:lnTo>
                    <a:pt x="168987" y="531653"/>
                  </a:lnTo>
                  <a:lnTo>
                    <a:pt x="168987" y="533935"/>
                  </a:lnTo>
                  <a:lnTo>
                    <a:pt x="168987" y="536217"/>
                  </a:lnTo>
                  <a:lnTo>
                    <a:pt x="171271" y="536217"/>
                  </a:lnTo>
                  <a:lnTo>
                    <a:pt x="171271" y="538499"/>
                  </a:lnTo>
                  <a:lnTo>
                    <a:pt x="173554" y="538499"/>
                  </a:lnTo>
                  <a:lnTo>
                    <a:pt x="173554" y="540781"/>
                  </a:lnTo>
                  <a:lnTo>
                    <a:pt x="175839" y="540781"/>
                  </a:lnTo>
                  <a:lnTo>
                    <a:pt x="175839" y="543063"/>
                  </a:lnTo>
                  <a:lnTo>
                    <a:pt x="178122" y="543063"/>
                  </a:lnTo>
                  <a:lnTo>
                    <a:pt x="178122" y="545345"/>
                  </a:lnTo>
                  <a:lnTo>
                    <a:pt x="178122" y="547627"/>
                  </a:lnTo>
                  <a:lnTo>
                    <a:pt x="180406" y="547627"/>
                  </a:lnTo>
                  <a:lnTo>
                    <a:pt x="180406" y="549908"/>
                  </a:lnTo>
                  <a:lnTo>
                    <a:pt x="182690" y="549908"/>
                  </a:lnTo>
                  <a:lnTo>
                    <a:pt x="182690" y="552191"/>
                  </a:lnTo>
                  <a:lnTo>
                    <a:pt x="184972" y="552191"/>
                  </a:lnTo>
                  <a:lnTo>
                    <a:pt x="184972" y="554472"/>
                  </a:lnTo>
                  <a:lnTo>
                    <a:pt x="184972" y="556754"/>
                  </a:lnTo>
                  <a:lnTo>
                    <a:pt x="184972" y="559036"/>
                  </a:lnTo>
                  <a:lnTo>
                    <a:pt x="184972" y="561318"/>
                  </a:lnTo>
                  <a:lnTo>
                    <a:pt x="184972" y="563600"/>
                  </a:lnTo>
                  <a:lnTo>
                    <a:pt x="187257" y="563600"/>
                  </a:lnTo>
                  <a:lnTo>
                    <a:pt x="187257" y="565882"/>
                  </a:lnTo>
                  <a:lnTo>
                    <a:pt x="187257" y="568164"/>
                  </a:lnTo>
                  <a:lnTo>
                    <a:pt x="187257" y="570446"/>
                  </a:lnTo>
                  <a:lnTo>
                    <a:pt x="189540" y="570446"/>
                  </a:lnTo>
                  <a:lnTo>
                    <a:pt x="189540" y="572728"/>
                  </a:lnTo>
                  <a:lnTo>
                    <a:pt x="189540" y="575009"/>
                  </a:lnTo>
                  <a:lnTo>
                    <a:pt x="189540" y="577291"/>
                  </a:lnTo>
                  <a:lnTo>
                    <a:pt x="189540" y="579573"/>
                  </a:lnTo>
                  <a:lnTo>
                    <a:pt x="191824" y="579573"/>
                  </a:lnTo>
                  <a:lnTo>
                    <a:pt x="191824" y="581855"/>
                  </a:lnTo>
                  <a:lnTo>
                    <a:pt x="191824" y="584137"/>
                  </a:lnTo>
                  <a:lnTo>
                    <a:pt x="191824" y="586419"/>
                  </a:lnTo>
                  <a:lnTo>
                    <a:pt x="194108" y="586419"/>
                  </a:lnTo>
                  <a:lnTo>
                    <a:pt x="194108" y="588701"/>
                  </a:lnTo>
                  <a:lnTo>
                    <a:pt x="196390" y="590983"/>
                  </a:lnTo>
                  <a:lnTo>
                    <a:pt x="196390" y="593264"/>
                  </a:lnTo>
                  <a:lnTo>
                    <a:pt x="198675" y="593264"/>
                  </a:lnTo>
                  <a:lnTo>
                    <a:pt x="198675" y="595547"/>
                  </a:lnTo>
                  <a:lnTo>
                    <a:pt x="200958" y="595547"/>
                  </a:lnTo>
                  <a:lnTo>
                    <a:pt x="200958" y="597828"/>
                  </a:lnTo>
                  <a:lnTo>
                    <a:pt x="200958" y="600110"/>
                  </a:lnTo>
                  <a:lnTo>
                    <a:pt x="203242" y="600110"/>
                  </a:lnTo>
                  <a:lnTo>
                    <a:pt x="203242" y="602392"/>
                  </a:lnTo>
                  <a:lnTo>
                    <a:pt x="205526" y="602392"/>
                  </a:lnTo>
                  <a:lnTo>
                    <a:pt x="205526" y="604674"/>
                  </a:lnTo>
                  <a:lnTo>
                    <a:pt x="205526" y="606956"/>
                  </a:lnTo>
                  <a:lnTo>
                    <a:pt x="207809" y="606956"/>
                  </a:lnTo>
                  <a:lnTo>
                    <a:pt x="207809" y="609238"/>
                  </a:lnTo>
                  <a:lnTo>
                    <a:pt x="207809" y="611520"/>
                  </a:lnTo>
                  <a:lnTo>
                    <a:pt x="210093" y="611520"/>
                  </a:lnTo>
                  <a:lnTo>
                    <a:pt x="210093" y="613802"/>
                  </a:lnTo>
                  <a:lnTo>
                    <a:pt x="210093" y="616074"/>
                  </a:lnTo>
                  <a:lnTo>
                    <a:pt x="210093" y="618356"/>
                  </a:lnTo>
                  <a:lnTo>
                    <a:pt x="210093" y="620638"/>
                  </a:lnTo>
                  <a:lnTo>
                    <a:pt x="207809" y="620638"/>
                  </a:lnTo>
                  <a:lnTo>
                    <a:pt x="207809" y="622920"/>
                  </a:lnTo>
                  <a:lnTo>
                    <a:pt x="210093" y="622920"/>
                  </a:lnTo>
                  <a:lnTo>
                    <a:pt x="210093" y="625202"/>
                  </a:lnTo>
                  <a:lnTo>
                    <a:pt x="210093" y="627483"/>
                  </a:lnTo>
                  <a:lnTo>
                    <a:pt x="207809" y="627483"/>
                  </a:lnTo>
                  <a:lnTo>
                    <a:pt x="207809" y="629765"/>
                  </a:lnTo>
                  <a:lnTo>
                    <a:pt x="205526" y="629765"/>
                  </a:lnTo>
                  <a:lnTo>
                    <a:pt x="205526" y="632047"/>
                  </a:lnTo>
                  <a:lnTo>
                    <a:pt x="205526" y="634329"/>
                  </a:lnTo>
                  <a:lnTo>
                    <a:pt x="207809" y="634329"/>
                  </a:lnTo>
                  <a:lnTo>
                    <a:pt x="207809" y="636611"/>
                  </a:lnTo>
                  <a:lnTo>
                    <a:pt x="207809" y="638893"/>
                  </a:lnTo>
                  <a:lnTo>
                    <a:pt x="210093" y="638893"/>
                  </a:lnTo>
                  <a:lnTo>
                    <a:pt x="210093" y="641175"/>
                  </a:lnTo>
                  <a:lnTo>
                    <a:pt x="210093" y="643457"/>
                  </a:lnTo>
                  <a:lnTo>
                    <a:pt x="212376" y="643457"/>
                  </a:lnTo>
                  <a:lnTo>
                    <a:pt x="212376" y="645739"/>
                  </a:lnTo>
                  <a:lnTo>
                    <a:pt x="212376" y="648020"/>
                  </a:lnTo>
                  <a:lnTo>
                    <a:pt x="214660" y="648020"/>
                  </a:lnTo>
                  <a:lnTo>
                    <a:pt x="214660" y="650303"/>
                  </a:lnTo>
                  <a:lnTo>
                    <a:pt x="214660" y="652584"/>
                  </a:lnTo>
                  <a:lnTo>
                    <a:pt x="214660" y="654866"/>
                  </a:lnTo>
                  <a:lnTo>
                    <a:pt x="214660" y="657148"/>
                  </a:lnTo>
                  <a:lnTo>
                    <a:pt x="216944" y="657148"/>
                  </a:lnTo>
                  <a:lnTo>
                    <a:pt x="216944" y="659430"/>
                  </a:lnTo>
                  <a:lnTo>
                    <a:pt x="216944" y="661712"/>
                  </a:lnTo>
                  <a:lnTo>
                    <a:pt x="219227" y="661712"/>
                  </a:lnTo>
                  <a:lnTo>
                    <a:pt x="219227" y="663994"/>
                  </a:lnTo>
                  <a:lnTo>
                    <a:pt x="219227" y="666276"/>
                  </a:lnTo>
                  <a:lnTo>
                    <a:pt x="219227" y="668558"/>
                  </a:lnTo>
                  <a:lnTo>
                    <a:pt x="221511" y="668558"/>
                  </a:lnTo>
                  <a:lnTo>
                    <a:pt x="221511" y="670840"/>
                  </a:lnTo>
                  <a:lnTo>
                    <a:pt x="221511" y="673121"/>
                  </a:lnTo>
                  <a:lnTo>
                    <a:pt x="223794" y="673121"/>
                  </a:lnTo>
                  <a:lnTo>
                    <a:pt x="223794" y="675403"/>
                  </a:lnTo>
                  <a:lnTo>
                    <a:pt x="223794" y="677685"/>
                  </a:lnTo>
                  <a:lnTo>
                    <a:pt x="226078" y="677685"/>
                  </a:lnTo>
                  <a:lnTo>
                    <a:pt x="226078" y="679967"/>
                  </a:lnTo>
                  <a:lnTo>
                    <a:pt x="226078" y="682249"/>
                  </a:lnTo>
                  <a:lnTo>
                    <a:pt x="226078" y="684531"/>
                  </a:lnTo>
                  <a:lnTo>
                    <a:pt x="228362" y="684531"/>
                  </a:lnTo>
                  <a:lnTo>
                    <a:pt x="228362" y="686813"/>
                  </a:lnTo>
                  <a:lnTo>
                    <a:pt x="228362" y="689095"/>
                  </a:lnTo>
                  <a:lnTo>
                    <a:pt x="228362" y="691376"/>
                  </a:lnTo>
                  <a:lnTo>
                    <a:pt x="226078" y="691376"/>
                  </a:lnTo>
                  <a:lnTo>
                    <a:pt x="226078" y="693659"/>
                  </a:lnTo>
                  <a:lnTo>
                    <a:pt x="223794" y="693659"/>
                  </a:lnTo>
                  <a:lnTo>
                    <a:pt x="223794" y="695940"/>
                  </a:lnTo>
                  <a:lnTo>
                    <a:pt x="223794" y="698222"/>
                  </a:lnTo>
                  <a:lnTo>
                    <a:pt x="226078" y="698222"/>
                  </a:lnTo>
                  <a:lnTo>
                    <a:pt x="226078" y="700504"/>
                  </a:lnTo>
                  <a:lnTo>
                    <a:pt x="223794" y="700504"/>
                  </a:lnTo>
                  <a:lnTo>
                    <a:pt x="223794" y="702786"/>
                  </a:lnTo>
                  <a:lnTo>
                    <a:pt x="226078" y="705068"/>
                  </a:lnTo>
                  <a:lnTo>
                    <a:pt x="226078" y="707350"/>
                  </a:lnTo>
                  <a:lnTo>
                    <a:pt x="226078" y="709632"/>
                  </a:lnTo>
                  <a:lnTo>
                    <a:pt x="226078" y="711914"/>
                  </a:lnTo>
                  <a:lnTo>
                    <a:pt x="226078" y="714196"/>
                  </a:lnTo>
                  <a:lnTo>
                    <a:pt x="226078" y="716477"/>
                  </a:lnTo>
                  <a:lnTo>
                    <a:pt x="228362" y="716477"/>
                  </a:lnTo>
                  <a:lnTo>
                    <a:pt x="228362" y="718759"/>
                  </a:lnTo>
                  <a:lnTo>
                    <a:pt x="228362" y="721041"/>
                  </a:lnTo>
                  <a:lnTo>
                    <a:pt x="230645" y="721041"/>
                  </a:lnTo>
                  <a:lnTo>
                    <a:pt x="230645" y="723323"/>
                  </a:lnTo>
                  <a:lnTo>
                    <a:pt x="230645" y="725605"/>
                  </a:lnTo>
                  <a:lnTo>
                    <a:pt x="230645" y="727887"/>
                  </a:lnTo>
                  <a:lnTo>
                    <a:pt x="230645" y="730169"/>
                  </a:lnTo>
                  <a:lnTo>
                    <a:pt x="232929" y="730169"/>
                  </a:lnTo>
                  <a:lnTo>
                    <a:pt x="232929" y="732451"/>
                  </a:lnTo>
                  <a:lnTo>
                    <a:pt x="232929" y="734732"/>
                  </a:lnTo>
                  <a:lnTo>
                    <a:pt x="235212" y="734732"/>
                  </a:lnTo>
                  <a:lnTo>
                    <a:pt x="235212" y="737015"/>
                  </a:lnTo>
                  <a:lnTo>
                    <a:pt x="235212" y="739296"/>
                  </a:lnTo>
                  <a:lnTo>
                    <a:pt x="235212" y="741578"/>
                  </a:lnTo>
                  <a:lnTo>
                    <a:pt x="235212" y="743860"/>
                  </a:lnTo>
                  <a:lnTo>
                    <a:pt x="237496" y="743860"/>
                  </a:lnTo>
                  <a:lnTo>
                    <a:pt x="237496" y="746142"/>
                  </a:lnTo>
                  <a:lnTo>
                    <a:pt x="237496" y="748424"/>
                  </a:lnTo>
                  <a:lnTo>
                    <a:pt x="239780" y="748424"/>
                  </a:lnTo>
                  <a:lnTo>
                    <a:pt x="239780" y="750706"/>
                  </a:lnTo>
                  <a:lnTo>
                    <a:pt x="239780" y="752988"/>
                  </a:lnTo>
                  <a:lnTo>
                    <a:pt x="239780" y="755270"/>
                  </a:lnTo>
                  <a:lnTo>
                    <a:pt x="242063" y="755270"/>
                  </a:lnTo>
                  <a:lnTo>
                    <a:pt x="242063" y="757552"/>
                  </a:lnTo>
                  <a:lnTo>
                    <a:pt x="242063" y="759833"/>
                  </a:lnTo>
                  <a:lnTo>
                    <a:pt x="242063" y="762115"/>
                  </a:lnTo>
                  <a:lnTo>
                    <a:pt x="244347" y="762115"/>
                  </a:lnTo>
                  <a:lnTo>
                    <a:pt x="244347" y="764397"/>
                  </a:lnTo>
                  <a:lnTo>
                    <a:pt x="244347" y="766670"/>
                  </a:lnTo>
                  <a:lnTo>
                    <a:pt x="244347" y="768951"/>
                  </a:lnTo>
                  <a:lnTo>
                    <a:pt x="244347" y="771233"/>
                  </a:lnTo>
                  <a:lnTo>
                    <a:pt x="244347" y="773515"/>
                  </a:lnTo>
                  <a:lnTo>
                    <a:pt x="246630" y="773515"/>
                  </a:lnTo>
                  <a:lnTo>
                    <a:pt x="246630" y="775797"/>
                  </a:lnTo>
                  <a:lnTo>
                    <a:pt x="244347" y="778079"/>
                  </a:lnTo>
                  <a:lnTo>
                    <a:pt x="244347" y="780361"/>
                  </a:lnTo>
                  <a:lnTo>
                    <a:pt x="244347" y="782643"/>
                  </a:lnTo>
                  <a:lnTo>
                    <a:pt x="244347" y="784925"/>
                  </a:lnTo>
                  <a:lnTo>
                    <a:pt x="242063" y="784925"/>
                  </a:lnTo>
                  <a:lnTo>
                    <a:pt x="239780" y="784925"/>
                  </a:lnTo>
                  <a:lnTo>
                    <a:pt x="239780" y="787207"/>
                  </a:lnTo>
                  <a:lnTo>
                    <a:pt x="237496" y="787207"/>
                  </a:lnTo>
                  <a:lnTo>
                    <a:pt x="237496" y="789488"/>
                  </a:lnTo>
                  <a:lnTo>
                    <a:pt x="237496" y="791771"/>
                  </a:lnTo>
                  <a:lnTo>
                    <a:pt x="237496" y="794052"/>
                  </a:lnTo>
                  <a:lnTo>
                    <a:pt x="237496" y="796334"/>
                  </a:lnTo>
                  <a:lnTo>
                    <a:pt x="237496" y="798616"/>
                  </a:lnTo>
                  <a:lnTo>
                    <a:pt x="239780" y="798616"/>
                  </a:lnTo>
                  <a:lnTo>
                    <a:pt x="239780" y="800898"/>
                  </a:lnTo>
                  <a:lnTo>
                    <a:pt x="239780" y="803180"/>
                  </a:lnTo>
                  <a:lnTo>
                    <a:pt x="239780" y="805462"/>
                  </a:lnTo>
                  <a:lnTo>
                    <a:pt x="242063" y="805462"/>
                  </a:lnTo>
                  <a:lnTo>
                    <a:pt x="242063" y="807744"/>
                  </a:lnTo>
                  <a:lnTo>
                    <a:pt x="242063" y="810026"/>
                  </a:lnTo>
                  <a:lnTo>
                    <a:pt x="242063" y="812308"/>
                  </a:lnTo>
                  <a:lnTo>
                    <a:pt x="242063" y="814589"/>
                  </a:lnTo>
                  <a:lnTo>
                    <a:pt x="244347" y="814589"/>
                  </a:lnTo>
                  <a:lnTo>
                    <a:pt x="244347" y="816871"/>
                  </a:lnTo>
                  <a:lnTo>
                    <a:pt x="244347" y="819153"/>
                  </a:lnTo>
                  <a:lnTo>
                    <a:pt x="244347" y="821435"/>
                  </a:lnTo>
                  <a:lnTo>
                    <a:pt x="244347" y="823717"/>
                  </a:lnTo>
                  <a:lnTo>
                    <a:pt x="244347" y="825999"/>
                  </a:lnTo>
                  <a:lnTo>
                    <a:pt x="246630" y="825999"/>
                  </a:lnTo>
                  <a:lnTo>
                    <a:pt x="246630" y="828281"/>
                  </a:lnTo>
                  <a:lnTo>
                    <a:pt x="246630" y="830563"/>
                  </a:lnTo>
                  <a:lnTo>
                    <a:pt x="246630" y="832844"/>
                  </a:lnTo>
                  <a:lnTo>
                    <a:pt x="246630" y="835127"/>
                  </a:lnTo>
                  <a:lnTo>
                    <a:pt x="246630" y="837408"/>
                  </a:lnTo>
                  <a:lnTo>
                    <a:pt x="246630" y="839690"/>
                  </a:lnTo>
                  <a:lnTo>
                    <a:pt x="246630" y="841972"/>
                  </a:lnTo>
                  <a:lnTo>
                    <a:pt x="248914" y="841972"/>
                  </a:lnTo>
                  <a:lnTo>
                    <a:pt x="248914" y="844254"/>
                  </a:lnTo>
                  <a:lnTo>
                    <a:pt x="248914" y="846536"/>
                  </a:lnTo>
                  <a:lnTo>
                    <a:pt x="248914" y="848818"/>
                  </a:lnTo>
                  <a:lnTo>
                    <a:pt x="248914" y="851100"/>
                  </a:lnTo>
                  <a:lnTo>
                    <a:pt x="248914" y="853382"/>
                  </a:lnTo>
                  <a:lnTo>
                    <a:pt x="248914" y="855664"/>
                  </a:lnTo>
                  <a:lnTo>
                    <a:pt x="248914" y="857945"/>
                  </a:lnTo>
                  <a:lnTo>
                    <a:pt x="248914" y="860227"/>
                  </a:lnTo>
                  <a:lnTo>
                    <a:pt x="248914" y="862509"/>
                  </a:lnTo>
                  <a:lnTo>
                    <a:pt x="248914" y="864791"/>
                  </a:lnTo>
                  <a:lnTo>
                    <a:pt x="248914" y="867073"/>
                  </a:lnTo>
                  <a:lnTo>
                    <a:pt x="246630" y="867073"/>
                  </a:lnTo>
                  <a:lnTo>
                    <a:pt x="246630" y="869355"/>
                  </a:lnTo>
                  <a:lnTo>
                    <a:pt x="246630" y="871637"/>
                  </a:lnTo>
                  <a:lnTo>
                    <a:pt x="246630" y="873919"/>
                  </a:lnTo>
                  <a:lnTo>
                    <a:pt x="246630" y="876201"/>
                  </a:lnTo>
                  <a:lnTo>
                    <a:pt x="246630" y="878483"/>
                  </a:lnTo>
                  <a:lnTo>
                    <a:pt x="246630" y="880764"/>
                  </a:lnTo>
                  <a:lnTo>
                    <a:pt x="246630" y="883046"/>
                  </a:lnTo>
                  <a:lnTo>
                    <a:pt x="244347" y="883046"/>
                  </a:lnTo>
                  <a:lnTo>
                    <a:pt x="244347" y="885328"/>
                  </a:lnTo>
                  <a:lnTo>
                    <a:pt x="244347" y="887610"/>
                  </a:lnTo>
                  <a:lnTo>
                    <a:pt x="244347" y="889892"/>
                  </a:lnTo>
                  <a:lnTo>
                    <a:pt x="244347" y="892174"/>
                  </a:lnTo>
                  <a:lnTo>
                    <a:pt x="242063" y="892174"/>
                  </a:lnTo>
                  <a:lnTo>
                    <a:pt x="242063" y="894456"/>
                  </a:lnTo>
                  <a:lnTo>
                    <a:pt x="242063" y="896738"/>
                  </a:lnTo>
                  <a:lnTo>
                    <a:pt x="242063" y="899020"/>
                  </a:lnTo>
                  <a:lnTo>
                    <a:pt x="239780" y="901301"/>
                  </a:lnTo>
                  <a:lnTo>
                    <a:pt x="239780" y="903583"/>
                  </a:lnTo>
                  <a:lnTo>
                    <a:pt x="239780" y="905865"/>
                  </a:lnTo>
                  <a:lnTo>
                    <a:pt x="239780" y="908147"/>
                  </a:lnTo>
                  <a:lnTo>
                    <a:pt x="237496" y="908147"/>
                  </a:lnTo>
                  <a:lnTo>
                    <a:pt x="237496" y="910429"/>
                  </a:lnTo>
                  <a:lnTo>
                    <a:pt x="237496" y="912711"/>
                  </a:lnTo>
                  <a:lnTo>
                    <a:pt x="235212" y="912711"/>
                  </a:lnTo>
                  <a:lnTo>
                    <a:pt x="235212" y="914993"/>
                  </a:lnTo>
                  <a:lnTo>
                    <a:pt x="235212" y="917275"/>
                  </a:lnTo>
                  <a:lnTo>
                    <a:pt x="235212" y="919557"/>
                  </a:lnTo>
                  <a:lnTo>
                    <a:pt x="232929" y="919557"/>
                  </a:lnTo>
                  <a:lnTo>
                    <a:pt x="232929" y="921839"/>
                  </a:lnTo>
                  <a:lnTo>
                    <a:pt x="232929" y="924111"/>
                  </a:lnTo>
                  <a:lnTo>
                    <a:pt x="230645" y="924111"/>
                  </a:lnTo>
                  <a:lnTo>
                    <a:pt x="230645" y="926393"/>
                  </a:lnTo>
                  <a:lnTo>
                    <a:pt x="230645" y="928675"/>
                  </a:lnTo>
                  <a:lnTo>
                    <a:pt x="228362" y="928675"/>
                  </a:lnTo>
                  <a:lnTo>
                    <a:pt x="228362" y="930957"/>
                  </a:lnTo>
                  <a:lnTo>
                    <a:pt x="228362" y="933239"/>
                  </a:lnTo>
                  <a:lnTo>
                    <a:pt x="226078" y="933239"/>
                  </a:lnTo>
                  <a:lnTo>
                    <a:pt x="226078" y="935520"/>
                  </a:lnTo>
                  <a:lnTo>
                    <a:pt x="226078" y="937802"/>
                  </a:lnTo>
                  <a:lnTo>
                    <a:pt x="223794" y="937802"/>
                  </a:lnTo>
                  <a:lnTo>
                    <a:pt x="223794" y="940084"/>
                  </a:lnTo>
                  <a:lnTo>
                    <a:pt x="221511" y="940084"/>
                  </a:lnTo>
                  <a:lnTo>
                    <a:pt x="221511" y="942366"/>
                  </a:lnTo>
                  <a:lnTo>
                    <a:pt x="219227" y="942366"/>
                  </a:lnTo>
                  <a:lnTo>
                    <a:pt x="219227" y="944648"/>
                  </a:lnTo>
                  <a:lnTo>
                    <a:pt x="219227" y="946930"/>
                  </a:lnTo>
                  <a:lnTo>
                    <a:pt x="216944" y="946930"/>
                  </a:lnTo>
                  <a:lnTo>
                    <a:pt x="214660" y="946930"/>
                  </a:lnTo>
                  <a:lnTo>
                    <a:pt x="214660" y="949212"/>
                  </a:lnTo>
                  <a:lnTo>
                    <a:pt x="212376" y="949212"/>
                  </a:lnTo>
                  <a:lnTo>
                    <a:pt x="212376" y="951494"/>
                  </a:lnTo>
                  <a:lnTo>
                    <a:pt x="210093" y="951494"/>
                  </a:lnTo>
                  <a:lnTo>
                    <a:pt x="210093" y="953776"/>
                  </a:lnTo>
                  <a:lnTo>
                    <a:pt x="207809" y="953776"/>
                  </a:lnTo>
                  <a:lnTo>
                    <a:pt x="207809" y="956058"/>
                  </a:lnTo>
                  <a:lnTo>
                    <a:pt x="207809" y="958339"/>
                  </a:lnTo>
                  <a:lnTo>
                    <a:pt x="205526" y="958339"/>
                  </a:lnTo>
                  <a:lnTo>
                    <a:pt x="205526" y="960621"/>
                  </a:lnTo>
                  <a:lnTo>
                    <a:pt x="205526" y="962903"/>
                  </a:lnTo>
                  <a:lnTo>
                    <a:pt x="203242" y="962903"/>
                  </a:lnTo>
                  <a:lnTo>
                    <a:pt x="203242" y="965185"/>
                  </a:lnTo>
                  <a:lnTo>
                    <a:pt x="203242" y="967467"/>
                  </a:lnTo>
                  <a:lnTo>
                    <a:pt x="200958" y="967467"/>
                  </a:lnTo>
                  <a:lnTo>
                    <a:pt x="200958" y="969749"/>
                  </a:lnTo>
                  <a:lnTo>
                    <a:pt x="198675" y="969749"/>
                  </a:lnTo>
                  <a:lnTo>
                    <a:pt x="198675" y="972031"/>
                  </a:lnTo>
                  <a:lnTo>
                    <a:pt x="198675" y="974313"/>
                  </a:lnTo>
                  <a:lnTo>
                    <a:pt x="196390" y="974313"/>
                  </a:lnTo>
                  <a:lnTo>
                    <a:pt x="196390" y="976595"/>
                  </a:lnTo>
                  <a:lnTo>
                    <a:pt x="194108" y="976595"/>
                  </a:lnTo>
                  <a:lnTo>
                    <a:pt x="194108" y="978876"/>
                  </a:lnTo>
                  <a:lnTo>
                    <a:pt x="191824" y="978876"/>
                  </a:lnTo>
                  <a:lnTo>
                    <a:pt x="189540" y="978876"/>
                  </a:lnTo>
                  <a:lnTo>
                    <a:pt x="189540" y="981158"/>
                  </a:lnTo>
                  <a:lnTo>
                    <a:pt x="187257" y="981158"/>
                  </a:lnTo>
                  <a:lnTo>
                    <a:pt x="184972" y="981158"/>
                  </a:lnTo>
                  <a:lnTo>
                    <a:pt x="184972" y="983440"/>
                  </a:lnTo>
                  <a:lnTo>
                    <a:pt x="182690" y="983440"/>
                  </a:lnTo>
                  <a:lnTo>
                    <a:pt x="180406" y="983440"/>
                  </a:lnTo>
                  <a:lnTo>
                    <a:pt x="178122" y="983440"/>
                  </a:lnTo>
                  <a:lnTo>
                    <a:pt x="175839" y="983440"/>
                  </a:lnTo>
                  <a:lnTo>
                    <a:pt x="173554" y="983440"/>
                  </a:lnTo>
                  <a:lnTo>
                    <a:pt x="171271" y="983440"/>
                  </a:lnTo>
                  <a:lnTo>
                    <a:pt x="168987" y="983440"/>
                  </a:lnTo>
                  <a:lnTo>
                    <a:pt x="166704" y="983440"/>
                  </a:lnTo>
                  <a:lnTo>
                    <a:pt x="166704" y="985722"/>
                  </a:lnTo>
                  <a:lnTo>
                    <a:pt x="164421" y="985722"/>
                  </a:lnTo>
                  <a:lnTo>
                    <a:pt x="162137" y="985722"/>
                  </a:lnTo>
                  <a:lnTo>
                    <a:pt x="159853" y="985722"/>
                  </a:lnTo>
                  <a:lnTo>
                    <a:pt x="159853" y="983440"/>
                  </a:lnTo>
                  <a:lnTo>
                    <a:pt x="157569" y="983440"/>
                  </a:lnTo>
                  <a:lnTo>
                    <a:pt x="157569" y="981158"/>
                  </a:lnTo>
                  <a:lnTo>
                    <a:pt x="155286" y="981158"/>
                  </a:lnTo>
                  <a:lnTo>
                    <a:pt x="155286" y="978876"/>
                  </a:lnTo>
                  <a:lnTo>
                    <a:pt x="153003" y="978876"/>
                  </a:lnTo>
                  <a:lnTo>
                    <a:pt x="153003" y="976595"/>
                  </a:lnTo>
                  <a:lnTo>
                    <a:pt x="150719" y="976595"/>
                  </a:lnTo>
                  <a:lnTo>
                    <a:pt x="148435" y="976595"/>
                  </a:lnTo>
                  <a:lnTo>
                    <a:pt x="148435" y="974313"/>
                  </a:lnTo>
                  <a:lnTo>
                    <a:pt x="146151" y="974313"/>
                  </a:lnTo>
                  <a:lnTo>
                    <a:pt x="146151" y="972031"/>
                  </a:lnTo>
                  <a:lnTo>
                    <a:pt x="146151" y="969749"/>
                  </a:lnTo>
                  <a:lnTo>
                    <a:pt x="143868" y="969749"/>
                  </a:lnTo>
                  <a:lnTo>
                    <a:pt x="141584" y="969749"/>
                  </a:lnTo>
                  <a:lnTo>
                    <a:pt x="141584" y="967467"/>
                  </a:lnTo>
                  <a:lnTo>
                    <a:pt x="139300" y="967467"/>
                  </a:lnTo>
                  <a:lnTo>
                    <a:pt x="137017" y="967467"/>
                  </a:lnTo>
                  <a:lnTo>
                    <a:pt x="134733" y="965185"/>
                  </a:lnTo>
                  <a:lnTo>
                    <a:pt x="132450" y="965185"/>
                  </a:lnTo>
                  <a:lnTo>
                    <a:pt x="132450" y="962903"/>
                  </a:lnTo>
                  <a:lnTo>
                    <a:pt x="130166" y="962903"/>
                  </a:lnTo>
                  <a:lnTo>
                    <a:pt x="130166" y="960621"/>
                  </a:lnTo>
                  <a:lnTo>
                    <a:pt x="132450" y="960621"/>
                  </a:lnTo>
                  <a:lnTo>
                    <a:pt x="132450" y="958339"/>
                  </a:lnTo>
                  <a:lnTo>
                    <a:pt x="132450" y="956058"/>
                  </a:lnTo>
                  <a:lnTo>
                    <a:pt x="130166" y="956058"/>
                  </a:lnTo>
                  <a:lnTo>
                    <a:pt x="127882" y="956058"/>
                  </a:lnTo>
                  <a:lnTo>
                    <a:pt x="127882" y="958339"/>
                  </a:lnTo>
                  <a:lnTo>
                    <a:pt x="127882" y="960621"/>
                  </a:lnTo>
                  <a:lnTo>
                    <a:pt x="125599" y="960621"/>
                  </a:lnTo>
                  <a:lnTo>
                    <a:pt x="125599" y="962903"/>
                  </a:lnTo>
                  <a:lnTo>
                    <a:pt x="123315" y="962903"/>
                  </a:lnTo>
                  <a:lnTo>
                    <a:pt x="123315" y="965185"/>
                  </a:lnTo>
                  <a:lnTo>
                    <a:pt x="121032" y="965185"/>
                  </a:lnTo>
                  <a:lnTo>
                    <a:pt x="118748" y="965185"/>
                  </a:lnTo>
                  <a:lnTo>
                    <a:pt x="118748" y="962903"/>
                  </a:lnTo>
                  <a:lnTo>
                    <a:pt x="116464" y="962903"/>
                  </a:lnTo>
                  <a:lnTo>
                    <a:pt x="114181" y="962903"/>
                  </a:lnTo>
                  <a:lnTo>
                    <a:pt x="114181" y="965185"/>
                  </a:lnTo>
                  <a:lnTo>
                    <a:pt x="114181" y="967467"/>
                  </a:lnTo>
                  <a:lnTo>
                    <a:pt x="111897" y="967467"/>
                  </a:lnTo>
                  <a:lnTo>
                    <a:pt x="111897" y="969749"/>
                  </a:lnTo>
                  <a:lnTo>
                    <a:pt x="109614" y="969749"/>
                  </a:lnTo>
                  <a:lnTo>
                    <a:pt x="109614" y="972031"/>
                  </a:lnTo>
                  <a:lnTo>
                    <a:pt x="107330" y="972031"/>
                  </a:lnTo>
                  <a:lnTo>
                    <a:pt x="105046" y="972031"/>
                  </a:lnTo>
                  <a:lnTo>
                    <a:pt x="105046" y="974313"/>
                  </a:lnTo>
                  <a:lnTo>
                    <a:pt x="105046" y="976595"/>
                  </a:lnTo>
                  <a:lnTo>
                    <a:pt x="105046" y="978876"/>
                  </a:lnTo>
                  <a:lnTo>
                    <a:pt x="107330" y="978876"/>
                  </a:lnTo>
                  <a:lnTo>
                    <a:pt x="107330" y="981158"/>
                  </a:lnTo>
                  <a:lnTo>
                    <a:pt x="107330" y="983440"/>
                  </a:lnTo>
                  <a:lnTo>
                    <a:pt x="109614" y="983440"/>
                  </a:lnTo>
                  <a:lnTo>
                    <a:pt x="109614" y="985722"/>
                  </a:lnTo>
                  <a:lnTo>
                    <a:pt x="109614" y="988004"/>
                  </a:lnTo>
                  <a:lnTo>
                    <a:pt x="109614" y="990286"/>
                  </a:lnTo>
                  <a:lnTo>
                    <a:pt x="109614" y="992568"/>
                  </a:lnTo>
                  <a:lnTo>
                    <a:pt x="109614" y="994850"/>
                  </a:lnTo>
                  <a:lnTo>
                    <a:pt x="109614" y="997132"/>
                  </a:lnTo>
                  <a:lnTo>
                    <a:pt x="109614" y="999414"/>
                  </a:lnTo>
                  <a:lnTo>
                    <a:pt x="107330" y="999414"/>
                  </a:lnTo>
                  <a:lnTo>
                    <a:pt x="107330" y="1001695"/>
                  </a:lnTo>
                  <a:lnTo>
                    <a:pt x="105046" y="1001695"/>
                  </a:lnTo>
                  <a:lnTo>
                    <a:pt x="102763" y="1001695"/>
                  </a:lnTo>
                  <a:lnTo>
                    <a:pt x="102763" y="1003977"/>
                  </a:lnTo>
                  <a:lnTo>
                    <a:pt x="100479" y="1003977"/>
                  </a:lnTo>
                  <a:lnTo>
                    <a:pt x="98196" y="1003977"/>
                  </a:lnTo>
                  <a:lnTo>
                    <a:pt x="95912" y="1003977"/>
                  </a:lnTo>
                  <a:lnTo>
                    <a:pt x="95912" y="1006259"/>
                  </a:lnTo>
                  <a:lnTo>
                    <a:pt x="93628" y="1006259"/>
                  </a:lnTo>
                  <a:lnTo>
                    <a:pt x="91344" y="1006259"/>
                  </a:lnTo>
                  <a:lnTo>
                    <a:pt x="91344" y="1008541"/>
                  </a:lnTo>
                  <a:lnTo>
                    <a:pt x="91344" y="1010823"/>
                  </a:lnTo>
                  <a:lnTo>
                    <a:pt x="91344" y="1013105"/>
                  </a:lnTo>
                  <a:lnTo>
                    <a:pt x="93628" y="1013105"/>
                  </a:lnTo>
                  <a:lnTo>
                    <a:pt x="93628" y="1015387"/>
                  </a:lnTo>
                  <a:lnTo>
                    <a:pt x="95912" y="1015387"/>
                  </a:lnTo>
                  <a:lnTo>
                    <a:pt x="95912" y="1017669"/>
                  </a:lnTo>
                  <a:lnTo>
                    <a:pt x="98196" y="1017669"/>
                  </a:lnTo>
                  <a:lnTo>
                    <a:pt x="100479" y="1017669"/>
                  </a:lnTo>
                  <a:lnTo>
                    <a:pt x="100479" y="1019951"/>
                  </a:lnTo>
                  <a:lnTo>
                    <a:pt x="102763" y="1019951"/>
                  </a:lnTo>
                  <a:lnTo>
                    <a:pt x="102763" y="1022232"/>
                  </a:lnTo>
                  <a:lnTo>
                    <a:pt x="102763" y="1024514"/>
                  </a:lnTo>
                  <a:lnTo>
                    <a:pt x="105046" y="1024514"/>
                  </a:lnTo>
                  <a:lnTo>
                    <a:pt x="105046" y="1026796"/>
                  </a:lnTo>
                  <a:lnTo>
                    <a:pt x="105046" y="1029078"/>
                  </a:lnTo>
                  <a:lnTo>
                    <a:pt x="105046" y="1031360"/>
                  </a:lnTo>
                  <a:lnTo>
                    <a:pt x="105046" y="1033642"/>
                  </a:lnTo>
                  <a:lnTo>
                    <a:pt x="102763" y="1033642"/>
                  </a:lnTo>
                  <a:lnTo>
                    <a:pt x="102763" y="1035924"/>
                  </a:lnTo>
                  <a:lnTo>
                    <a:pt x="100479" y="1035924"/>
                  </a:lnTo>
                  <a:lnTo>
                    <a:pt x="98196" y="1035924"/>
                  </a:lnTo>
                  <a:lnTo>
                    <a:pt x="98196" y="1038206"/>
                  </a:lnTo>
                  <a:lnTo>
                    <a:pt x="100479" y="1038206"/>
                  </a:lnTo>
                  <a:lnTo>
                    <a:pt x="100479" y="1040488"/>
                  </a:lnTo>
                  <a:lnTo>
                    <a:pt x="98196" y="1040488"/>
                  </a:lnTo>
                  <a:lnTo>
                    <a:pt x="98196" y="1042770"/>
                  </a:lnTo>
                  <a:lnTo>
                    <a:pt x="98196" y="1045051"/>
                  </a:lnTo>
                  <a:lnTo>
                    <a:pt x="100479" y="1045051"/>
                  </a:lnTo>
                  <a:lnTo>
                    <a:pt x="102763" y="1045051"/>
                  </a:lnTo>
                  <a:lnTo>
                    <a:pt x="102763" y="1047333"/>
                  </a:lnTo>
                  <a:lnTo>
                    <a:pt x="105046" y="1047333"/>
                  </a:lnTo>
                  <a:lnTo>
                    <a:pt x="105046" y="1049615"/>
                  </a:lnTo>
                  <a:lnTo>
                    <a:pt x="107330" y="1049615"/>
                  </a:lnTo>
                  <a:lnTo>
                    <a:pt x="107330" y="1051897"/>
                  </a:lnTo>
                  <a:lnTo>
                    <a:pt x="107330" y="1054179"/>
                  </a:lnTo>
                  <a:lnTo>
                    <a:pt x="107330" y="1056461"/>
                  </a:lnTo>
                  <a:lnTo>
                    <a:pt x="107330" y="1058743"/>
                  </a:lnTo>
                  <a:lnTo>
                    <a:pt x="107330" y="1061025"/>
                  </a:lnTo>
                  <a:lnTo>
                    <a:pt x="107330" y="1063307"/>
                  </a:lnTo>
                  <a:lnTo>
                    <a:pt x="107330" y="1065588"/>
                  </a:lnTo>
                  <a:lnTo>
                    <a:pt x="107330" y="1067871"/>
                  </a:lnTo>
                  <a:lnTo>
                    <a:pt x="109614" y="1067871"/>
                  </a:lnTo>
                  <a:lnTo>
                    <a:pt x="109614" y="1070152"/>
                  </a:lnTo>
                  <a:lnTo>
                    <a:pt x="109614" y="1072434"/>
                  </a:lnTo>
                  <a:lnTo>
                    <a:pt x="107330" y="1072434"/>
                  </a:lnTo>
                  <a:lnTo>
                    <a:pt x="107330" y="1074707"/>
                  </a:lnTo>
                  <a:lnTo>
                    <a:pt x="107330" y="1076988"/>
                  </a:lnTo>
                  <a:lnTo>
                    <a:pt x="105046" y="1076988"/>
                  </a:lnTo>
                  <a:lnTo>
                    <a:pt x="105046" y="1079270"/>
                  </a:lnTo>
                  <a:lnTo>
                    <a:pt x="105046" y="1081552"/>
                  </a:lnTo>
                  <a:lnTo>
                    <a:pt x="107330" y="1081552"/>
                  </a:lnTo>
                  <a:lnTo>
                    <a:pt x="107330" y="1083834"/>
                  </a:lnTo>
                  <a:lnTo>
                    <a:pt x="109614" y="1083834"/>
                  </a:lnTo>
                  <a:lnTo>
                    <a:pt x="109614" y="1081552"/>
                  </a:lnTo>
                  <a:lnTo>
                    <a:pt x="111897" y="1081552"/>
                  </a:lnTo>
                  <a:lnTo>
                    <a:pt x="114181" y="1081552"/>
                  </a:lnTo>
                  <a:lnTo>
                    <a:pt x="114181" y="1083834"/>
                  </a:lnTo>
                  <a:lnTo>
                    <a:pt x="116464" y="1083834"/>
                  </a:lnTo>
                  <a:lnTo>
                    <a:pt x="116464" y="1086116"/>
                  </a:lnTo>
                  <a:lnTo>
                    <a:pt x="116464" y="1088398"/>
                  </a:lnTo>
                  <a:lnTo>
                    <a:pt x="116464" y="1090680"/>
                  </a:lnTo>
                  <a:lnTo>
                    <a:pt x="116464" y="1092962"/>
                  </a:lnTo>
                  <a:lnTo>
                    <a:pt x="114181" y="1092962"/>
                  </a:lnTo>
                  <a:lnTo>
                    <a:pt x="114181" y="1095244"/>
                  </a:lnTo>
                  <a:lnTo>
                    <a:pt x="114181" y="1097526"/>
                  </a:lnTo>
                  <a:lnTo>
                    <a:pt x="116464" y="1097526"/>
                  </a:lnTo>
                  <a:lnTo>
                    <a:pt x="118748" y="1097526"/>
                  </a:lnTo>
                  <a:lnTo>
                    <a:pt x="118748" y="1099807"/>
                  </a:lnTo>
                  <a:lnTo>
                    <a:pt x="121032" y="1099807"/>
                  </a:lnTo>
                  <a:lnTo>
                    <a:pt x="123315" y="1099807"/>
                  </a:lnTo>
                  <a:lnTo>
                    <a:pt x="123315" y="1097526"/>
                  </a:lnTo>
                  <a:lnTo>
                    <a:pt x="125599" y="1097526"/>
                  </a:lnTo>
                  <a:lnTo>
                    <a:pt x="127882" y="1097526"/>
                  </a:lnTo>
                  <a:lnTo>
                    <a:pt x="127882" y="1095244"/>
                  </a:lnTo>
                  <a:lnTo>
                    <a:pt x="130166" y="1095244"/>
                  </a:lnTo>
                  <a:lnTo>
                    <a:pt x="130166" y="1092962"/>
                  </a:lnTo>
                  <a:lnTo>
                    <a:pt x="127882" y="1092962"/>
                  </a:lnTo>
                  <a:lnTo>
                    <a:pt x="127882" y="1090680"/>
                  </a:lnTo>
                  <a:lnTo>
                    <a:pt x="130166" y="1090680"/>
                  </a:lnTo>
                  <a:lnTo>
                    <a:pt x="132450" y="1090680"/>
                  </a:lnTo>
                  <a:lnTo>
                    <a:pt x="134733" y="1090680"/>
                  </a:lnTo>
                  <a:lnTo>
                    <a:pt x="134733" y="1088398"/>
                  </a:lnTo>
                  <a:lnTo>
                    <a:pt x="132450" y="1088398"/>
                  </a:lnTo>
                  <a:lnTo>
                    <a:pt x="132450" y="1086116"/>
                  </a:lnTo>
                  <a:lnTo>
                    <a:pt x="132450" y="1083834"/>
                  </a:lnTo>
                  <a:lnTo>
                    <a:pt x="132450" y="1081552"/>
                  </a:lnTo>
                  <a:lnTo>
                    <a:pt x="132450" y="1079270"/>
                  </a:lnTo>
                  <a:lnTo>
                    <a:pt x="134733" y="1079270"/>
                  </a:lnTo>
                  <a:lnTo>
                    <a:pt x="137017" y="1076988"/>
                  </a:lnTo>
                  <a:lnTo>
                    <a:pt x="139300" y="1076988"/>
                  </a:lnTo>
                  <a:lnTo>
                    <a:pt x="141584" y="1076988"/>
                  </a:lnTo>
                  <a:lnTo>
                    <a:pt x="143868" y="1076988"/>
                  </a:lnTo>
                  <a:lnTo>
                    <a:pt x="146151" y="1076988"/>
                  </a:lnTo>
                  <a:lnTo>
                    <a:pt x="148435" y="1076988"/>
                  </a:lnTo>
                  <a:lnTo>
                    <a:pt x="148435" y="1079270"/>
                  </a:lnTo>
                  <a:lnTo>
                    <a:pt x="148435" y="1081552"/>
                  </a:lnTo>
                  <a:lnTo>
                    <a:pt x="150719" y="1081552"/>
                  </a:lnTo>
                  <a:lnTo>
                    <a:pt x="153003" y="1081552"/>
                  </a:lnTo>
                  <a:lnTo>
                    <a:pt x="155286" y="1081552"/>
                  </a:lnTo>
                  <a:lnTo>
                    <a:pt x="157569" y="1081552"/>
                  </a:lnTo>
                  <a:lnTo>
                    <a:pt x="157569" y="1083834"/>
                  </a:lnTo>
                  <a:lnTo>
                    <a:pt x="159853" y="1083834"/>
                  </a:lnTo>
                  <a:lnTo>
                    <a:pt x="159853" y="1086116"/>
                  </a:lnTo>
                  <a:lnTo>
                    <a:pt x="162137" y="1086116"/>
                  </a:lnTo>
                  <a:lnTo>
                    <a:pt x="162137" y="1088398"/>
                  </a:lnTo>
                  <a:lnTo>
                    <a:pt x="162137" y="1090680"/>
                  </a:lnTo>
                  <a:lnTo>
                    <a:pt x="164421" y="1090680"/>
                  </a:lnTo>
                  <a:lnTo>
                    <a:pt x="164421" y="1092962"/>
                  </a:lnTo>
                  <a:lnTo>
                    <a:pt x="164421" y="1095244"/>
                  </a:lnTo>
                  <a:lnTo>
                    <a:pt x="166704" y="1095244"/>
                  </a:lnTo>
                  <a:lnTo>
                    <a:pt x="166704" y="1097526"/>
                  </a:lnTo>
                  <a:lnTo>
                    <a:pt x="166704" y="1099807"/>
                  </a:lnTo>
                  <a:lnTo>
                    <a:pt x="166704" y="1102089"/>
                  </a:lnTo>
                  <a:lnTo>
                    <a:pt x="166704" y="1104371"/>
                  </a:lnTo>
                  <a:lnTo>
                    <a:pt x="166704" y="1106653"/>
                  </a:lnTo>
                  <a:lnTo>
                    <a:pt x="164421" y="1108935"/>
                  </a:lnTo>
                  <a:lnTo>
                    <a:pt x="164421" y="1111217"/>
                  </a:lnTo>
                  <a:lnTo>
                    <a:pt x="164421" y="1113499"/>
                  </a:lnTo>
                  <a:lnTo>
                    <a:pt x="164421" y="1115781"/>
                  </a:lnTo>
                  <a:lnTo>
                    <a:pt x="164421" y="1118063"/>
                  </a:lnTo>
                  <a:lnTo>
                    <a:pt x="164421" y="1120344"/>
                  </a:lnTo>
                  <a:lnTo>
                    <a:pt x="166704" y="1120344"/>
                  </a:lnTo>
                  <a:lnTo>
                    <a:pt x="166704" y="1122627"/>
                  </a:lnTo>
                  <a:lnTo>
                    <a:pt x="168987" y="1122627"/>
                  </a:lnTo>
                  <a:lnTo>
                    <a:pt x="171271" y="1122627"/>
                  </a:lnTo>
                  <a:lnTo>
                    <a:pt x="171271" y="1124908"/>
                  </a:lnTo>
                  <a:lnTo>
                    <a:pt x="171271" y="1127190"/>
                  </a:lnTo>
                  <a:lnTo>
                    <a:pt x="173554" y="1127190"/>
                  </a:lnTo>
                  <a:lnTo>
                    <a:pt x="175839" y="1127190"/>
                  </a:lnTo>
                  <a:lnTo>
                    <a:pt x="175839" y="1129472"/>
                  </a:lnTo>
                  <a:lnTo>
                    <a:pt x="178122" y="1129472"/>
                  </a:lnTo>
                  <a:lnTo>
                    <a:pt x="180406" y="1131754"/>
                  </a:lnTo>
                  <a:lnTo>
                    <a:pt x="182690" y="1131754"/>
                  </a:lnTo>
                  <a:lnTo>
                    <a:pt x="184972" y="1131754"/>
                  </a:lnTo>
                  <a:lnTo>
                    <a:pt x="184972" y="1134036"/>
                  </a:lnTo>
                  <a:lnTo>
                    <a:pt x="187257" y="1134036"/>
                  </a:lnTo>
                  <a:lnTo>
                    <a:pt x="187257" y="1136318"/>
                  </a:lnTo>
                  <a:lnTo>
                    <a:pt x="187257" y="1138600"/>
                  </a:lnTo>
                  <a:lnTo>
                    <a:pt x="187257" y="1140882"/>
                  </a:lnTo>
                  <a:lnTo>
                    <a:pt x="187257" y="1143163"/>
                  </a:lnTo>
                  <a:lnTo>
                    <a:pt x="189540" y="1143163"/>
                  </a:lnTo>
                  <a:lnTo>
                    <a:pt x="189540" y="1145445"/>
                  </a:lnTo>
                  <a:lnTo>
                    <a:pt x="187257" y="1145445"/>
                  </a:lnTo>
                  <a:lnTo>
                    <a:pt x="187257" y="1143163"/>
                  </a:lnTo>
                  <a:lnTo>
                    <a:pt x="184972" y="1143163"/>
                  </a:lnTo>
                  <a:lnTo>
                    <a:pt x="184972" y="1145445"/>
                  </a:lnTo>
                  <a:lnTo>
                    <a:pt x="184972" y="1147727"/>
                  </a:lnTo>
                  <a:lnTo>
                    <a:pt x="187257" y="1147727"/>
                  </a:lnTo>
                  <a:lnTo>
                    <a:pt x="189540" y="1147727"/>
                  </a:lnTo>
                  <a:lnTo>
                    <a:pt x="191824" y="1147727"/>
                  </a:lnTo>
                  <a:lnTo>
                    <a:pt x="191824" y="1150009"/>
                  </a:lnTo>
                  <a:lnTo>
                    <a:pt x="194108" y="1150009"/>
                  </a:lnTo>
                  <a:lnTo>
                    <a:pt x="196390" y="1150009"/>
                  </a:lnTo>
                  <a:lnTo>
                    <a:pt x="196390" y="1147727"/>
                  </a:lnTo>
                  <a:lnTo>
                    <a:pt x="198675" y="1147727"/>
                  </a:lnTo>
                  <a:lnTo>
                    <a:pt x="198675" y="1150009"/>
                  </a:lnTo>
                  <a:lnTo>
                    <a:pt x="200958" y="1150009"/>
                  </a:lnTo>
                  <a:lnTo>
                    <a:pt x="200958" y="1152291"/>
                  </a:lnTo>
                  <a:lnTo>
                    <a:pt x="198675" y="1152291"/>
                  </a:lnTo>
                  <a:lnTo>
                    <a:pt x="198675" y="1154573"/>
                  </a:lnTo>
                  <a:lnTo>
                    <a:pt x="196390" y="1154573"/>
                  </a:lnTo>
                  <a:lnTo>
                    <a:pt x="196390" y="1156855"/>
                  </a:lnTo>
                  <a:lnTo>
                    <a:pt x="196390" y="1159137"/>
                  </a:lnTo>
                  <a:lnTo>
                    <a:pt x="194108" y="1159137"/>
                  </a:lnTo>
                  <a:lnTo>
                    <a:pt x="191824" y="1159137"/>
                  </a:lnTo>
                  <a:lnTo>
                    <a:pt x="189540" y="1159137"/>
                  </a:lnTo>
                  <a:lnTo>
                    <a:pt x="189540" y="1156855"/>
                  </a:lnTo>
                  <a:lnTo>
                    <a:pt x="187257" y="1156855"/>
                  </a:lnTo>
                  <a:lnTo>
                    <a:pt x="187257" y="1154573"/>
                  </a:lnTo>
                  <a:lnTo>
                    <a:pt x="187257" y="1152291"/>
                  </a:lnTo>
                  <a:lnTo>
                    <a:pt x="184972" y="1152291"/>
                  </a:lnTo>
                  <a:lnTo>
                    <a:pt x="184972" y="1150009"/>
                  </a:lnTo>
                  <a:lnTo>
                    <a:pt x="182690" y="1150009"/>
                  </a:lnTo>
                  <a:lnTo>
                    <a:pt x="180406" y="1150009"/>
                  </a:lnTo>
                  <a:lnTo>
                    <a:pt x="180406" y="1147727"/>
                  </a:lnTo>
                  <a:lnTo>
                    <a:pt x="178122" y="1147727"/>
                  </a:lnTo>
                  <a:lnTo>
                    <a:pt x="175839" y="1145445"/>
                  </a:lnTo>
                  <a:lnTo>
                    <a:pt x="173554" y="1145445"/>
                  </a:lnTo>
                  <a:lnTo>
                    <a:pt x="173554" y="1143163"/>
                  </a:lnTo>
                  <a:lnTo>
                    <a:pt x="171271" y="1143163"/>
                  </a:lnTo>
                  <a:lnTo>
                    <a:pt x="171271" y="1140882"/>
                  </a:lnTo>
                  <a:lnTo>
                    <a:pt x="168987" y="1140882"/>
                  </a:lnTo>
                  <a:lnTo>
                    <a:pt x="168987" y="1138600"/>
                  </a:lnTo>
                  <a:lnTo>
                    <a:pt x="166704" y="1138600"/>
                  </a:lnTo>
                  <a:lnTo>
                    <a:pt x="164421" y="1138600"/>
                  </a:lnTo>
                  <a:lnTo>
                    <a:pt x="164421" y="1136318"/>
                  </a:lnTo>
                  <a:lnTo>
                    <a:pt x="162137" y="1136318"/>
                  </a:lnTo>
                  <a:lnTo>
                    <a:pt x="162137" y="1134036"/>
                  </a:lnTo>
                  <a:lnTo>
                    <a:pt x="164421" y="1134036"/>
                  </a:lnTo>
                  <a:lnTo>
                    <a:pt x="164421" y="1131754"/>
                  </a:lnTo>
                  <a:lnTo>
                    <a:pt x="164421" y="1129472"/>
                  </a:lnTo>
                  <a:lnTo>
                    <a:pt x="162137" y="1129472"/>
                  </a:lnTo>
                  <a:lnTo>
                    <a:pt x="162137" y="1127190"/>
                  </a:lnTo>
                  <a:lnTo>
                    <a:pt x="159853" y="1127190"/>
                  </a:lnTo>
                  <a:lnTo>
                    <a:pt x="159853" y="1124908"/>
                  </a:lnTo>
                  <a:lnTo>
                    <a:pt x="159853" y="1122627"/>
                  </a:lnTo>
                  <a:lnTo>
                    <a:pt x="157569" y="1122627"/>
                  </a:lnTo>
                  <a:lnTo>
                    <a:pt x="157569" y="1120344"/>
                  </a:lnTo>
                  <a:lnTo>
                    <a:pt x="157569" y="1118063"/>
                  </a:lnTo>
                  <a:lnTo>
                    <a:pt x="157569" y="1115781"/>
                  </a:lnTo>
                  <a:lnTo>
                    <a:pt x="155286" y="1115781"/>
                  </a:lnTo>
                  <a:lnTo>
                    <a:pt x="153003" y="1115781"/>
                  </a:lnTo>
                  <a:lnTo>
                    <a:pt x="150719" y="1115781"/>
                  </a:lnTo>
                  <a:lnTo>
                    <a:pt x="150719" y="1113499"/>
                  </a:lnTo>
                  <a:lnTo>
                    <a:pt x="153003" y="1113499"/>
                  </a:lnTo>
                  <a:lnTo>
                    <a:pt x="153003" y="1111217"/>
                  </a:lnTo>
                  <a:lnTo>
                    <a:pt x="150719" y="1111217"/>
                  </a:lnTo>
                  <a:lnTo>
                    <a:pt x="150719" y="1108935"/>
                  </a:lnTo>
                  <a:lnTo>
                    <a:pt x="150719" y="1106653"/>
                  </a:lnTo>
                  <a:lnTo>
                    <a:pt x="148435" y="1106653"/>
                  </a:lnTo>
                  <a:lnTo>
                    <a:pt x="146151" y="1106653"/>
                  </a:lnTo>
                  <a:lnTo>
                    <a:pt x="143868" y="1106653"/>
                  </a:lnTo>
                  <a:lnTo>
                    <a:pt x="143868" y="1108935"/>
                  </a:lnTo>
                  <a:lnTo>
                    <a:pt x="143868" y="1111217"/>
                  </a:lnTo>
                  <a:lnTo>
                    <a:pt x="146151" y="1111217"/>
                  </a:lnTo>
                  <a:lnTo>
                    <a:pt x="146151" y="1113499"/>
                  </a:lnTo>
                  <a:lnTo>
                    <a:pt x="146151" y="1115781"/>
                  </a:lnTo>
                  <a:lnTo>
                    <a:pt x="148435" y="1115781"/>
                  </a:lnTo>
                  <a:lnTo>
                    <a:pt x="148435" y="1118063"/>
                  </a:lnTo>
                  <a:lnTo>
                    <a:pt x="146151" y="1118063"/>
                  </a:lnTo>
                  <a:lnTo>
                    <a:pt x="143868" y="1118063"/>
                  </a:lnTo>
                  <a:lnTo>
                    <a:pt x="141584" y="1118063"/>
                  </a:lnTo>
                  <a:lnTo>
                    <a:pt x="139300" y="1118063"/>
                  </a:lnTo>
                  <a:lnTo>
                    <a:pt x="139300" y="1120344"/>
                  </a:lnTo>
                  <a:lnTo>
                    <a:pt x="139300" y="1122627"/>
                  </a:lnTo>
                  <a:lnTo>
                    <a:pt x="137017" y="1122627"/>
                  </a:lnTo>
                  <a:lnTo>
                    <a:pt x="137017" y="1124908"/>
                  </a:lnTo>
                  <a:lnTo>
                    <a:pt x="139300" y="1124908"/>
                  </a:lnTo>
                  <a:lnTo>
                    <a:pt x="141584" y="1124908"/>
                  </a:lnTo>
                  <a:lnTo>
                    <a:pt x="143868" y="1124908"/>
                  </a:lnTo>
                  <a:lnTo>
                    <a:pt x="143868" y="1127190"/>
                  </a:lnTo>
                  <a:lnTo>
                    <a:pt x="146151" y="1127190"/>
                  </a:lnTo>
                  <a:lnTo>
                    <a:pt x="146151" y="1129472"/>
                  </a:lnTo>
                  <a:lnTo>
                    <a:pt x="146151" y="1131754"/>
                  </a:lnTo>
                  <a:lnTo>
                    <a:pt x="143868" y="1131754"/>
                  </a:lnTo>
                  <a:lnTo>
                    <a:pt x="143868" y="1134036"/>
                  </a:lnTo>
                  <a:lnTo>
                    <a:pt x="143868" y="1136318"/>
                  </a:lnTo>
                  <a:lnTo>
                    <a:pt x="146151" y="1136318"/>
                  </a:lnTo>
                  <a:lnTo>
                    <a:pt x="148435" y="1136318"/>
                  </a:lnTo>
                  <a:lnTo>
                    <a:pt x="150719" y="1136318"/>
                  </a:lnTo>
                  <a:lnTo>
                    <a:pt x="150719" y="1138600"/>
                  </a:lnTo>
                  <a:lnTo>
                    <a:pt x="153003" y="1138600"/>
                  </a:lnTo>
                  <a:lnTo>
                    <a:pt x="155286" y="1138600"/>
                  </a:lnTo>
                  <a:lnTo>
                    <a:pt x="157569" y="1138600"/>
                  </a:lnTo>
                  <a:lnTo>
                    <a:pt x="157569" y="1140882"/>
                  </a:lnTo>
                  <a:lnTo>
                    <a:pt x="159853" y="1140882"/>
                  </a:lnTo>
                  <a:lnTo>
                    <a:pt x="162137" y="1140882"/>
                  </a:lnTo>
                  <a:lnTo>
                    <a:pt x="162137" y="1143163"/>
                  </a:lnTo>
                  <a:lnTo>
                    <a:pt x="164421" y="1143163"/>
                  </a:lnTo>
                  <a:lnTo>
                    <a:pt x="164421" y="1145445"/>
                  </a:lnTo>
                  <a:lnTo>
                    <a:pt x="166704" y="1145445"/>
                  </a:lnTo>
                  <a:lnTo>
                    <a:pt x="166704" y="1147727"/>
                  </a:lnTo>
                  <a:lnTo>
                    <a:pt x="168987" y="1147727"/>
                  </a:lnTo>
                  <a:lnTo>
                    <a:pt x="171271" y="1150009"/>
                  </a:lnTo>
                  <a:lnTo>
                    <a:pt x="173554" y="1150009"/>
                  </a:lnTo>
                  <a:lnTo>
                    <a:pt x="173554" y="1152291"/>
                  </a:lnTo>
                  <a:lnTo>
                    <a:pt x="175839" y="1152291"/>
                  </a:lnTo>
                  <a:lnTo>
                    <a:pt x="175839" y="1154573"/>
                  </a:lnTo>
                  <a:lnTo>
                    <a:pt x="178122" y="1154573"/>
                  </a:lnTo>
                  <a:lnTo>
                    <a:pt x="178122" y="1156855"/>
                  </a:lnTo>
                  <a:lnTo>
                    <a:pt x="180406" y="1156855"/>
                  </a:lnTo>
                  <a:lnTo>
                    <a:pt x="180406" y="1159137"/>
                  </a:lnTo>
                  <a:lnTo>
                    <a:pt x="182690" y="1159137"/>
                  </a:lnTo>
                  <a:lnTo>
                    <a:pt x="182690" y="1161419"/>
                  </a:lnTo>
                  <a:lnTo>
                    <a:pt x="184972" y="1161419"/>
                  </a:lnTo>
                  <a:lnTo>
                    <a:pt x="184972" y="1163700"/>
                  </a:lnTo>
                  <a:lnTo>
                    <a:pt x="187257" y="1163700"/>
                  </a:lnTo>
                  <a:lnTo>
                    <a:pt x="187257" y="1165983"/>
                  </a:lnTo>
                  <a:lnTo>
                    <a:pt x="189540" y="1165983"/>
                  </a:lnTo>
                  <a:lnTo>
                    <a:pt x="189540" y="1168264"/>
                  </a:lnTo>
                  <a:lnTo>
                    <a:pt x="191824" y="1168264"/>
                  </a:lnTo>
                  <a:lnTo>
                    <a:pt x="191824" y="1170546"/>
                  </a:lnTo>
                  <a:lnTo>
                    <a:pt x="194108" y="1170546"/>
                  </a:lnTo>
                  <a:lnTo>
                    <a:pt x="194108" y="1172828"/>
                  </a:lnTo>
                  <a:lnTo>
                    <a:pt x="196390" y="1172828"/>
                  </a:lnTo>
                  <a:lnTo>
                    <a:pt x="196390" y="1175110"/>
                  </a:lnTo>
                  <a:lnTo>
                    <a:pt x="196390" y="1177392"/>
                  </a:lnTo>
                  <a:lnTo>
                    <a:pt x="198675" y="1177392"/>
                  </a:lnTo>
                  <a:lnTo>
                    <a:pt x="198675" y="1179674"/>
                  </a:lnTo>
                  <a:lnTo>
                    <a:pt x="200958" y="1179674"/>
                  </a:lnTo>
                  <a:lnTo>
                    <a:pt x="200958" y="1181956"/>
                  </a:lnTo>
                  <a:lnTo>
                    <a:pt x="203242" y="1181956"/>
                  </a:lnTo>
                  <a:lnTo>
                    <a:pt x="203242" y="1184238"/>
                  </a:lnTo>
                  <a:lnTo>
                    <a:pt x="203242" y="1186520"/>
                  </a:lnTo>
                  <a:lnTo>
                    <a:pt x="205526" y="1186520"/>
                  </a:lnTo>
                  <a:lnTo>
                    <a:pt x="205526" y="1188801"/>
                  </a:lnTo>
                  <a:lnTo>
                    <a:pt x="207809" y="1188801"/>
                  </a:lnTo>
                  <a:lnTo>
                    <a:pt x="207809" y="1191083"/>
                  </a:lnTo>
                  <a:lnTo>
                    <a:pt x="207809" y="1193365"/>
                  </a:lnTo>
                  <a:lnTo>
                    <a:pt x="210093" y="1193365"/>
                  </a:lnTo>
                  <a:lnTo>
                    <a:pt x="210093" y="1195647"/>
                  </a:lnTo>
                  <a:lnTo>
                    <a:pt x="210093" y="1197929"/>
                  </a:lnTo>
                  <a:lnTo>
                    <a:pt x="212376" y="1197929"/>
                  </a:lnTo>
                  <a:lnTo>
                    <a:pt x="212376" y="1200211"/>
                  </a:lnTo>
                  <a:lnTo>
                    <a:pt x="212376" y="1202493"/>
                  </a:lnTo>
                  <a:lnTo>
                    <a:pt x="214660" y="1202493"/>
                  </a:lnTo>
                  <a:lnTo>
                    <a:pt x="214660" y="1204775"/>
                  </a:lnTo>
                  <a:lnTo>
                    <a:pt x="214660" y="1207056"/>
                  </a:lnTo>
                  <a:lnTo>
                    <a:pt x="216944" y="1207056"/>
                  </a:lnTo>
                  <a:lnTo>
                    <a:pt x="216944" y="1209339"/>
                  </a:lnTo>
                  <a:lnTo>
                    <a:pt x="216944" y="1211620"/>
                  </a:lnTo>
                  <a:lnTo>
                    <a:pt x="216944" y="1213902"/>
                  </a:lnTo>
                  <a:lnTo>
                    <a:pt x="216944" y="1216184"/>
                  </a:lnTo>
                  <a:lnTo>
                    <a:pt x="214660" y="1216184"/>
                  </a:lnTo>
                  <a:lnTo>
                    <a:pt x="212376" y="1216184"/>
                  </a:lnTo>
                  <a:lnTo>
                    <a:pt x="212376" y="1218466"/>
                  </a:lnTo>
                  <a:lnTo>
                    <a:pt x="212376" y="1220748"/>
                  </a:lnTo>
                  <a:lnTo>
                    <a:pt x="214660" y="1220748"/>
                  </a:lnTo>
                  <a:lnTo>
                    <a:pt x="216944" y="1220748"/>
                  </a:lnTo>
                  <a:lnTo>
                    <a:pt x="216944" y="1223030"/>
                  </a:lnTo>
                  <a:lnTo>
                    <a:pt x="219227" y="1223030"/>
                  </a:lnTo>
                  <a:lnTo>
                    <a:pt x="219227" y="1225312"/>
                  </a:lnTo>
                  <a:lnTo>
                    <a:pt x="221511" y="1225312"/>
                  </a:lnTo>
                  <a:lnTo>
                    <a:pt x="223794" y="1225312"/>
                  </a:lnTo>
                  <a:lnTo>
                    <a:pt x="223794" y="1227594"/>
                  </a:lnTo>
                  <a:lnTo>
                    <a:pt x="226078" y="1227594"/>
                  </a:lnTo>
                  <a:lnTo>
                    <a:pt x="228362" y="1227594"/>
                  </a:lnTo>
                  <a:lnTo>
                    <a:pt x="228362" y="1229876"/>
                  </a:lnTo>
                  <a:lnTo>
                    <a:pt x="230645" y="1229876"/>
                  </a:lnTo>
                  <a:lnTo>
                    <a:pt x="230645" y="1232157"/>
                  </a:lnTo>
                  <a:lnTo>
                    <a:pt x="232929" y="1232157"/>
                  </a:lnTo>
                  <a:lnTo>
                    <a:pt x="235212" y="1232157"/>
                  </a:lnTo>
                  <a:lnTo>
                    <a:pt x="235212" y="1234439"/>
                  </a:lnTo>
                  <a:lnTo>
                    <a:pt x="237496" y="1234439"/>
                  </a:lnTo>
                  <a:lnTo>
                    <a:pt x="239780" y="1234439"/>
                  </a:lnTo>
                  <a:lnTo>
                    <a:pt x="239780" y="1236712"/>
                  </a:lnTo>
                  <a:lnTo>
                    <a:pt x="242063" y="1236712"/>
                  </a:lnTo>
                  <a:lnTo>
                    <a:pt x="242063" y="1238994"/>
                  </a:lnTo>
                  <a:lnTo>
                    <a:pt x="244347" y="1238994"/>
                  </a:lnTo>
                  <a:lnTo>
                    <a:pt x="246630" y="1238994"/>
                  </a:lnTo>
                  <a:lnTo>
                    <a:pt x="246630" y="1241275"/>
                  </a:lnTo>
                  <a:lnTo>
                    <a:pt x="248914" y="1241275"/>
                  </a:lnTo>
                  <a:lnTo>
                    <a:pt x="248914" y="1243557"/>
                  </a:lnTo>
                  <a:lnTo>
                    <a:pt x="251198" y="1243557"/>
                  </a:lnTo>
                  <a:lnTo>
                    <a:pt x="251198" y="1245839"/>
                  </a:lnTo>
                  <a:lnTo>
                    <a:pt x="253481" y="1245839"/>
                  </a:lnTo>
                  <a:lnTo>
                    <a:pt x="253481" y="1248121"/>
                  </a:lnTo>
                  <a:lnTo>
                    <a:pt x="255765" y="1248121"/>
                  </a:lnTo>
                  <a:lnTo>
                    <a:pt x="255765" y="1250403"/>
                  </a:lnTo>
                  <a:lnTo>
                    <a:pt x="258049" y="1250403"/>
                  </a:lnTo>
                  <a:lnTo>
                    <a:pt x="258049" y="1252685"/>
                  </a:lnTo>
                  <a:lnTo>
                    <a:pt x="260332" y="1252685"/>
                  </a:lnTo>
                  <a:lnTo>
                    <a:pt x="260332" y="1254967"/>
                  </a:lnTo>
                  <a:lnTo>
                    <a:pt x="262615" y="1254967"/>
                  </a:lnTo>
                  <a:lnTo>
                    <a:pt x="262615" y="1257249"/>
                  </a:lnTo>
                  <a:lnTo>
                    <a:pt x="264899" y="1257249"/>
                  </a:lnTo>
                  <a:lnTo>
                    <a:pt x="264899" y="1259531"/>
                  </a:lnTo>
                  <a:lnTo>
                    <a:pt x="267183" y="1259531"/>
                  </a:lnTo>
                  <a:lnTo>
                    <a:pt x="267183" y="1261812"/>
                  </a:lnTo>
                  <a:lnTo>
                    <a:pt x="269467" y="1261812"/>
                  </a:lnTo>
                  <a:lnTo>
                    <a:pt x="269467" y="1264095"/>
                  </a:lnTo>
                  <a:lnTo>
                    <a:pt x="271751" y="1264095"/>
                  </a:lnTo>
                  <a:lnTo>
                    <a:pt x="271751" y="1266376"/>
                  </a:lnTo>
                  <a:lnTo>
                    <a:pt x="271751" y="1268658"/>
                  </a:lnTo>
                  <a:lnTo>
                    <a:pt x="274034" y="1268658"/>
                  </a:lnTo>
                  <a:lnTo>
                    <a:pt x="274034" y="1270940"/>
                  </a:lnTo>
                  <a:lnTo>
                    <a:pt x="276317" y="1270940"/>
                  </a:lnTo>
                  <a:lnTo>
                    <a:pt x="276317" y="1273222"/>
                  </a:lnTo>
                  <a:lnTo>
                    <a:pt x="276317" y="1275504"/>
                  </a:lnTo>
                  <a:lnTo>
                    <a:pt x="276317" y="1277786"/>
                  </a:lnTo>
                  <a:lnTo>
                    <a:pt x="278601" y="1277786"/>
                  </a:lnTo>
                  <a:lnTo>
                    <a:pt x="278601" y="1280068"/>
                  </a:lnTo>
                  <a:lnTo>
                    <a:pt x="280885" y="1280068"/>
                  </a:lnTo>
                  <a:lnTo>
                    <a:pt x="280885" y="1282350"/>
                  </a:lnTo>
                  <a:lnTo>
                    <a:pt x="280885" y="1284632"/>
                  </a:lnTo>
                  <a:lnTo>
                    <a:pt x="278601" y="1284632"/>
                  </a:lnTo>
                  <a:lnTo>
                    <a:pt x="278601" y="1286913"/>
                  </a:lnTo>
                  <a:lnTo>
                    <a:pt x="278601" y="1289195"/>
                  </a:lnTo>
                  <a:lnTo>
                    <a:pt x="278601" y="1291477"/>
                  </a:lnTo>
                  <a:lnTo>
                    <a:pt x="276317" y="1291477"/>
                  </a:lnTo>
                  <a:lnTo>
                    <a:pt x="276317" y="1293759"/>
                  </a:lnTo>
                  <a:lnTo>
                    <a:pt x="276317" y="1296041"/>
                  </a:lnTo>
                  <a:lnTo>
                    <a:pt x="276317" y="1298323"/>
                  </a:lnTo>
                  <a:lnTo>
                    <a:pt x="278601" y="1298323"/>
                  </a:lnTo>
                  <a:lnTo>
                    <a:pt x="278601" y="1300605"/>
                  </a:lnTo>
                  <a:lnTo>
                    <a:pt x="276317" y="1300605"/>
                  </a:lnTo>
                  <a:lnTo>
                    <a:pt x="276317" y="1302887"/>
                  </a:lnTo>
                  <a:lnTo>
                    <a:pt x="278601" y="1302887"/>
                  </a:lnTo>
                  <a:lnTo>
                    <a:pt x="280885" y="1302887"/>
                  </a:lnTo>
                  <a:lnTo>
                    <a:pt x="280885" y="1305168"/>
                  </a:lnTo>
                  <a:lnTo>
                    <a:pt x="283169" y="1305168"/>
                  </a:lnTo>
                  <a:lnTo>
                    <a:pt x="283169" y="1302887"/>
                  </a:lnTo>
                  <a:lnTo>
                    <a:pt x="285452" y="1302887"/>
                  </a:lnTo>
                  <a:lnTo>
                    <a:pt x="287736" y="1302887"/>
                  </a:lnTo>
                  <a:lnTo>
                    <a:pt x="290019" y="1302887"/>
                  </a:lnTo>
                  <a:lnTo>
                    <a:pt x="290019" y="1305168"/>
                  </a:lnTo>
                  <a:lnTo>
                    <a:pt x="292303" y="1305168"/>
                  </a:lnTo>
                  <a:lnTo>
                    <a:pt x="294587" y="1307451"/>
                  </a:lnTo>
                  <a:lnTo>
                    <a:pt x="294587" y="1309732"/>
                  </a:lnTo>
                  <a:lnTo>
                    <a:pt x="294587" y="1312014"/>
                  </a:lnTo>
                  <a:lnTo>
                    <a:pt x="294587" y="1314296"/>
                  </a:lnTo>
                  <a:lnTo>
                    <a:pt x="296870" y="1314296"/>
                  </a:lnTo>
                  <a:lnTo>
                    <a:pt x="299154" y="1314296"/>
                  </a:lnTo>
                  <a:lnTo>
                    <a:pt x="299154" y="1316578"/>
                  </a:lnTo>
                  <a:lnTo>
                    <a:pt x="301437" y="1316578"/>
                  </a:lnTo>
                  <a:lnTo>
                    <a:pt x="301437" y="1318860"/>
                  </a:lnTo>
                  <a:lnTo>
                    <a:pt x="301437" y="1321142"/>
                  </a:lnTo>
                  <a:lnTo>
                    <a:pt x="303721" y="1321142"/>
                  </a:lnTo>
                  <a:lnTo>
                    <a:pt x="306005" y="1321142"/>
                  </a:lnTo>
                  <a:lnTo>
                    <a:pt x="306005" y="1323424"/>
                  </a:lnTo>
                  <a:lnTo>
                    <a:pt x="308288" y="1323424"/>
                  </a:lnTo>
                  <a:lnTo>
                    <a:pt x="310572" y="1323424"/>
                  </a:lnTo>
                  <a:lnTo>
                    <a:pt x="310572" y="1325706"/>
                  </a:lnTo>
                  <a:lnTo>
                    <a:pt x="312856" y="1325706"/>
                  </a:lnTo>
                  <a:lnTo>
                    <a:pt x="312856" y="1327988"/>
                  </a:lnTo>
                  <a:lnTo>
                    <a:pt x="312856" y="1330269"/>
                  </a:lnTo>
                  <a:lnTo>
                    <a:pt x="315139" y="1330269"/>
                  </a:lnTo>
                  <a:lnTo>
                    <a:pt x="315139" y="1332551"/>
                  </a:lnTo>
                  <a:lnTo>
                    <a:pt x="317423" y="1332551"/>
                  </a:lnTo>
                  <a:lnTo>
                    <a:pt x="317423" y="1334833"/>
                  </a:lnTo>
                  <a:lnTo>
                    <a:pt x="317423" y="1337115"/>
                  </a:lnTo>
                  <a:lnTo>
                    <a:pt x="319706" y="1337115"/>
                  </a:lnTo>
                  <a:lnTo>
                    <a:pt x="319706" y="1339397"/>
                  </a:lnTo>
                  <a:lnTo>
                    <a:pt x="319706" y="1341679"/>
                  </a:lnTo>
                  <a:lnTo>
                    <a:pt x="321990" y="1341679"/>
                  </a:lnTo>
                  <a:lnTo>
                    <a:pt x="321990" y="1343961"/>
                  </a:lnTo>
                  <a:lnTo>
                    <a:pt x="321990" y="1346243"/>
                  </a:lnTo>
                  <a:lnTo>
                    <a:pt x="324274" y="1346243"/>
                  </a:lnTo>
                  <a:lnTo>
                    <a:pt x="324274" y="1348524"/>
                  </a:lnTo>
                  <a:lnTo>
                    <a:pt x="324274" y="1350807"/>
                  </a:lnTo>
                  <a:lnTo>
                    <a:pt x="326557" y="1350807"/>
                  </a:lnTo>
                  <a:lnTo>
                    <a:pt x="326557" y="1353088"/>
                  </a:lnTo>
                  <a:lnTo>
                    <a:pt x="326557" y="1355370"/>
                  </a:lnTo>
                  <a:lnTo>
                    <a:pt x="328841" y="1355370"/>
                  </a:lnTo>
                  <a:lnTo>
                    <a:pt x="328841" y="1357652"/>
                  </a:lnTo>
                  <a:lnTo>
                    <a:pt x="328841" y="1359934"/>
                  </a:lnTo>
                  <a:lnTo>
                    <a:pt x="328841" y="1362216"/>
                  </a:lnTo>
                  <a:lnTo>
                    <a:pt x="328841" y="1364498"/>
                  </a:lnTo>
                  <a:lnTo>
                    <a:pt x="326557" y="1364498"/>
                  </a:lnTo>
                  <a:lnTo>
                    <a:pt x="326557" y="1366780"/>
                  </a:lnTo>
                  <a:lnTo>
                    <a:pt x="326557" y="1369062"/>
                  </a:lnTo>
                  <a:lnTo>
                    <a:pt x="328841" y="1371343"/>
                  </a:lnTo>
                  <a:lnTo>
                    <a:pt x="328841" y="1373625"/>
                  </a:lnTo>
                  <a:lnTo>
                    <a:pt x="328841" y="1375908"/>
                  </a:lnTo>
                  <a:lnTo>
                    <a:pt x="328841" y="1378189"/>
                  </a:lnTo>
                  <a:lnTo>
                    <a:pt x="331124" y="1378189"/>
                  </a:lnTo>
                  <a:lnTo>
                    <a:pt x="331124" y="1380471"/>
                  </a:lnTo>
                  <a:lnTo>
                    <a:pt x="331124" y="1382753"/>
                  </a:lnTo>
                  <a:lnTo>
                    <a:pt x="331124" y="1385025"/>
                  </a:lnTo>
                  <a:lnTo>
                    <a:pt x="333408" y="1385025"/>
                  </a:lnTo>
                  <a:lnTo>
                    <a:pt x="333408" y="1387307"/>
                  </a:lnTo>
                  <a:lnTo>
                    <a:pt x="333408" y="1389589"/>
                  </a:lnTo>
                  <a:lnTo>
                    <a:pt x="335692" y="1389589"/>
                  </a:lnTo>
                  <a:lnTo>
                    <a:pt x="335692" y="1391871"/>
                  </a:lnTo>
                  <a:lnTo>
                    <a:pt x="335692" y="1394153"/>
                  </a:lnTo>
                  <a:lnTo>
                    <a:pt x="337975" y="1394153"/>
                  </a:lnTo>
                  <a:lnTo>
                    <a:pt x="337975" y="1396435"/>
                  </a:lnTo>
                  <a:lnTo>
                    <a:pt x="340259" y="1396435"/>
                  </a:lnTo>
                  <a:lnTo>
                    <a:pt x="340259" y="1398717"/>
                  </a:lnTo>
                  <a:lnTo>
                    <a:pt x="342542" y="1400999"/>
                  </a:lnTo>
                  <a:lnTo>
                    <a:pt x="342542" y="1403280"/>
                  </a:lnTo>
                  <a:lnTo>
                    <a:pt x="344826" y="1403280"/>
                  </a:lnTo>
                  <a:lnTo>
                    <a:pt x="344826" y="1405562"/>
                  </a:lnTo>
                  <a:lnTo>
                    <a:pt x="344826" y="1407845"/>
                  </a:lnTo>
                  <a:lnTo>
                    <a:pt x="347110" y="1407845"/>
                  </a:lnTo>
                  <a:lnTo>
                    <a:pt x="347110" y="1410126"/>
                  </a:lnTo>
                  <a:lnTo>
                    <a:pt x="347110" y="1412408"/>
                  </a:lnTo>
                  <a:lnTo>
                    <a:pt x="349393" y="1412408"/>
                  </a:lnTo>
                  <a:lnTo>
                    <a:pt x="349393" y="1414690"/>
                  </a:lnTo>
                  <a:lnTo>
                    <a:pt x="349393" y="1416972"/>
                  </a:lnTo>
                  <a:lnTo>
                    <a:pt x="349393" y="1419254"/>
                  </a:lnTo>
                  <a:lnTo>
                    <a:pt x="349393" y="1421535"/>
                  </a:lnTo>
                  <a:lnTo>
                    <a:pt x="349393" y="1423818"/>
                  </a:lnTo>
                  <a:lnTo>
                    <a:pt x="349393" y="1426100"/>
                  </a:lnTo>
                  <a:lnTo>
                    <a:pt x="349393" y="1428381"/>
                  </a:lnTo>
                  <a:lnTo>
                    <a:pt x="349393" y="1430663"/>
                  </a:lnTo>
                  <a:lnTo>
                    <a:pt x="347110" y="1430663"/>
                  </a:lnTo>
                  <a:lnTo>
                    <a:pt x="347110" y="1432945"/>
                  </a:lnTo>
                  <a:lnTo>
                    <a:pt x="347110" y="1435227"/>
                  </a:lnTo>
                  <a:lnTo>
                    <a:pt x="347110" y="1437509"/>
                  </a:lnTo>
                  <a:lnTo>
                    <a:pt x="344826" y="1437509"/>
                  </a:lnTo>
                  <a:lnTo>
                    <a:pt x="344826" y="1439791"/>
                  </a:lnTo>
                  <a:lnTo>
                    <a:pt x="342542" y="1439791"/>
                  </a:lnTo>
                  <a:lnTo>
                    <a:pt x="340259" y="1439791"/>
                  </a:lnTo>
                  <a:lnTo>
                    <a:pt x="337975" y="1439791"/>
                  </a:lnTo>
                  <a:lnTo>
                    <a:pt x="337975" y="1442073"/>
                  </a:lnTo>
                  <a:lnTo>
                    <a:pt x="335692" y="1442073"/>
                  </a:lnTo>
                  <a:lnTo>
                    <a:pt x="335692" y="1444355"/>
                  </a:lnTo>
                  <a:lnTo>
                    <a:pt x="333408" y="1444355"/>
                  </a:lnTo>
                  <a:lnTo>
                    <a:pt x="331124" y="1442073"/>
                  </a:lnTo>
                  <a:lnTo>
                    <a:pt x="328841" y="1442073"/>
                  </a:lnTo>
                  <a:lnTo>
                    <a:pt x="328841" y="1439791"/>
                  </a:lnTo>
                  <a:lnTo>
                    <a:pt x="326557" y="1439791"/>
                  </a:lnTo>
                  <a:lnTo>
                    <a:pt x="326557" y="1437509"/>
                  </a:lnTo>
                  <a:lnTo>
                    <a:pt x="324274" y="1437509"/>
                  </a:lnTo>
                  <a:lnTo>
                    <a:pt x="321990" y="1437509"/>
                  </a:lnTo>
                  <a:lnTo>
                    <a:pt x="319706" y="1437509"/>
                  </a:lnTo>
                  <a:lnTo>
                    <a:pt x="319706" y="1439791"/>
                  </a:lnTo>
                  <a:lnTo>
                    <a:pt x="317423" y="1439791"/>
                  </a:lnTo>
                  <a:lnTo>
                    <a:pt x="317423" y="1442073"/>
                  </a:lnTo>
                  <a:lnTo>
                    <a:pt x="315139" y="1444355"/>
                  </a:lnTo>
                  <a:lnTo>
                    <a:pt x="315139" y="1446636"/>
                  </a:lnTo>
                  <a:lnTo>
                    <a:pt x="312856" y="1446636"/>
                  </a:lnTo>
                  <a:lnTo>
                    <a:pt x="312856" y="1448918"/>
                  </a:lnTo>
                  <a:lnTo>
                    <a:pt x="312856" y="1451201"/>
                  </a:lnTo>
                  <a:lnTo>
                    <a:pt x="312856" y="1453482"/>
                  </a:lnTo>
                  <a:lnTo>
                    <a:pt x="312856" y="1455764"/>
                  </a:lnTo>
                  <a:lnTo>
                    <a:pt x="312856" y="1458046"/>
                  </a:lnTo>
                  <a:lnTo>
                    <a:pt x="312856" y="1460328"/>
                  </a:lnTo>
                  <a:lnTo>
                    <a:pt x="315139" y="1462610"/>
                  </a:lnTo>
                  <a:lnTo>
                    <a:pt x="312856" y="1462610"/>
                  </a:lnTo>
                  <a:lnTo>
                    <a:pt x="312856" y="1464892"/>
                  </a:lnTo>
                  <a:lnTo>
                    <a:pt x="312856" y="1467174"/>
                  </a:lnTo>
                  <a:lnTo>
                    <a:pt x="312856" y="1469456"/>
                  </a:lnTo>
                  <a:lnTo>
                    <a:pt x="310572" y="1469456"/>
                  </a:lnTo>
                  <a:lnTo>
                    <a:pt x="310572" y="1471737"/>
                  </a:lnTo>
                  <a:lnTo>
                    <a:pt x="308288" y="1471737"/>
                  </a:lnTo>
                  <a:lnTo>
                    <a:pt x="308288" y="1474019"/>
                  </a:lnTo>
                  <a:lnTo>
                    <a:pt x="306005" y="1474019"/>
                  </a:lnTo>
                  <a:lnTo>
                    <a:pt x="306005" y="1476301"/>
                  </a:lnTo>
                  <a:lnTo>
                    <a:pt x="303721" y="1476301"/>
                  </a:lnTo>
                  <a:lnTo>
                    <a:pt x="303721" y="1478583"/>
                  </a:lnTo>
                  <a:lnTo>
                    <a:pt x="303721" y="1480865"/>
                  </a:lnTo>
                  <a:lnTo>
                    <a:pt x="303721" y="1483147"/>
                  </a:lnTo>
                  <a:lnTo>
                    <a:pt x="303721" y="1485429"/>
                  </a:lnTo>
                  <a:lnTo>
                    <a:pt x="301437" y="1483147"/>
                  </a:lnTo>
                  <a:lnTo>
                    <a:pt x="301437" y="1485429"/>
                  </a:lnTo>
                  <a:lnTo>
                    <a:pt x="301437" y="1487711"/>
                  </a:lnTo>
                  <a:lnTo>
                    <a:pt x="301437" y="1489992"/>
                  </a:lnTo>
                  <a:lnTo>
                    <a:pt x="299154" y="1489992"/>
                  </a:lnTo>
                  <a:lnTo>
                    <a:pt x="299154" y="1492274"/>
                  </a:lnTo>
                  <a:lnTo>
                    <a:pt x="296870" y="1492274"/>
                  </a:lnTo>
                  <a:lnTo>
                    <a:pt x="296870" y="1494557"/>
                  </a:lnTo>
                  <a:lnTo>
                    <a:pt x="294587" y="1494557"/>
                  </a:lnTo>
                  <a:lnTo>
                    <a:pt x="294587" y="1496838"/>
                  </a:lnTo>
                  <a:lnTo>
                    <a:pt x="292303" y="1496838"/>
                  </a:lnTo>
                  <a:lnTo>
                    <a:pt x="292303" y="1499120"/>
                  </a:lnTo>
                  <a:lnTo>
                    <a:pt x="294587" y="1499120"/>
                  </a:lnTo>
                  <a:lnTo>
                    <a:pt x="296870" y="1499120"/>
                  </a:lnTo>
                  <a:lnTo>
                    <a:pt x="299154" y="1499120"/>
                  </a:lnTo>
                  <a:lnTo>
                    <a:pt x="299154" y="1501402"/>
                  </a:lnTo>
                  <a:lnTo>
                    <a:pt x="299154" y="1503684"/>
                  </a:lnTo>
                  <a:lnTo>
                    <a:pt x="301437" y="1503684"/>
                  </a:lnTo>
                  <a:lnTo>
                    <a:pt x="303721" y="1503684"/>
                  </a:lnTo>
                  <a:lnTo>
                    <a:pt x="303721" y="1505966"/>
                  </a:lnTo>
                  <a:lnTo>
                    <a:pt x="306005" y="1505966"/>
                  </a:lnTo>
                  <a:lnTo>
                    <a:pt x="306005" y="1503684"/>
                  </a:lnTo>
                  <a:lnTo>
                    <a:pt x="308288" y="1503684"/>
                  </a:lnTo>
                  <a:lnTo>
                    <a:pt x="308288" y="1501402"/>
                  </a:lnTo>
                  <a:lnTo>
                    <a:pt x="306005" y="1501402"/>
                  </a:lnTo>
                  <a:lnTo>
                    <a:pt x="306005" y="1499120"/>
                  </a:lnTo>
                  <a:lnTo>
                    <a:pt x="308288" y="1499120"/>
                  </a:lnTo>
                  <a:lnTo>
                    <a:pt x="310572" y="1499120"/>
                  </a:lnTo>
                  <a:lnTo>
                    <a:pt x="312856" y="1499120"/>
                  </a:lnTo>
                  <a:lnTo>
                    <a:pt x="312856" y="1501402"/>
                  </a:lnTo>
                  <a:lnTo>
                    <a:pt x="312856" y="1503684"/>
                  </a:lnTo>
                  <a:lnTo>
                    <a:pt x="315139" y="1503684"/>
                  </a:lnTo>
                  <a:lnTo>
                    <a:pt x="315139" y="1505966"/>
                  </a:lnTo>
                  <a:lnTo>
                    <a:pt x="315139" y="1508248"/>
                  </a:lnTo>
                  <a:lnTo>
                    <a:pt x="312856" y="1508248"/>
                  </a:lnTo>
                  <a:lnTo>
                    <a:pt x="312856" y="1510530"/>
                  </a:lnTo>
                  <a:lnTo>
                    <a:pt x="310572" y="1510530"/>
                  </a:lnTo>
                  <a:lnTo>
                    <a:pt x="310572" y="1512812"/>
                  </a:lnTo>
                  <a:lnTo>
                    <a:pt x="310572" y="1515093"/>
                  </a:lnTo>
                  <a:lnTo>
                    <a:pt x="310572" y="1517375"/>
                  </a:lnTo>
                  <a:lnTo>
                    <a:pt x="310572" y="1519657"/>
                  </a:lnTo>
                  <a:lnTo>
                    <a:pt x="310572" y="1521939"/>
                  </a:lnTo>
                  <a:lnTo>
                    <a:pt x="310572" y="1524221"/>
                  </a:lnTo>
                  <a:lnTo>
                    <a:pt x="310572" y="1526503"/>
                  </a:lnTo>
                  <a:lnTo>
                    <a:pt x="310572" y="1528785"/>
                  </a:lnTo>
                  <a:lnTo>
                    <a:pt x="310572" y="1531067"/>
                  </a:lnTo>
                  <a:lnTo>
                    <a:pt x="308288" y="1533348"/>
                  </a:lnTo>
                  <a:lnTo>
                    <a:pt x="306005" y="1533348"/>
                  </a:lnTo>
                  <a:lnTo>
                    <a:pt x="306005" y="1535630"/>
                  </a:lnTo>
                  <a:lnTo>
                    <a:pt x="303721" y="1535630"/>
                  </a:lnTo>
                  <a:lnTo>
                    <a:pt x="303721" y="1537913"/>
                  </a:lnTo>
                  <a:lnTo>
                    <a:pt x="301437" y="1537913"/>
                  </a:lnTo>
                  <a:lnTo>
                    <a:pt x="301437" y="1540194"/>
                  </a:lnTo>
                  <a:lnTo>
                    <a:pt x="301437" y="1542476"/>
                  </a:lnTo>
                  <a:lnTo>
                    <a:pt x="301437" y="1544758"/>
                  </a:lnTo>
                  <a:lnTo>
                    <a:pt x="303721" y="1544758"/>
                  </a:lnTo>
                  <a:lnTo>
                    <a:pt x="303721" y="1547031"/>
                  </a:lnTo>
                  <a:lnTo>
                    <a:pt x="306005" y="1547031"/>
                  </a:lnTo>
                  <a:lnTo>
                    <a:pt x="306005" y="1549312"/>
                  </a:lnTo>
                  <a:lnTo>
                    <a:pt x="306005" y="1551594"/>
                  </a:lnTo>
                  <a:lnTo>
                    <a:pt x="308288" y="1551594"/>
                  </a:lnTo>
                  <a:lnTo>
                    <a:pt x="308288" y="1553876"/>
                  </a:lnTo>
                  <a:lnTo>
                    <a:pt x="310572" y="1553876"/>
                  </a:lnTo>
                  <a:lnTo>
                    <a:pt x="310572" y="1551594"/>
                  </a:lnTo>
                  <a:lnTo>
                    <a:pt x="312856" y="1553876"/>
                  </a:lnTo>
                  <a:lnTo>
                    <a:pt x="315139" y="1553876"/>
                  </a:lnTo>
                  <a:lnTo>
                    <a:pt x="315139" y="1556158"/>
                  </a:lnTo>
                  <a:lnTo>
                    <a:pt x="317423" y="1556158"/>
                  </a:lnTo>
                  <a:lnTo>
                    <a:pt x="317423" y="1558440"/>
                  </a:lnTo>
                  <a:lnTo>
                    <a:pt x="319706" y="1558440"/>
                  </a:lnTo>
                  <a:lnTo>
                    <a:pt x="319706" y="1560722"/>
                  </a:lnTo>
                  <a:lnTo>
                    <a:pt x="321990" y="1560722"/>
                  </a:lnTo>
                  <a:lnTo>
                    <a:pt x="321990" y="1563004"/>
                  </a:lnTo>
                  <a:lnTo>
                    <a:pt x="319706" y="1563004"/>
                  </a:lnTo>
                  <a:lnTo>
                    <a:pt x="319706" y="1565286"/>
                  </a:lnTo>
                  <a:lnTo>
                    <a:pt x="321990" y="1567567"/>
                  </a:lnTo>
                  <a:lnTo>
                    <a:pt x="321990" y="1569849"/>
                  </a:lnTo>
                  <a:lnTo>
                    <a:pt x="321990" y="1572132"/>
                  </a:lnTo>
                  <a:lnTo>
                    <a:pt x="324274" y="1572132"/>
                  </a:lnTo>
                  <a:lnTo>
                    <a:pt x="324274" y="1574413"/>
                  </a:lnTo>
                  <a:lnTo>
                    <a:pt x="324274" y="1576695"/>
                  </a:lnTo>
                  <a:lnTo>
                    <a:pt x="324274" y="1578977"/>
                  </a:lnTo>
                  <a:lnTo>
                    <a:pt x="324274" y="1581259"/>
                  </a:lnTo>
                  <a:lnTo>
                    <a:pt x="326557" y="1581259"/>
                  </a:lnTo>
                  <a:lnTo>
                    <a:pt x="326557" y="1583541"/>
                  </a:lnTo>
                  <a:lnTo>
                    <a:pt x="326557" y="1585823"/>
                  </a:lnTo>
                  <a:lnTo>
                    <a:pt x="326557" y="1588105"/>
                  </a:lnTo>
                  <a:lnTo>
                    <a:pt x="326557" y="1590387"/>
                  </a:lnTo>
                  <a:lnTo>
                    <a:pt x="326557" y="1592668"/>
                  </a:lnTo>
                  <a:lnTo>
                    <a:pt x="328841" y="1592668"/>
                  </a:lnTo>
                  <a:lnTo>
                    <a:pt x="328841" y="1594950"/>
                  </a:lnTo>
                  <a:lnTo>
                    <a:pt x="331124" y="1594950"/>
                  </a:lnTo>
                  <a:lnTo>
                    <a:pt x="331124" y="1597232"/>
                  </a:lnTo>
                  <a:lnTo>
                    <a:pt x="333408" y="1597232"/>
                  </a:lnTo>
                  <a:lnTo>
                    <a:pt x="333408" y="1599514"/>
                  </a:lnTo>
                  <a:lnTo>
                    <a:pt x="333408" y="1601796"/>
                  </a:lnTo>
                  <a:lnTo>
                    <a:pt x="335692" y="1601796"/>
                  </a:lnTo>
                  <a:lnTo>
                    <a:pt x="335692" y="1604078"/>
                  </a:lnTo>
                  <a:lnTo>
                    <a:pt x="335692" y="1606360"/>
                  </a:lnTo>
                  <a:lnTo>
                    <a:pt x="337975" y="1606360"/>
                  </a:lnTo>
                  <a:lnTo>
                    <a:pt x="337975" y="1608642"/>
                  </a:lnTo>
                  <a:lnTo>
                    <a:pt x="340259" y="1608642"/>
                  </a:lnTo>
                  <a:lnTo>
                    <a:pt x="340259" y="1610923"/>
                  </a:lnTo>
                  <a:lnTo>
                    <a:pt x="342542" y="1610923"/>
                  </a:lnTo>
                  <a:lnTo>
                    <a:pt x="342542" y="1613206"/>
                  </a:lnTo>
                  <a:lnTo>
                    <a:pt x="344826" y="1613206"/>
                  </a:lnTo>
                  <a:lnTo>
                    <a:pt x="347110" y="1613206"/>
                  </a:lnTo>
                  <a:lnTo>
                    <a:pt x="347110" y="1615488"/>
                  </a:lnTo>
                  <a:lnTo>
                    <a:pt x="349393" y="1615488"/>
                  </a:lnTo>
                  <a:lnTo>
                    <a:pt x="351677" y="1615488"/>
                  </a:lnTo>
                  <a:lnTo>
                    <a:pt x="353960" y="1615488"/>
                  </a:lnTo>
                  <a:lnTo>
                    <a:pt x="353960" y="1617769"/>
                  </a:lnTo>
                  <a:lnTo>
                    <a:pt x="356244" y="1617769"/>
                  </a:lnTo>
                  <a:lnTo>
                    <a:pt x="356244" y="1620051"/>
                  </a:lnTo>
                  <a:lnTo>
                    <a:pt x="358527" y="1620051"/>
                  </a:lnTo>
                  <a:lnTo>
                    <a:pt x="358527" y="1622333"/>
                  </a:lnTo>
                  <a:lnTo>
                    <a:pt x="360811" y="1622333"/>
                  </a:lnTo>
                  <a:lnTo>
                    <a:pt x="360811" y="1624615"/>
                  </a:lnTo>
                  <a:lnTo>
                    <a:pt x="363096" y="1624615"/>
                  </a:lnTo>
                  <a:lnTo>
                    <a:pt x="363096" y="1622333"/>
                  </a:lnTo>
                  <a:lnTo>
                    <a:pt x="365378" y="1622333"/>
                  </a:lnTo>
                  <a:lnTo>
                    <a:pt x="367662" y="1622333"/>
                  </a:lnTo>
                  <a:lnTo>
                    <a:pt x="367662" y="1620051"/>
                  </a:lnTo>
                  <a:lnTo>
                    <a:pt x="365378" y="1620051"/>
                  </a:lnTo>
                  <a:lnTo>
                    <a:pt x="363096" y="1620051"/>
                  </a:lnTo>
                  <a:lnTo>
                    <a:pt x="363096" y="1617769"/>
                  </a:lnTo>
                  <a:lnTo>
                    <a:pt x="360811" y="1617769"/>
                  </a:lnTo>
                  <a:lnTo>
                    <a:pt x="360811" y="1615488"/>
                  </a:lnTo>
                  <a:lnTo>
                    <a:pt x="358527" y="1615488"/>
                  </a:lnTo>
                  <a:lnTo>
                    <a:pt x="358527" y="1613206"/>
                  </a:lnTo>
                  <a:lnTo>
                    <a:pt x="358527" y="1610923"/>
                  </a:lnTo>
                  <a:lnTo>
                    <a:pt x="356244" y="1610923"/>
                  </a:lnTo>
                  <a:lnTo>
                    <a:pt x="356244" y="1608642"/>
                  </a:lnTo>
                  <a:lnTo>
                    <a:pt x="356244" y="1606360"/>
                  </a:lnTo>
                  <a:lnTo>
                    <a:pt x="356244" y="1604078"/>
                  </a:lnTo>
                  <a:lnTo>
                    <a:pt x="356244" y="1601796"/>
                  </a:lnTo>
                  <a:lnTo>
                    <a:pt x="356244" y="1599514"/>
                  </a:lnTo>
                  <a:lnTo>
                    <a:pt x="356244" y="1597232"/>
                  </a:lnTo>
                  <a:lnTo>
                    <a:pt x="356244" y="1594950"/>
                  </a:lnTo>
                  <a:lnTo>
                    <a:pt x="358527" y="1594950"/>
                  </a:lnTo>
                  <a:lnTo>
                    <a:pt x="358527" y="1592668"/>
                  </a:lnTo>
                  <a:lnTo>
                    <a:pt x="358527" y="1590387"/>
                  </a:lnTo>
                  <a:lnTo>
                    <a:pt x="356244" y="1588105"/>
                  </a:lnTo>
                  <a:lnTo>
                    <a:pt x="356244" y="1585823"/>
                  </a:lnTo>
                  <a:lnTo>
                    <a:pt x="356244" y="1583541"/>
                  </a:lnTo>
                  <a:lnTo>
                    <a:pt x="358527" y="1583541"/>
                  </a:lnTo>
                  <a:lnTo>
                    <a:pt x="358527" y="1581259"/>
                  </a:lnTo>
                  <a:lnTo>
                    <a:pt x="358527" y="1578977"/>
                  </a:lnTo>
                  <a:lnTo>
                    <a:pt x="358527" y="1576695"/>
                  </a:lnTo>
                  <a:lnTo>
                    <a:pt x="358527" y="1574413"/>
                  </a:lnTo>
                  <a:lnTo>
                    <a:pt x="358527" y="1572132"/>
                  </a:lnTo>
                  <a:lnTo>
                    <a:pt x="356244" y="1572132"/>
                  </a:lnTo>
                  <a:lnTo>
                    <a:pt x="356244" y="1569849"/>
                  </a:lnTo>
                  <a:lnTo>
                    <a:pt x="353960" y="1569849"/>
                  </a:lnTo>
                  <a:lnTo>
                    <a:pt x="353960" y="1567567"/>
                  </a:lnTo>
                  <a:lnTo>
                    <a:pt x="353960" y="1565286"/>
                  </a:lnTo>
                  <a:lnTo>
                    <a:pt x="351677" y="1565286"/>
                  </a:lnTo>
                  <a:lnTo>
                    <a:pt x="351677" y="1563004"/>
                  </a:lnTo>
                  <a:lnTo>
                    <a:pt x="351677" y="1560722"/>
                  </a:lnTo>
                  <a:lnTo>
                    <a:pt x="349393" y="1560722"/>
                  </a:lnTo>
                  <a:lnTo>
                    <a:pt x="349393" y="1558440"/>
                  </a:lnTo>
                  <a:lnTo>
                    <a:pt x="347110" y="1558440"/>
                  </a:lnTo>
                  <a:lnTo>
                    <a:pt x="347110" y="1556158"/>
                  </a:lnTo>
                  <a:lnTo>
                    <a:pt x="344826" y="1556158"/>
                  </a:lnTo>
                  <a:lnTo>
                    <a:pt x="342542" y="1556158"/>
                  </a:lnTo>
                  <a:lnTo>
                    <a:pt x="340259" y="1556158"/>
                  </a:lnTo>
                  <a:lnTo>
                    <a:pt x="337975" y="1553876"/>
                  </a:lnTo>
                  <a:lnTo>
                    <a:pt x="337975" y="1551594"/>
                  </a:lnTo>
                  <a:lnTo>
                    <a:pt x="337975" y="1549312"/>
                  </a:lnTo>
                  <a:lnTo>
                    <a:pt x="340259" y="1549312"/>
                  </a:lnTo>
                  <a:lnTo>
                    <a:pt x="340259" y="1547031"/>
                  </a:lnTo>
                  <a:lnTo>
                    <a:pt x="340259" y="1544758"/>
                  </a:lnTo>
                  <a:lnTo>
                    <a:pt x="340259" y="1542476"/>
                  </a:lnTo>
                  <a:lnTo>
                    <a:pt x="342542" y="1542476"/>
                  </a:lnTo>
                  <a:lnTo>
                    <a:pt x="342542" y="1540194"/>
                  </a:lnTo>
                  <a:lnTo>
                    <a:pt x="342542" y="1537913"/>
                  </a:lnTo>
                  <a:lnTo>
                    <a:pt x="340259" y="1537913"/>
                  </a:lnTo>
                  <a:lnTo>
                    <a:pt x="340259" y="1535630"/>
                  </a:lnTo>
                  <a:lnTo>
                    <a:pt x="340259" y="1533348"/>
                  </a:lnTo>
                  <a:lnTo>
                    <a:pt x="342542" y="1533348"/>
                  </a:lnTo>
                  <a:lnTo>
                    <a:pt x="342542" y="1531067"/>
                  </a:lnTo>
                  <a:lnTo>
                    <a:pt x="344826" y="1531067"/>
                  </a:lnTo>
                  <a:lnTo>
                    <a:pt x="344826" y="1528785"/>
                  </a:lnTo>
                  <a:lnTo>
                    <a:pt x="347110" y="1528785"/>
                  </a:lnTo>
                  <a:lnTo>
                    <a:pt x="347110" y="1526503"/>
                  </a:lnTo>
                  <a:lnTo>
                    <a:pt x="349393" y="1526503"/>
                  </a:lnTo>
                  <a:lnTo>
                    <a:pt x="349393" y="1524221"/>
                  </a:lnTo>
                  <a:lnTo>
                    <a:pt x="349393" y="1521939"/>
                  </a:lnTo>
                  <a:lnTo>
                    <a:pt x="351677" y="1521939"/>
                  </a:lnTo>
                  <a:lnTo>
                    <a:pt x="351677" y="1519657"/>
                  </a:lnTo>
                  <a:lnTo>
                    <a:pt x="353960" y="1519657"/>
                  </a:lnTo>
                  <a:lnTo>
                    <a:pt x="356244" y="1519657"/>
                  </a:lnTo>
                  <a:lnTo>
                    <a:pt x="356244" y="1517375"/>
                  </a:lnTo>
                  <a:lnTo>
                    <a:pt x="358527" y="1517375"/>
                  </a:lnTo>
                  <a:lnTo>
                    <a:pt x="360811" y="1517375"/>
                  </a:lnTo>
                  <a:lnTo>
                    <a:pt x="360811" y="1515093"/>
                  </a:lnTo>
                  <a:lnTo>
                    <a:pt x="363096" y="1515093"/>
                  </a:lnTo>
                  <a:lnTo>
                    <a:pt x="365378" y="1515093"/>
                  </a:lnTo>
                  <a:lnTo>
                    <a:pt x="367662" y="1515093"/>
                  </a:lnTo>
                  <a:lnTo>
                    <a:pt x="367662" y="1512812"/>
                  </a:lnTo>
                  <a:lnTo>
                    <a:pt x="369945" y="1512812"/>
                  </a:lnTo>
                  <a:lnTo>
                    <a:pt x="372229" y="1512812"/>
                  </a:lnTo>
                  <a:lnTo>
                    <a:pt x="374514" y="1512812"/>
                  </a:lnTo>
                  <a:lnTo>
                    <a:pt x="374514" y="1510530"/>
                  </a:lnTo>
                  <a:lnTo>
                    <a:pt x="376797" y="1510530"/>
                  </a:lnTo>
                  <a:lnTo>
                    <a:pt x="379080" y="1510530"/>
                  </a:lnTo>
                  <a:lnTo>
                    <a:pt x="381363" y="1510530"/>
                  </a:lnTo>
                  <a:lnTo>
                    <a:pt x="383647" y="1508248"/>
                  </a:lnTo>
                  <a:lnTo>
                    <a:pt x="385931" y="1508248"/>
                  </a:lnTo>
                  <a:lnTo>
                    <a:pt x="388216" y="1508248"/>
                  </a:lnTo>
                  <a:lnTo>
                    <a:pt x="388216" y="1505966"/>
                  </a:lnTo>
                  <a:lnTo>
                    <a:pt x="390500" y="1505966"/>
                  </a:lnTo>
                  <a:lnTo>
                    <a:pt x="392783" y="1505966"/>
                  </a:lnTo>
                  <a:lnTo>
                    <a:pt x="395067" y="1503684"/>
                  </a:lnTo>
                  <a:lnTo>
                    <a:pt x="397351" y="1503684"/>
                  </a:lnTo>
                  <a:lnTo>
                    <a:pt x="399634" y="1503684"/>
                  </a:lnTo>
                  <a:lnTo>
                    <a:pt x="401918" y="1503684"/>
                  </a:lnTo>
                  <a:lnTo>
                    <a:pt x="404201" y="1503684"/>
                  </a:lnTo>
                  <a:lnTo>
                    <a:pt x="404201" y="1501402"/>
                  </a:lnTo>
                  <a:lnTo>
                    <a:pt x="406485" y="1501402"/>
                  </a:lnTo>
                  <a:lnTo>
                    <a:pt x="408768" y="1501402"/>
                  </a:lnTo>
                  <a:lnTo>
                    <a:pt x="411052" y="1501402"/>
                  </a:lnTo>
                  <a:lnTo>
                    <a:pt x="413336" y="1501402"/>
                  </a:lnTo>
                  <a:lnTo>
                    <a:pt x="415619" y="1501402"/>
                  </a:lnTo>
                  <a:lnTo>
                    <a:pt x="417903" y="1501402"/>
                  </a:lnTo>
                  <a:lnTo>
                    <a:pt x="420187" y="1501402"/>
                  </a:lnTo>
                  <a:lnTo>
                    <a:pt x="422470" y="1501402"/>
                  </a:lnTo>
                  <a:lnTo>
                    <a:pt x="424754" y="1501402"/>
                  </a:lnTo>
                  <a:lnTo>
                    <a:pt x="424754" y="1499120"/>
                  </a:lnTo>
                  <a:lnTo>
                    <a:pt x="427037" y="1499120"/>
                  </a:lnTo>
                  <a:lnTo>
                    <a:pt x="429321" y="1499120"/>
                  </a:lnTo>
                  <a:lnTo>
                    <a:pt x="431604" y="1499120"/>
                  </a:lnTo>
                  <a:lnTo>
                    <a:pt x="433888" y="1499120"/>
                  </a:lnTo>
                  <a:lnTo>
                    <a:pt x="436172" y="1499120"/>
                  </a:lnTo>
                  <a:lnTo>
                    <a:pt x="438455" y="1499120"/>
                  </a:lnTo>
                  <a:lnTo>
                    <a:pt x="440739" y="1499120"/>
                  </a:lnTo>
                  <a:lnTo>
                    <a:pt x="443022" y="1499120"/>
                  </a:lnTo>
                  <a:lnTo>
                    <a:pt x="445306" y="1501402"/>
                  </a:lnTo>
                  <a:lnTo>
                    <a:pt x="447590" y="1501402"/>
                  </a:lnTo>
                  <a:lnTo>
                    <a:pt x="449873" y="1501402"/>
                  </a:lnTo>
                  <a:lnTo>
                    <a:pt x="452157" y="1501402"/>
                  </a:lnTo>
                  <a:lnTo>
                    <a:pt x="454440" y="1501402"/>
                  </a:lnTo>
                  <a:lnTo>
                    <a:pt x="456724" y="1503684"/>
                  </a:lnTo>
                  <a:lnTo>
                    <a:pt x="459008" y="1503684"/>
                  </a:lnTo>
                  <a:lnTo>
                    <a:pt x="461291" y="1503684"/>
                  </a:lnTo>
                  <a:lnTo>
                    <a:pt x="461291" y="1505966"/>
                  </a:lnTo>
                  <a:lnTo>
                    <a:pt x="463575" y="1505966"/>
                  </a:lnTo>
                  <a:lnTo>
                    <a:pt x="465858" y="1505966"/>
                  </a:lnTo>
                  <a:lnTo>
                    <a:pt x="465858" y="1508248"/>
                  </a:lnTo>
                  <a:lnTo>
                    <a:pt x="468142" y="1508248"/>
                  </a:lnTo>
                  <a:lnTo>
                    <a:pt x="470426" y="1508248"/>
                  </a:lnTo>
                  <a:lnTo>
                    <a:pt x="470426" y="1510530"/>
                  </a:lnTo>
                  <a:lnTo>
                    <a:pt x="472709" y="1510530"/>
                  </a:lnTo>
                  <a:lnTo>
                    <a:pt x="472709" y="1512812"/>
                  </a:lnTo>
                  <a:lnTo>
                    <a:pt x="472709" y="1515093"/>
                  </a:lnTo>
                  <a:lnTo>
                    <a:pt x="474993" y="1515093"/>
                  </a:lnTo>
                  <a:lnTo>
                    <a:pt x="474993" y="1517375"/>
                  </a:lnTo>
                  <a:lnTo>
                    <a:pt x="477276" y="1517375"/>
                  </a:lnTo>
                  <a:lnTo>
                    <a:pt x="477276" y="1519657"/>
                  </a:lnTo>
                  <a:lnTo>
                    <a:pt x="479560" y="1519657"/>
                  </a:lnTo>
                  <a:lnTo>
                    <a:pt x="479560" y="1521939"/>
                  </a:lnTo>
                  <a:lnTo>
                    <a:pt x="481844" y="1521939"/>
                  </a:lnTo>
                  <a:lnTo>
                    <a:pt x="481844" y="1524221"/>
                  </a:lnTo>
                  <a:lnTo>
                    <a:pt x="484127" y="1524221"/>
                  </a:lnTo>
                  <a:lnTo>
                    <a:pt x="484127" y="1526503"/>
                  </a:lnTo>
                  <a:lnTo>
                    <a:pt x="484127" y="1528785"/>
                  </a:lnTo>
                  <a:lnTo>
                    <a:pt x="486411" y="1528785"/>
                  </a:lnTo>
                  <a:lnTo>
                    <a:pt x="488694" y="1528785"/>
                  </a:lnTo>
                  <a:lnTo>
                    <a:pt x="488694" y="1531067"/>
                  </a:lnTo>
                  <a:lnTo>
                    <a:pt x="488694" y="1533348"/>
                  </a:lnTo>
                  <a:lnTo>
                    <a:pt x="486411" y="1533348"/>
                  </a:lnTo>
                  <a:lnTo>
                    <a:pt x="486411" y="1535630"/>
                  </a:lnTo>
                  <a:lnTo>
                    <a:pt x="484127" y="1535630"/>
                  </a:lnTo>
                  <a:lnTo>
                    <a:pt x="481844" y="1535630"/>
                  </a:lnTo>
                  <a:lnTo>
                    <a:pt x="481844" y="1537913"/>
                  </a:lnTo>
                  <a:lnTo>
                    <a:pt x="479560" y="1537913"/>
                  </a:lnTo>
                  <a:lnTo>
                    <a:pt x="477276" y="1537913"/>
                  </a:lnTo>
                  <a:lnTo>
                    <a:pt x="477276" y="1540194"/>
                  </a:lnTo>
                  <a:lnTo>
                    <a:pt x="474993" y="1540194"/>
                  </a:lnTo>
                  <a:lnTo>
                    <a:pt x="474993" y="1542476"/>
                  </a:lnTo>
                  <a:lnTo>
                    <a:pt x="474993" y="1544758"/>
                  </a:lnTo>
                  <a:lnTo>
                    <a:pt x="474993" y="1547031"/>
                  </a:lnTo>
                  <a:lnTo>
                    <a:pt x="474993" y="1549312"/>
                  </a:lnTo>
                  <a:lnTo>
                    <a:pt x="477276" y="1549312"/>
                  </a:lnTo>
                  <a:lnTo>
                    <a:pt x="477276" y="1551594"/>
                  </a:lnTo>
                  <a:lnTo>
                    <a:pt x="479560" y="1551594"/>
                  </a:lnTo>
                  <a:lnTo>
                    <a:pt x="479560" y="1553876"/>
                  </a:lnTo>
                  <a:lnTo>
                    <a:pt x="479560" y="1556158"/>
                  </a:lnTo>
                  <a:lnTo>
                    <a:pt x="479560" y="1558440"/>
                  </a:lnTo>
                  <a:lnTo>
                    <a:pt x="481844" y="1558440"/>
                  </a:lnTo>
                  <a:lnTo>
                    <a:pt x="481844" y="1560722"/>
                  </a:lnTo>
                  <a:lnTo>
                    <a:pt x="484127" y="1560722"/>
                  </a:lnTo>
                  <a:lnTo>
                    <a:pt x="486411" y="1560722"/>
                  </a:lnTo>
                  <a:lnTo>
                    <a:pt x="486411" y="1563004"/>
                  </a:lnTo>
                  <a:lnTo>
                    <a:pt x="486411" y="1565286"/>
                  </a:lnTo>
                  <a:lnTo>
                    <a:pt x="486411" y="1567567"/>
                  </a:lnTo>
                  <a:lnTo>
                    <a:pt x="488694" y="1567567"/>
                  </a:lnTo>
                  <a:lnTo>
                    <a:pt x="488694" y="1569849"/>
                  </a:lnTo>
                  <a:lnTo>
                    <a:pt x="488694" y="1572132"/>
                  </a:lnTo>
                  <a:lnTo>
                    <a:pt x="488694" y="1574413"/>
                  </a:lnTo>
                  <a:lnTo>
                    <a:pt x="486411" y="1574413"/>
                  </a:lnTo>
                  <a:lnTo>
                    <a:pt x="486411" y="1576695"/>
                  </a:lnTo>
                  <a:lnTo>
                    <a:pt x="484127" y="1576695"/>
                  </a:lnTo>
                  <a:lnTo>
                    <a:pt x="484127" y="1578977"/>
                  </a:lnTo>
                  <a:lnTo>
                    <a:pt x="481844" y="1578977"/>
                  </a:lnTo>
                  <a:lnTo>
                    <a:pt x="479560" y="1578977"/>
                  </a:lnTo>
                  <a:lnTo>
                    <a:pt x="479560" y="1581259"/>
                  </a:lnTo>
                  <a:lnTo>
                    <a:pt x="479560" y="1583541"/>
                  </a:lnTo>
                  <a:lnTo>
                    <a:pt x="479560" y="1585823"/>
                  </a:lnTo>
                  <a:lnTo>
                    <a:pt x="477276" y="1585823"/>
                  </a:lnTo>
                  <a:lnTo>
                    <a:pt x="477276" y="1588105"/>
                  </a:lnTo>
                  <a:lnTo>
                    <a:pt x="477276" y="1590387"/>
                  </a:lnTo>
                  <a:lnTo>
                    <a:pt x="474993" y="1588105"/>
                  </a:lnTo>
                  <a:lnTo>
                    <a:pt x="474993" y="1590387"/>
                  </a:lnTo>
                  <a:lnTo>
                    <a:pt x="474993" y="1592668"/>
                  </a:lnTo>
                  <a:lnTo>
                    <a:pt x="474993" y="1594950"/>
                  </a:lnTo>
                  <a:lnTo>
                    <a:pt x="477276" y="1594950"/>
                  </a:lnTo>
                  <a:lnTo>
                    <a:pt x="477276" y="1597232"/>
                  </a:lnTo>
                  <a:lnTo>
                    <a:pt x="477276" y="1599514"/>
                  </a:lnTo>
                  <a:lnTo>
                    <a:pt x="479560" y="1599514"/>
                  </a:lnTo>
                  <a:lnTo>
                    <a:pt x="479560" y="1601796"/>
                  </a:lnTo>
                  <a:lnTo>
                    <a:pt x="479560" y="1604078"/>
                  </a:lnTo>
                  <a:lnTo>
                    <a:pt x="481844" y="1604078"/>
                  </a:lnTo>
                  <a:lnTo>
                    <a:pt x="481844" y="1606360"/>
                  </a:lnTo>
                  <a:lnTo>
                    <a:pt x="481844" y="1608642"/>
                  </a:lnTo>
                  <a:lnTo>
                    <a:pt x="479560" y="1608642"/>
                  </a:lnTo>
                  <a:lnTo>
                    <a:pt x="479560" y="1610923"/>
                  </a:lnTo>
                  <a:lnTo>
                    <a:pt x="477276" y="1610923"/>
                  </a:lnTo>
                  <a:lnTo>
                    <a:pt x="477276" y="1613206"/>
                  </a:lnTo>
                  <a:lnTo>
                    <a:pt x="479560" y="1613206"/>
                  </a:lnTo>
                  <a:lnTo>
                    <a:pt x="479560" y="1615488"/>
                  </a:lnTo>
                  <a:lnTo>
                    <a:pt x="477276" y="1615488"/>
                  </a:lnTo>
                  <a:lnTo>
                    <a:pt x="477276" y="1617769"/>
                  </a:lnTo>
                  <a:lnTo>
                    <a:pt x="479560" y="1617769"/>
                  </a:lnTo>
                  <a:lnTo>
                    <a:pt x="479560" y="1620051"/>
                  </a:lnTo>
                  <a:lnTo>
                    <a:pt x="481844" y="1620051"/>
                  </a:lnTo>
                  <a:lnTo>
                    <a:pt x="481844" y="1622333"/>
                  </a:lnTo>
                  <a:lnTo>
                    <a:pt x="481844" y="1624615"/>
                  </a:lnTo>
                  <a:lnTo>
                    <a:pt x="481844" y="1626897"/>
                  </a:lnTo>
                  <a:lnTo>
                    <a:pt x="484127" y="1626897"/>
                  </a:lnTo>
                  <a:lnTo>
                    <a:pt x="486411" y="1626897"/>
                  </a:lnTo>
                  <a:lnTo>
                    <a:pt x="486411" y="1624615"/>
                  </a:lnTo>
                  <a:lnTo>
                    <a:pt x="484127" y="1624615"/>
                  </a:lnTo>
                  <a:lnTo>
                    <a:pt x="484127" y="1622333"/>
                  </a:lnTo>
                  <a:lnTo>
                    <a:pt x="486411" y="1622333"/>
                  </a:lnTo>
                  <a:lnTo>
                    <a:pt x="488694" y="1622333"/>
                  </a:lnTo>
                  <a:lnTo>
                    <a:pt x="490978" y="1622333"/>
                  </a:lnTo>
                  <a:lnTo>
                    <a:pt x="490978" y="1624615"/>
                  </a:lnTo>
                  <a:lnTo>
                    <a:pt x="490978" y="1626897"/>
                  </a:lnTo>
                  <a:lnTo>
                    <a:pt x="493262" y="1626897"/>
                  </a:lnTo>
                  <a:lnTo>
                    <a:pt x="495545" y="1626897"/>
                  </a:lnTo>
                  <a:lnTo>
                    <a:pt x="495545" y="1624615"/>
                  </a:lnTo>
                  <a:lnTo>
                    <a:pt x="493262" y="1624615"/>
                  </a:lnTo>
                  <a:lnTo>
                    <a:pt x="493262" y="1622333"/>
                  </a:lnTo>
                  <a:lnTo>
                    <a:pt x="493262" y="1620051"/>
                  </a:lnTo>
                  <a:lnTo>
                    <a:pt x="495545" y="1620051"/>
                  </a:lnTo>
                  <a:lnTo>
                    <a:pt x="495545" y="1617769"/>
                  </a:lnTo>
                  <a:lnTo>
                    <a:pt x="497829" y="1617769"/>
                  </a:lnTo>
                  <a:lnTo>
                    <a:pt x="500112" y="1617769"/>
                  </a:lnTo>
                  <a:lnTo>
                    <a:pt x="502396" y="1617769"/>
                  </a:lnTo>
                  <a:lnTo>
                    <a:pt x="504680" y="1617769"/>
                  </a:lnTo>
                  <a:lnTo>
                    <a:pt x="504680" y="1620051"/>
                  </a:lnTo>
                  <a:lnTo>
                    <a:pt x="506963" y="1620051"/>
                  </a:lnTo>
                  <a:lnTo>
                    <a:pt x="506963" y="1617769"/>
                  </a:lnTo>
                  <a:lnTo>
                    <a:pt x="506963" y="1615488"/>
                  </a:lnTo>
                  <a:lnTo>
                    <a:pt x="509247" y="1615488"/>
                  </a:lnTo>
                  <a:lnTo>
                    <a:pt x="509247" y="1613206"/>
                  </a:lnTo>
                  <a:lnTo>
                    <a:pt x="509247" y="1610923"/>
                  </a:lnTo>
                  <a:lnTo>
                    <a:pt x="511530" y="1610923"/>
                  </a:lnTo>
                  <a:lnTo>
                    <a:pt x="513814" y="1610923"/>
                  </a:lnTo>
                  <a:lnTo>
                    <a:pt x="516098" y="1610923"/>
                  </a:lnTo>
                  <a:lnTo>
                    <a:pt x="518381" y="1610923"/>
                  </a:lnTo>
                  <a:lnTo>
                    <a:pt x="520665" y="1610923"/>
                  </a:lnTo>
                  <a:lnTo>
                    <a:pt x="522948" y="1610923"/>
                  </a:lnTo>
                  <a:lnTo>
                    <a:pt x="525232" y="1610923"/>
                  </a:lnTo>
                  <a:lnTo>
                    <a:pt x="527516" y="1610923"/>
                  </a:lnTo>
                  <a:lnTo>
                    <a:pt x="529799" y="1610923"/>
                  </a:lnTo>
                  <a:lnTo>
                    <a:pt x="532083" y="1610923"/>
                  </a:lnTo>
                  <a:lnTo>
                    <a:pt x="534366" y="1610923"/>
                  </a:lnTo>
                  <a:lnTo>
                    <a:pt x="534366" y="1608642"/>
                  </a:lnTo>
                  <a:lnTo>
                    <a:pt x="534366" y="1606360"/>
                  </a:lnTo>
                  <a:lnTo>
                    <a:pt x="536650" y="1606360"/>
                  </a:lnTo>
                  <a:lnTo>
                    <a:pt x="536650" y="1604078"/>
                  </a:lnTo>
                  <a:lnTo>
                    <a:pt x="538933" y="1604078"/>
                  </a:lnTo>
                  <a:lnTo>
                    <a:pt x="541217" y="1604078"/>
                  </a:lnTo>
                  <a:lnTo>
                    <a:pt x="543501" y="1604078"/>
                  </a:lnTo>
                  <a:lnTo>
                    <a:pt x="545784" y="1604078"/>
                  </a:lnTo>
                  <a:lnTo>
                    <a:pt x="548068" y="1604078"/>
                  </a:lnTo>
                  <a:lnTo>
                    <a:pt x="550352" y="1604078"/>
                  </a:lnTo>
                  <a:lnTo>
                    <a:pt x="550352" y="1601796"/>
                  </a:lnTo>
                  <a:lnTo>
                    <a:pt x="552635" y="1601796"/>
                  </a:lnTo>
                  <a:lnTo>
                    <a:pt x="554919" y="1601796"/>
                  </a:lnTo>
                  <a:lnTo>
                    <a:pt x="557202" y="1601796"/>
                  </a:lnTo>
                  <a:lnTo>
                    <a:pt x="559486" y="1601796"/>
                  </a:lnTo>
                  <a:lnTo>
                    <a:pt x="561769" y="1604078"/>
                  </a:lnTo>
                  <a:lnTo>
                    <a:pt x="564053" y="1604078"/>
                  </a:lnTo>
                  <a:lnTo>
                    <a:pt x="566337" y="1604078"/>
                  </a:lnTo>
                  <a:lnTo>
                    <a:pt x="566337" y="1606360"/>
                  </a:lnTo>
                  <a:lnTo>
                    <a:pt x="568620" y="1606360"/>
                  </a:lnTo>
                  <a:lnTo>
                    <a:pt x="570904" y="1608642"/>
                  </a:lnTo>
                  <a:lnTo>
                    <a:pt x="573187" y="1608642"/>
                  </a:lnTo>
                  <a:lnTo>
                    <a:pt x="573187" y="1610923"/>
                  </a:lnTo>
                  <a:lnTo>
                    <a:pt x="575471" y="1610923"/>
                  </a:lnTo>
                  <a:lnTo>
                    <a:pt x="577755" y="1613206"/>
                  </a:lnTo>
                  <a:lnTo>
                    <a:pt x="580038" y="1615488"/>
                  </a:lnTo>
                  <a:lnTo>
                    <a:pt x="582322" y="1615488"/>
                  </a:lnTo>
                  <a:lnTo>
                    <a:pt x="582322" y="1617769"/>
                  </a:lnTo>
                  <a:lnTo>
                    <a:pt x="584605" y="1617769"/>
                  </a:lnTo>
                  <a:lnTo>
                    <a:pt x="584605" y="1620051"/>
                  </a:lnTo>
                  <a:lnTo>
                    <a:pt x="584605" y="1622333"/>
                  </a:lnTo>
                  <a:lnTo>
                    <a:pt x="584605" y="1624615"/>
                  </a:lnTo>
                  <a:lnTo>
                    <a:pt x="582322" y="1624615"/>
                  </a:lnTo>
                  <a:lnTo>
                    <a:pt x="582322" y="1626897"/>
                  </a:lnTo>
                  <a:lnTo>
                    <a:pt x="584605" y="1626897"/>
                  </a:lnTo>
                  <a:lnTo>
                    <a:pt x="584605" y="1629179"/>
                  </a:lnTo>
                  <a:lnTo>
                    <a:pt x="586889" y="1629179"/>
                  </a:lnTo>
                  <a:lnTo>
                    <a:pt x="586889" y="1631461"/>
                  </a:lnTo>
                  <a:lnTo>
                    <a:pt x="589173" y="1631461"/>
                  </a:lnTo>
                  <a:lnTo>
                    <a:pt x="591456" y="1631461"/>
                  </a:lnTo>
                  <a:lnTo>
                    <a:pt x="593740" y="1631461"/>
                  </a:lnTo>
                  <a:lnTo>
                    <a:pt x="596023" y="1631461"/>
                  </a:lnTo>
                  <a:lnTo>
                    <a:pt x="598307" y="1631461"/>
                  </a:lnTo>
                  <a:lnTo>
                    <a:pt x="598307" y="1629179"/>
                  </a:lnTo>
                  <a:lnTo>
                    <a:pt x="600591" y="1629179"/>
                  </a:lnTo>
                  <a:lnTo>
                    <a:pt x="602874" y="1629179"/>
                  </a:lnTo>
                  <a:lnTo>
                    <a:pt x="605158" y="1629179"/>
                  </a:lnTo>
                  <a:lnTo>
                    <a:pt x="605158" y="1631461"/>
                  </a:lnTo>
                  <a:lnTo>
                    <a:pt x="607441" y="1631461"/>
                  </a:lnTo>
                  <a:lnTo>
                    <a:pt x="609725" y="1631461"/>
                  </a:lnTo>
                  <a:lnTo>
                    <a:pt x="609725" y="1633743"/>
                  </a:lnTo>
                  <a:lnTo>
                    <a:pt x="612009" y="1633743"/>
                  </a:lnTo>
                  <a:lnTo>
                    <a:pt x="614292" y="1633743"/>
                  </a:lnTo>
                  <a:lnTo>
                    <a:pt x="614292" y="1636024"/>
                  </a:lnTo>
                  <a:lnTo>
                    <a:pt x="616576" y="1636024"/>
                  </a:lnTo>
                  <a:lnTo>
                    <a:pt x="618859" y="1636024"/>
                  </a:lnTo>
                  <a:lnTo>
                    <a:pt x="621143" y="1636024"/>
                  </a:lnTo>
                  <a:lnTo>
                    <a:pt x="621143" y="1633743"/>
                  </a:lnTo>
                  <a:lnTo>
                    <a:pt x="623427" y="1633743"/>
                  </a:lnTo>
                  <a:lnTo>
                    <a:pt x="623427" y="1631461"/>
                  </a:lnTo>
                  <a:lnTo>
                    <a:pt x="623427" y="1629179"/>
                  </a:lnTo>
                  <a:lnTo>
                    <a:pt x="625710" y="1629179"/>
                  </a:lnTo>
                  <a:lnTo>
                    <a:pt x="627994" y="1629179"/>
                  </a:lnTo>
                  <a:lnTo>
                    <a:pt x="627994" y="1626897"/>
                  </a:lnTo>
                  <a:lnTo>
                    <a:pt x="627994" y="1624615"/>
                  </a:lnTo>
                  <a:lnTo>
                    <a:pt x="630277" y="1624615"/>
                  </a:lnTo>
                  <a:lnTo>
                    <a:pt x="632561" y="1624615"/>
                  </a:lnTo>
                  <a:lnTo>
                    <a:pt x="634845" y="1624615"/>
                  </a:lnTo>
                  <a:lnTo>
                    <a:pt x="634845" y="1622333"/>
                  </a:lnTo>
                  <a:lnTo>
                    <a:pt x="637128" y="1622333"/>
                  </a:lnTo>
                  <a:lnTo>
                    <a:pt x="637128" y="1624615"/>
                  </a:lnTo>
                  <a:lnTo>
                    <a:pt x="639412" y="1624615"/>
                  </a:lnTo>
                  <a:lnTo>
                    <a:pt x="641695" y="1624615"/>
                  </a:lnTo>
                  <a:lnTo>
                    <a:pt x="643979" y="1624615"/>
                  </a:lnTo>
                  <a:lnTo>
                    <a:pt x="643979" y="1626897"/>
                  </a:lnTo>
                  <a:lnTo>
                    <a:pt x="646262" y="1626897"/>
                  </a:lnTo>
                  <a:lnTo>
                    <a:pt x="646262" y="1629179"/>
                  </a:lnTo>
                  <a:lnTo>
                    <a:pt x="648546" y="1629179"/>
                  </a:lnTo>
                  <a:lnTo>
                    <a:pt x="648546" y="1631461"/>
                  </a:lnTo>
                  <a:lnTo>
                    <a:pt x="650830" y="1631461"/>
                  </a:lnTo>
                  <a:lnTo>
                    <a:pt x="653113" y="1631461"/>
                  </a:lnTo>
                  <a:lnTo>
                    <a:pt x="653113" y="1633743"/>
                  </a:lnTo>
                  <a:lnTo>
                    <a:pt x="655397" y="1633743"/>
                  </a:lnTo>
                  <a:lnTo>
                    <a:pt x="655397" y="1636024"/>
                  </a:lnTo>
                  <a:lnTo>
                    <a:pt x="657681" y="1636024"/>
                  </a:lnTo>
                  <a:lnTo>
                    <a:pt x="657681" y="1638306"/>
                  </a:lnTo>
                  <a:lnTo>
                    <a:pt x="657681" y="1640588"/>
                  </a:lnTo>
                  <a:lnTo>
                    <a:pt x="659964" y="1640588"/>
                  </a:lnTo>
                  <a:lnTo>
                    <a:pt x="659964" y="1642870"/>
                  </a:lnTo>
                  <a:lnTo>
                    <a:pt x="662248" y="1642870"/>
                  </a:lnTo>
                  <a:lnTo>
                    <a:pt x="662248" y="1645152"/>
                  </a:lnTo>
                  <a:lnTo>
                    <a:pt x="664531" y="1645152"/>
                  </a:lnTo>
                  <a:lnTo>
                    <a:pt x="664531" y="1647434"/>
                  </a:lnTo>
                  <a:lnTo>
                    <a:pt x="664531" y="1649716"/>
                  </a:lnTo>
                  <a:lnTo>
                    <a:pt x="666815" y="1649716"/>
                  </a:lnTo>
                  <a:lnTo>
                    <a:pt x="666815" y="1651998"/>
                  </a:lnTo>
                  <a:lnTo>
                    <a:pt x="669098" y="1651998"/>
                  </a:lnTo>
                  <a:lnTo>
                    <a:pt x="669098" y="1654279"/>
                  </a:lnTo>
                  <a:lnTo>
                    <a:pt x="669098" y="1656562"/>
                  </a:lnTo>
                  <a:lnTo>
                    <a:pt x="671382" y="1656562"/>
                  </a:lnTo>
                  <a:lnTo>
                    <a:pt x="671382" y="1658844"/>
                  </a:lnTo>
                  <a:lnTo>
                    <a:pt x="671382" y="1661125"/>
                  </a:lnTo>
                  <a:lnTo>
                    <a:pt x="673666" y="1663407"/>
                  </a:lnTo>
                  <a:lnTo>
                    <a:pt x="673666" y="1665689"/>
                  </a:lnTo>
                  <a:lnTo>
                    <a:pt x="673666" y="1667971"/>
                  </a:lnTo>
                  <a:lnTo>
                    <a:pt x="675949" y="1667971"/>
                  </a:lnTo>
                  <a:lnTo>
                    <a:pt x="675949" y="1670253"/>
                  </a:lnTo>
                  <a:lnTo>
                    <a:pt x="675949" y="1672535"/>
                  </a:lnTo>
                  <a:lnTo>
                    <a:pt x="675949" y="1674817"/>
                  </a:lnTo>
                  <a:lnTo>
                    <a:pt x="675949" y="1677099"/>
                  </a:lnTo>
                  <a:lnTo>
                    <a:pt x="673666" y="1677099"/>
                  </a:lnTo>
                  <a:lnTo>
                    <a:pt x="673666" y="1679380"/>
                  </a:lnTo>
                  <a:lnTo>
                    <a:pt x="671382" y="1679380"/>
                  </a:lnTo>
                  <a:lnTo>
                    <a:pt x="671382" y="1681662"/>
                  </a:lnTo>
                  <a:lnTo>
                    <a:pt x="669098" y="1681662"/>
                  </a:lnTo>
                  <a:lnTo>
                    <a:pt x="669098" y="1683944"/>
                  </a:lnTo>
                  <a:lnTo>
                    <a:pt x="669098" y="1686226"/>
                  </a:lnTo>
                  <a:lnTo>
                    <a:pt x="666815" y="1686226"/>
                  </a:lnTo>
                  <a:lnTo>
                    <a:pt x="666815" y="1688508"/>
                  </a:lnTo>
                  <a:lnTo>
                    <a:pt x="666815" y="1690790"/>
                  </a:lnTo>
                  <a:lnTo>
                    <a:pt x="666815" y="1693072"/>
                  </a:lnTo>
                  <a:lnTo>
                    <a:pt x="666815" y="1695344"/>
                  </a:lnTo>
                  <a:lnTo>
                    <a:pt x="664531" y="1695344"/>
                  </a:lnTo>
                  <a:lnTo>
                    <a:pt x="664531" y="1697635"/>
                  </a:lnTo>
                  <a:lnTo>
                    <a:pt x="662248" y="1697635"/>
                  </a:lnTo>
                  <a:lnTo>
                    <a:pt x="662248" y="1699908"/>
                  </a:lnTo>
                  <a:lnTo>
                    <a:pt x="662248" y="1702190"/>
                  </a:lnTo>
                  <a:lnTo>
                    <a:pt x="662248" y="1704472"/>
                  </a:lnTo>
                  <a:lnTo>
                    <a:pt x="659964" y="1704472"/>
                  </a:lnTo>
                  <a:lnTo>
                    <a:pt x="657681" y="1704472"/>
                  </a:lnTo>
                  <a:lnTo>
                    <a:pt x="655397" y="1704472"/>
                  </a:lnTo>
                  <a:lnTo>
                    <a:pt x="655397" y="1706754"/>
                  </a:lnTo>
                  <a:lnTo>
                    <a:pt x="653113" y="1706754"/>
                  </a:lnTo>
                  <a:lnTo>
                    <a:pt x="653113" y="1709036"/>
                  </a:lnTo>
                  <a:lnTo>
                    <a:pt x="653113" y="1711318"/>
                  </a:lnTo>
                  <a:lnTo>
                    <a:pt x="650830" y="1711318"/>
                  </a:lnTo>
                  <a:lnTo>
                    <a:pt x="650830" y="1713599"/>
                  </a:lnTo>
                  <a:lnTo>
                    <a:pt x="653113" y="1713599"/>
                  </a:lnTo>
                  <a:lnTo>
                    <a:pt x="655397" y="1713599"/>
                  </a:lnTo>
                  <a:lnTo>
                    <a:pt x="657681" y="1711318"/>
                  </a:lnTo>
                  <a:lnTo>
                    <a:pt x="657681" y="1709036"/>
                  </a:lnTo>
                  <a:lnTo>
                    <a:pt x="659964" y="1711318"/>
                  </a:lnTo>
                  <a:lnTo>
                    <a:pt x="662248" y="1711318"/>
                  </a:lnTo>
                  <a:lnTo>
                    <a:pt x="664531" y="1711318"/>
                  </a:lnTo>
                  <a:lnTo>
                    <a:pt x="666815" y="1711318"/>
                  </a:lnTo>
                  <a:lnTo>
                    <a:pt x="669098" y="1711318"/>
                  </a:lnTo>
                  <a:lnTo>
                    <a:pt x="669098" y="1709036"/>
                  </a:lnTo>
                  <a:lnTo>
                    <a:pt x="671382" y="1709036"/>
                  </a:lnTo>
                  <a:lnTo>
                    <a:pt x="671382" y="1706754"/>
                  </a:lnTo>
                  <a:lnTo>
                    <a:pt x="671382" y="1704472"/>
                  </a:lnTo>
                  <a:lnTo>
                    <a:pt x="673666" y="1704472"/>
                  </a:lnTo>
                  <a:lnTo>
                    <a:pt x="673666" y="1706754"/>
                  </a:lnTo>
                  <a:lnTo>
                    <a:pt x="675949" y="1706754"/>
                  </a:lnTo>
                  <a:lnTo>
                    <a:pt x="675949" y="1704472"/>
                  </a:lnTo>
                  <a:lnTo>
                    <a:pt x="678233" y="1704472"/>
                  </a:lnTo>
                  <a:lnTo>
                    <a:pt x="680516" y="1704472"/>
                  </a:lnTo>
                  <a:lnTo>
                    <a:pt x="682800" y="1704472"/>
                  </a:lnTo>
                  <a:lnTo>
                    <a:pt x="682800" y="1702190"/>
                  </a:lnTo>
                  <a:lnTo>
                    <a:pt x="685084" y="1702190"/>
                  </a:lnTo>
                  <a:lnTo>
                    <a:pt x="687367" y="1702190"/>
                  </a:lnTo>
                  <a:lnTo>
                    <a:pt x="687367" y="1699908"/>
                  </a:lnTo>
                  <a:lnTo>
                    <a:pt x="689651" y="1699908"/>
                  </a:lnTo>
                  <a:lnTo>
                    <a:pt x="689651" y="1702190"/>
                  </a:lnTo>
                  <a:lnTo>
                    <a:pt x="691935" y="1702190"/>
                  </a:lnTo>
                  <a:lnTo>
                    <a:pt x="694218" y="1704472"/>
                  </a:lnTo>
                  <a:lnTo>
                    <a:pt x="696502" y="1704472"/>
                  </a:lnTo>
                  <a:lnTo>
                    <a:pt x="696502" y="1706754"/>
                  </a:lnTo>
                  <a:lnTo>
                    <a:pt x="698785" y="1709036"/>
                  </a:lnTo>
                  <a:lnTo>
                    <a:pt x="701069" y="1711318"/>
                  </a:lnTo>
                  <a:lnTo>
                    <a:pt x="701069" y="1713599"/>
                  </a:lnTo>
                  <a:lnTo>
                    <a:pt x="701069" y="1715881"/>
                  </a:lnTo>
                  <a:lnTo>
                    <a:pt x="703352" y="1715881"/>
                  </a:lnTo>
                  <a:lnTo>
                    <a:pt x="703352" y="1718163"/>
                  </a:lnTo>
                  <a:lnTo>
                    <a:pt x="703352" y="1720445"/>
                  </a:lnTo>
                  <a:lnTo>
                    <a:pt x="705636" y="1720445"/>
                  </a:lnTo>
                  <a:lnTo>
                    <a:pt x="707920" y="1720445"/>
                  </a:lnTo>
                  <a:lnTo>
                    <a:pt x="710203" y="1722727"/>
                  </a:lnTo>
                  <a:lnTo>
                    <a:pt x="712487" y="1722727"/>
                  </a:lnTo>
                  <a:lnTo>
                    <a:pt x="714770" y="1722727"/>
                  </a:lnTo>
                  <a:lnTo>
                    <a:pt x="717054" y="1722727"/>
                  </a:lnTo>
                  <a:lnTo>
                    <a:pt x="719338" y="1722727"/>
                  </a:lnTo>
                  <a:lnTo>
                    <a:pt x="721621" y="1722727"/>
                  </a:lnTo>
                  <a:lnTo>
                    <a:pt x="721621" y="1725009"/>
                  </a:lnTo>
                  <a:lnTo>
                    <a:pt x="723905" y="1725009"/>
                  </a:lnTo>
                  <a:lnTo>
                    <a:pt x="726188" y="1725009"/>
                  </a:lnTo>
                  <a:lnTo>
                    <a:pt x="728472" y="1725009"/>
                  </a:lnTo>
                  <a:lnTo>
                    <a:pt x="730756" y="1725009"/>
                  </a:lnTo>
                  <a:lnTo>
                    <a:pt x="730756" y="1727291"/>
                  </a:lnTo>
                  <a:lnTo>
                    <a:pt x="733039" y="1727291"/>
                  </a:lnTo>
                  <a:lnTo>
                    <a:pt x="733039" y="1729573"/>
                  </a:lnTo>
                  <a:lnTo>
                    <a:pt x="735323" y="1731854"/>
                  </a:lnTo>
                  <a:lnTo>
                    <a:pt x="737606" y="1731854"/>
                  </a:lnTo>
                  <a:lnTo>
                    <a:pt x="737606" y="1734137"/>
                  </a:lnTo>
                  <a:lnTo>
                    <a:pt x="737606" y="1736419"/>
                  </a:lnTo>
                  <a:lnTo>
                    <a:pt x="739890" y="1736419"/>
                  </a:lnTo>
                  <a:lnTo>
                    <a:pt x="739890" y="1738700"/>
                  </a:lnTo>
                  <a:lnTo>
                    <a:pt x="742174" y="1740982"/>
                  </a:lnTo>
                  <a:lnTo>
                    <a:pt x="744457" y="1740982"/>
                  </a:lnTo>
                  <a:lnTo>
                    <a:pt x="746741" y="1740982"/>
                  </a:lnTo>
                  <a:lnTo>
                    <a:pt x="746741" y="1743264"/>
                  </a:lnTo>
                  <a:lnTo>
                    <a:pt x="749024" y="1743264"/>
                  </a:lnTo>
                  <a:lnTo>
                    <a:pt x="749024" y="1745546"/>
                  </a:lnTo>
                  <a:lnTo>
                    <a:pt x="751308" y="1745546"/>
                  </a:lnTo>
                  <a:lnTo>
                    <a:pt x="753592" y="1745546"/>
                  </a:lnTo>
                  <a:lnTo>
                    <a:pt x="755875" y="1745546"/>
                  </a:lnTo>
                  <a:lnTo>
                    <a:pt x="755875" y="1747828"/>
                  </a:lnTo>
                  <a:lnTo>
                    <a:pt x="758159" y="1747828"/>
                  </a:lnTo>
                  <a:lnTo>
                    <a:pt x="758159" y="1750110"/>
                  </a:lnTo>
                  <a:lnTo>
                    <a:pt x="758159" y="1752392"/>
                  </a:lnTo>
                  <a:lnTo>
                    <a:pt x="760442" y="1752392"/>
                  </a:lnTo>
                  <a:lnTo>
                    <a:pt x="760442" y="1754674"/>
                  </a:lnTo>
                  <a:lnTo>
                    <a:pt x="760442" y="1756955"/>
                  </a:lnTo>
                  <a:lnTo>
                    <a:pt x="762726" y="1756955"/>
                  </a:lnTo>
                  <a:lnTo>
                    <a:pt x="765010" y="1756955"/>
                  </a:lnTo>
                  <a:lnTo>
                    <a:pt x="767293" y="1756955"/>
                  </a:lnTo>
                  <a:lnTo>
                    <a:pt x="767293" y="1754674"/>
                  </a:lnTo>
                  <a:lnTo>
                    <a:pt x="769577" y="1754674"/>
                  </a:lnTo>
                  <a:lnTo>
                    <a:pt x="769577" y="1756955"/>
                  </a:lnTo>
                  <a:lnTo>
                    <a:pt x="771860" y="1756955"/>
                  </a:lnTo>
                  <a:lnTo>
                    <a:pt x="771860" y="1759237"/>
                  </a:lnTo>
                  <a:lnTo>
                    <a:pt x="771860" y="1761519"/>
                  </a:lnTo>
                  <a:lnTo>
                    <a:pt x="774144" y="1761519"/>
                  </a:lnTo>
                  <a:lnTo>
                    <a:pt x="774144" y="1763801"/>
                  </a:lnTo>
                  <a:lnTo>
                    <a:pt x="774144" y="1766083"/>
                  </a:lnTo>
                  <a:lnTo>
                    <a:pt x="776427" y="1766083"/>
                  </a:lnTo>
                  <a:lnTo>
                    <a:pt x="776427" y="1768365"/>
                  </a:lnTo>
                  <a:lnTo>
                    <a:pt x="778711" y="1768365"/>
                  </a:lnTo>
                  <a:lnTo>
                    <a:pt x="780995" y="1768365"/>
                  </a:lnTo>
                  <a:lnTo>
                    <a:pt x="783278" y="1768365"/>
                  </a:lnTo>
                  <a:lnTo>
                    <a:pt x="783278" y="1766083"/>
                  </a:lnTo>
                  <a:lnTo>
                    <a:pt x="785562" y="1766083"/>
                  </a:lnTo>
                  <a:lnTo>
                    <a:pt x="785562" y="1763801"/>
                  </a:lnTo>
                  <a:lnTo>
                    <a:pt x="785562" y="1761519"/>
                  </a:lnTo>
                  <a:lnTo>
                    <a:pt x="787845" y="1761519"/>
                  </a:lnTo>
                  <a:lnTo>
                    <a:pt x="787845" y="1759237"/>
                  </a:lnTo>
                  <a:lnTo>
                    <a:pt x="790129" y="1759237"/>
                  </a:lnTo>
                  <a:lnTo>
                    <a:pt x="790129" y="1756955"/>
                  </a:lnTo>
                  <a:lnTo>
                    <a:pt x="792413" y="1756955"/>
                  </a:lnTo>
                  <a:lnTo>
                    <a:pt x="794696" y="1756955"/>
                  </a:lnTo>
                  <a:lnTo>
                    <a:pt x="796980" y="1756955"/>
                  </a:lnTo>
                  <a:lnTo>
                    <a:pt x="799264" y="1756955"/>
                  </a:lnTo>
                  <a:lnTo>
                    <a:pt x="799264" y="1759237"/>
                  </a:lnTo>
                  <a:lnTo>
                    <a:pt x="801547" y="1759237"/>
                  </a:lnTo>
                  <a:lnTo>
                    <a:pt x="803831" y="1759237"/>
                  </a:lnTo>
                  <a:lnTo>
                    <a:pt x="806114" y="1759237"/>
                  </a:lnTo>
                  <a:lnTo>
                    <a:pt x="808398" y="1759237"/>
                  </a:lnTo>
                  <a:lnTo>
                    <a:pt x="810681" y="1759237"/>
                  </a:lnTo>
                  <a:lnTo>
                    <a:pt x="812965" y="1759237"/>
                  </a:lnTo>
                  <a:lnTo>
                    <a:pt x="812965" y="1756955"/>
                  </a:lnTo>
                  <a:lnTo>
                    <a:pt x="815249" y="1756955"/>
                  </a:lnTo>
                  <a:lnTo>
                    <a:pt x="817532" y="1756955"/>
                  </a:lnTo>
                  <a:lnTo>
                    <a:pt x="819816" y="1756955"/>
                  </a:lnTo>
                  <a:lnTo>
                    <a:pt x="822099" y="1756955"/>
                  </a:lnTo>
                  <a:lnTo>
                    <a:pt x="824383" y="1756955"/>
                  </a:lnTo>
                  <a:lnTo>
                    <a:pt x="826667" y="1756955"/>
                  </a:lnTo>
                  <a:lnTo>
                    <a:pt x="828950" y="1756955"/>
                  </a:lnTo>
                  <a:lnTo>
                    <a:pt x="828950" y="1754674"/>
                  </a:lnTo>
                  <a:lnTo>
                    <a:pt x="831234" y="1754674"/>
                  </a:lnTo>
                  <a:lnTo>
                    <a:pt x="833517" y="1754674"/>
                  </a:lnTo>
                  <a:lnTo>
                    <a:pt x="835801" y="1754674"/>
                  </a:lnTo>
                  <a:lnTo>
                    <a:pt x="838085" y="1754674"/>
                  </a:lnTo>
                  <a:lnTo>
                    <a:pt x="840368" y="1754674"/>
                  </a:lnTo>
                  <a:lnTo>
                    <a:pt x="840368" y="1756955"/>
                  </a:lnTo>
                  <a:lnTo>
                    <a:pt x="842652" y="1756955"/>
                  </a:lnTo>
                  <a:lnTo>
                    <a:pt x="844935" y="1756955"/>
                  </a:lnTo>
                  <a:lnTo>
                    <a:pt x="844935" y="1754674"/>
                  </a:lnTo>
                  <a:lnTo>
                    <a:pt x="847219" y="1754674"/>
                  </a:lnTo>
                  <a:lnTo>
                    <a:pt x="849503" y="1754674"/>
                  </a:lnTo>
                  <a:lnTo>
                    <a:pt x="851786" y="1754674"/>
                  </a:lnTo>
                  <a:lnTo>
                    <a:pt x="854070" y="1754674"/>
                  </a:lnTo>
                  <a:lnTo>
                    <a:pt x="854070" y="1756955"/>
                  </a:lnTo>
                  <a:lnTo>
                    <a:pt x="856353" y="1756955"/>
                  </a:lnTo>
                  <a:lnTo>
                    <a:pt x="856353" y="1759237"/>
                  </a:lnTo>
                  <a:lnTo>
                    <a:pt x="858637" y="1759237"/>
                  </a:lnTo>
                  <a:lnTo>
                    <a:pt x="858637" y="1761519"/>
                  </a:lnTo>
                  <a:lnTo>
                    <a:pt x="860921" y="1761519"/>
                  </a:lnTo>
                  <a:lnTo>
                    <a:pt x="863204" y="1761519"/>
                  </a:lnTo>
                  <a:lnTo>
                    <a:pt x="863204" y="1763801"/>
                  </a:lnTo>
                  <a:lnTo>
                    <a:pt x="865488" y="1763801"/>
                  </a:lnTo>
                  <a:lnTo>
                    <a:pt x="867771" y="1763801"/>
                  </a:lnTo>
                  <a:lnTo>
                    <a:pt x="867771" y="1766083"/>
                  </a:lnTo>
                  <a:lnTo>
                    <a:pt x="870055" y="1766083"/>
                  </a:lnTo>
                  <a:lnTo>
                    <a:pt x="870055" y="1768365"/>
                  </a:lnTo>
                  <a:lnTo>
                    <a:pt x="872339" y="1768365"/>
                  </a:lnTo>
                  <a:lnTo>
                    <a:pt x="872339" y="1770647"/>
                  </a:lnTo>
                  <a:lnTo>
                    <a:pt x="874622" y="1770647"/>
                  </a:lnTo>
                  <a:lnTo>
                    <a:pt x="874622" y="1772929"/>
                  </a:lnTo>
                  <a:lnTo>
                    <a:pt x="876906" y="1772929"/>
                  </a:lnTo>
                  <a:lnTo>
                    <a:pt x="879189" y="1772929"/>
                  </a:lnTo>
                  <a:lnTo>
                    <a:pt x="881473" y="1772929"/>
                  </a:lnTo>
                  <a:lnTo>
                    <a:pt x="881473" y="1775211"/>
                  </a:lnTo>
                  <a:lnTo>
                    <a:pt x="883756" y="1775211"/>
                  </a:lnTo>
                  <a:lnTo>
                    <a:pt x="886040" y="1775211"/>
                  </a:lnTo>
                  <a:lnTo>
                    <a:pt x="886040" y="1777493"/>
                  </a:lnTo>
                  <a:lnTo>
                    <a:pt x="888324" y="1777493"/>
                  </a:lnTo>
                  <a:lnTo>
                    <a:pt x="890607" y="1777493"/>
                  </a:lnTo>
                  <a:lnTo>
                    <a:pt x="892891" y="1777493"/>
                  </a:lnTo>
                  <a:lnTo>
                    <a:pt x="890607" y="1779775"/>
                  </a:lnTo>
                  <a:lnTo>
                    <a:pt x="892891" y="1779775"/>
                  </a:lnTo>
                  <a:lnTo>
                    <a:pt x="895174" y="1779775"/>
                  </a:lnTo>
                  <a:lnTo>
                    <a:pt x="897458" y="1779775"/>
                  </a:lnTo>
                  <a:lnTo>
                    <a:pt x="899742" y="1779775"/>
                  </a:lnTo>
                  <a:lnTo>
                    <a:pt x="902025" y="1779775"/>
                  </a:lnTo>
                  <a:lnTo>
                    <a:pt x="902025" y="1777493"/>
                  </a:lnTo>
                  <a:lnTo>
                    <a:pt x="902025" y="1775211"/>
                  </a:lnTo>
                  <a:lnTo>
                    <a:pt x="904309" y="1775211"/>
                  </a:lnTo>
                  <a:lnTo>
                    <a:pt x="906593" y="1775211"/>
                  </a:lnTo>
                  <a:lnTo>
                    <a:pt x="906593" y="1772929"/>
                  </a:lnTo>
                  <a:lnTo>
                    <a:pt x="906593" y="1770647"/>
                  </a:lnTo>
                  <a:lnTo>
                    <a:pt x="908876" y="1770647"/>
                  </a:lnTo>
                  <a:lnTo>
                    <a:pt x="911160" y="1770647"/>
                  </a:lnTo>
                  <a:lnTo>
                    <a:pt x="913443" y="1770647"/>
                  </a:lnTo>
                  <a:lnTo>
                    <a:pt x="915727" y="1770647"/>
                  </a:lnTo>
                  <a:lnTo>
                    <a:pt x="915727" y="1768365"/>
                  </a:lnTo>
                  <a:lnTo>
                    <a:pt x="918010" y="1768365"/>
                  </a:lnTo>
                  <a:lnTo>
                    <a:pt x="918010" y="1766083"/>
                  </a:lnTo>
                  <a:lnTo>
                    <a:pt x="918010" y="1763801"/>
                  </a:lnTo>
                  <a:lnTo>
                    <a:pt x="915727" y="1763801"/>
                  </a:lnTo>
                  <a:lnTo>
                    <a:pt x="913443" y="1763801"/>
                  </a:lnTo>
                  <a:lnTo>
                    <a:pt x="913443" y="1761519"/>
                  </a:lnTo>
                  <a:lnTo>
                    <a:pt x="911160" y="1761519"/>
                  </a:lnTo>
                  <a:lnTo>
                    <a:pt x="911160" y="1759237"/>
                  </a:lnTo>
                  <a:lnTo>
                    <a:pt x="911160" y="1756955"/>
                  </a:lnTo>
                  <a:lnTo>
                    <a:pt x="911160" y="1752392"/>
                  </a:lnTo>
                  <a:lnTo>
                    <a:pt x="913443" y="1750110"/>
                  </a:lnTo>
                  <a:lnTo>
                    <a:pt x="913443" y="1747828"/>
                  </a:lnTo>
                  <a:lnTo>
                    <a:pt x="915727" y="1745546"/>
                  </a:lnTo>
                  <a:lnTo>
                    <a:pt x="918010" y="1743264"/>
                  </a:lnTo>
                  <a:lnTo>
                    <a:pt x="918010" y="1740982"/>
                  </a:lnTo>
                  <a:lnTo>
                    <a:pt x="920294" y="1740982"/>
                  </a:lnTo>
                  <a:lnTo>
                    <a:pt x="920294" y="1738700"/>
                  </a:lnTo>
                  <a:lnTo>
                    <a:pt x="922578" y="1736419"/>
                  </a:lnTo>
                  <a:lnTo>
                    <a:pt x="924861" y="1734137"/>
                  </a:lnTo>
                  <a:lnTo>
                    <a:pt x="927145" y="1731854"/>
                  </a:lnTo>
                  <a:lnTo>
                    <a:pt x="933996" y="1729573"/>
                  </a:lnTo>
                  <a:lnTo>
                    <a:pt x="933996" y="1727291"/>
                  </a:lnTo>
                  <a:lnTo>
                    <a:pt x="936279" y="1727291"/>
                  </a:lnTo>
                  <a:lnTo>
                    <a:pt x="938563" y="1725009"/>
                  </a:lnTo>
                  <a:lnTo>
                    <a:pt x="940846" y="1725009"/>
                  </a:lnTo>
                  <a:lnTo>
                    <a:pt x="940846" y="1722727"/>
                  </a:lnTo>
                  <a:lnTo>
                    <a:pt x="943130" y="1722727"/>
                  </a:lnTo>
                  <a:lnTo>
                    <a:pt x="945414" y="1722727"/>
                  </a:lnTo>
                  <a:lnTo>
                    <a:pt x="945414" y="1720445"/>
                  </a:lnTo>
                  <a:lnTo>
                    <a:pt x="947697" y="1720445"/>
                  </a:lnTo>
                  <a:lnTo>
                    <a:pt x="949981" y="1718163"/>
                  </a:lnTo>
                  <a:lnTo>
                    <a:pt x="952264" y="1718163"/>
                  </a:lnTo>
                  <a:lnTo>
                    <a:pt x="954548" y="1718163"/>
                  </a:lnTo>
                  <a:lnTo>
                    <a:pt x="956832" y="1715881"/>
                  </a:lnTo>
                  <a:lnTo>
                    <a:pt x="959115" y="1715881"/>
                  </a:lnTo>
                  <a:lnTo>
                    <a:pt x="961399" y="1715881"/>
                  </a:lnTo>
                  <a:lnTo>
                    <a:pt x="963682" y="1715881"/>
                  </a:lnTo>
                  <a:lnTo>
                    <a:pt x="965966" y="1715881"/>
                  </a:lnTo>
                  <a:lnTo>
                    <a:pt x="968250" y="1713599"/>
                  </a:lnTo>
                  <a:lnTo>
                    <a:pt x="970533" y="1713599"/>
                  </a:lnTo>
                  <a:lnTo>
                    <a:pt x="970533" y="1715881"/>
                  </a:lnTo>
                  <a:lnTo>
                    <a:pt x="972817" y="1715881"/>
                  </a:lnTo>
                  <a:lnTo>
                    <a:pt x="972817" y="1713599"/>
                  </a:lnTo>
                  <a:lnTo>
                    <a:pt x="972817" y="1711318"/>
                  </a:lnTo>
                  <a:lnTo>
                    <a:pt x="970533" y="1711318"/>
                  </a:lnTo>
                  <a:lnTo>
                    <a:pt x="970533" y="1709036"/>
                  </a:lnTo>
                  <a:lnTo>
                    <a:pt x="972817" y="1706754"/>
                  </a:lnTo>
                  <a:lnTo>
                    <a:pt x="970533" y="1706754"/>
                  </a:lnTo>
                  <a:lnTo>
                    <a:pt x="970533" y="1704472"/>
                  </a:lnTo>
                  <a:lnTo>
                    <a:pt x="970533" y="1702190"/>
                  </a:lnTo>
                  <a:lnTo>
                    <a:pt x="972817" y="1702190"/>
                  </a:lnTo>
                  <a:lnTo>
                    <a:pt x="972817" y="1699908"/>
                  </a:lnTo>
                  <a:lnTo>
                    <a:pt x="975100" y="1697635"/>
                  </a:lnTo>
                  <a:lnTo>
                    <a:pt x="975100" y="1695344"/>
                  </a:lnTo>
                  <a:lnTo>
                    <a:pt x="977384" y="1695344"/>
                  </a:lnTo>
                  <a:lnTo>
                    <a:pt x="977384" y="1693072"/>
                  </a:lnTo>
                  <a:lnTo>
                    <a:pt x="979668" y="1693072"/>
                  </a:lnTo>
                  <a:lnTo>
                    <a:pt x="981951" y="1693072"/>
                  </a:lnTo>
                  <a:lnTo>
                    <a:pt x="981951" y="1690790"/>
                  </a:lnTo>
                  <a:lnTo>
                    <a:pt x="984235" y="1690790"/>
                  </a:lnTo>
                  <a:lnTo>
                    <a:pt x="986518" y="1690790"/>
                  </a:lnTo>
                  <a:lnTo>
                    <a:pt x="986518" y="1688508"/>
                  </a:lnTo>
                  <a:lnTo>
                    <a:pt x="988802" y="1688508"/>
                  </a:lnTo>
                  <a:lnTo>
                    <a:pt x="991086" y="1688508"/>
                  </a:lnTo>
                  <a:lnTo>
                    <a:pt x="991086" y="1686226"/>
                  </a:lnTo>
                  <a:lnTo>
                    <a:pt x="993369" y="1686226"/>
                  </a:lnTo>
                  <a:lnTo>
                    <a:pt x="995653" y="1686226"/>
                  </a:lnTo>
                  <a:lnTo>
                    <a:pt x="995653" y="1683944"/>
                  </a:lnTo>
                  <a:lnTo>
                    <a:pt x="997936" y="1683944"/>
                  </a:lnTo>
                  <a:lnTo>
                    <a:pt x="997936" y="1681662"/>
                  </a:lnTo>
                  <a:lnTo>
                    <a:pt x="1000220" y="1681662"/>
                  </a:lnTo>
                  <a:lnTo>
                    <a:pt x="1002504" y="1681662"/>
                  </a:lnTo>
                  <a:lnTo>
                    <a:pt x="1002504" y="1679380"/>
                  </a:lnTo>
                  <a:lnTo>
                    <a:pt x="1004787" y="1677099"/>
                  </a:lnTo>
                  <a:lnTo>
                    <a:pt x="1004787" y="1674817"/>
                  </a:lnTo>
                  <a:lnTo>
                    <a:pt x="1007071" y="1674817"/>
                  </a:lnTo>
                  <a:lnTo>
                    <a:pt x="1007071" y="1672535"/>
                  </a:lnTo>
                  <a:lnTo>
                    <a:pt x="1009354" y="1672535"/>
                  </a:lnTo>
                  <a:lnTo>
                    <a:pt x="1009354" y="1670253"/>
                  </a:lnTo>
                  <a:lnTo>
                    <a:pt x="1011638" y="1670253"/>
                  </a:lnTo>
                  <a:lnTo>
                    <a:pt x="1011638" y="1667971"/>
                  </a:lnTo>
                  <a:lnTo>
                    <a:pt x="1013922" y="1667971"/>
                  </a:lnTo>
                  <a:lnTo>
                    <a:pt x="1016205" y="1667971"/>
                  </a:lnTo>
                  <a:lnTo>
                    <a:pt x="1016205" y="1665689"/>
                  </a:lnTo>
                  <a:lnTo>
                    <a:pt x="1018489" y="1665689"/>
                  </a:lnTo>
                  <a:lnTo>
                    <a:pt x="1020772" y="1665689"/>
                  </a:lnTo>
                  <a:lnTo>
                    <a:pt x="1020772" y="1663407"/>
                  </a:lnTo>
                  <a:lnTo>
                    <a:pt x="1023056" y="1663407"/>
                  </a:lnTo>
                  <a:lnTo>
                    <a:pt x="1025340" y="1663407"/>
                  </a:lnTo>
                  <a:lnTo>
                    <a:pt x="1025340" y="1661125"/>
                  </a:lnTo>
                  <a:lnTo>
                    <a:pt x="1027623" y="1661125"/>
                  </a:lnTo>
                  <a:lnTo>
                    <a:pt x="1027623" y="1658844"/>
                  </a:lnTo>
                  <a:lnTo>
                    <a:pt x="1027623" y="1656562"/>
                  </a:lnTo>
                  <a:lnTo>
                    <a:pt x="1029907" y="1656562"/>
                  </a:lnTo>
                  <a:lnTo>
                    <a:pt x="1029907" y="1654279"/>
                  </a:lnTo>
                  <a:lnTo>
                    <a:pt x="1029907" y="1651998"/>
                  </a:lnTo>
                  <a:lnTo>
                    <a:pt x="1032190" y="1651998"/>
                  </a:lnTo>
                  <a:lnTo>
                    <a:pt x="1032190" y="1649716"/>
                  </a:lnTo>
                  <a:lnTo>
                    <a:pt x="1032190" y="1647434"/>
                  </a:lnTo>
                  <a:lnTo>
                    <a:pt x="1032190" y="1645152"/>
                  </a:lnTo>
                  <a:lnTo>
                    <a:pt x="1034474" y="1645152"/>
                  </a:lnTo>
                  <a:lnTo>
                    <a:pt x="1034474" y="1642870"/>
                  </a:lnTo>
                  <a:lnTo>
                    <a:pt x="1034474" y="1640588"/>
                  </a:lnTo>
                  <a:lnTo>
                    <a:pt x="1036757" y="1640588"/>
                  </a:lnTo>
                  <a:lnTo>
                    <a:pt x="1036757" y="1638306"/>
                  </a:lnTo>
                  <a:lnTo>
                    <a:pt x="1039041" y="1638306"/>
                  </a:lnTo>
                  <a:lnTo>
                    <a:pt x="1039041" y="1636024"/>
                  </a:lnTo>
                  <a:lnTo>
                    <a:pt x="1041325" y="1636024"/>
                  </a:lnTo>
                  <a:lnTo>
                    <a:pt x="1041325" y="1633743"/>
                  </a:lnTo>
                  <a:lnTo>
                    <a:pt x="1043608" y="1633743"/>
                  </a:lnTo>
                  <a:lnTo>
                    <a:pt x="1043608" y="1631461"/>
                  </a:lnTo>
                  <a:lnTo>
                    <a:pt x="1045892" y="1631461"/>
                  </a:lnTo>
                  <a:lnTo>
                    <a:pt x="1048175" y="1631461"/>
                  </a:lnTo>
                  <a:lnTo>
                    <a:pt x="1048175" y="1629179"/>
                  </a:lnTo>
                  <a:lnTo>
                    <a:pt x="1050459" y="1629179"/>
                  </a:lnTo>
                  <a:lnTo>
                    <a:pt x="1050459" y="1626897"/>
                  </a:lnTo>
                  <a:lnTo>
                    <a:pt x="1052743" y="1626897"/>
                  </a:lnTo>
                  <a:lnTo>
                    <a:pt x="1052743" y="1624615"/>
                  </a:lnTo>
                  <a:lnTo>
                    <a:pt x="1055026" y="1624615"/>
                  </a:lnTo>
                  <a:lnTo>
                    <a:pt x="1057310" y="1624615"/>
                  </a:lnTo>
                  <a:lnTo>
                    <a:pt x="1057310" y="1622333"/>
                  </a:lnTo>
                  <a:lnTo>
                    <a:pt x="1059594" y="1622333"/>
                  </a:lnTo>
                  <a:lnTo>
                    <a:pt x="1061877" y="1622333"/>
                  </a:lnTo>
                  <a:lnTo>
                    <a:pt x="1061877" y="1620051"/>
                  </a:lnTo>
                  <a:lnTo>
                    <a:pt x="1064161" y="1620051"/>
                  </a:lnTo>
                  <a:lnTo>
                    <a:pt x="1066444" y="1620051"/>
                  </a:lnTo>
                  <a:lnTo>
                    <a:pt x="1066444" y="1617769"/>
                  </a:lnTo>
                  <a:lnTo>
                    <a:pt x="1068728" y="1617769"/>
                  </a:lnTo>
                  <a:lnTo>
                    <a:pt x="1071011" y="1617769"/>
                  </a:lnTo>
                  <a:lnTo>
                    <a:pt x="1071011" y="1615488"/>
                  </a:lnTo>
                  <a:lnTo>
                    <a:pt x="1073295" y="1615488"/>
                  </a:lnTo>
                  <a:lnTo>
                    <a:pt x="1075579" y="1615488"/>
                  </a:lnTo>
                  <a:lnTo>
                    <a:pt x="1077862" y="1615488"/>
                  </a:lnTo>
                  <a:lnTo>
                    <a:pt x="1080146" y="1615488"/>
                  </a:lnTo>
                  <a:lnTo>
                    <a:pt x="1080146" y="1613206"/>
                  </a:lnTo>
                  <a:lnTo>
                    <a:pt x="1082429" y="1613206"/>
                  </a:lnTo>
                  <a:lnTo>
                    <a:pt x="1084713" y="1613206"/>
                  </a:lnTo>
                  <a:lnTo>
                    <a:pt x="1086997" y="1613206"/>
                  </a:lnTo>
                  <a:lnTo>
                    <a:pt x="1086997" y="1610923"/>
                  </a:lnTo>
                  <a:lnTo>
                    <a:pt x="1089280" y="1610923"/>
                  </a:lnTo>
                  <a:lnTo>
                    <a:pt x="1091564" y="1610923"/>
                  </a:lnTo>
                  <a:lnTo>
                    <a:pt x="1093847" y="1610923"/>
                  </a:lnTo>
                  <a:lnTo>
                    <a:pt x="1093847" y="1608642"/>
                  </a:lnTo>
                  <a:lnTo>
                    <a:pt x="1096140" y="1608642"/>
                  </a:lnTo>
                  <a:lnTo>
                    <a:pt x="1098415" y="1608642"/>
                  </a:lnTo>
                  <a:lnTo>
                    <a:pt x="1100698" y="1608642"/>
                  </a:lnTo>
                  <a:lnTo>
                    <a:pt x="1102982" y="1608642"/>
                  </a:lnTo>
                  <a:lnTo>
                    <a:pt x="1105265" y="1608642"/>
                  </a:lnTo>
                  <a:lnTo>
                    <a:pt x="1105265" y="1606360"/>
                  </a:lnTo>
                  <a:lnTo>
                    <a:pt x="1107549" y="1606360"/>
                  </a:lnTo>
                  <a:lnTo>
                    <a:pt x="1109842" y="1606360"/>
                  </a:lnTo>
                  <a:lnTo>
                    <a:pt x="1112116" y="1606360"/>
                  </a:lnTo>
                  <a:lnTo>
                    <a:pt x="1114400" y="1606360"/>
                  </a:lnTo>
                  <a:lnTo>
                    <a:pt x="1116693" y="1606360"/>
                  </a:lnTo>
                  <a:lnTo>
                    <a:pt x="1118967" y="1606360"/>
                  </a:lnTo>
                  <a:lnTo>
                    <a:pt x="1121260" y="1606360"/>
                  </a:lnTo>
                  <a:lnTo>
                    <a:pt x="1123544" y="1606360"/>
                  </a:lnTo>
                  <a:lnTo>
                    <a:pt x="1125827" y="1606360"/>
                  </a:lnTo>
                  <a:lnTo>
                    <a:pt x="1128101" y="1606360"/>
                  </a:lnTo>
                  <a:lnTo>
                    <a:pt x="1130394" y="1606360"/>
                  </a:lnTo>
                  <a:lnTo>
                    <a:pt x="1132669" y="1606360"/>
                  </a:lnTo>
                  <a:lnTo>
                    <a:pt x="1134962" y="1606360"/>
                  </a:lnTo>
                  <a:lnTo>
                    <a:pt x="1137245" y="1606360"/>
                  </a:lnTo>
                  <a:lnTo>
                    <a:pt x="1137245" y="1608642"/>
                  </a:lnTo>
                  <a:lnTo>
                    <a:pt x="1139529" y="1608642"/>
                  </a:lnTo>
                  <a:lnTo>
                    <a:pt x="1139529" y="1606360"/>
                  </a:lnTo>
                  <a:lnTo>
                    <a:pt x="1141803" y="1606360"/>
                  </a:lnTo>
                  <a:lnTo>
                    <a:pt x="1144096" y="1606360"/>
                  </a:lnTo>
                  <a:lnTo>
                    <a:pt x="1144096" y="1608642"/>
                  </a:lnTo>
                  <a:lnTo>
                    <a:pt x="1146380" y="1608642"/>
                  </a:lnTo>
                  <a:lnTo>
                    <a:pt x="1148663" y="1608642"/>
                  </a:lnTo>
                  <a:lnTo>
                    <a:pt x="1150947" y="1608642"/>
                  </a:lnTo>
                  <a:lnTo>
                    <a:pt x="1153230" y="1608642"/>
                  </a:lnTo>
                  <a:lnTo>
                    <a:pt x="1155504" y="1608642"/>
                  </a:lnTo>
                  <a:lnTo>
                    <a:pt x="1157798" y="1608642"/>
                  </a:lnTo>
                  <a:lnTo>
                    <a:pt x="1157798" y="1610923"/>
                  </a:lnTo>
                  <a:lnTo>
                    <a:pt x="1160081" y="1610923"/>
                  </a:lnTo>
                  <a:lnTo>
                    <a:pt x="1162365" y="1610923"/>
                  </a:lnTo>
                  <a:lnTo>
                    <a:pt x="1164648" y="1610923"/>
                  </a:lnTo>
                  <a:lnTo>
                    <a:pt x="1166932" y="1610923"/>
                  </a:lnTo>
                  <a:lnTo>
                    <a:pt x="1169216" y="1610923"/>
                  </a:lnTo>
                  <a:lnTo>
                    <a:pt x="1171499" y="1610923"/>
                  </a:lnTo>
                  <a:lnTo>
                    <a:pt x="1173783" y="1610923"/>
                  </a:lnTo>
                  <a:lnTo>
                    <a:pt x="1173783" y="1613206"/>
                  </a:lnTo>
                  <a:lnTo>
                    <a:pt x="1176066" y="1613206"/>
                  </a:lnTo>
                  <a:lnTo>
                    <a:pt x="1176066" y="1610923"/>
                  </a:lnTo>
                  <a:lnTo>
                    <a:pt x="1178350" y="1610923"/>
                  </a:lnTo>
                  <a:lnTo>
                    <a:pt x="1178350" y="1608642"/>
                  </a:lnTo>
                  <a:lnTo>
                    <a:pt x="1180634" y="1608642"/>
                  </a:lnTo>
                  <a:lnTo>
                    <a:pt x="1182917" y="1608642"/>
                  </a:lnTo>
                  <a:lnTo>
                    <a:pt x="1182917" y="1606360"/>
                  </a:lnTo>
                  <a:lnTo>
                    <a:pt x="1182917" y="1604078"/>
                  </a:lnTo>
                  <a:lnTo>
                    <a:pt x="1182917" y="1601796"/>
                  </a:lnTo>
                  <a:lnTo>
                    <a:pt x="1182917" y="1599514"/>
                  </a:lnTo>
                  <a:lnTo>
                    <a:pt x="1182917" y="1597232"/>
                  </a:lnTo>
                  <a:lnTo>
                    <a:pt x="1182917" y="1594950"/>
                  </a:lnTo>
                  <a:lnTo>
                    <a:pt x="1182917" y="1592668"/>
                  </a:lnTo>
                  <a:lnTo>
                    <a:pt x="1180634" y="1592668"/>
                  </a:lnTo>
                  <a:lnTo>
                    <a:pt x="1178350" y="1592668"/>
                  </a:lnTo>
                  <a:lnTo>
                    <a:pt x="1178350" y="1590387"/>
                  </a:lnTo>
                  <a:lnTo>
                    <a:pt x="1176066" y="1590387"/>
                  </a:lnTo>
                  <a:lnTo>
                    <a:pt x="1176066" y="1588105"/>
                  </a:lnTo>
                  <a:lnTo>
                    <a:pt x="1176066" y="1585823"/>
                  </a:lnTo>
                  <a:lnTo>
                    <a:pt x="1173783" y="1585823"/>
                  </a:lnTo>
                  <a:lnTo>
                    <a:pt x="1173783" y="1583541"/>
                  </a:lnTo>
                  <a:lnTo>
                    <a:pt x="1176066" y="1583541"/>
                  </a:lnTo>
                  <a:lnTo>
                    <a:pt x="1176066" y="1581259"/>
                  </a:lnTo>
                  <a:lnTo>
                    <a:pt x="1178350" y="1581259"/>
                  </a:lnTo>
                  <a:lnTo>
                    <a:pt x="1178350" y="1578977"/>
                  </a:lnTo>
                  <a:lnTo>
                    <a:pt x="1180634" y="1578977"/>
                  </a:lnTo>
                  <a:lnTo>
                    <a:pt x="1180634" y="1576695"/>
                  </a:lnTo>
                  <a:lnTo>
                    <a:pt x="1182917" y="1576695"/>
                  </a:lnTo>
                  <a:lnTo>
                    <a:pt x="1182917" y="1574413"/>
                  </a:lnTo>
                  <a:lnTo>
                    <a:pt x="1185201" y="1574413"/>
                  </a:lnTo>
                  <a:lnTo>
                    <a:pt x="1187484" y="1574413"/>
                  </a:lnTo>
                  <a:lnTo>
                    <a:pt x="1187484" y="1572132"/>
                  </a:lnTo>
                  <a:lnTo>
                    <a:pt x="1189768" y="1572132"/>
                  </a:lnTo>
                  <a:lnTo>
                    <a:pt x="1189768" y="1569849"/>
                  </a:lnTo>
                  <a:lnTo>
                    <a:pt x="1192052" y="1569849"/>
                  </a:lnTo>
                  <a:lnTo>
                    <a:pt x="1194335" y="1569849"/>
                  </a:lnTo>
                  <a:lnTo>
                    <a:pt x="1196619" y="1569849"/>
                  </a:lnTo>
                  <a:lnTo>
                    <a:pt x="1196619" y="1567567"/>
                  </a:lnTo>
                  <a:lnTo>
                    <a:pt x="1198902" y="1567567"/>
                  </a:lnTo>
                  <a:lnTo>
                    <a:pt x="1201186" y="1567567"/>
                  </a:lnTo>
                  <a:lnTo>
                    <a:pt x="1203469" y="1567567"/>
                  </a:lnTo>
                  <a:lnTo>
                    <a:pt x="1205753" y="1567567"/>
                  </a:lnTo>
                  <a:lnTo>
                    <a:pt x="1205753" y="1565286"/>
                  </a:lnTo>
                  <a:lnTo>
                    <a:pt x="1208037" y="1565286"/>
                  </a:lnTo>
                  <a:lnTo>
                    <a:pt x="1210320" y="1565286"/>
                  </a:lnTo>
                  <a:lnTo>
                    <a:pt x="1212604" y="1565286"/>
                  </a:lnTo>
                  <a:lnTo>
                    <a:pt x="1214888" y="1565286"/>
                  </a:lnTo>
                  <a:lnTo>
                    <a:pt x="1217171" y="1565286"/>
                  </a:lnTo>
                  <a:lnTo>
                    <a:pt x="1219455" y="1565286"/>
                  </a:lnTo>
                  <a:lnTo>
                    <a:pt x="1221738" y="1565286"/>
                  </a:lnTo>
                  <a:lnTo>
                    <a:pt x="1224022" y="1565286"/>
                  </a:lnTo>
                  <a:lnTo>
                    <a:pt x="1226306" y="1565286"/>
                  </a:lnTo>
                  <a:lnTo>
                    <a:pt x="1228589" y="1565286"/>
                  </a:lnTo>
                  <a:lnTo>
                    <a:pt x="1230873" y="1565286"/>
                  </a:lnTo>
                  <a:lnTo>
                    <a:pt x="1233156" y="1565286"/>
                  </a:lnTo>
                  <a:lnTo>
                    <a:pt x="1235440" y="1565286"/>
                  </a:lnTo>
                  <a:lnTo>
                    <a:pt x="1237723" y="1565286"/>
                  </a:lnTo>
                  <a:lnTo>
                    <a:pt x="1240007" y="1565286"/>
                  </a:lnTo>
                  <a:lnTo>
                    <a:pt x="1242291" y="1565286"/>
                  </a:lnTo>
                  <a:lnTo>
                    <a:pt x="1244574" y="1565286"/>
                  </a:lnTo>
                  <a:lnTo>
                    <a:pt x="1246858" y="1565286"/>
                  </a:lnTo>
                  <a:lnTo>
                    <a:pt x="1246858" y="1567567"/>
                  </a:lnTo>
                  <a:lnTo>
                    <a:pt x="1249141" y="1567567"/>
                  </a:lnTo>
                  <a:lnTo>
                    <a:pt x="1251425" y="1567567"/>
                  </a:lnTo>
                  <a:lnTo>
                    <a:pt x="1253709" y="1567567"/>
                  </a:lnTo>
                  <a:lnTo>
                    <a:pt x="1255992" y="1567567"/>
                  </a:lnTo>
                  <a:lnTo>
                    <a:pt x="1258276" y="1567567"/>
                  </a:lnTo>
                  <a:lnTo>
                    <a:pt x="1260559" y="1567567"/>
                  </a:lnTo>
                  <a:lnTo>
                    <a:pt x="1262843" y="1567567"/>
                  </a:lnTo>
                  <a:lnTo>
                    <a:pt x="1265127" y="1567567"/>
                  </a:lnTo>
                  <a:lnTo>
                    <a:pt x="1265127" y="1569849"/>
                  </a:lnTo>
                  <a:lnTo>
                    <a:pt x="1267410" y="1569849"/>
                  </a:lnTo>
                  <a:lnTo>
                    <a:pt x="1269694" y="1569849"/>
                  </a:lnTo>
                  <a:lnTo>
                    <a:pt x="1271977" y="1569849"/>
                  </a:lnTo>
                  <a:lnTo>
                    <a:pt x="1274261" y="1569849"/>
                  </a:lnTo>
                  <a:lnTo>
                    <a:pt x="1276545" y="1569849"/>
                  </a:lnTo>
                  <a:lnTo>
                    <a:pt x="1276545" y="1572132"/>
                  </a:lnTo>
                  <a:lnTo>
                    <a:pt x="1278828" y="1572132"/>
                  </a:lnTo>
                  <a:lnTo>
                    <a:pt x="1281112" y="1572132"/>
                  </a:lnTo>
                  <a:lnTo>
                    <a:pt x="1283395" y="1572132"/>
                  </a:lnTo>
                  <a:lnTo>
                    <a:pt x="1283395" y="1574413"/>
                  </a:lnTo>
                  <a:lnTo>
                    <a:pt x="1285679" y="1574413"/>
                  </a:lnTo>
                  <a:lnTo>
                    <a:pt x="1287963" y="1574413"/>
                  </a:lnTo>
                  <a:lnTo>
                    <a:pt x="1290246" y="1574413"/>
                  </a:lnTo>
                  <a:lnTo>
                    <a:pt x="1290246" y="1576695"/>
                  </a:lnTo>
                  <a:lnTo>
                    <a:pt x="1292530" y="1576695"/>
                  </a:lnTo>
                  <a:lnTo>
                    <a:pt x="1294813" y="1576695"/>
                  </a:lnTo>
                  <a:lnTo>
                    <a:pt x="1297097" y="1576695"/>
                  </a:lnTo>
                  <a:lnTo>
                    <a:pt x="1297097" y="1578977"/>
                  </a:lnTo>
                  <a:lnTo>
                    <a:pt x="1299381" y="1578977"/>
                  </a:lnTo>
                  <a:lnTo>
                    <a:pt x="1299381" y="1581259"/>
                  </a:lnTo>
                  <a:lnTo>
                    <a:pt x="1301664" y="1581259"/>
                  </a:lnTo>
                  <a:lnTo>
                    <a:pt x="1303948" y="1581259"/>
                  </a:lnTo>
                  <a:lnTo>
                    <a:pt x="1306231" y="1581259"/>
                  </a:lnTo>
                  <a:lnTo>
                    <a:pt x="1306231" y="1583541"/>
                  </a:lnTo>
                  <a:lnTo>
                    <a:pt x="1308515" y="1583541"/>
                  </a:lnTo>
                  <a:lnTo>
                    <a:pt x="1308515" y="1581259"/>
                  </a:lnTo>
                  <a:lnTo>
                    <a:pt x="1310799" y="1581259"/>
                  </a:lnTo>
                  <a:lnTo>
                    <a:pt x="1310799" y="1583541"/>
                  </a:lnTo>
                  <a:lnTo>
                    <a:pt x="1313082" y="1583541"/>
                  </a:lnTo>
                  <a:lnTo>
                    <a:pt x="1315366" y="1583541"/>
                  </a:lnTo>
                  <a:lnTo>
                    <a:pt x="1317649" y="1583541"/>
                  </a:lnTo>
                  <a:lnTo>
                    <a:pt x="1317649" y="1585823"/>
                  </a:lnTo>
                  <a:lnTo>
                    <a:pt x="1319933" y="1585823"/>
                  </a:lnTo>
                  <a:lnTo>
                    <a:pt x="1322217" y="1585823"/>
                  </a:lnTo>
                  <a:lnTo>
                    <a:pt x="1322217" y="1588105"/>
                  </a:lnTo>
                  <a:lnTo>
                    <a:pt x="1324500" y="1588105"/>
                  </a:lnTo>
                  <a:lnTo>
                    <a:pt x="1326784" y="1588105"/>
                  </a:lnTo>
                  <a:lnTo>
                    <a:pt x="1329067" y="1588105"/>
                  </a:lnTo>
                  <a:lnTo>
                    <a:pt x="1331351" y="1588105"/>
                  </a:lnTo>
                  <a:lnTo>
                    <a:pt x="1333635" y="1588105"/>
                  </a:lnTo>
                  <a:lnTo>
                    <a:pt x="1333635" y="1585823"/>
                  </a:lnTo>
                  <a:lnTo>
                    <a:pt x="1335918" y="1585823"/>
                  </a:lnTo>
                  <a:lnTo>
                    <a:pt x="1338202" y="1585823"/>
                  </a:lnTo>
                  <a:lnTo>
                    <a:pt x="1340485" y="1585823"/>
                  </a:lnTo>
                  <a:lnTo>
                    <a:pt x="1340485" y="1583541"/>
                  </a:lnTo>
                  <a:lnTo>
                    <a:pt x="1342769" y="1583541"/>
                  </a:lnTo>
                  <a:lnTo>
                    <a:pt x="1345053" y="1583541"/>
                  </a:lnTo>
                  <a:lnTo>
                    <a:pt x="1345053" y="1581259"/>
                  </a:lnTo>
                  <a:lnTo>
                    <a:pt x="1347336" y="1581259"/>
                  </a:lnTo>
                  <a:lnTo>
                    <a:pt x="1349620" y="1581259"/>
                  </a:lnTo>
                  <a:lnTo>
                    <a:pt x="1351903" y="1581259"/>
                  </a:lnTo>
                  <a:lnTo>
                    <a:pt x="1354187" y="1581259"/>
                  </a:lnTo>
                  <a:lnTo>
                    <a:pt x="1354187" y="1578977"/>
                  </a:lnTo>
                  <a:lnTo>
                    <a:pt x="1356470" y="1578977"/>
                  </a:lnTo>
                  <a:lnTo>
                    <a:pt x="1356470" y="1576695"/>
                  </a:lnTo>
                  <a:lnTo>
                    <a:pt x="1358754" y="1576695"/>
                  </a:lnTo>
                  <a:lnTo>
                    <a:pt x="1358754" y="1574413"/>
                  </a:lnTo>
                  <a:lnTo>
                    <a:pt x="1361038" y="1574413"/>
                  </a:lnTo>
                  <a:lnTo>
                    <a:pt x="1363321" y="1574413"/>
                  </a:lnTo>
                  <a:lnTo>
                    <a:pt x="1363321" y="1572132"/>
                  </a:lnTo>
                  <a:lnTo>
                    <a:pt x="1365605" y="1572132"/>
                  </a:lnTo>
                  <a:lnTo>
                    <a:pt x="1367889" y="1572132"/>
                  </a:lnTo>
                  <a:lnTo>
                    <a:pt x="1367889" y="1569849"/>
                  </a:lnTo>
                  <a:lnTo>
                    <a:pt x="1367889" y="1567567"/>
                  </a:lnTo>
                  <a:lnTo>
                    <a:pt x="1370172" y="1567567"/>
                  </a:lnTo>
                  <a:lnTo>
                    <a:pt x="1372456" y="1567567"/>
                  </a:lnTo>
                  <a:lnTo>
                    <a:pt x="1372456" y="1565286"/>
                  </a:lnTo>
                  <a:lnTo>
                    <a:pt x="1370172" y="1565286"/>
                  </a:lnTo>
                  <a:lnTo>
                    <a:pt x="1370172" y="1563004"/>
                  </a:lnTo>
                  <a:lnTo>
                    <a:pt x="1370172" y="1560722"/>
                  </a:lnTo>
                  <a:lnTo>
                    <a:pt x="1372456" y="1560722"/>
                  </a:lnTo>
                  <a:lnTo>
                    <a:pt x="1372456" y="1558440"/>
                  </a:lnTo>
                  <a:lnTo>
                    <a:pt x="1374739" y="1558440"/>
                  </a:lnTo>
                  <a:lnTo>
                    <a:pt x="1377023" y="1558440"/>
                  </a:lnTo>
                  <a:lnTo>
                    <a:pt x="1379307" y="1556158"/>
                  </a:lnTo>
                  <a:lnTo>
                    <a:pt x="1381590" y="1556158"/>
                  </a:lnTo>
                  <a:lnTo>
                    <a:pt x="1383874" y="1556158"/>
                  </a:lnTo>
                  <a:lnTo>
                    <a:pt x="1386157" y="1556158"/>
                  </a:lnTo>
                  <a:lnTo>
                    <a:pt x="1388441" y="1556158"/>
                  </a:lnTo>
                  <a:lnTo>
                    <a:pt x="1390724" y="1556158"/>
                  </a:lnTo>
                  <a:lnTo>
                    <a:pt x="1393008" y="1556158"/>
                  </a:lnTo>
                  <a:lnTo>
                    <a:pt x="1395292" y="1556158"/>
                  </a:lnTo>
                  <a:lnTo>
                    <a:pt x="1395292" y="1553876"/>
                  </a:lnTo>
                  <a:lnTo>
                    <a:pt x="1397575" y="1553876"/>
                  </a:lnTo>
                  <a:lnTo>
                    <a:pt x="1399859" y="1553876"/>
                  </a:lnTo>
                  <a:lnTo>
                    <a:pt x="1402142" y="1553876"/>
                  </a:lnTo>
                  <a:lnTo>
                    <a:pt x="1402142" y="1551594"/>
                  </a:lnTo>
                  <a:lnTo>
                    <a:pt x="1404426" y="1551594"/>
                  </a:lnTo>
                  <a:lnTo>
                    <a:pt x="1406710" y="1551594"/>
                  </a:lnTo>
                  <a:lnTo>
                    <a:pt x="1408993" y="1551594"/>
                  </a:lnTo>
                  <a:lnTo>
                    <a:pt x="1411277" y="1551594"/>
                  </a:lnTo>
                  <a:lnTo>
                    <a:pt x="1413560" y="1551594"/>
                  </a:lnTo>
                  <a:lnTo>
                    <a:pt x="1415844" y="1551594"/>
                  </a:lnTo>
                  <a:lnTo>
                    <a:pt x="1418128" y="1551594"/>
                  </a:lnTo>
                  <a:lnTo>
                    <a:pt x="1420411" y="1551594"/>
                  </a:lnTo>
                  <a:lnTo>
                    <a:pt x="1420411" y="1553876"/>
                  </a:lnTo>
                  <a:lnTo>
                    <a:pt x="1422695" y="1553876"/>
                  </a:lnTo>
                  <a:lnTo>
                    <a:pt x="1424978" y="1553876"/>
                  </a:lnTo>
                  <a:lnTo>
                    <a:pt x="1427262" y="1553876"/>
                  </a:lnTo>
                  <a:lnTo>
                    <a:pt x="1429546" y="1553876"/>
                  </a:lnTo>
                  <a:lnTo>
                    <a:pt x="1429546" y="1556158"/>
                  </a:lnTo>
                  <a:lnTo>
                    <a:pt x="1431829" y="1556158"/>
                  </a:lnTo>
                  <a:lnTo>
                    <a:pt x="1434113" y="1556158"/>
                  </a:lnTo>
                  <a:lnTo>
                    <a:pt x="1436396" y="1556158"/>
                  </a:lnTo>
                  <a:lnTo>
                    <a:pt x="1436396" y="1558440"/>
                  </a:lnTo>
                  <a:lnTo>
                    <a:pt x="1438680" y="1558440"/>
                  </a:lnTo>
                  <a:lnTo>
                    <a:pt x="1440964" y="1558440"/>
                  </a:lnTo>
                  <a:lnTo>
                    <a:pt x="1443247" y="1558440"/>
                  </a:lnTo>
                  <a:lnTo>
                    <a:pt x="1445531" y="1558440"/>
                  </a:lnTo>
                  <a:lnTo>
                    <a:pt x="1445531" y="1560722"/>
                  </a:lnTo>
                  <a:lnTo>
                    <a:pt x="1447814" y="1560722"/>
                  </a:lnTo>
                  <a:lnTo>
                    <a:pt x="1450098" y="1560722"/>
                  </a:lnTo>
                  <a:lnTo>
                    <a:pt x="1452382" y="1560722"/>
                  </a:lnTo>
                  <a:lnTo>
                    <a:pt x="1454665" y="1560722"/>
                  </a:lnTo>
                  <a:lnTo>
                    <a:pt x="1454665" y="1563004"/>
                  </a:lnTo>
                  <a:lnTo>
                    <a:pt x="1456949" y="1563004"/>
                  </a:lnTo>
                  <a:lnTo>
                    <a:pt x="1459232" y="1563004"/>
                  </a:lnTo>
                  <a:lnTo>
                    <a:pt x="1461516" y="1563004"/>
                  </a:lnTo>
                  <a:lnTo>
                    <a:pt x="1463799" y="1563004"/>
                  </a:lnTo>
                  <a:lnTo>
                    <a:pt x="1466083" y="1563004"/>
                  </a:lnTo>
                  <a:lnTo>
                    <a:pt x="1468367" y="1563004"/>
                  </a:lnTo>
                  <a:lnTo>
                    <a:pt x="1470650" y="1563004"/>
                  </a:lnTo>
                  <a:lnTo>
                    <a:pt x="1472934" y="1563004"/>
                  </a:lnTo>
                  <a:lnTo>
                    <a:pt x="1475218" y="1563004"/>
                  </a:lnTo>
                  <a:lnTo>
                    <a:pt x="1477501" y="1563004"/>
                  </a:lnTo>
                  <a:lnTo>
                    <a:pt x="1477501" y="1560722"/>
                  </a:lnTo>
                  <a:lnTo>
                    <a:pt x="1479785" y="1560722"/>
                  </a:lnTo>
                  <a:lnTo>
                    <a:pt x="1479785" y="1558440"/>
                  </a:lnTo>
                  <a:lnTo>
                    <a:pt x="1482068" y="1558440"/>
                  </a:lnTo>
                  <a:lnTo>
                    <a:pt x="1484352" y="1558440"/>
                  </a:lnTo>
                  <a:lnTo>
                    <a:pt x="1486636" y="1558440"/>
                  </a:lnTo>
                  <a:lnTo>
                    <a:pt x="1488919" y="1558440"/>
                  </a:lnTo>
                  <a:lnTo>
                    <a:pt x="1491203" y="1558440"/>
                  </a:lnTo>
                  <a:lnTo>
                    <a:pt x="1491203" y="1556158"/>
                  </a:lnTo>
                  <a:lnTo>
                    <a:pt x="1493486" y="1556158"/>
                  </a:lnTo>
                  <a:lnTo>
                    <a:pt x="1495770" y="1556158"/>
                  </a:lnTo>
                  <a:lnTo>
                    <a:pt x="1498053" y="1556158"/>
                  </a:lnTo>
                  <a:lnTo>
                    <a:pt x="1500337" y="1556158"/>
                  </a:lnTo>
                  <a:lnTo>
                    <a:pt x="1502621" y="1556158"/>
                  </a:lnTo>
                  <a:lnTo>
                    <a:pt x="1504904" y="1556158"/>
                  </a:lnTo>
                  <a:lnTo>
                    <a:pt x="1504904" y="1553876"/>
                  </a:lnTo>
                  <a:lnTo>
                    <a:pt x="1507188" y="1553876"/>
                  </a:lnTo>
                  <a:lnTo>
                    <a:pt x="1509471" y="1553876"/>
                  </a:lnTo>
                  <a:lnTo>
                    <a:pt x="1511755" y="1553876"/>
                  </a:lnTo>
                  <a:lnTo>
                    <a:pt x="1511755" y="1551594"/>
                  </a:lnTo>
                  <a:lnTo>
                    <a:pt x="1514039" y="1551594"/>
                  </a:lnTo>
                  <a:lnTo>
                    <a:pt x="1516322" y="1551594"/>
                  </a:lnTo>
                  <a:lnTo>
                    <a:pt x="1516322" y="1549312"/>
                  </a:lnTo>
                  <a:lnTo>
                    <a:pt x="1518606" y="1549312"/>
                  </a:lnTo>
                  <a:lnTo>
                    <a:pt x="1518606" y="1547031"/>
                  </a:lnTo>
                  <a:lnTo>
                    <a:pt x="1520889" y="1547031"/>
                  </a:lnTo>
                  <a:lnTo>
                    <a:pt x="1523173" y="1547031"/>
                  </a:lnTo>
                  <a:lnTo>
                    <a:pt x="1523173" y="1544758"/>
                  </a:lnTo>
                  <a:lnTo>
                    <a:pt x="1525457" y="1544758"/>
                  </a:lnTo>
                  <a:lnTo>
                    <a:pt x="1525457" y="1542476"/>
                  </a:lnTo>
                  <a:lnTo>
                    <a:pt x="1527740" y="1542476"/>
                  </a:lnTo>
                  <a:lnTo>
                    <a:pt x="1527740" y="1540194"/>
                  </a:lnTo>
                  <a:lnTo>
                    <a:pt x="1530024" y="1540194"/>
                  </a:lnTo>
                  <a:lnTo>
                    <a:pt x="1532307" y="1540194"/>
                  </a:lnTo>
                  <a:lnTo>
                    <a:pt x="1534591" y="1540194"/>
                  </a:lnTo>
                  <a:lnTo>
                    <a:pt x="1534591" y="1537913"/>
                  </a:lnTo>
                  <a:lnTo>
                    <a:pt x="1536875" y="1537913"/>
                  </a:lnTo>
                  <a:lnTo>
                    <a:pt x="1536875" y="1535630"/>
                  </a:lnTo>
                  <a:lnTo>
                    <a:pt x="1534591" y="1535630"/>
                  </a:lnTo>
                  <a:lnTo>
                    <a:pt x="1532307" y="1535630"/>
                  </a:lnTo>
                  <a:lnTo>
                    <a:pt x="1532307" y="1533348"/>
                  </a:lnTo>
                  <a:lnTo>
                    <a:pt x="1532307" y="1531067"/>
                  </a:lnTo>
                  <a:lnTo>
                    <a:pt x="1534591" y="1531067"/>
                  </a:lnTo>
                  <a:lnTo>
                    <a:pt x="1534591" y="1528785"/>
                  </a:lnTo>
                  <a:lnTo>
                    <a:pt x="1534591" y="1526503"/>
                  </a:lnTo>
                  <a:lnTo>
                    <a:pt x="1536875" y="1526503"/>
                  </a:lnTo>
                  <a:lnTo>
                    <a:pt x="1536875" y="1524221"/>
                  </a:lnTo>
                  <a:lnTo>
                    <a:pt x="1539158" y="1524221"/>
                  </a:lnTo>
                  <a:lnTo>
                    <a:pt x="1541442" y="1524221"/>
                  </a:lnTo>
                  <a:lnTo>
                    <a:pt x="1541442" y="1521939"/>
                  </a:lnTo>
                  <a:lnTo>
                    <a:pt x="1543725" y="1521939"/>
                  </a:lnTo>
                  <a:lnTo>
                    <a:pt x="1546009" y="1521939"/>
                  </a:lnTo>
                  <a:lnTo>
                    <a:pt x="1546009" y="1519657"/>
                  </a:lnTo>
                  <a:lnTo>
                    <a:pt x="1543725" y="1519657"/>
                  </a:lnTo>
                  <a:lnTo>
                    <a:pt x="1543725" y="1517375"/>
                  </a:lnTo>
                  <a:lnTo>
                    <a:pt x="1541442" y="1517375"/>
                  </a:lnTo>
                  <a:lnTo>
                    <a:pt x="1539158" y="1517375"/>
                  </a:lnTo>
                  <a:lnTo>
                    <a:pt x="1536875" y="1517375"/>
                  </a:lnTo>
                  <a:lnTo>
                    <a:pt x="1534591" y="1517375"/>
                  </a:lnTo>
                  <a:lnTo>
                    <a:pt x="1534591" y="1515093"/>
                  </a:lnTo>
                  <a:lnTo>
                    <a:pt x="1534591" y="1512812"/>
                  </a:lnTo>
                  <a:lnTo>
                    <a:pt x="1534591" y="1510530"/>
                  </a:lnTo>
                  <a:lnTo>
                    <a:pt x="1534591" y="1508248"/>
                  </a:lnTo>
                  <a:lnTo>
                    <a:pt x="1534591" y="1505966"/>
                  </a:lnTo>
                  <a:lnTo>
                    <a:pt x="1536875" y="1505966"/>
                  </a:lnTo>
                  <a:lnTo>
                    <a:pt x="1536875" y="1503684"/>
                  </a:lnTo>
                  <a:lnTo>
                    <a:pt x="1536875" y="1501402"/>
                  </a:lnTo>
                  <a:lnTo>
                    <a:pt x="1539158" y="1501402"/>
                  </a:lnTo>
                  <a:lnTo>
                    <a:pt x="1539158" y="1499120"/>
                  </a:lnTo>
                  <a:lnTo>
                    <a:pt x="1541442" y="1499120"/>
                  </a:lnTo>
                  <a:lnTo>
                    <a:pt x="1541442" y="1496838"/>
                  </a:lnTo>
                  <a:lnTo>
                    <a:pt x="1543725" y="1496838"/>
                  </a:lnTo>
                  <a:lnTo>
                    <a:pt x="1543725" y="1494557"/>
                  </a:lnTo>
                  <a:lnTo>
                    <a:pt x="1546009" y="1494557"/>
                  </a:lnTo>
                  <a:lnTo>
                    <a:pt x="1546009" y="1492274"/>
                  </a:lnTo>
                  <a:lnTo>
                    <a:pt x="1548293" y="1492274"/>
                  </a:lnTo>
                  <a:lnTo>
                    <a:pt x="1548293" y="1489992"/>
                  </a:lnTo>
                  <a:lnTo>
                    <a:pt x="1550576" y="1489992"/>
                  </a:lnTo>
                  <a:lnTo>
                    <a:pt x="1552860" y="1489992"/>
                  </a:lnTo>
                  <a:lnTo>
                    <a:pt x="1552860" y="1487711"/>
                  </a:lnTo>
                  <a:lnTo>
                    <a:pt x="1555143" y="1487711"/>
                  </a:lnTo>
                  <a:lnTo>
                    <a:pt x="1557427" y="1487711"/>
                  </a:lnTo>
                  <a:lnTo>
                    <a:pt x="1557427" y="1485429"/>
                  </a:lnTo>
                  <a:lnTo>
                    <a:pt x="1559711" y="1485429"/>
                  </a:lnTo>
                  <a:lnTo>
                    <a:pt x="1561994" y="1485429"/>
                  </a:lnTo>
                  <a:lnTo>
                    <a:pt x="1561994" y="1483147"/>
                  </a:lnTo>
                  <a:lnTo>
                    <a:pt x="1564278" y="1483147"/>
                  </a:lnTo>
                  <a:lnTo>
                    <a:pt x="1566561" y="1483147"/>
                  </a:lnTo>
                  <a:lnTo>
                    <a:pt x="1568845" y="1483147"/>
                  </a:lnTo>
                  <a:lnTo>
                    <a:pt x="1571128" y="1483147"/>
                  </a:lnTo>
                  <a:lnTo>
                    <a:pt x="1571128" y="1480865"/>
                  </a:lnTo>
                  <a:lnTo>
                    <a:pt x="1573412" y="1480865"/>
                  </a:lnTo>
                  <a:lnTo>
                    <a:pt x="1575696" y="1480865"/>
                  </a:lnTo>
                  <a:lnTo>
                    <a:pt x="1577979" y="1480865"/>
                  </a:lnTo>
                  <a:lnTo>
                    <a:pt x="1580263" y="1480865"/>
                  </a:lnTo>
                  <a:lnTo>
                    <a:pt x="1582547" y="1480865"/>
                  </a:lnTo>
                  <a:lnTo>
                    <a:pt x="1582547" y="1478583"/>
                  </a:lnTo>
                  <a:lnTo>
                    <a:pt x="1584830" y="1478583"/>
                  </a:lnTo>
                  <a:lnTo>
                    <a:pt x="1587114" y="1478583"/>
                  </a:lnTo>
                  <a:lnTo>
                    <a:pt x="1589397" y="1478583"/>
                  </a:lnTo>
                  <a:lnTo>
                    <a:pt x="1589397" y="1480865"/>
                  </a:lnTo>
                  <a:lnTo>
                    <a:pt x="1591681" y="1480865"/>
                  </a:lnTo>
                  <a:lnTo>
                    <a:pt x="1593965" y="1480865"/>
                  </a:lnTo>
                  <a:lnTo>
                    <a:pt x="1593965" y="1478583"/>
                  </a:lnTo>
                  <a:lnTo>
                    <a:pt x="1596248" y="1478583"/>
                  </a:lnTo>
                  <a:lnTo>
                    <a:pt x="1598532" y="1478583"/>
                  </a:lnTo>
                  <a:lnTo>
                    <a:pt x="1600815" y="1478583"/>
                  </a:lnTo>
                  <a:lnTo>
                    <a:pt x="1603099" y="1478583"/>
                  </a:lnTo>
                  <a:lnTo>
                    <a:pt x="1603099" y="1476301"/>
                  </a:lnTo>
                  <a:lnTo>
                    <a:pt x="1605382" y="1476301"/>
                  </a:lnTo>
                  <a:lnTo>
                    <a:pt x="1607666" y="1476301"/>
                  </a:lnTo>
                  <a:lnTo>
                    <a:pt x="1609950" y="1476301"/>
                  </a:lnTo>
                  <a:lnTo>
                    <a:pt x="1609950" y="1474019"/>
                  </a:lnTo>
                  <a:lnTo>
                    <a:pt x="1612233" y="1474019"/>
                  </a:lnTo>
                  <a:lnTo>
                    <a:pt x="1614517" y="1474019"/>
                  </a:lnTo>
                  <a:lnTo>
                    <a:pt x="1614517" y="1471737"/>
                  </a:lnTo>
                  <a:lnTo>
                    <a:pt x="1616800" y="1471737"/>
                  </a:lnTo>
                  <a:lnTo>
                    <a:pt x="1619084" y="1471737"/>
                  </a:lnTo>
                  <a:lnTo>
                    <a:pt x="1619084" y="1469456"/>
                  </a:lnTo>
                  <a:lnTo>
                    <a:pt x="1616800" y="1469456"/>
                  </a:lnTo>
                  <a:lnTo>
                    <a:pt x="1616800" y="1467174"/>
                  </a:lnTo>
                  <a:lnTo>
                    <a:pt x="1614517" y="1467174"/>
                  </a:lnTo>
                  <a:lnTo>
                    <a:pt x="1614517" y="1464892"/>
                  </a:lnTo>
                  <a:lnTo>
                    <a:pt x="1612233" y="1464892"/>
                  </a:lnTo>
                  <a:lnTo>
                    <a:pt x="1612233" y="1467174"/>
                  </a:lnTo>
                  <a:lnTo>
                    <a:pt x="1609950" y="1467174"/>
                  </a:lnTo>
                  <a:lnTo>
                    <a:pt x="1609950" y="1464892"/>
                  </a:lnTo>
                  <a:lnTo>
                    <a:pt x="1607666" y="1464892"/>
                  </a:lnTo>
                  <a:lnTo>
                    <a:pt x="1605382" y="1464892"/>
                  </a:lnTo>
                  <a:lnTo>
                    <a:pt x="1605382" y="1462610"/>
                  </a:lnTo>
                  <a:lnTo>
                    <a:pt x="1603099" y="1462610"/>
                  </a:lnTo>
                  <a:lnTo>
                    <a:pt x="1600815" y="1462610"/>
                  </a:lnTo>
                  <a:lnTo>
                    <a:pt x="1600815" y="1460328"/>
                  </a:lnTo>
                  <a:lnTo>
                    <a:pt x="1600815" y="1458046"/>
                  </a:lnTo>
                  <a:lnTo>
                    <a:pt x="1600815" y="1455764"/>
                  </a:lnTo>
                  <a:lnTo>
                    <a:pt x="1600815" y="1453482"/>
                  </a:lnTo>
                  <a:lnTo>
                    <a:pt x="1600815" y="1451201"/>
                  </a:lnTo>
                  <a:lnTo>
                    <a:pt x="1600815" y="1448918"/>
                  </a:lnTo>
                  <a:lnTo>
                    <a:pt x="1603099" y="1448918"/>
                  </a:lnTo>
                  <a:lnTo>
                    <a:pt x="1603099" y="1446636"/>
                  </a:lnTo>
                  <a:lnTo>
                    <a:pt x="1603099" y="1444355"/>
                  </a:lnTo>
                  <a:lnTo>
                    <a:pt x="1603099" y="1442073"/>
                  </a:lnTo>
                  <a:lnTo>
                    <a:pt x="1605382" y="1442073"/>
                  </a:lnTo>
                  <a:lnTo>
                    <a:pt x="1605382" y="1439791"/>
                  </a:lnTo>
                  <a:lnTo>
                    <a:pt x="1607666" y="1439791"/>
                  </a:lnTo>
                  <a:lnTo>
                    <a:pt x="1607666" y="1437509"/>
                  </a:lnTo>
                  <a:lnTo>
                    <a:pt x="1607666" y="1435227"/>
                  </a:lnTo>
                  <a:lnTo>
                    <a:pt x="1609950" y="1435227"/>
                  </a:lnTo>
                  <a:lnTo>
                    <a:pt x="1609950" y="1432945"/>
                  </a:lnTo>
                  <a:lnTo>
                    <a:pt x="1612233" y="1432945"/>
                  </a:lnTo>
                  <a:lnTo>
                    <a:pt x="1612233" y="1430663"/>
                  </a:lnTo>
                  <a:lnTo>
                    <a:pt x="1614517" y="1430663"/>
                  </a:lnTo>
                  <a:lnTo>
                    <a:pt x="1614517" y="1428381"/>
                  </a:lnTo>
                  <a:lnTo>
                    <a:pt x="1616800" y="1428381"/>
                  </a:lnTo>
                  <a:lnTo>
                    <a:pt x="1616800" y="1426100"/>
                  </a:lnTo>
                  <a:lnTo>
                    <a:pt x="1619084" y="1426100"/>
                  </a:lnTo>
                  <a:lnTo>
                    <a:pt x="1621368" y="1426100"/>
                  </a:lnTo>
                  <a:lnTo>
                    <a:pt x="1621368" y="1423818"/>
                  </a:lnTo>
                  <a:lnTo>
                    <a:pt x="1623651" y="1423818"/>
                  </a:lnTo>
                  <a:lnTo>
                    <a:pt x="1625935" y="1423818"/>
                  </a:lnTo>
                  <a:lnTo>
                    <a:pt x="1625935" y="1421535"/>
                  </a:lnTo>
                  <a:lnTo>
                    <a:pt x="1628218" y="1421535"/>
                  </a:lnTo>
                  <a:lnTo>
                    <a:pt x="1630502" y="1421535"/>
                  </a:lnTo>
                  <a:lnTo>
                    <a:pt x="1630502" y="1419254"/>
                  </a:lnTo>
                  <a:lnTo>
                    <a:pt x="1632786" y="1419254"/>
                  </a:lnTo>
                  <a:lnTo>
                    <a:pt x="1635069" y="1419254"/>
                  </a:lnTo>
                  <a:lnTo>
                    <a:pt x="1635069" y="1416972"/>
                  </a:lnTo>
                  <a:lnTo>
                    <a:pt x="1637353" y="1416972"/>
                  </a:lnTo>
                  <a:lnTo>
                    <a:pt x="1639636" y="1416972"/>
                  </a:lnTo>
                  <a:lnTo>
                    <a:pt x="1641920" y="1416972"/>
                  </a:lnTo>
                  <a:lnTo>
                    <a:pt x="1641920" y="1414690"/>
                  </a:lnTo>
                  <a:lnTo>
                    <a:pt x="1644204" y="1414690"/>
                  </a:lnTo>
                  <a:lnTo>
                    <a:pt x="1646487" y="1414690"/>
                  </a:lnTo>
                  <a:lnTo>
                    <a:pt x="1648771" y="1414690"/>
                  </a:lnTo>
                  <a:lnTo>
                    <a:pt x="1651054" y="1414690"/>
                  </a:lnTo>
                  <a:lnTo>
                    <a:pt x="1653338" y="1414690"/>
                  </a:lnTo>
                  <a:lnTo>
                    <a:pt x="1653338" y="1412408"/>
                  </a:lnTo>
                  <a:lnTo>
                    <a:pt x="1655622" y="1412408"/>
                  </a:lnTo>
                  <a:lnTo>
                    <a:pt x="1657905" y="1412408"/>
                  </a:lnTo>
                  <a:lnTo>
                    <a:pt x="1660189" y="1412408"/>
                  </a:lnTo>
                  <a:lnTo>
                    <a:pt x="1662472" y="1412408"/>
                  </a:lnTo>
                  <a:lnTo>
                    <a:pt x="1664756" y="1412408"/>
                  </a:lnTo>
                  <a:lnTo>
                    <a:pt x="1667040" y="1412408"/>
                  </a:lnTo>
                  <a:lnTo>
                    <a:pt x="1669323" y="1412408"/>
                  </a:lnTo>
                  <a:lnTo>
                    <a:pt x="1671607" y="1412408"/>
                  </a:lnTo>
                  <a:lnTo>
                    <a:pt x="1673890" y="1412408"/>
                  </a:lnTo>
                  <a:lnTo>
                    <a:pt x="1676174" y="1412408"/>
                  </a:lnTo>
                  <a:lnTo>
                    <a:pt x="1678458" y="1412408"/>
                  </a:lnTo>
                  <a:lnTo>
                    <a:pt x="1680741" y="1412408"/>
                  </a:lnTo>
                  <a:lnTo>
                    <a:pt x="1683025" y="1412408"/>
                  </a:lnTo>
                  <a:lnTo>
                    <a:pt x="1683025" y="1414690"/>
                  </a:lnTo>
                  <a:lnTo>
                    <a:pt x="1685308" y="1414690"/>
                  </a:lnTo>
                  <a:lnTo>
                    <a:pt x="1687592" y="1414690"/>
                  </a:lnTo>
                  <a:lnTo>
                    <a:pt x="1689876" y="1414690"/>
                  </a:lnTo>
                  <a:lnTo>
                    <a:pt x="1692159" y="1414690"/>
                  </a:lnTo>
                  <a:lnTo>
                    <a:pt x="1692159" y="1412408"/>
                  </a:lnTo>
                  <a:lnTo>
                    <a:pt x="1694443" y="1412408"/>
                  </a:lnTo>
                  <a:lnTo>
                    <a:pt x="1696726" y="1412408"/>
                  </a:lnTo>
                  <a:lnTo>
                    <a:pt x="1699010" y="1412408"/>
                  </a:lnTo>
                  <a:lnTo>
                    <a:pt x="1701294" y="1412408"/>
                  </a:lnTo>
                  <a:lnTo>
                    <a:pt x="1703577" y="1412408"/>
                  </a:lnTo>
                  <a:lnTo>
                    <a:pt x="1703577" y="1414690"/>
                  </a:lnTo>
                  <a:lnTo>
                    <a:pt x="1705861" y="1414690"/>
                  </a:lnTo>
                  <a:lnTo>
                    <a:pt x="1705861" y="1412408"/>
                  </a:lnTo>
                  <a:lnTo>
                    <a:pt x="1708144" y="1412408"/>
                  </a:lnTo>
                  <a:lnTo>
                    <a:pt x="1710428" y="1412408"/>
                  </a:lnTo>
                  <a:lnTo>
                    <a:pt x="1712711" y="1412408"/>
                  </a:lnTo>
                  <a:lnTo>
                    <a:pt x="1714995" y="1412408"/>
                  </a:lnTo>
                  <a:lnTo>
                    <a:pt x="1717279" y="1412408"/>
                  </a:lnTo>
                  <a:lnTo>
                    <a:pt x="1717279" y="1410126"/>
                  </a:lnTo>
                  <a:lnTo>
                    <a:pt x="1719562" y="1410126"/>
                  </a:lnTo>
                  <a:lnTo>
                    <a:pt x="1719562" y="1407845"/>
                  </a:lnTo>
                  <a:lnTo>
                    <a:pt x="1721846" y="1407845"/>
                  </a:lnTo>
                  <a:lnTo>
                    <a:pt x="1724129" y="1407845"/>
                  </a:lnTo>
                  <a:lnTo>
                    <a:pt x="1724129" y="1410126"/>
                  </a:lnTo>
                  <a:lnTo>
                    <a:pt x="1726413" y="1410126"/>
                  </a:lnTo>
                  <a:lnTo>
                    <a:pt x="1726413" y="1407845"/>
                  </a:lnTo>
                  <a:lnTo>
                    <a:pt x="1728697" y="1407845"/>
                  </a:lnTo>
                  <a:lnTo>
                    <a:pt x="1728697" y="1405562"/>
                  </a:lnTo>
                  <a:lnTo>
                    <a:pt x="1730980" y="1405562"/>
                  </a:lnTo>
                  <a:lnTo>
                    <a:pt x="1730980" y="1403280"/>
                  </a:lnTo>
                  <a:lnTo>
                    <a:pt x="1733264" y="1403280"/>
                  </a:lnTo>
                  <a:lnTo>
                    <a:pt x="1733264" y="1400999"/>
                  </a:lnTo>
                  <a:lnTo>
                    <a:pt x="1735548" y="1400999"/>
                  </a:lnTo>
                  <a:lnTo>
                    <a:pt x="1735548" y="1398717"/>
                  </a:lnTo>
                  <a:lnTo>
                    <a:pt x="1737831" y="1398717"/>
                  </a:lnTo>
                  <a:lnTo>
                    <a:pt x="1740115" y="1398717"/>
                  </a:lnTo>
                  <a:lnTo>
                    <a:pt x="1740115" y="1396435"/>
                  </a:lnTo>
                  <a:lnTo>
                    <a:pt x="1742398" y="1396435"/>
                  </a:lnTo>
                  <a:lnTo>
                    <a:pt x="1744682" y="1396435"/>
                  </a:lnTo>
                  <a:lnTo>
                    <a:pt x="1744682" y="1394153"/>
                  </a:lnTo>
                  <a:lnTo>
                    <a:pt x="1744682" y="1391871"/>
                  </a:lnTo>
                  <a:lnTo>
                    <a:pt x="1746965" y="1391871"/>
                  </a:lnTo>
                  <a:lnTo>
                    <a:pt x="1746965" y="1389589"/>
                  </a:lnTo>
                  <a:lnTo>
                    <a:pt x="1749249" y="1389589"/>
                  </a:lnTo>
                  <a:lnTo>
                    <a:pt x="1749249" y="1387307"/>
                  </a:lnTo>
                  <a:lnTo>
                    <a:pt x="1751533" y="1387307"/>
                  </a:lnTo>
                  <a:lnTo>
                    <a:pt x="1751533" y="1385025"/>
                  </a:lnTo>
                  <a:lnTo>
                    <a:pt x="1753816" y="1385025"/>
                  </a:lnTo>
                  <a:lnTo>
                    <a:pt x="1756100" y="1385025"/>
                  </a:lnTo>
                  <a:lnTo>
                    <a:pt x="1758383" y="1385025"/>
                  </a:lnTo>
                  <a:lnTo>
                    <a:pt x="1760667" y="1385025"/>
                  </a:lnTo>
                  <a:lnTo>
                    <a:pt x="1762951" y="1385025"/>
                  </a:lnTo>
                  <a:lnTo>
                    <a:pt x="1765234" y="1385025"/>
                  </a:lnTo>
                  <a:lnTo>
                    <a:pt x="1765234" y="1387307"/>
                  </a:lnTo>
                  <a:lnTo>
                    <a:pt x="1767518" y="1387307"/>
                  </a:lnTo>
                  <a:lnTo>
                    <a:pt x="1769801" y="1387307"/>
                  </a:lnTo>
                  <a:lnTo>
                    <a:pt x="1772085" y="1387307"/>
                  </a:lnTo>
                  <a:lnTo>
                    <a:pt x="1774369" y="1387307"/>
                  </a:lnTo>
                  <a:lnTo>
                    <a:pt x="1776652" y="1387307"/>
                  </a:lnTo>
                  <a:lnTo>
                    <a:pt x="1778936" y="1387307"/>
                  </a:lnTo>
                  <a:lnTo>
                    <a:pt x="1781219" y="1387307"/>
                  </a:lnTo>
                  <a:lnTo>
                    <a:pt x="1783503" y="1387307"/>
                  </a:lnTo>
                  <a:lnTo>
                    <a:pt x="1783503" y="1389589"/>
                  </a:lnTo>
                  <a:lnTo>
                    <a:pt x="1785787" y="1389589"/>
                  </a:lnTo>
                  <a:lnTo>
                    <a:pt x="1788070" y="1389589"/>
                  </a:lnTo>
                  <a:lnTo>
                    <a:pt x="1790354" y="1389589"/>
                  </a:lnTo>
                  <a:lnTo>
                    <a:pt x="1792637" y="1389589"/>
                  </a:lnTo>
                  <a:lnTo>
                    <a:pt x="1794921" y="1389589"/>
                  </a:lnTo>
                  <a:lnTo>
                    <a:pt x="1794921" y="1391871"/>
                  </a:lnTo>
                  <a:lnTo>
                    <a:pt x="1797205" y="1391871"/>
                  </a:lnTo>
                  <a:lnTo>
                    <a:pt x="1799488" y="1391871"/>
                  </a:lnTo>
                  <a:lnTo>
                    <a:pt x="1801772" y="1391871"/>
                  </a:lnTo>
                  <a:lnTo>
                    <a:pt x="1804055" y="1391871"/>
                  </a:lnTo>
                  <a:lnTo>
                    <a:pt x="1804055" y="1394153"/>
                  </a:lnTo>
                  <a:lnTo>
                    <a:pt x="1806339" y="1394153"/>
                  </a:lnTo>
                  <a:lnTo>
                    <a:pt x="1808623" y="1394153"/>
                  </a:lnTo>
                  <a:lnTo>
                    <a:pt x="1810906" y="1394153"/>
                  </a:lnTo>
                  <a:lnTo>
                    <a:pt x="1810906" y="1396435"/>
                  </a:lnTo>
                  <a:lnTo>
                    <a:pt x="1813190" y="1396435"/>
                  </a:lnTo>
                  <a:lnTo>
                    <a:pt x="1815473" y="1396435"/>
                  </a:lnTo>
                  <a:lnTo>
                    <a:pt x="1817757" y="1396435"/>
                  </a:lnTo>
                  <a:lnTo>
                    <a:pt x="1817757" y="1398717"/>
                  </a:lnTo>
                  <a:lnTo>
                    <a:pt x="1820040" y="1398717"/>
                  </a:lnTo>
                  <a:lnTo>
                    <a:pt x="1822324" y="1398717"/>
                  </a:lnTo>
                  <a:lnTo>
                    <a:pt x="1822324" y="1396435"/>
                  </a:lnTo>
                  <a:lnTo>
                    <a:pt x="1824608" y="1396435"/>
                  </a:lnTo>
                  <a:lnTo>
                    <a:pt x="1826891" y="1396435"/>
                  </a:lnTo>
                  <a:lnTo>
                    <a:pt x="1829175" y="1396435"/>
                  </a:lnTo>
                  <a:lnTo>
                    <a:pt x="1831458" y="1396435"/>
                  </a:lnTo>
                  <a:lnTo>
                    <a:pt x="1833742" y="1396435"/>
                  </a:lnTo>
                  <a:lnTo>
                    <a:pt x="1833742" y="1398717"/>
                  </a:lnTo>
                  <a:lnTo>
                    <a:pt x="1836026" y="1398717"/>
                  </a:lnTo>
                  <a:lnTo>
                    <a:pt x="1838309" y="1398717"/>
                  </a:lnTo>
                  <a:lnTo>
                    <a:pt x="1840593" y="1398717"/>
                  </a:lnTo>
                  <a:lnTo>
                    <a:pt x="1840593" y="1400999"/>
                  </a:lnTo>
                  <a:lnTo>
                    <a:pt x="1842877" y="1400999"/>
                  </a:lnTo>
                  <a:lnTo>
                    <a:pt x="1845160" y="1400999"/>
                  </a:lnTo>
                  <a:lnTo>
                    <a:pt x="1845160" y="1403280"/>
                  </a:lnTo>
                  <a:lnTo>
                    <a:pt x="1847444" y="1403280"/>
                  </a:lnTo>
                  <a:lnTo>
                    <a:pt x="1849727" y="1403280"/>
                  </a:lnTo>
                  <a:lnTo>
                    <a:pt x="1852011" y="1403280"/>
                  </a:lnTo>
                  <a:lnTo>
                    <a:pt x="1854294" y="1403280"/>
                  </a:lnTo>
                  <a:lnTo>
                    <a:pt x="1856578" y="1403280"/>
                  </a:lnTo>
                  <a:lnTo>
                    <a:pt x="1856578" y="1405562"/>
                  </a:lnTo>
                  <a:lnTo>
                    <a:pt x="1858862" y="1405562"/>
                  </a:lnTo>
                  <a:lnTo>
                    <a:pt x="1861145" y="1405562"/>
                  </a:lnTo>
                  <a:lnTo>
                    <a:pt x="1863429" y="1405562"/>
                  </a:lnTo>
                  <a:lnTo>
                    <a:pt x="1865712" y="1405562"/>
                  </a:lnTo>
                  <a:lnTo>
                    <a:pt x="1865712" y="1407845"/>
                  </a:lnTo>
                  <a:lnTo>
                    <a:pt x="1867996" y="1407845"/>
                  </a:lnTo>
                  <a:lnTo>
                    <a:pt x="1870280" y="1407845"/>
                  </a:lnTo>
                  <a:lnTo>
                    <a:pt x="1872563" y="1407845"/>
                  </a:lnTo>
                  <a:lnTo>
                    <a:pt x="1874847" y="1407845"/>
                  </a:lnTo>
                  <a:lnTo>
                    <a:pt x="1874847" y="1410126"/>
                  </a:lnTo>
                  <a:lnTo>
                    <a:pt x="1877131" y="1410126"/>
                  </a:lnTo>
                  <a:lnTo>
                    <a:pt x="1879414" y="1410126"/>
                  </a:lnTo>
                  <a:lnTo>
                    <a:pt x="1881698" y="1410126"/>
                  </a:lnTo>
                  <a:lnTo>
                    <a:pt x="1881698" y="1412408"/>
                  </a:lnTo>
                  <a:lnTo>
                    <a:pt x="1883981" y="1412408"/>
                  </a:lnTo>
                  <a:lnTo>
                    <a:pt x="1886265" y="1412408"/>
                  </a:lnTo>
                  <a:lnTo>
                    <a:pt x="1886265" y="1414690"/>
                  </a:lnTo>
                  <a:lnTo>
                    <a:pt x="1888548" y="1414690"/>
                  </a:lnTo>
                  <a:lnTo>
                    <a:pt x="1888548" y="1416972"/>
                  </a:lnTo>
                  <a:lnTo>
                    <a:pt x="1890832" y="1416972"/>
                  </a:lnTo>
                  <a:lnTo>
                    <a:pt x="1893116" y="1416972"/>
                  </a:lnTo>
                  <a:lnTo>
                    <a:pt x="1895399" y="1416972"/>
                  </a:lnTo>
                  <a:lnTo>
                    <a:pt x="1895399" y="1414690"/>
                  </a:lnTo>
                  <a:lnTo>
                    <a:pt x="1895399" y="1412408"/>
                  </a:lnTo>
                  <a:lnTo>
                    <a:pt x="1897683" y="1412408"/>
                  </a:lnTo>
                  <a:lnTo>
                    <a:pt x="1899966" y="1412408"/>
                  </a:lnTo>
                  <a:lnTo>
                    <a:pt x="1899966" y="1410126"/>
                  </a:lnTo>
                  <a:lnTo>
                    <a:pt x="1902250" y="1410126"/>
                  </a:lnTo>
                  <a:lnTo>
                    <a:pt x="1904533" y="1410126"/>
                  </a:lnTo>
                  <a:lnTo>
                    <a:pt x="1906817" y="1410126"/>
                  </a:lnTo>
                  <a:lnTo>
                    <a:pt x="1909101" y="1410126"/>
                  </a:lnTo>
                  <a:lnTo>
                    <a:pt x="1909101" y="1412408"/>
                  </a:lnTo>
                  <a:lnTo>
                    <a:pt x="1911384" y="1412408"/>
                  </a:lnTo>
                  <a:lnTo>
                    <a:pt x="1913668" y="1412408"/>
                  </a:lnTo>
                  <a:lnTo>
                    <a:pt x="1915952" y="1412408"/>
                  </a:lnTo>
                  <a:lnTo>
                    <a:pt x="1918235" y="1412408"/>
                  </a:lnTo>
                  <a:lnTo>
                    <a:pt x="1918235" y="1414690"/>
                  </a:lnTo>
                  <a:lnTo>
                    <a:pt x="1920519" y="1414690"/>
                  </a:lnTo>
                  <a:lnTo>
                    <a:pt x="1922802" y="1414690"/>
                  </a:lnTo>
                  <a:lnTo>
                    <a:pt x="1925086" y="1414690"/>
                  </a:lnTo>
                  <a:lnTo>
                    <a:pt x="1927370" y="1414690"/>
                  </a:lnTo>
                  <a:lnTo>
                    <a:pt x="1929653" y="1414690"/>
                  </a:lnTo>
                  <a:lnTo>
                    <a:pt x="1931937" y="1414690"/>
                  </a:lnTo>
                  <a:lnTo>
                    <a:pt x="1934220" y="1414690"/>
                  </a:lnTo>
                  <a:lnTo>
                    <a:pt x="1934220" y="1412408"/>
                  </a:lnTo>
                  <a:lnTo>
                    <a:pt x="1936504" y="1412408"/>
                  </a:lnTo>
                  <a:lnTo>
                    <a:pt x="1938787" y="1412408"/>
                  </a:lnTo>
                  <a:lnTo>
                    <a:pt x="1941071" y="1412408"/>
                  </a:lnTo>
                  <a:lnTo>
                    <a:pt x="1943355" y="1412408"/>
                  </a:lnTo>
                  <a:lnTo>
                    <a:pt x="1945638" y="1412408"/>
                  </a:lnTo>
                  <a:lnTo>
                    <a:pt x="1947922" y="1412408"/>
                  </a:lnTo>
                  <a:lnTo>
                    <a:pt x="1950206" y="1412408"/>
                  </a:lnTo>
                  <a:lnTo>
                    <a:pt x="1950206" y="1414690"/>
                  </a:lnTo>
                  <a:lnTo>
                    <a:pt x="1952489" y="1414690"/>
                  </a:lnTo>
                  <a:lnTo>
                    <a:pt x="1954773" y="1414690"/>
                  </a:lnTo>
                  <a:lnTo>
                    <a:pt x="1957056" y="1414690"/>
                  </a:lnTo>
                  <a:lnTo>
                    <a:pt x="1957056" y="1412408"/>
                  </a:lnTo>
                  <a:lnTo>
                    <a:pt x="1959340" y="1412408"/>
                  </a:lnTo>
                  <a:lnTo>
                    <a:pt x="1961623" y="1412408"/>
                  </a:lnTo>
                  <a:lnTo>
                    <a:pt x="1961623" y="1414690"/>
                  </a:lnTo>
                  <a:lnTo>
                    <a:pt x="1963907" y="1414690"/>
                  </a:lnTo>
                  <a:lnTo>
                    <a:pt x="1963907" y="1412408"/>
                  </a:lnTo>
                  <a:lnTo>
                    <a:pt x="1966191" y="1412408"/>
                  </a:lnTo>
                  <a:lnTo>
                    <a:pt x="1968474" y="1412408"/>
                  </a:lnTo>
                  <a:lnTo>
                    <a:pt x="1970758" y="1412408"/>
                  </a:lnTo>
                  <a:lnTo>
                    <a:pt x="1973041" y="1412408"/>
                  </a:lnTo>
                  <a:lnTo>
                    <a:pt x="1973041" y="1414690"/>
                  </a:lnTo>
                  <a:lnTo>
                    <a:pt x="1975325" y="1414690"/>
                  </a:lnTo>
                  <a:lnTo>
                    <a:pt x="1977609" y="1414690"/>
                  </a:lnTo>
                  <a:lnTo>
                    <a:pt x="1979892" y="1414690"/>
                  </a:lnTo>
                  <a:lnTo>
                    <a:pt x="1982176" y="1414690"/>
                  </a:lnTo>
                  <a:lnTo>
                    <a:pt x="1984460" y="1414690"/>
                  </a:lnTo>
                  <a:lnTo>
                    <a:pt x="1986743" y="1414690"/>
                  </a:lnTo>
                  <a:lnTo>
                    <a:pt x="1989027" y="1414690"/>
                  </a:lnTo>
                  <a:lnTo>
                    <a:pt x="1989027" y="1416972"/>
                  </a:lnTo>
                  <a:lnTo>
                    <a:pt x="1991310" y="1416972"/>
                  </a:lnTo>
                  <a:lnTo>
                    <a:pt x="1993594" y="1416972"/>
                  </a:lnTo>
                  <a:lnTo>
                    <a:pt x="1995877" y="1416972"/>
                  </a:lnTo>
                  <a:lnTo>
                    <a:pt x="1995877" y="1419254"/>
                  </a:lnTo>
                  <a:lnTo>
                    <a:pt x="1998161" y="1419254"/>
                  </a:lnTo>
                  <a:lnTo>
                    <a:pt x="2000445" y="1419254"/>
                  </a:lnTo>
                  <a:lnTo>
                    <a:pt x="2002728" y="1419254"/>
                  </a:lnTo>
                  <a:lnTo>
                    <a:pt x="2005012" y="1419254"/>
                  </a:lnTo>
                  <a:lnTo>
                    <a:pt x="2007295" y="1419254"/>
                  </a:lnTo>
                  <a:lnTo>
                    <a:pt x="2009579" y="1419254"/>
                  </a:lnTo>
                  <a:lnTo>
                    <a:pt x="2011862" y="1419254"/>
                  </a:lnTo>
                  <a:lnTo>
                    <a:pt x="2014146" y="1419254"/>
                  </a:lnTo>
                  <a:lnTo>
                    <a:pt x="2016430" y="1419254"/>
                  </a:lnTo>
                  <a:lnTo>
                    <a:pt x="2018713" y="1419254"/>
                  </a:lnTo>
                  <a:lnTo>
                    <a:pt x="2020997" y="1419254"/>
                  </a:lnTo>
                  <a:lnTo>
                    <a:pt x="2023281" y="1419254"/>
                  </a:lnTo>
                  <a:lnTo>
                    <a:pt x="2025564" y="1419254"/>
                  </a:lnTo>
                  <a:lnTo>
                    <a:pt x="2027848" y="1419254"/>
                  </a:lnTo>
                  <a:lnTo>
                    <a:pt x="2030131" y="1419254"/>
                  </a:lnTo>
                  <a:lnTo>
                    <a:pt x="2032415" y="1419254"/>
                  </a:lnTo>
                  <a:lnTo>
                    <a:pt x="2034699" y="1419254"/>
                  </a:lnTo>
                  <a:lnTo>
                    <a:pt x="2036982" y="1419254"/>
                  </a:lnTo>
                  <a:lnTo>
                    <a:pt x="2039266" y="1419254"/>
                  </a:lnTo>
                  <a:lnTo>
                    <a:pt x="2041549" y="1419254"/>
                  </a:lnTo>
                  <a:lnTo>
                    <a:pt x="2041549" y="1416972"/>
                  </a:lnTo>
                  <a:lnTo>
                    <a:pt x="2039266" y="1416972"/>
                  </a:lnTo>
                  <a:lnTo>
                    <a:pt x="2036982" y="1416972"/>
                  </a:lnTo>
                  <a:lnTo>
                    <a:pt x="2034699" y="1416972"/>
                  </a:lnTo>
                  <a:lnTo>
                    <a:pt x="2032415" y="1416972"/>
                  </a:lnTo>
                  <a:lnTo>
                    <a:pt x="2032415" y="1414690"/>
                  </a:lnTo>
                  <a:lnTo>
                    <a:pt x="2030131" y="1414690"/>
                  </a:lnTo>
                  <a:lnTo>
                    <a:pt x="2030131" y="1412408"/>
                  </a:lnTo>
                  <a:lnTo>
                    <a:pt x="2030131" y="1410126"/>
                  </a:lnTo>
                  <a:lnTo>
                    <a:pt x="2030131" y="1407845"/>
                  </a:lnTo>
                  <a:lnTo>
                    <a:pt x="2030131" y="1405562"/>
                  </a:lnTo>
                  <a:lnTo>
                    <a:pt x="2032415" y="1405562"/>
                  </a:lnTo>
                  <a:lnTo>
                    <a:pt x="2032415" y="1403280"/>
                  </a:lnTo>
                  <a:lnTo>
                    <a:pt x="2032415" y="1400999"/>
                  </a:lnTo>
                  <a:lnTo>
                    <a:pt x="2032415" y="1398717"/>
                  </a:lnTo>
                  <a:lnTo>
                    <a:pt x="2032415" y="1396435"/>
                  </a:lnTo>
                  <a:lnTo>
                    <a:pt x="2032415" y="1394153"/>
                  </a:lnTo>
                  <a:lnTo>
                    <a:pt x="2034699" y="1394153"/>
                  </a:lnTo>
                  <a:lnTo>
                    <a:pt x="2034699" y="1391871"/>
                  </a:lnTo>
                  <a:lnTo>
                    <a:pt x="2036982" y="1391871"/>
                  </a:lnTo>
                  <a:lnTo>
                    <a:pt x="2036982" y="1389589"/>
                  </a:lnTo>
                  <a:lnTo>
                    <a:pt x="2039266" y="1389589"/>
                  </a:lnTo>
                  <a:lnTo>
                    <a:pt x="2039266" y="1387307"/>
                  </a:lnTo>
                  <a:lnTo>
                    <a:pt x="2041549" y="1387307"/>
                  </a:lnTo>
                  <a:lnTo>
                    <a:pt x="2041549" y="1385025"/>
                  </a:lnTo>
                  <a:lnTo>
                    <a:pt x="2043833" y="1385025"/>
                  </a:lnTo>
                  <a:lnTo>
                    <a:pt x="2043833" y="1382753"/>
                  </a:lnTo>
                  <a:lnTo>
                    <a:pt x="2046116" y="1382753"/>
                  </a:lnTo>
                  <a:lnTo>
                    <a:pt x="2046116" y="1380471"/>
                  </a:lnTo>
                  <a:lnTo>
                    <a:pt x="2048400" y="1380471"/>
                  </a:lnTo>
                  <a:lnTo>
                    <a:pt x="2050684" y="1380471"/>
                  </a:lnTo>
                  <a:lnTo>
                    <a:pt x="2050684" y="1378189"/>
                  </a:lnTo>
                  <a:lnTo>
                    <a:pt x="2052967" y="1378189"/>
                  </a:lnTo>
                  <a:lnTo>
                    <a:pt x="2055251" y="1378189"/>
                  </a:lnTo>
                  <a:lnTo>
                    <a:pt x="2057535" y="1378189"/>
                  </a:lnTo>
                  <a:lnTo>
                    <a:pt x="2059818" y="1378189"/>
                  </a:lnTo>
                  <a:lnTo>
                    <a:pt x="2059818" y="1375908"/>
                  </a:lnTo>
                  <a:lnTo>
                    <a:pt x="2062102" y="1375908"/>
                  </a:lnTo>
                  <a:lnTo>
                    <a:pt x="2064385" y="1375908"/>
                  </a:lnTo>
                  <a:lnTo>
                    <a:pt x="2066669" y="1375908"/>
                  </a:lnTo>
                  <a:lnTo>
                    <a:pt x="2068952" y="1375908"/>
                  </a:lnTo>
                  <a:lnTo>
                    <a:pt x="2071236" y="1375908"/>
                  </a:lnTo>
                  <a:lnTo>
                    <a:pt x="2073520" y="1375908"/>
                  </a:lnTo>
                  <a:lnTo>
                    <a:pt x="2075803" y="1375908"/>
                  </a:lnTo>
                  <a:lnTo>
                    <a:pt x="2078087" y="1375908"/>
                  </a:lnTo>
                  <a:lnTo>
                    <a:pt x="2080370" y="1375908"/>
                  </a:lnTo>
                  <a:lnTo>
                    <a:pt x="2080370" y="1373625"/>
                  </a:lnTo>
                  <a:lnTo>
                    <a:pt x="2082654" y="1373625"/>
                  </a:lnTo>
                  <a:lnTo>
                    <a:pt x="2084938" y="1373625"/>
                  </a:lnTo>
                  <a:lnTo>
                    <a:pt x="2084938" y="1371343"/>
                  </a:lnTo>
                  <a:lnTo>
                    <a:pt x="2087221" y="1371343"/>
                  </a:lnTo>
                  <a:lnTo>
                    <a:pt x="2087221" y="1369062"/>
                  </a:lnTo>
                  <a:lnTo>
                    <a:pt x="2089505" y="1369062"/>
                  </a:lnTo>
                  <a:lnTo>
                    <a:pt x="2089505" y="1366780"/>
                  </a:lnTo>
                  <a:lnTo>
                    <a:pt x="2091789" y="1366780"/>
                  </a:lnTo>
                  <a:lnTo>
                    <a:pt x="2094072" y="1366780"/>
                  </a:lnTo>
                  <a:lnTo>
                    <a:pt x="2096356" y="1366780"/>
                  </a:lnTo>
                  <a:lnTo>
                    <a:pt x="2098639" y="1366780"/>
                  </a:lnTo>
                  <a:lnTo>
                    <a:pt x="2100923" y="1366780"/>
                  </a:lnTo>
                  <a:lnTo>
                    <a:pt x="2103206" y="1366780"/>
                  </a:lnTo>
                  <a:lnTo>
                    <a:pt x="2105490" y="1366780"/>
                  </a:lnTo>
                  <a:lnTo>
                    <a:pt x="2107774" y="1366780"/>
                  </a:lnTo>
                  <a:lnTo>
                    <a:pt x="2107774" y="1364498"/>
                  </a:lnTo>
                  <a:lnTo>
                    <a:pt x="2110057" y="1364498"/>
                  </a:lnTo>
                  <a:lnTo>
                    <a:pt x="2112341" y="1364498"/>
                  </a:lnTo>
                  <a:lnTo>
                    <a:pt x="2114625" y="1364498"/>
                  </a:lnTo>
                  <a:lnTo>
                    <a:pt x="2114625" y="1366780"/>
                  </a:lnTo>
                  <a:lnTo>
                    <a:pt x="2116908" y="1366780"/>
                  </a:lnTo>
                  <a:lnTo>
                    <a:pt x="2119192" y="1366780"/>
                  </a:lnTo>
                  <a:lnTo>
                    <a:pt x="2121475" y="1366780"/>
                  </a:lnTo>
                  <a:lnTo>
                    <a:pt x="2121475" y="1364498"/>
                  </a:lnTo>
                  <a:lnTo>
                    <a:pt x="2123759" y="1364498"/>
                  </a:lnTo>
                  <a:lnTo>
                    <a:pt x="2123759" y="1362216"/>
                  </a:lnTo>
                  <a:lnTo>
                    <a:pt x="2123759" y="1359934"/>
                  </a:lnTo>
                  <a:lnTo>
                    <a:pt x="2121475" y="1359934"/>
                  </a:lnTo>
                  <a:lnTo>
                    <a:pt x="2121475" y="1357652"/>
                  </a:lnTo>
                  <a:lnTo>
                    <a:pt x="2121475" y="1355370"/>
                  </a:lnTo>
                  <a:lnTo>
                    <a:pt x="2119192" y="1355370"/>
                  </a:lnTo>
                  <a:lnTo>
                    <a:pt x="2119192" y="1353088"/>
                  </a:lnTo>
                  <a:lnTo>
                    <a:pt x="2119192" y="1350807"/>
                  </a:lnTo>
                  <a:lnTo>
                    <a:pt x="2119192" y="1348524"/>
                  </a:lnTo>
                  <a:lnTo>
                    <a:pt x="2119192" y="1346243"/>
                  </a:lnTo>
                  <a:lnTo>
                    <a:pt x="2121475" y="1346243"/>
                  </a:lnTo>
                  <a:lnTo>
                    <a:pt x="2121475" y="1343961"/>
                  </a:lnTo>
                  <a:lnTo>
                    <a:pt x="2121475" y="1341679"/>
                  </a:lnTo>
                  <a:lnTo>
                    <a:pt x="2121475" y="1339397"/>
                  </a:lnTo>
                  <a:lnTo>
                    <a:pt x="2119192" y="1339397"/>
                  </a:lnTo>
                  <a:lnTo>
                    <a:pt x="2119192" y="1337115"/>
                  </a:lnTo>
                  <a:lnTo>
                    <a:pt x="2121475" y="1337115"/>
                  </a:lnTo>
                  <a:lnTo>
                    <a:pt x="2123759" y="1337115"/>
                  </a:lnTo>
                  <a:lnTo>
                    <a:pt x="2123759" y="1334833"/>
                  </a:lnTo>
                  <a:lnTo>
                    <a:pt x="2126042" y="1334833"/>
                  </a:lnTo>
                  <a:lnTo>
                    <a:pt x="2126042" y="1332551"/>
                  </a:lnTo>
                  <a:lnTo>
                    <a:pt x="2123759" y="1332551"/>
                  </a:lnTo>
                  <a:lnTo>
                    <a:pt x="2123759" y="1330269"/>
                  </a:lnTo>
                  <a:lnTo>
                    <a:pt x="2121475" y="1330269"/>
                  </a:lnTo>
                  <a:lnTo>
                    <a:pt x="2121475" y="1327988"/>
                  </a:lnTo>
                  <a:lnTo>
                    <a:pt x="2123759" y="1327988"/>
                  </a:lnTo>
                  <a:lnTo>
                    <a:pt x="2126042" y="1327988"/>
                  </a:lnTo>
                  <a:lnTo>
                    <a:pt x="2126042" y="1325706"/>
                  </a:lnTo>
                  <a:lnTo>
                    <a:pt x="2128326" y="1325706"/>
                  </a:lnTo>
                  <a:lnTo>
                    <a:pt x="2130610" y="1325706"/>
                  </a:lnTo>
                  <a:lnTo>
                    <a:pt x="2132893" y="1325706"/>
                  </a:lnTo>
                  <a:lnTo>
                    <a:pt x="2135177" y="1325706"/>
                  </a:lnTo>
                  <a:lnTo>
                    <a:pt x="2135177" y="1323424"/>
                  </a:lnTo>
                  <a:lnTo>
                    <a:pt x="2137460" y="1323424"/>
                  </a:lnTo>
                  <a:lnTo>
                    <a:pt x="2137460" y="1321142"/>
                  </a:lnTo>
                  <a:lnTo>
                    <a:pt x="2137460" y="1318860"/>
                  </a:lnTo>
                  <a:lnTo>
                    <a:pt x="2139744" y="1318860"/>
                  </a:lnTo>
                  <a:lnTo>
                    <a:pt x="2139744" y="1316578"/>
                  </a:lnTo>
                  <a:lnTo>
                    <a:pt x="2142028" y="1316578"/>
                  </a:lnTo>
                  <a:lnTo>
                    <a:pt x="2130610" y="1314296"/>
                  </a:lnTo>
                  <a:lnTo>
                    <a:pt x="2112341" y="1309732"/>
                  </a:lnTo>
                  <a:lnTo>
                    <a:pt x="2107774" y="1305168"/>
                  </a:lnTo>
                  <a:lnTo>
                    <a:pt x="2091789" y="1302887"/>
                  </a:lnTo>
                  <a:lnTo>
                    <a:pt x="2089505" y="1291477"/>
                  </a:lnTo>
                  <a:lnTo>
                    <a:pt x="2089505" y="1289195"/>
                  </a:lnTo>
                  <a:lnTo>
                    <a:pt x="2087221" y="1289195"/>
                  </a:lnTo>
                  <a:lnTo>
                    <a:pt x="2084938" y="1286913"/>
                  </a:lnTo>
                  <a:lnTo>
                    <a:pt x="2082654" y="1286913"/>
                  </a:lnTo>
                  <a:lnTo>
                    <a:pt x="2080370" y="1286913"/>
                  </a:lnTo>
                  <a:lnTo>
                    <a:pt x="2075803" y="1284632"/>
                  </a:lnTo>
                  <a:lnTo>
                    <a:pt x="2075803" y="1286913"/>
                  </a:lnTo>
                  <a:lnTo>
                    <a:pt x="2073520" y="1286913"/>
                  </a:lnTo>
                  <a:lnTo>
                    <a:pt x="2071236" y="1286913"/>
                  </a:lnTo>
                  <a:lnTo>
                    <a:pt x="2071236" y="1289195"/>
                  </a:lnTo>
                  <a:lnTo>
                    <a:pt x="2068952" y="1289195"/>
                  </a:lnTo>
                  <a:lnTo>
                    <a:pt x="2066669" y="1289195"/>
                  </a:lnTo>
                  <a:lnTo>
                    <a:pt x="2066669" y="1296041"/>
                  </a:lnTo>
                  <a:lnTo>
                    <a:pt x="2059818" y="1296041"/>
                  </a:lnTo>
                  <a:lnTo>
                    <a:pt x="2055251" y="1293759"/>
                  </a:lnTo>
                  <a:lnTo>
                    <a:pt x="2046116" y="1293759"/>
                  </a:lnTo>
                  <a:lnTo>
                    <a:pt x="2041549" y="1291477"/>
                  </a:lnTo>
                  <a:lnTo>
                    <a:pt x="2034699" y="1291477"/>
                  </a:lnTo>
                  <a:lnTo>
                    <a:pt x="2041549" y="1284632"/>
                  </a:lnTo>
                  <a:lnTo>
                    <a:pt x="2046116" y="1277786"/>
                  </a:lnTo>
                  <a:lnTo>
                    <a:pt x="2046116" y="1273222"/>
                  </a:lnTo>
                  <a:lnTo>
                    <a:pt x="2046116" y="1270940"/>
                  </a:lnTo>
                  <a:lnTo>
                    <a:pt x="2048400" y="1268658"/>
                  </a:lnTo>
                  <a:lnTo>
                    <a:pt x="2048400" y="1266376"/>
                  </a:lnTo>
                  <a:lnTo>
                    <a:pt x="2048400" y="1264095"/>
                  </a:lnTo>
                  <a:lnTo>
                    <a:pt x="2048400" y="1259531"/>
                  </a:lnTo>
                  <a:lnTo>
                    <a:pt x="2052967" y="1259531"/>
                  </a:lnTo>
                  <a:lnTo>
                    <a:pt x="2057535" y="1259531"/>
                  </a:lnTo>
                  <a:lnTo>
                    <a:pt x="2059818" y="1259531"/>
                  </a:lnTo>
                  <a:lnTo>
                    <a:pt x="2062102" y="1259531"/>
                  </a:lnTo>
                  <a:lnTo>
                    <a:pt x="2068952" y="1257249"/>
                  </a:lnTo>
                  <a:lnTo>
                    <a:pt x="2068952" y="1254967"/>
                  </a:lnTo>
                  <a:lnTo>
                    <a:pt x="2073520" y="1254967"/>
                  </a:lnTo>
                  <a:lnTo>
                    <a:pt x="2075803" y="1254967"/>
                  </a:lnTo>
                  <a:lnTo>
                    <a:pt x="2078087" y="1252685"/>
                  </a:lnTo>
                  <a:lnTo>
                    <a:pt x="2082654" y="1250403"/>
                  </a:lnTo>
                  <a:lnTo>
                    <a:pt x="2082654" y="1243557"/>
                  </a:lnTo>
                  <a:lnTo>
                    <a:pt x="2087221" y="1238994"/>
                  </a:lnTo>
                  <a:lnTo>
                    <a:pt x="2087221" y="1236712"/>
                  </a:lnTo>
                  <a:lnTo>
                    <a:pt x="2087221" y="1229876"/>
                  </a:lnTo>
                  <a:lnTo>
                    <a:pt x="2098639" y="1238994"/>
                  </a:lnTo>
                  <a:lnTo>
                    <a:pt x="2112341" y="1236712"/>
                  </a:lnTo>
                  <a:lnTo>
                    <a:pt x="2119192" y="1236712"/>
                  </a:lnTo>
                  <a:lnTo>
                    <a:pt x="2121475" y="1238994"/>
                  </a:lnTo>
                  <a:lnTo>
                    <a:pt x="2126042" y="1238994"/>
                  </a:lnTo>
                  <a:lnTo>
                    <a:pt x="2128326" y="1238994"/>
                  </a:lnTo>
                  <a:lnTo>
                    <a:pt x="2128326" y="1229876"/>
                  </a:lnTo>
                  <a:lnTo>
                    <a:pt x="2128326" y="1218466"/>
                  </a:lnTo>
                  <a:lnTo>
                    <a:pt x="2107774" y="1204775"/>
                  </a:lnTo>
                  <a:lnTo>
                    <a:pt x="2107774" y="1197929"/>
                  </a:lnTo>
                  <a:lnTo>
                    <a:pt x="2107774" y="1195647"/>
                  </a:lnTo>
                  <a:lnTo>
                    <a:pt x="2100923" y="1197929"/>
                  </a:lnTo>
                  <a:lnTo>
                    <a:pt x="2100923" y="1179674"/>
                  </a:lnTo>
                  <a:lnTo>
                    <a:pt x="2103206" y="1170546"/>
                  </a:lnTo>
                  <a:lnTo>
                    <a:pt x="2103206" y="1165983"/>
                  </a:lnTo>
                  <a:lnTo>
                    <a:pt x="2094072" y="1161419"/>
                  </a:lnTo>
                  <a:lnTo>
                    <a:pt x="2087221" y="1159137"/>
                  </a:lnTo>
                  <a:lnTo>
                    <a:pt x="2082654" y="1156855"/>
                  </a:lnTo>
                  <a:lnTo>
                    <a:pt x="2071236" y="1154573"/>
                  </a:lnTo>
                  <a:lnTo>
                    <a:pt x="2068952" y="1152291"/>
                  </a:lnTo>
                  <a:lnTo>
                    <a:pt x="2066669" y="1150009"/>
                  </a:lnTo>
                  <a:lnTo>
                    <a:pt x="2066669" y="1147727"/>
                  </a:lnTo>
                  <a:lnTo>
                    <a:pt x="2064385" y="1145445"/>
                  </a:lnTo>
                  <a:lnTo>
                    <a:pt x="2055251" y="1147727"/>
                  </a:lnTo>
                  <a:lnTo>
                    <a:pt x="2052967" y="1147727"/>
                  </a:lnTo>
                  <a:lnTo>
                    <a:pt x="2039266" y="1145445"/>
                  </a:lnTo>
                  <a:lnTo>
                    <a:pt x="2034699" y="1147727"/>
                  </a:lnTo>
                  <a:lnTo>
                    <a:pt x="2030131" y="1147727"/>
                  </a:lnTo>
                  <a:lnTo>
                    <a:pt x="2027848" y="1147727"/>
                  </a:lnTo>
                  <a:lnTo>
                    <a:pt x="2020997" y="1147727"/>
                  </a:lnTo>
                  <a:lnTo>
                    <a:pt x="2016430" y="1147727"/>
                  </a:lnTo>
                  <a:lnTo>
                    <a:pt x="2018713" y="1154573"/>
                  </a:lnTo>
                  <a:lnTo>
                    <a:pt x="2016430" y="1152291"/>
                  </a:lnTo>
                  <a:lnTo>
                    <a:pt x="2011862" y="1145445"/>
                  </a:lnTo>
                  <a:lnTo>
                    <a:pt x="2009579" y="1143163"/>
                  </a:lnTo>
                  <a:lnTo>
                    <a:pt x="2007295" y="1138600"/>
                  </a:lnTo>
                  <a:lnTo>
                    <a:pt x="2005012" y="1136318"/>
                  </a:lnTo>
                  <a:lnTo>
                    <a:pt x="2002728" y="1134036"/>
                  </a:lnTo>
                  <a:lnTo>
                    <a:pt x="2000445" y="1131754"/>
                  </a:lnTo>
                  <a:lnTo>
                    <a:pt x="1998161" y="1129472"/>
                  </a:lnTo>
                  <a:lnTo>
                    <a:pt x="1995877" y="1127190"/>
                  </a:lnTo>
                  <a:lnTo>
                    <a:pt x="1995877" y="1124908"/>
                  </a:lnTo>
                  <a:lnTo>
                    <a:pt x="1986743" y="1124908"/>
                  </a:lnTo>
                  <a:lnTo>
                    <a:pt x="1982176" y="1124908"/>
                  </a:lnTo>
                  <a:lnTo>
                    <a:pt x="1977609" y="1124908"/>
                  </a:lnTo>
                  <a:lnTo>
                    <a:pt x="1959340" y="1127190"/>
                  </a:lnTo>
                  <a:lnTo>
                    <a:pt x="1954773" y="1127190"/>
                  </a:lnTo>
                  <a:lnTo>
                    <a:pt x="1952489" y="1127190"/>
                  </a:lnTo>
                  <a:lnTo>
                    <a:pt x="1945638" y="1127190"/>
                  </a:lnTo>
                  <a:lnTo>
                    <a:pt x="1943355" y="1127190"/>
                  </a:lnTo>
                  <a:lnTo>
                    <a:pt x="1938787" y="1127190"/>
                  </a:lnTo>
                  <a:lnTo>
                    <a:pt x="1931937" y="1134036"/>
                  </a:lnTo>
                  <a:lnTo>
                    <a:pt x="1915952" y="1134036"/>
                  </a:lnTo>
                  <a:lnTo>
                    <a:pt x="1897683" y="1138600"/>
                  </a:lnTo>
                  <a:lnTo>
                    <a:pt x="1886265" y="1143163"/>
                  </a:lnTo>
                  <a:lnTo>
                    <a:pt x="1883981" y="1143163"/>
                  </a:lnTo>
                  <a:lnTo>
                    <a:pt x="1870280" y="1147727"/>
                  </a:lnTo>
                  <a:lnTo>
                    <a:pt x="1861145" y="1145445"/>
                  </a:lnTo>
                  <a:lnTo>
                    <a:pt x="1847444" y="1145445"/>
                  </a:lnTo>
                  <a:lnTo>
                    <a:pt x="1833742" y="1145445"/>
                  </a:lnTo>
                  <a:lnTo>
                    <a:pt x="1831458" y="1145445"/>
                  </a:lnTo>
                  <a:lnTo>
                    <a:pt x="1817757" y="1145445"/>
                  </a:lnTo>
                  <a:lnTo>
                    <a:pt x="1815473" y="1145445"/>
                  </a:lnTo>
                  <a:lnTo>
                    <a:pt x="1817757" y="1143163"/>
                  </a:lnTo>
                  <a:lnTo>
                    <a:pt x="1806339" y="1138600"/>
                  </a:lnTo>
                  <a:lnTo>
                    <a:pt x="1801772" y="1136318"/>
                  </a:lnTo>
                  <a:lnTo>
                    <a:pt x="1801772" y="1134036"/>
                  </a:lnTo>
                  <a:lnTo>
                    <a:pt x="1801772" y="1131754"/>
                  </a:lnTo>
                  <a:lnTo>
                    <a:pt x="1801772" y="1129472"/>
                  </a:lnTo>
                  <a:lnTo>
                    <a:pt x="1801772" y="1106653"/>
                  </a:lnTo>
                  <a:lnTo>
                    <a:pt x="1813190" y="1106653"/>
                  </a:lnTo>
                  <a:lnTo>
                    <a:pt x="1813190" y="1099807"/>
                  </a:lnTo>
                  <a:lnTo>
                    <a:pt x="1817757" y="1099807"/>
                  </a:lnTo>
                  <a:lnTo>
                    <a:pt x="1826891" y="1081552"/>
                  </a:lnTo>
                  <a:lnTo>
                    <a:pt x="1826891" y="1079270"/>
                  </a:lnTo>
                  <a:lnTo>
                    <a:pt x="1829175" y="1072434"/>
                  </a:lnTo>
                  <a:lnTo>
                    <a:pt x="1833742" y="1065588"/>
                  </a:lnTo>
                  <a:lnTo>
                    <a:pt x="1833742" y="1063307"/>
                  </a:lnTo>
                  <a:lnTo>
                    <a:pt x="1838309" y="1058743"/>
                  </a:lnTo>
                  <a:lnTo>
                    <a:pt x="1842877" y="1054179"/>
                  </a:lnTo>
                  <a:lnTo>
                    <a:pt x="1847444" y="1049615"/>
                  </a:lnTo>
                  <a:lnTo>
                    <a:pt x="1847444" y="1047333"/>
                  </a:lnTo>
                  <a:lnTo>
                    <a:pt x="1852011" y="1029078"/>
                  </a:lnTo>
                  <a:lnTo>
                    <a:pt x="1861145" y="1015387"/>
                  </a:lnTo>
                  <a:lnTo>
                    <a:pt x="1867996" y="1006259"/>
                  </a:lnTo>
                  <a:lnTo>
                    <a:pt x="1872563" y="1001695"/>
                  </a:lnTo>
                  <a:lnTo>
                    <a:pt x="1872563" y="988004"/>
                  </a:lnTo>
                  <a:lnTo>
                    <a:pt x="1870280" y="985722"/>
                  </a:lnTo>
                  <a:lnTo>
                    <a:pt x="1867996" y="983440"/>
                  </a:lnTo>
                  <a:lnTo>
                    <a:pt x="1863429" y="978876"/>
                  </a:lnTo>
                  <a:lnTo>
                    <a:pt x="1863429" y="976595"/>
                  </a:lnTo>
                  <a:lnTo>
                    <a:pt x="1874847" y="967467"/>
                  </a:lnTo>
                  <a:lnTo>
                    <a:pt x="1872563" y="960621"/>
                  </a:lnTo>
                  <a:lnTo>
                    <a:pt x="1867996" y="949212"/>
                  </a:lnTo>
                  <a:lnTo>
                    <a:pt x="1886265" y="928675"/>
                  </a:lnTo>
                  <a:lnTo>
                    <a:pt x="1886265" y="917275"/>
                  </a:lnTo>
                  <a:lnTo>
                    <a:pt x="1909101" y="917275"/>
                  </a:lnTo>
                  <a:lnTo>
                    <a:pt x="1918235" y="917275"/>
                  </a:lnTo>
                  <a:lnTo>
                    <a:pt x="1925086" y="910429"/>
                  </a:lnTo>
                  <a:lnTo>
                    <a:pt x="1922802" y="905865"/>
                  </a:lnTo>
                  <a:lnTo>
                    <a:pt x="1920519" y="903583"/>
                  </a:lnTo>
                  <a:lnTo>
                    <a:pt x="1918235" y="896738"/>
                  </a:lnTo>
                  <a:lnTo>
                    <a:pt x="1913668" y="885328"/>
                  </a:lnTo>
                  <a:lnTo>
                    <a:pt x="1918235" y="883046"/>
                  </a:lnTo>
                  <a:lnTo>
                    <a:pt x="1934220" y="871637"/>
                  </a:lnTo>
                  <a:lnTo>
                    <a:pt x="1936504" y="871637"/>
                  </a:lnTo>
                  <a:lnTo>
                    <a:pt x="1938787" y="871637"/>
                  </a:lnTo>
                  <a:lnTo>
                    <a:pt x="1947922" y="871637"/>
                  </a:lnTo>
                  <a:lnTo>
                    <a:pt x="1950206" y="876201"/>
                  </a:lnTo>
                  <a:lnTo>
                    <a:pt x="1952489" y="878483"/>
                  </a:lnTo>
                  <a:lnTo>
                    <a:pt x="1970758" y="880764"/>
                  </a:lnTo>
                  <a:lnTo>
                    <a:pt x="1986743" y="887610"/>
                  </a:lnTo>
                  <a:lnTo>
                    <a:pt x="1989027" y="887610"/>
                  </a:lnTo>
                  <a:lnTo>
                    <a:pt x="1991310" y="887610"/>
                  </a:lnTo>
                  <a:lnTo>
                    <a:pt x="2014146" y="892174"/>
                  </a:lnTo>
                  <a:lnTo>
                    <a:pt x="2020997" y="867073"/>
                  </a:lnTo>
                  <a:lnTo>
                    <a:pt x="2005012" y="869355"/>
                  </a:lnTo>
                  <a:lnTo>
                    <a:pt x="2005012" y="864791"/>
                  </a:lnTo>
                  <a:lnTo>
                    <a:pt x="2005012" y="855664"/>
                  </a:lnTo>
                  <a:lnTo>
                    <a:pt x="2005012" y="853382"/>
                  </a:lnTo>
                  <a:lnTo>
                    <a:pt x="1998161" y="846536"/>
                  </a:lnTo>
                  <a:lnTo>
                    <a:pt x="1998161" y="844254"/>
                  </a:lnTo>
                  <a:lnTo>
                    <a:pt x="1977609" y="832844"/>
                  </a:lnTo>
                  <a:lnTo>
                    <a:pt x="1975325" y="830563"/>
                  </a:lnTo>
                  <a:lnTo>
                    <a:pt x="1982176" y="825999"/>
                  </a:lnTo>
                  <a:lnTo>
                    <a:pt x="1984460" y="823717"/>
                  </a:lnTo>
                  <a:lnTo>
                    <a:pt x="1986743" y="805462"/>
                  </a:lnTo>
                  <a:lnTo>
                    <a:pt x="1982176" y="794052"/>
                  </a:lnTo>
                  <a:lnTo>
                    <a:pt x="1979892" y="782643"/>
                  </a:lnTo>
                  <a:lnTo>
                    <a:pt x="1968474" y="771233"/>
                  </a:lnTo>
                  <a:lnTo>
                    <a:pt x="1963907" y="766670"/>
                  </a:lnTo>
                  <a:lnTo>
                    <a:pt x="1963907" y="752988"/>
                  </a:lnTo>
                  <a:lnTo>
                    <a:pt x="1963907" y="746142"/>
                  </a:lnTo>
                  <a:lnTo>
                    <a:pt x="1954773" y="730169"/>
                  </a:lnTo>
                  <a:lnTo>
                    <a:pt x="1970758" y="721041"/>
                  </a:lnTo>
                  <a:lnTo>
                    <a:pt x="1973041" y="721041"/>
                  </a:lnTo>
                  <a:lnTo>
                    <a:pt x="1977609" y="721041"/>
                  </a:lnTo>
                  <a:lnTo>
                    <a:pt x="1984460" y="718759"/>
                  </a:lnTo>
                  <a:lnTo>
                    <a:pt x="1984460" y="714196"/>
                  </a:lnTo>
                  <a:lnTo>
                    <a:pt x="1986743" y="711914"/>
                  </a:lnTo>
                  <a:lnTo>
                    <a:pt x="1991310" y="700504"/>
                  </a:lnTo>
                  <a:lnTo>
                    <a:pt x="1991310" y="698222"/>
                  </a:lnTo>
                  <a:lnTo>
                    <a:pt x="1995877" y="702786"/>
                  </a:lnTo>
                  <a:lnTo>
                    <a:pt x="1998161" y="705068"/>
                  </a:lnTo>
                  <a:lnTo>
                    <a:pt x="2000445" y="705068"/>
                  </a:lnTo>
                  <a:lnTo>
                    <a:pt x="2002728" y="707350"/>
                  </a:lnTo>
                  <a:lnTo>
                    <a:pt x="2005012" y="707350"/>
                  </a:lnTo>
                  <a:lnTo>
                    <a:pt x="2011862" y="709632"/>
                  </a:lnTo>
                  <a:lnTo>
                    <a:pt x="2018713" y="714196"/>
                  </a:lnTo>
                  <a:lnTo>
                    <a:pt x="2023281" y="705068"/>
                  </a:lnTo>
                  <a:lnTo>
                    <a:pt x="2023281" y="702786"/>
                  </a:lnTo>
                  <a:lnTo>
                    <a:pt x="2023281" y="700504"/>
                  </a:lnTo>
                  <a:lnTo>
                    <a:pt x="2025564" y="700504"/>
                  </a:lnTo>
                  <a:lnTo>
                    <a:pt x="2025564" y="698222"/>
                  </a:lnTo>
                  <a:lnTo>
                    <a:pt x="2032415" y="686813"/>
                  </a:lnTo>
                  <a:lnTo>
                    <a:pt x="2043833" y="686813"/>
                  </a:lnTo>
                  <a:lnTo>
                    <a:pt x="2052967" y="686813"/>
                  </a:lnTo>
                  <a:lnTo>
                    <a:pt x="2057535" y="686813"/>
                  </a:lnTo>
                  <a:lnTo>
                    <a:pt x="2062102" y="689095"/>
                  </a:lnTo>
                  <a:lnTo>
                    <a:pt x="2068952" y="689095"/>
                  </a:lnTo>
                  <a:lnTo>
                    <a:pt x="2078087" y="691376"/>
                  </a:lnTo>
                  <a:lnTo>
                    <a:pt x="2082654" y="691376"/>
                  </a:lnTo>
                  <a:lnTo>
                    <a:pt x="2105490" y="691376"/>
                  </a:lnTo>
                  <a:lnTo>
                    <a:pt x="2107774" y="691376"/>
                  </a:lnTo>
                  <a:lnTo>
                    <a:pt x="2112341" y="686813"/>
                  </a:lnTo>
                  <a:lnTo>
                    <a:pt x="2110057" y="682249"/>
                  </a:lnTo>
                  <a:lnTo>
                    <a:pt x="2105490" y="675403"/>
                  </a:lnTo>
                  <a:lnTo>
                    <a:pt x="2100923" y="673121"/>
                  </a:lnTo>
                  <a:lnTo>
                    <a:pt x="2105490" y="659430"/>
                  </a:lnTo>
                  <a:lnTo>
                    <a:pt x="2107774" y="652584"/>
                  </a:lnTo>
                  <a:lnTo>
                    <a:pt x="2107774" y="650303"/>
                  </a:lnTo>
                  <a:lnTo>
                    <a:pt x="2107774" y="648020"/>
                  </a:lnTo>
                  <a:lnTo>
                    <a:pt x="2116908" y="645739"/>
                  </a:lnTo>
                  <a:lnTo>
                    <a:pt x="2121475" y="641175"/>
                  </a:lnTo>
                  <a:lnTo>
                    <a:pt x="2123759" y="638893"/>
                  </a:lnTo>
                  <a:lnTo>
                    <a:pt x="2128326" y="636611"/>
                  </a:lnTo>
                  <a:lnTo>
                    <a:pt x="2130610" y="634329"/>
                  </a:lnTo>
                  <a:lnTo>
                    <a:pt x="2135177" y="632047"/>
                  </a:lnTo>
                  <a:lnTo>
                    <a:pt x="2142028" y="622920"/>
                  </a:lnTo>
                  <a:lnTo>
                    <a:pt x="2146595" y="625202"/>
                  </a:lnTo>
                  <a:lnTo>
                    <a:pt x="2148879" y="627483"/>
                  </a:lnTo>
                  <a:lnTo>
                    <a:pt x="2153446" y="629765"/>
                  </a:lnTo>
                  <a:lnTo>
                    <a:pt x="2160296" y="636611"/>
                  </a:lnTo>
                  <a:lnTo>
                    <a:pt x="2167147" y="643457"/>
                  </a:lnTo>
                  <a:lnTo>
                    <a:pt x="2167147" y="645739"/>
                  </a:lnTo>
                  <a:lnTo>
                    <a:pt x="2169431" y="645739"/>
                  </a:lnTo>
                  <a:lnTo>
                    <a:pt x="2171714" y="648020"/>
                  </a:lnTo>
                  <a:lnTo>
                    <a:pt x="2176282" y="650303"/>
                  </a:lnTo>
                  <a:lnTo>
                    <a:pt x="2183132" y="652584"/>
                  </a:lnTo>
                  <a:lnTo>
                    <a:pt x="2185416" y="652584"/>
                  </a:lnTo>
                  <a:lnTo>
                    <a:pt x="2189983" y="650303"/>
                  </a:lnTo>
                  <a:lnTo>
                    <a:pt x="2194550" y="645739"/>
                  </a:lnTo>
                  <a:lnTo>
                    <a:pt x="2196834" y="643457"/>
                  </a:lnTo>
                  <a:lnTo>
                    <a:pt x="2199118" y="643457"/>
                  </a:lnTo>
                  <a:lnTo>
                    <a:pt x="2201401" y="643457"/>
                  </a:lnTo>
                  <a:lnTo>
                    <a:pt x="2203685" y="641175"/>
                  </a:lnTo>
                  <a:lnTo>
                    <a:pt x="2208252" y="636611"/>
                  </a:lnTo>
                  <a:lnTo>
                    <a:pt x="2210535" y="632047"/>
                  </a:lnTo>
                  <a:lnTo>
                    <a:pt x="2217386" y="629765"/>
                  </a:lnTo>
                  <a:lnTo>
                    <a:pt x="2219670" y="629765"/>
                  </a:lnTo>
                  <a:lnTo>
                    <a:pt x="2233372" y="627483"/>
                  </a:lnTo>
                  <a:lnTo>
                    <a:pt x="2237939" y="622920"/>
                  </a:lnTo>
                  <a:lnTo>
                    <a:pt x="2237939" y="620638"/>
                  </a:lnTo>
                  <a:lnTo>
                    <a:pt x="2237939" y="618356"/>
                  </a:lnTo>
                  <a:lnTo>
                    <a:pt x="2237939" y="616074"/>
                  </a:lnTo>
                  <a:lnTo>
                    <a:pt x="2235655" y="611520"/>
                  </a:lnTo>
                  <a:lnTo>
                    <a:pt x="2237939" y="611520"/>
                  </a:lnTo>
                  <a:lnTo>
                    <a:pt x="2240222" y="611520"/>
                  </a:lnTo>
                  <a:lnTo>
                    <a:pt x="2247083" y="613802"/>
                  </a:lnTo>
                  <a:lnTo>
                    <a:pt x="2253924" y="613802"/>
                  </a:lnTo>
                  <a:lnTo>
                    <a:pt x="2256208" y="613802"/>
                  </a:lnTo>
                  <a:lnTo>
                    <a:pt x="2258501" y="613802"/>
                  </a:lnTo>
                  <a:lnTo>
                    <a:pt x="2263058" y="609238"/>
                  </a:lnTo>
                  <a:lnTo>
                    <a:pt x="2258501" y="606956"/>
                  </a:lnTo>
                  <a:lnTo>
                    <a:pt x="2260784" y="604674"/>
                  </a:lnTo>
                  <a:lnTo>
                    <a:pt x="2263058" y="602392"/>
                  </a:lnTo>
                  <a:lnTo>
                    <a:pt x="2267625" y="600110"/>
                  </a:lnTo>
                  <a:lnTo>
                    <a:pt x="2269918" y="597828"/>
                  </a:lnTo>
                  <a:lnTo>
                    <a:pt x="2269918" y="593264"/>
                  </a:lnTo>
                  <a:lnTo>
                    <a:pt x="2269918" y="586419"/>
                  </a:lnTo>
                  <a:lnTo>
                    <a:pt x="2267625" y="586419"/>
                  </a:lnTo>
                  <a:lnTo>
                    <a:pt x="2260784" y="581855"/>
                  </a:lnTo>
                  <a:lnTo>
                    <a:pt x="2258501" y="584137"/>
                  </a:lnTo>
                  <a:lnTo>
                    <a:pt x="2256208" y="593264"/>
                  </a:lnTo>
                  <a:lnTo>
                    <a:pt x="2256208" y="584137"/>
                  </a:lnTo>
                  <a:lnTo>
                    <a:pt x="2256208" y="581855"/>
                  </a:lnTo>
                  <a:lnTo>
                    <a:pt x="2258501" y="575009"/>
                  </a:lnTo>
                  <a:lnTo>
                    <a:pt x="2260784" y="575009"/>
                  </a:lnTo>
                  <a:lnTo>
                    <a:pt x="2260784" y="572728"/>
                  </a:lnTo>
                  <a:lnTo>
                    <a:pt x="2263058" y="570446"/>
                  </a:lnTo>
                  <a:lnTo>
                    <a:pt x="2265351" y="570446"/>
                  </a:lnTo>
                  <a:lnTo>
                    <a:pt x="2269918" y="570446"/>
                  </a:lnTo>
                  <a:lnTo>
                    <a:pt x="2272202" y="568164"/>
                  </a:lnTo>
                  <a:lnTo>
                    <a:pt x="2269918" y="565882"/>
                  </a:lnTo>
                  <a:lnTo>
                    <a:pt x="2267625" y="563600"/>
                  </a:lnTo>
                  <a:lnTo>
                    <a:pt x="2269918" y="556754"/>
                  </a:lnTo>
                  <a:lnTo>
                    <a:pt x="2269918" y="552191"/>
                  </a:lnTo>
                  <a:lnTo>
                    <a:pt x="2274486" y="552191"/>
                  </a:lnTo>
                  <a:lnTo>
                    <a:pt x="2283620" y="554472"/>
                  </a:lnTo>
                  <a:lnTo>
                    <a:pt x="2283620" y="552191"/>
                  </a:lnTo>
                  <a:lnTo>
                    <a:pt x="2288187" y="549908"/>
                  </a:lnTo>
                  <a:lnTo>
                    <a:pt x="2288187" y="547627"/>
                  </a:lnTo>
                  <a:lnTo>
                    <a:pt x="2288187" y="545345"/>
                  </a:lnTo>
                  <a:lnTo>
                    <a:pt x="2285904" y="545345"/>
                  </a:lnTo>
                  <a:lnTo>
                    <a:pt x="2285904" y="543063"/>
                  </a:lnTo>
                  <a:lnTo>
                    <a:pt x="2292755" y="536217"/>
                  </a:lnTo>
                  <a:lnTo>
                    <a:pt x="2295038" y="533935"/>
                  </a:lnTo>
                  <a:lnTo>
                    <a:pt x="2299605" y="527090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id="{ABC1A6CD-3628-488C-A3A2-A0F822755472}"/>
                </a:ext>
              </a:extLst>
            </p:cNvPr>
            <p:cNvSpPr/>
            <p:nvPr/>
          </p:nvSpPr>
          <p:spPr>
            <a:xfrm>
              <a:off x="3796805" y="5399322"/>
              <a:ext cx="2283" cy="2281"/>
            </a:xfrm>
            <a:custGeom>
              <a:avLst/>
              <a:gdLst>
                <a:gd name="connsiteX0" fmla="*/ 0 w 2283"/>
                <a:gd name="connsiteY0" fmla="*/ 0 h 2281"/>
                <a:gd name="connsiteX1" fmla="*/ 2284 w 2283"/>
                <a:gd name="connsiteY1" fmla="*/ 0 h 2281"/>
                <a:gd name="connsiteX2" fmla="*/ 2284 w 2283"/>
                <a:gd name="connsiteY2" fmla="*/ 2282 h 2281"/>
                <a:gd name="connsiteX3" fmla="*/ 0 w 2283"/>
                <a:gd name="connsiteY3" fmla="*/ 2282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" h="2281">
                  <a:moveTo>
                    <a:pt x="0" y="0"/>
                  </a:moveTo>
                  <a:lnTo>
                    <a:pt x="2284" y="0"/>
                  </a:lnTo>
                  <a:lnTo>
                    <a:pt x="2284" y="2282"/>
                  </a:lnTo>
                  <a:lnTo>
                    <a:pt x="0" y="2282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B6627CC9-75BF-4DB6-9218-3BB2E0AF15B7}"/>
                </a:ext>
              </a:extLst>
            </p:cNvPr>
            <p:cNvSpPr/>
            <p:nvPr/>
          </p:nvSpPr>
          <p:spPr>
            <a:xfrm>
              <a:off x="3842477" y="4308642"/>
              <a:ext cx="2283" cy="2281"/>
            </a:xfrm>
            <a:custGeom>
              <a:avLst/>
              <a:gdLst>
                <a:gd name="connsiteX0" fmla="*/ 0 w 2283"/>
                <a:gd name="connsiteY0" fmla="*/ 0 h 2281"/>
                <a:gd name="connsiteX1" fmla="*/ 2284 w 2283"/>
                <a:gd name="connsiteY1" fmla="*/ 2282 h 2281"/>
                <a:gd name="connsiteX2" fmla="*/ 2284 w 2283"/>
                <a:gd name="connsiteY2" fmla="*/ 0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3" h="2281">
                  <a:moveTo>
                    <a:pt x="0" y="0"/>
                  </a:moveTo>
                  <a:lnTo>
                    <a:pt x="2284" y="2282"/>
                  </a:lnTo>
                  <a:lnTo>
                    <a:pt x="2284" y="0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1FB41AE9-382D-412A-B6A1-3353F3F637C2}"/>
                </a:ext>
              </a:extLst>
            </p:cNvPr>
            <p:cNvSpPr/>
            <p:nvPr/>
          </p:nvSpPr>
          <p:spPr>
            <a:xfrm>
              <a:off x="4415663" y="6056469"/>
              <a:ext cx="2283" cy="2281"/>
            </a:xfrm>
            <a:custGeom>
              <a:avLst/>
              <a:gdLst>
                <a:gd name="connsiteX0" fmla="*/ 0 w 2283"/>
                <a:gd name="connsiteY0" fmla="*/ 0 h 2281"/>
                <a:gd name="connsiteX1" fmla="*/ 2284 w 2283"/>
                <a:gd name="connsiteY1" fmla="*/ 0 h 2281"/>
                <a:gd name="connsiteX2" fmla="*/ 2284 w 2283"/>
                <a:gd name="connsiteY2" fmla="*/ 2282 h 2281"/>
                <a:gd name="connsiteX3" fmla="*/ 0 w 2283"/>
                <a:gd name="connsiteY3" fmla="*/ 2282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3" h="2281">
                  <a:moveTo>
                    <a:pt x="0" y="0"/>
                  </a:moveTo>
                  <a:lnTo>
                    <a:pt x="2284" y="0"/>
                  </a:lnTo>
                  <a:lnTo>
                    <a:pt x="2284" y="2282"/>
                  </a:lnTo>
                  <a:lnTo>
                    <a:pt x="0" y="2282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51" name="Freeform 20">
              <a:extLst>
                <a:ext uri="{FF2B5EF4-FFF2-40B4-BE49-F238E27FC236}">
                  <a16:creationId xmlns:a16="http://schemas.microsoft.com/office/drawing/2014/main" id="{F36C42B3-75C6-40FE-8E58-7A0213DE6342}"/>
                </a:ext>
              </a:extLst>
            </p:cNvPr>
            <p:cNvSpPr/>
            <p:nvPr/>
          </p:nvSpPr>
          <p:spPr>
            <a:xfrm>
              <a:off x="3963509" y="5634347"/>
              <a:ext cx="2283" cy="2281"/>
            </a:xfrm>
            <a:custGeom>
              <a:avLst/>
              <a:gdLst>
                <a:gd name="connsiteX0" fmla="*/ 0 w 2283"/>
                <a:gd name="connsiteY0" fmla="*/ 2282 h 2281"/>
                <a:gd name="connsiteX1" fmla="*/ 2284 w 2283"/>
                <a:gd name="connsiteY1" fmla="*/ 2282 h 2281"/>
                <a:gd name="connsiteX2" fmla="*/ 0 w 2283"/>
                <a:gd name="connsiteY2" fmla="*/ 0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3" h="2281">
                  <a:moveTo>
                    <a:pt x="0" y="2282"/>
                  </a:moveTo>
                  <a:lnTo>
                    <a:pt x="2284" y="22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1AB4C96D-DB79-4D4C-A010-AFDCCE1D449E}"/>
                </a:ext>
              </a:extLst>
            </p:cNvPr>
            <p:cNvSpPr/>
            <p:nvPr/>
          </p:nvSpPr>
          <p:spPr>
            <a:xfrm>
              <a:off x="3972643" y="5727896"/>
              <a:ext cx="2283" cy="2281"/>
            </a:xfrm>
            <a:custGeom>
              <a:avLst/>
              <a:gdLst>
                <a:gd name="connsiteX0" fmla="*/ 2284 w 2283"/>
                <a:gd name="connsiteY0" fmla="*/ 0 h 2281"/>
                <a:gd name="connsiteX1" fmla="*/ 0 w 2283"/>
                <a:gd name="connsiteY1" fmla="*/ 2282 h 2281"/>
                <a:gd name="connsiteX2" fmla="*/ 2284 w 2283"/>
                <a:gd name="connsiteY2" fmla="*/ 2282 h 2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3" h="2281">
                  <a:moveTo>
                    <a:pt x="2284" y="0"/>
                  </a:moveTo>
                  <a:lnTo>
                    <a:pt x="0" y="2282"/>
                  </a:lnTo>
                  <a:lnTo>
                    <a:pt x="2284" y="2282"/>
                  </a:lnTo>
                  <a:close/>
                </a:path>
              </a:pathLst>
            </a:custGeom>
            <a:grpFill/>
            <a:ln w="31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3F0D52BF-019E-4999-B40F-2FA886AECCB6}"/>
              </a:ext>
            </a:extLst>
          </p:cNvPr>
          <p:cNvSpPr txBox="1"/>
          <p:nvPr/>
        </p:nvSpPr>
        <p:spPr>
          <a:xfrm>
            <a:off x="7659602" y="1722512"/>
            <a:ext cx="845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Limpopo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AFD3E3D-4048-421E-A7B5-22819C1B93DB}"/>
              </a:ext>
            </a:extLst>
          </p:cNvPr>
          <p:cNvSpPr txBox="1"/>
          <p:nvPr/>
        </p:nvSpPr>
        <p:spPr>
          <a:xfrm>
            <a:off x="7892006" y="2456042"/>
            <a:ext cx="11244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Mpumalanga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6E571434-9763-4DC2-8975-7E59E3B992D8}"/>
              </a:ext>
            </a:extLst>
          </p:cNvPr>
          <p:cNvSpPr txBox="1"/>
          <p:nvPr/>
        </p:nvSpPr>
        <p:spPr>
          <a:xfrm>
            <a:off x="7249159" y="2580641"/>
            <a:ext cx="8455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Gaute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378B097-CA8C-4DC3-935E-F0FCA0490818}"/>
              </a:ext>
            </a:extLst>
          </p:cNvPr>
          <p:cNvSpPr txBox="1"/>
          <p:nvPr/>
        </p:nvSpPr>
        <p:spPr>
          <a:xfrm>
            <a:off x="6238239" y="2618602"/>
            <a:ext cx="949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North Wes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48C5FB5-A49C-47B2-B806-76405CDD4CB5}"/>
              </a:ext>
            </a:extLst>
          </p:cNvPr>
          <p:cNvSpPr txBox="1"/>
          <p:nvPr/>
        </p:nvSpPr>
        <p:spPr>
          <a:xfrm>
            <a:off x="7990840" y="3533002"/>
            <a:ext cx="12491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KwaZulu-Natal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4C01C0B-06A9-42BB-95B1-FBD87653481A}"/>
              </a:ext>
            </a:extLst>
          </p:cNvPr>
          <p:cNvSpPr txBox="1"/>
          <p:nvPr/>
        </p:nvSpPr>
        <p:spPr>
          <a:xfrm>
            <a:off x="6812365" y="3304402"/>
            <a:ext cx="9498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Free Stat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091F5DE-208A-4D22-AC1E-14BC9CD6716B}"/>
              </a:ext>
            </a:extLst>
          </p:cNvPr>
          <p:cNvSpPr txBox="1"/>
          <p:nvPr/>
        </p:nvSpPr>
        <p:spPr>
          <a:xfrm>
            <a:off x="4863987" y="3753955"/>
            <a:ext cx="130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Northern Cape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E5EDEFBE-1E69-4FAB-AC5C-344B9A3530CD}"/>
              </a:ext>
            </a:extLst>
          </p:cNvPr>
          <p:cNvSpPr txBox="1"/>
          <p:nvPr/>
        </p:nvSpPr>
        <p:spPr>
          <a:xfrm>
            <a:off x="4409440" y="5181601"/>
            <a:ext cx="130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Western Cap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3769092D-6A41-459F-93BA-104164159C6F}"/>
              </a:ext>
            </a:extLst>
          </p:cNvPr>
          <p:cNvSpPr txBox="1"/>
          <p:nvPr/>
        </p:nvSpPr>
        <p:spPr>
          <a:xfrm>
            <a:off x="6456957" y="4724401"/>
            <a:ext cx="1305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Eastern Cap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383A78-F3F3-48B9-B349-354FCA695810}"/>
              </a:ext>
            </a:extLst>
          </p:cNvPr>
          <p:cNvSpPr txBox="1"/>
          <p:nvPr/>
        </p:nvSpPr>
        <p:spPr>
          <a:xfrm>
            <a:off x="7694932" y="1948041"/>
            <a:ext cx="6282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24 405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41255CB8-19EE-4F83-86B3-8B31B52509A2}"/>
              </a:ext>
            </a:extLst>
          </p:cNvPr>
          <p:cNvSpPr txBox="1"/>
          <p:nvPr/>
        </p:nvSpPr>
        <p:spPr>
          <a:xfrm>
            <a:off x="7994652" y="2661921"/>
            <a:ext cx="7125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ZA" sz="1100" b="1" dirty="0">
                <a:solidFill>
                  <a:prstClr val="black"/>
                </a:solidFill>
              </a:rPr>
              <a:t>110 586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80258814-D998-4EE3-9479-0BEA24072CF1}"/>
              </a:ext>
            </a:extLst>
          </p:cNvPr>
          <p:cNvSpPr txBox="1"/>
          <p:nvPr/>
        </p:nvSpPr>
        <p:spPr>
          <a:xfrm>
            <a:off x="6227697" y="1884293"/>
            <a:ext cx="6977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169 649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A9E72EA-8F11-499A-93C1-8C475C25C35A}"/>
              </a:ext>
            </a:extLst>
          </p:cNvPr>
          <p:cNvSpPr txBox="1"/>
          <p:nvPr/>
        </p:nvSpPr>
        <p:spPr>
          <a:xfrm>
            <a:off x="6400799" y="2824132"/>
            <a:ext cx="63582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ZA" sz="1100" b="1" dirty="0">
                <a:solidFill>
                  <a:prstClr val="black"/>
                </a:solidFill>
              </a:rPr>
              <a:t>15 344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73879A86-9216-4438-9380-EF735FD58CF3}"/>
              </a:ext>
            </a:extLst>
          </p:cNvPr>
          <p:cNvSpPr txBox="1"/>
          <p:nvPr/>
        </p:nvSpPr>
        <p:spPr>
          <a:xfrm>
            <a:off x="5143361" y="3966453"/>
            <a:ext cx="5132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566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973118D-81EA-4B4A-8F08-94D0BB3BF528}"/>
              </a:ext>
            </a:extLst>
          </p:cNvPr>
          <p:cNvSpPr txBox="1"/>
          <p:nvPr/>
        </p:nvSpPr>
        <p:spPr>
          <a:xfrm>
            <a:off x="4592321" y="5422910"/>
            <a:ext cx="634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38 708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D8980A2E-4B43-46A8-8BF3-C98ECCA38F04}"/>
              </a:ext>
            </a:extLst>
          </p:cNvPr>
          <p:cNvSpPr txBox="1"/>
          <p:nvPr/>
        </p:nvSpPr>
        <p:spPr>
          <a:xfrm>
            <a:off x="6602196" y="4945390"/>
            <a:ext cx="6570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83 274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613FC580-0A65-4651-9911-CF5C02B509F6}"/>
              </a:ext>
            </a:extLst>
          </p:cNvPr>
          <p:cNvSpPr txBox="1"/>
          <p:nvPr/>
        </p:nvSpPr>
        <p:spPr>
          <a:xfrm>
            <a:off x="6900092" y="3509584"/>
            <a:ext cx="64045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41 861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830DF05-9841-4EBC-8F22-FAF9B2321101}"/>
              </a:ext>
            </a:extLst>
          </p:cNvPr>
          <p:cNvSpPr txBox="1"/>
          <p:nvPr/>
        </p:nvSpPr>
        <p:spPr>
          <a:xfrm>
            <a:off x="8110955" y="3736350"/>
            <a:ext cx="68832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ZA" sz="1100" b="1" dirty="0">
                <a:solidFill>
                  <a:prstClr val="black"/>
                </a:solidFill>
              </a:rPr>
              <a:t>242 352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4D88E2F-6D3C-49E6-A348-564BEAB317C5}"/>
              </a:ext>
            </a:extLst>
          </p:cNvPr>
          <p:cNvCxnSpPr>
            <a:cxnSpLocks/>
          </p:cNvCxnSpPr>
          <p:nvPr/>
        </p:nvCxnSpPr>
        <p:spPr>
          <a:xfrm flipH="1" flipV="1">
            <a:off x="6677755" y="2078846"/>
            <a:ext cx="872005" cy="583075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68349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143AAF-584E-49D9-A2EF-9D6ECD084F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98075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143AAF-584E-49D9-A2EF-9D6ECD084F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65A9E4E-B352-0258-B200-B8AFC7CC55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1400" y="1219200"/>
            <a:ext cx="6585666" cy="478562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12BC211-E714-4A08-8E9A-C71B383FC184}"/>
              </a:ext>
            </a:extLst>
          </p:cNvPr>
          <p:cNvSpPr txBox="1">
            <a:spLocks/>
          </p:cNvSpPr>
          <p:nvPr/>
        </p:nvSpPr>
        <p:spPr>
          <a:xfrm>
            <a:off x="334963" y="100848"/>
            <a:ext cx="9617111" cy="802253"/>
          </a:xfrm>
          <a:prstGeom prst="rect">
            <a:avLst/>
          </a:prstGeom>
          <a:noFill/>
        </p:spPr>
        <p:txBody>
          <a:bodyPr vert="horz" lIns="51435" tIns="25718" rIns="51435" bIns="25718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p of Provincial &amp; District Public </a:t>
            </a:r>
            <a:r>
              <a:rPr lang="en-ZA" sz="2400" b="1" dirty="0">
                <a:solidFill>
                  <a:prstClr val="white">
                    <a:lumMod val="95000"/>
                  </a:prstClr>
                </a:solidFill>
                <a:latin typeface="Calibri"/>
              </a:rPr>
              <a:t>PHC Facility </a:t>
            </a: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overage Oral P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(June 2016 – September 2022)</a:t>
            </a:r>
            <a:endParaRPr kumimoji="0" lang="en-ZA" sz="20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 (Headings)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6DFA30F-DEAC-4D84-9FA0-14689CB42940}"/>
              </a:ext>
            </a:extLst>
          </p:cNvPr>
          <p:cNvSpPr txBox="1"/>
          <p:nvPr/>
        </p:nvSpPr>
        <p:spPr>
          <a:xfrm>
            <a:off x="3254828" y="6203154"/>
            <a:ext cx="3886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ourc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Consolidated from DHIS, TIER and implementing partner reports.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Calibri" panose="020F050202020403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A38956-D8B6-60C5-C978-E2043EFB7EB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6517" b="-1"/>
          <a:stretch/>
        </p:blipFill>
        <p:spPr>
          <a:xfrm>
            <a:off x="9781855" y="4581503"/>
            <a:ext cx="1191394" cy="73194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8805903-9FA9-4511-BF21-D9041BCE686B}"/>
              </a:ext>
            </a:extLst>
          </p:cNvPr>
          <p:cNvSpPr txBox="1"/>
          <p:nvPr/>
        </p:nvSpPr>
        <p:spPr>
          <a:xfrm>
            <a:off x="9368838" y="4267200"/>
            <a:ext cx="20174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100" dirty="0"/>
              <a:t>Public PHC Facility coverag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AC5576-9CE4-0C07-DA43-0BF50AB939D3}"/>
              </a:ext>
            </a:extLst>
          </p:cNvPr>
          <p:cNvSpPr/>
          <p:nvPr/>
        </p:nvSpPr>
        <p:spPr>
          <a:xfrm>
            <a:off x="2362200" y="1138535"/>
            <a:ext cx="47407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defRPr/>
            </a:pPr>
            <a:r>
              <a:rPr lang="en-ZA" sz="12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 pitchFamily="34" charset="0"/>
              </a:rPr>
              <a:t>South Africa : 74%</a:t>
            </a:r>
            <a:r>
              <a:rPr lang="en-ZA" sz="1200" b="1" dirty="0">
                <a:solidFill>
                  <a:prstClr val="black">
                    <a:lumMod val="85000"/>
                    <a:lumOff val="15000"/>
                  </a:prstClr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public PHC facility coverage has been reported from June 2016 to September 2022.</a:t>
            </a:r>
            <a:endParaRPr lang="en-ZA" sz="1200" u="sng" dirty="0">
              <a:solidFill>
                <a:prstClr val="black">
                  <a:lumMod val="85000"/>
                  <a:lumOff val="15000"/>
                </a:prstClr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01501B2-B3F2-0A51-70D9-C81A297A97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896635"/>
              </p:ext>
            </p:extLst>
          </p:nvPr>
        </p:nvGraphicFramePr>
        <p:xfrm>
          <a:off x="334963" y="1860811"/>
          <a:ext cx="2147418" cy="3169920"/>
        </p:xfrm>
        <a:graphic>
          <a:graphicData uri="http://schemas.openxmlformats.org/drawingml/2006/table">
            <a:tbl>
              <a:tblPr firstRow="1" lastCol="1">
                <a:tableStyleId>{5FD0F851-EC5A-4D38-B0AD-8093EC10F338}</a:tableStyleId>
              </a:tblPr>
              <a:tblGrid>
                <a:gridCol w="715806">
                  <a:extLst>
                    <a:ext uri="{9D8B030D-6E8A-4147-A177-3AD203B41FA5}">
                      <a16:colId xmlns:a16="http://schemas.microsoft.com/office/drawing/2014/main" val="533452042"/>
                    </a:ext>
                  </a:extLst>
                </a:gridCol>
                <a:gridCol w="715806">
                  <a:extLst>
                    <a:ext uri="{9D8B030D-6E8A-4147-A177-3AD203B41FA5}">
                      <a16:colId xmlns:a16="http://schemas.microsoft.com/office/drawing/2014/main" val="1658095267"/>
                    </a:ext>
                  </a:extLst>
                </a:gridCol>
                <a:gridCol w="715806">
                  <a:extLst>
                    <a:ext uri="{9D8B030D-6E8A-4147-A177-3AD203B41FA5}">
                      <a16:colId xmlns:a16="http://schemas.microsoft.com/office/drawing/2014/main" val="3205806386"/>
                    </a:ext>
                  </a:extLst>
                </a:gridCol>
              </a:tblGrid>
              <a:tr h="40811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Public PHC facility Coverage</a:t>
                      </a:r>
                    </a:p>
                    <a:p>
                      <a:pPr algn="ctr"/>
                      <a:r>
                        <a:rPr lang="en-US" sz="1100" dirty="0">
                          <a:solidFill>
                            <a:schemeClr val="bg1"/>
                          </a:solidFill>
                          <a:latin typeface="+mn-lt"/>
                          <a:cs typeface="Segoe UI" panose="020B0502040204020203" pitchFamily="34" charset="0"/>
                        </a:rPr>
                        <a:t> June 2016 to September 2022</a:t>
                      </a:r>
                      <a:endParaRPr lang="en-ZA" sz="1100" dirty="0">
                        <a:solidFill>
                          <a:schemeClr val="bg1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alpha val="85098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ZA" sz="1050" dirty="0">
                        <a:solidFill>
                          <a:srgbClr val="404040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>
                    <a:lnL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808464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EC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6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81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371507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FS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21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96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5238371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GP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36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98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224428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KZN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6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98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8814620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LP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1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26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7349725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MP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28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98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4240156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NC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5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33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066614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NW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19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6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152958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WC</a:t>
                      </a:r>
                      <a:endParaRPr lang="en-ZA" sz="1200" dirty="0">
                        <a:solidFill>
                          <a:srgbClr val="404040"/>
                        </a:solidFill>
                        <a:latin typeface="+mn-lt"/>
                        <a:cs typeface="Segoe UI" panose="020B0502040204020203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7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33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9789822"/>
                  </a:ext>
                </a:extLst>
              </a:tr>
              <a:tr h="262356">
                <a:tc>
                  <a:txBody>
                    <a:bodyPr/>
                    <a:lstStyle/>
                    <a:p>
                      <a:r>
                        <a:rPr lang="en-ZA" sz="1200" b="1" dirty="0">
                          <a:solidFill>
                            <a:srgbClr val="404040"/>
                          </a:solidFill>
                          <a:latin typeface="+mn-lt"/>
                          <a:cs typeface="Segoe UI" panose="020B0502040204020203" pitchFamily="34" charset="0"/>
                        </a:rPr>
                        <a:t>S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2 54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cs typeface="Segoe UI" panose="020B0502040204020203" pitchFamily="34" charset="0"/>
                        </a:rPr>
                        <a:t>7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92290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8440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2B962B7-6400-448C-892D-83F45D47F4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275011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F2B962B7-6400-448C-892D-83F45D47F4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7DFF767-AB1F-B94F-B581-4C2D543CE325}"/>
              </a:ext>
            </a:extLst>
          </p:cNvPr>
          <p:cNvSpPr txBox="1"/>
          <p:nvPr/>
        </p:nvSpPr>
        <p:spPr>
          <a:xfrm>
            <a:off x="1770689" y="1076181"/>
            <a:ext cx="63810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kern="0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Phased Implementation</a:t>
            </a:r>
          </a:p>
          <a:p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3045421-D2EB-4CD6-A30D-D852ECD46EC7}"/>
              </a:ext>
            </a:extLst>
          </p:cNvPr>
          <p:cNvSpPr txBox="1">
            <a:spLocks/>
          </p:cNvSpPr>
          <p:nvPr/>
        </p:nvSpPr>
        <p:spPr>
          <a:xfrm>
            <a:off x="300593" y="84545"/>
            <a:ext cx="8512176" cy="848361"/>
          </a:xfrm>
          <a:prstGeom prst="rect">
            <a:avLst/>
          </a:prstGeom>
          <a:solidFill>
            <a:srgbClr val="005C28"/>
          </a:solidFill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Verdana" pitchFamily="-109" charset="0"/>
                <a:ea typeface="Arial" pitchFamily="-109" charset="0"/>
                <a:cs typeface="Arial" pitchFamily="-109" charset="0"/>
              </a:defRPr>
            </a:lvl9pPr>
          </a:lstStyle>
          <a:p>
            <a:pPr>
              <a:defRPr/>
            </a:pPr>
            <a:r>
              <a:rPr lang="en-ZA" sz="2400" b="1" kern="0" dirty="0">
                <a:solidFill>
                  <a:prstClr val="white"/>
                </a:solidFill>
                <a:latin typeface="Calibri (Headings)"/>
                <a:cs typeface="Arial" panose="020B0604020202020204" pitchFamily="34" charset="0"/>
              </a:rPr>
              <a:t>South Africa Demographic uptake of oral PrEP </a:t>
            </a:r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9D22690B-106E-467B-A9BD-EA2C31F6DE3C}"/>
              </a:ext>
            </a:extLst>
          </p:cNvPr>
          <p:cNvSpPr txBox="1"/>
          <p:nvPr/>
        </p:nvSpPr>
        <p:spPr>
          <a:xfrm>
            <a:off x="685800" y="1365370"/>
            <a:ext cx="11048999" cy="55399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ZA" sz="1800" b="1" dirty="0"/>
              <a:t>South Africa oral PrEP initiations by gender and age</a:t>
            </a:r>
          </a:p>
          <a:p>
            <a:pPr algn="ctr"/>
            <a:r>
              <a:rPr lang="en-ZA" sz="1200" dirty="0"/>
              <a:t>(based on 580 585 initiations between April 2020 – September 2022, for which demographic details are available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E14022F-F8BF-4C48-AC63-BC76BBE25C1D}"/>
              </a:ext>
            </a:extLst>
          </p:cNvPr>
          <p:cNvSpPr txBox="1"/>
          <p:nvPr/>
        </p:nvSpPr>
        <p:spPr>
          <a:xfrm>
            <a:off x="3429000" y="6055070"/>
            <a:ext cx="4267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Calibri" panose="020F0502020204030204" pitchFamily="34" charset="0"/>
                <a:cs typeface="Calibri" panose="020F0502020204030204" pitchFamily="34" charset="0"/>
              </a:rPr>
              <a:t>Source: consolidated from TIER and Partner reports (April 2020 – September 2022).</a:t>
            </a:r>
          </a:p>
        </p:txBody>
      </p:sp>
      <p:graphicFrame>
        <p:nvGraphicFramePr>
          <p:cNvPr id="116" name="Chart 115">
            <a:extLst>
              <a:ext uri="{FF2B5EF4-FFF2-40B4-BE49-F238E27FC236}">
                <a16:creationId xmlns:a16="http://schemas.microsoft.com/office/drawing/2014/main" id="{FB0A7498-B14E-C6E2-6774-444AD8EF64FD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8353709"/>
              </p:ext>
            </p:extLst>
          </p:nvPr>
        </p:nvGraphicFramePr>
        <p:xfrm>
          <a:off x="3817938" y="2447925"/>
          <a:ext cx="4938712" cy="289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34" name="Rectangle 133">
            <a:extLst>
              <a:ext uri="{FF2B5EF4-FFF2-40B4-BE49-F238E27FC236}">
                <a16:creationId xmlns:a16="http://schemas.microsoft.com/office/drawing/2014/main" id="{2A878620-0232-CD42-5E0F-C76A68535D0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670300" y="5180013"/>
            <a:ext cx="77788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FDEBDB8C-D651-441C-8E91-01704258150E}" type="datetime'''''''''''''''''''0'''''''''''''''">
              <a:rPr lang="en-ZA" altLang="en-US" sz="1200" smtClean="0">
                <a:solidFill>
                  <a:schemeClr val="tx1"/>
                </a:solidFill>
              </a:rPr>
              <a:pPr/>
              <a:t>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5530C6EF-5712-2222-18D7-29A8F9FDCCB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514725" y="3665538"/>
            <a:ext cx="233363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92DDB619-6A65-4025-AAB2-CDE007018957}" type="datetime'''''''''10''''''''''''''0'''''''''''''''''">
              <a:rPr lang="en-ZA" altLang="en-US" sz="1200" smtClean="0">
                <a:solidFill>
                  <a:schemeClr val="tx1"/>
                </a:solidFill>
              </a:rPr>
              <a:pPr/>
              <a:t>10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9831BDF6-6933-7C2B-E790-5EA4B1835707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592513" y="4876800"/>
            <a:ext cx="155575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817544EA-CDEF-44F8-B6B0-D6AC7A4B74D3}" type="datetime'''''''''''''''''''2''''''''''''''0''''''''''''''''''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2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6CDA21C-0504-8B55-B595-4A776B7A3079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3592513" y="4573588"/>
            <a:ext cx="155575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1B7E2DF0-A099-4DBB-BBA9-109ACF5A54E7}" type="datetime'4''''''''''''''''''''''''''''''''''0''''''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4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D01506-77E3-D666-A726-6C3434B3A8CF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592513" y="4270375"/>
            <a:ext cx="155575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4F622D78-A186-455E-A327-9949320C58A9}" type="datetime'''''''''''''''''''''6''0''''''''''''''''''''''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6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B2A450-E7D4-5339-5302-0CA618D5DF37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3592513" y="3967163"/>
            <a:ext cx="155575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240E3844-99BC-48A3-AF9A-E1501D14F5C5}" type="datetime'''''''''''''''''''''''''8''0''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8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9B567B6B-697C-809B-35A7-B02615BB2B0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3514725" y="3362325"/>
            <a:ext cx="233363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0E60CBD4-AF88-4EE7-9B75-3B18714BEB7A}" type="datetime'''''''''''''1''''2''''''''''''''''''''''''0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12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DB8EBC7-259D-AF96-EEA4-E70620B62441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3514725" y="3059113"/>
            <a:ext cx="233363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922716BB-A3C4-49F5-8FB9-7EEA21A1338E}" type="datetime'''''''''1''''''40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140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0F46A272-022E-A2F3-9599-8A5F7F060ABA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3514725" y="2755900"/>
            <a:ext cx="233363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8EC65516-4961-450A-B51E-AB0E74B35F7F}" type="datetime'''''''1''6''''''''''''''''''''''0''''''''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160</a:t>
            </a:fld>
            <a:endParaRPr lang="en-ZA" sz="1200" dirty="0">
              <a:solidFill>
                <a:schemeClr val="tx1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4880BCC9-F3BF-2168-2344-9CA1758D0EDA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3514725" y="2452688"/>
            <a:ext cx="233363" cy="1651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</a:pPr>
            <a:fld id="{53B6121C-0DD5-4519-80A1-66B92AC7E2B0}" type="datetime'''''''''''''''''''1''''''''''''''''''''8''''0'''''''''''''''''">
              <a:rPr lang="en-ZA" altLang="en-US" sz="1200" smtClean="0">
                <a:solidFill>
                  <a:schemeClr val="tx1"/>
                </a:solidFill>
                <a:effectLst/>
              </a:rPr>
              <a:pPr algn="r">
                <a:lnSpc>
                  <a:spcPct val="90000"/>
                </a:lnSpc>
              </a:pPr>
              <a:t>180</a:t>
            </a:fld>
            <a:endParaRPr lang="en-ZA" sz="1200" dirty="0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7A71A53-A61D-F709-A4DD-6B4694A362BE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995738" y="5308600"/>
            <a:ext cx="604838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E747EA78-56EC-49E6-BB09-2770F5DE1ABB}" type="datetime'''&lt;''''''1''''''''''5'''''''' y''e''''''a''''''''''''rs'''''">
              <a:rPr lang="en-ZA" altLang="en-US" sz="1200" smtClean="0">
                <a:solidFill>
                  <a:schemeClr val="tx1"/>
                </a:solidFill>
              </a:rPr>
              <a:pPr/>
              <a:t>&lt;15 years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565F86C-87A4-5D44-53ED-121A3F54EDA7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4727575" y="5308600"/>
            <a:ext cx="7302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4657B439-D47F-4D4F-809A-D7D7B59520CB}" type="datetime'''''''''1''''5-''1''''''9'''''''''''' ''''''y''''e''''ars'''''">
              <a:rPr lang="en-ZA" altLang="en-US" sz="1200" smtClean="0">
                <a:solidFill>
                  <a:schemeClr val="tx1"/>
                </a:solidFill>
              </a:rPr>
              <a:pPr/>
              <a:t>15-19 years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B6EE113B-97C2-DBB3-33AB-3F0A7B8F86A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5522913" y="5308600"/>
            <a:ext cx="7302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DF7AD1D8-D238-4F86-A8EB-55F5D4AB4240}" type="datetime'''''2''''0''''''''-''''2''''''4'' ''''''y''e''''''a''''''r''s'">
              <a:rPr lang="en-ZA" altLang="en-US" sz="1200" smtClean="0">
                <a:solidFill>
                  <a:schemeClr val="tx1"/>
                </a:solidFill>
              </a:rPr>
              <a:pPr/>
              <a:t>20-24 years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91ED928-F6AC-31F1-8839-AAB2DACA0E8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6319838" y="5308600"/>
            <a:ext cx="7302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258E04AA-F7D3-48F2-AE99-5F8029F893E6}" type="datetime'''''2''''5''''''''''''-3''''''''''4'' y''e''''ar''s'''''''">
              <a:rPr lang="en-ZA" altLang="en-US" sz="1200" smtClean="0">
                <a:solidFill>
                  <a:schemeClr val="tx1"/>
                </a:solidFill>
              </a:rPr>
              <a:pPr/>
              <a:t>25-34 years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3D796DCB-906B-9388-DC37-F0438D8533DE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115175" y="5308600"/>
            <a:ext cx="7302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443B251C-4070-47C5-8687-907A02C71B3E}" type="datetime'''3''''5''''''-''''4''''9 ''ye''''''''''''a''''r''''''s'''">
              <a:rPr lang="en-ZA" altLang="en-US" sz="1200" smtClean="0">
                <a:solidFill>
                  <a:schemeClr val="tx1"/>
                </a:solidFill>
              </a:rPr>
              <a:pPr/>
              <a:t>35-49 years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36548C96-5C41-D32C-8B40-D49792D2053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956550" y="5308600"/>
            <a:ext cx="639763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fld id="{48FB8517-8D42-45CA-8039-ED9CDA79ED3C}" type="datetime'50'''' y''''''e''''a''''''''''r''''''''''s'''''''''' ''+'">
              <a:rPr lang="en-ZA" altLang="en-US" sz="1200" smtClean="0">
                <a:solidFill>
                  <a:schemeClr val="tx1"/>
                </a:solidFill>
              </a:rPr>
              <a:pPr/>
              <a:t>50 years +</a:t>
            </a:fld>
            <a:endParaRPr lang="en-ZA" sz="1200">
              <a:solidFill>
                <a:schemeClr val="tx1"/>
              </a:solidFill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11DA8CE6-63DA-057B-E972-C4D79C1ADDA0}"/>
              </a:ext>
            </a:extLst>
          </p:cNvPr>
          <p:cNvSpPr txBox="1"/>
          <p:nvPr/>
        </p:nvSpPr>
        <p:spPr>
          <a:xfrm>
            <a:off x="3045103" y="2787600"/>
            <a:ext cx="369332" cy="215817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en-ZA" sz="1200" dirty="0"/>
              <a:t>Oral PrEP initiations (x10</a:t>
            </a:r>
            <a:r>
              <a:rPr lang="en-ZA" sz="1200" baseline="30000" dirty="0"/>
              <a:t>3)</a:t>
            </a:r>
          </a:p>
        </p:txBody>
      </p:sp>
      <p:sp>
        <p:nvSpPr>
          <p:cNvPr id="356" name="TextBox 355">
            <a:extLst>
              <a:ext uri="{FF2B5EF4-FFF2-40B4-BE49-F238E27FC236}">
                <a16:creationId xmlns:a16="http://schemas.microsoft.com/office/drawing/2014/main" id="{6D8E9147-CCBF-2E1E-5BBE-9E456FA2704B}"/>
              </a:ext>
            </a:extLst>
          </p:cNvPr>
          <p:cNvSpPr txBox="1"/>
          <p:nvPr/>
        </p:nvSpPr>
        <p:spPr>
          <a:xfrm>
            <a:off x="3995738" y="4787984"/>
            <a:ext cx="630238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ZA" sz="1050" dirty="0">
                <a:latin typeface="+mn-lt"/>
              </a:rPr>
              <a:t>7 944</a:t>
            </a:r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699C32AA-34B3-B6F7-30FA-6C6E3AA30990}"/>
              </a:ext>
            </a:extLst>
          </p:cNvPr>
          <p:cNvSpPr txBox="1"/>
          <p:nvPr/>
        </p:nvSpPr>
        <p:spPr>
          <a:xfrm>
            <a:off x="4777581" y="2499416"/>
            <a:ext cx="630238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ZA" sz="1050" dirty="0">
                <a:latin typeface="+mn-lt"/>
              </a:rPr>
              <a:t>172 738</a:t>
            </a:r>
          </a:p>
        </p:txBody>
      </p:sp>
      <p:sp>
        <p:nvSpPr>
          <p:cNvPr id="358" name="TextBox 357">
            <a:extLst>
              <a:ext uri="{FF2B5EF4-FFF2-40B4-BE49-F238E27FC236}">
                <a16:creationId xmlns:a16="http://schemas.microsoft.com/office/drawing/2014/main" id="{18C1B8B8-53D9-C7BE-7648-5ADD6793D2E8}"/>
              </a:ext>
            </a:extLst>
          </p:cNvPr>
          <p:cNvSpPr txBox="1"/>
          <p:nvPr/>
        </p:nvSpPr>
        <p:spPr>
          <a:xfrm>
            <a:off x="5619449" y="2396210"/>
            <a:ext cx="630238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ZA" sz="1050" dirty="0">
                <a:latin typeface="+mn-lt"/>
              </a:rPr>
              <a:t>190 049</a:t>
            </a:r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0986BD7E-CFE6-660C-9A56-3F0D8C05B765}"/>
              </a:ext>
            </a:extLst>
          </p:cNvPr>
          <p:cNvSpPr txBox="1"/>
          <p:nvPr/>
        </p:nvSpPr>
        <p:spPr>
          <a:xfrm>
            <a:off x="6362700" y="3505200"/>
            <a:ext cx="630238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ZA" sz="1050" dirty="0">
                <a:latin typeface="+mn-lt"/>
              </a:rPr>
              <a:t>136 357</a:t>
            </a:r>
          </a:p>
        </p:txBody>
      </p:sp>
      <p:sp>
        <p:nvSpPr>
          <p:cNvPr id="360" name="TextBox 359">
            <a:extLst>
              <a:ext uri="{FF2B5EF4-FFF2-40B4-BE49-F238E27FC236}">
                <a16:creationId xmlns:a16="http://schemas.microsoft.com/office/drawing/2014/main" id="{D7C7241F-50FF-A1E8-B2CB-2D25337107EB}"/>
              </a:ext>
            </a:extLst>
          </p:cNvPr>
          <p:cNvSpPr txBox="1"/>
          <p:nvPr/>
        </p:nvSpPr>
        <p:spPr>
          <a:xfrm>
            <a:off x="7165181" y="4339964"/>
            <a:ext cx="630238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ZA" sz="1050" dirty="0">
                <a:latin typeface="+mn-lt"/>
              </a:rPr>
              <a:t>61 176</a:t>
            </a:r>
          </a:p>
        </p:txBody>
      </p:sp>
      <p:sp>
        <p:nvSpPr>
          <p:cNvPr id="361" name="TextBox 360">
            <a:extLst>
              <a:ext uri="{FF2B5EF4-FFF2-40B4-BE49-F238E27FC236}">
                <a16:creationId xmlns:a16="http://schemas.microsoft.com/office/drawing/2014/main" id="{46CC07B0-1D15-4547-F6A5-9BA51C7EAD85}"/>
              </a:ext>
            </a:extLst>
          </p:cNvPr>
          <p:cNvSpPr txBox="1"/>
          <p:nvPr/>
        </p:nvSpPr>
        <p:spPr>
          <a:xfrm>
            <a:off x="7989345" y="4800600"/>
            <a:ext cx="630238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n-ZA" sz="1050" dirty="0">
                <a:latin typeface="+mn-lt"/>
              </a:rPr>
              <a:t>12 321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C24DE76-A4A2-FA6D-6FC7-5F026B477B44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5407025" y="5692775"/>
            <a:ext cx="214313" cy="160338"/>
          </a:xfrm>
          <a:prstGeom prst="rect">
            <a:avLst/>
          </a:prstGeom>
          <a:solidFill>
            <a:srgbClr val="44429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8447223-CD7E-D903-4E8A-BD3EDAD82647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088063" y="5692775"/>
            <a:ext cx="214313" cy="160338"/>
          </a:xfrm>
          <a:prstGeom prst="rect">
            <a:avLst/>
          </a:prstGeom>
          <a:solidFill>
            <a:srgbClr val="C30C3E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CF0E20-A35C-E205-99F1-86171C7913C1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5672138" y="5688013"/>
            <a:ext cx="314325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fld id="{F0221CD9-0405-4565-A342-54AE5D4FB5A0}" type="datetime'''''''M''''''''''''''''a''''''''''''''l''''''''''''''e'''''">
              <a:rPr lang="en-US" altLang="en-US" sz="1200">
                <a:solidFill>
                  <a:schemeClr val="tx1"/>
                </a:solidFill>
              </a:rPr>
              <a:pPr/>
              <a:t>Male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645B9A9-BBC3-8310-AFB2-D2FF125F2324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353175" y="5688013"/>
            <a:ext cx="4508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fld id="{CECE015E-1EA7-4779-9CDD-3E4548FF6B87}" type="datetime'Fe''''''''''''''''''''''''m''''''a''''l''e'''''''''''''''''''">
              <a:rPr lang="en-US" altLang="en-US" sz="1200">
                <a:solidFill>
                  <a:schemeClr val="tx1"/>
                </a:solidFill>
              </a:rPr>
              <a:pPr/>
              <a:t>Female</a:t>
            </a:fld>
            <a:endParaRPr lang="en-US"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7891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1&quot;&gt;&lt;elem m_fUsage=&quot;2.52728698063068746293E+00&quot;&gt;&lt;m_msothmcolidx val=&quot;0&quot;/&gt;&lt;m_rgb r=&quot;CF&quot; g=&quot;52&quot; b=&quot;6F&quot;/&gt;&lt;/elem&gt;&lt;elem m_fUsage=&quot;2.42196539697246260303E+00&quot;&gt;&lt;m_msothmcolidx val=&quot;0&quot;/&gt;&lt;m_rgb r=&quot;25&quot; g=&quot;DA&quot; b=&quot;DA&quot;/&gt;&lt;/elem&gt;&lt;elem m_fUsage=&quot;2.38263325525662450488E+00&quot;&gt;&lt;m_msothmcolidx val=&quot;0&quot;/&gt;&lt;m_rgb r=&quot;44&quot; g=&quot;42&quot; b=&quot;9F&quot;/&gt;&lt;/elem&gt;&lt;elem m_fUsage=&quot;9.77910489000000326953E-01&quot;&gt;&lt;m_msothmcolidx val=&quot;0&quot;/&gt;&lt;m_rgb r=&quot;8F&quot; g=&quot;47&quot; b=&quot;96&quot;/&gt;&lt;/elem&gt;&lt;elem m_fUsage=&quot;8.00789798769185323657E-01&quot;&gt;&lt;m_msothmcolidx val=&quot;0&quot;/&gt;&lt;m_rgb r=&quot;00&quot; g=&quot;00&quot; b=&quot;91&quot;/&gt;&lt;/elem&gt;&lt;elem m_fUsage=&quot;5.31441000000000163261E-01&quot;&gt;&lt;m_msothmcolidx val=&quot;0&quot;/&gt;&lt;m_rgb r=&quot;DC&quot; g=&quot;82&quot; b=&quot;12&quot;/&gt;&lt;/elem&gt;&lt;elem m_fUsage=&quot;1.29530376712422234942E-01&quot;&gt;&lt;m_msothmcolidx val=&quot;0&quot;/&gt;&lt;m_rgb r=&quot;C7&quot; g=&quot;67&quot; b=&quot;78&quot;/&gt;&lt;/elem&gt;&lt;elem m_fUsage=&quot;3.09031543826326429714E-02&quot;&gt;&lt;m_msothmcolidx val=&quot;0&quot;/&gt;&lt;m_rgb r=&quot;D8&quot; g=&quot;61&quot; b=&quot;78&quot;/&gt;&lt;/elem&gt;&lt;elem m_fUsage=&quot;2.78128389443693807559E-02&quot;&gt;&lt;m_msothmcolidx val=&quot;0&quot;/&gt;&lt;m_rgb r=&quot;36&quot; g=&quot;C9&quot; b=&quot;C9&quot;/&gt;&lt;/elem&gt;&lt;elem m_fUsage=&quot;2.02755595904452780298E-02&quot;&gt;&lt;m_msothmcolidx val=&quot;0&quot;/&gt;&lt;m_rgb r=&quot;95&quot; g=&quot;8C&quot; b=&quot;8E&quot;/&gt;&lt;/elem&gt;&lt;elem m_fUsage=&quot;1.64232032682606748919E-02&quot;&gt;&lt;m_msothmcolidx val=&quot;0&quot;/&gt;&lt;m_rgb r=&quot;B5&quot; g=&quot;31&quot; b=&quot;26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w0OnTt2pe0l2eLsIPp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pWv2nb0dp_WBc7rZJEa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373AfcbVc40c18yk_s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26zv0OyQuPp7Qi4uJj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qu67l5KJKLq4XK7.4s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ss019aeOKS1rpJZjCn2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xPE20agENznhLpTMimj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3Ax.dZ1as8Cs6P445C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gSPWzRpbYzPumNq7b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MEBVEG0mMZwDb7fNyx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lRnFqkJmOaEVMohxi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XTOb1hIy_tfb58WERm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WUTTEWFtN4MmdwvpAl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b_gHYhK2iQbYS.Ft2x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DJlvB2UX7PiTmraSvF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fOsTydCELno_nLldym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PExe.bvyMiJ1esSSKu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uea1H5OjSxv2SYms4b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Gv5RE3pMjDxYAw794J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pgc00whKvsp0t7HBV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870Ye.oWYXNN2.yQeS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2JrWSW0f7ZHzyiAOjv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</a:spPr>
      <a:bodyPr vert="horz" wrap="square" lIns="91440" tIns="45720" rIns="91440" bIns="45720" numCol="1" anchor="t" anchorCtr="0" compatLnSpc="1"/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anose="020B0604030504040204" pitchFamily="-109" charset="0"/>
            <a:ea typeface="MS PGothic" panose="020B0600070205080204" pitchFamily="34" charset="-128"/>
            <a:cs typeface="MS PGothic" panose="020B0600070205080204" pitchFamily="34" charset="-128"/>
          </a:defRPr>
        </a:defPPr>
      </a:lstStyle>
    </a:spDef>
    <a:lnDef>
      <a:spPr bwMode="auto">
        <a:noFill/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</a:spPr>
      <a:bodyPr/>
      <a:lstStyle/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1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itchFamily="-109" charset="0"/>
            <a:ea typeface="MS PGothic" pitchFamily="34" charset="-128"/>
            <a:cs typeface="MS PGothic" pitchFamily="34" charset="-128"/>
          </a:defRPr>
        </a:defPPr>
      </a:lstStyle>
    </a:spDef>
    <a:lnDef>
      <a:spPr bwMode="auto">
        <a:noFill/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noFill/>
          <a:miter lim="800000"/>
          <a:headEnd/>
          <a:tailEnd/>
        </a:ln>
        <a:effectLst/>
      </a:spPr>
      <a:bodyPr wrap="none" lIns="0" tIns="0" rIns="0" bIns="0" anchor="ctr"/>
      <a:lstStyle>
        <a:defPPr algn="ctr" fontAlgn="base">
          <a:lnSpc>
            <a:spcPct val="60000"/>
          </a:lnSpc>
          <a:spcBef>
            <a:spcPct val="50000"/>
          </a:spcBef>
          <a:spcAft>
            <a:spcPct val="0"/>
          </a:spcAft>
          <a:defRPr sz="1000" dirty="0">
            <a:solidFill>
              <a:srgbClr val="15406B"/>
            </a:solidFill>
            <a:latin typeface="Arial" charset="0"/>
            <a:ea typeface="Arial" charset="0"/>
            <a:cs typeface="Arial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7_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Verdana"/>
        <a:ea typeface="Arial"/>
        <a:cs typeface="Arial"/>
      </a:majorFont>
      <a:minorFont>
        <a:latin typeface="Verdana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itchFamily="-109" charset="0"/>
            <a:ea typeface="MS PGothic" pitchFamily="34" charset="-128"/>
            <a:cs typeface="MS PGothic" pitchFamily="34" charset="-128"/>
          </a:defRPr>
        </a:defPPr>
      </a:lstStyle>
    </a:spDef>
    <a:lnDef>
      <a:spPr bwMode="auto">
        <a:noFill/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693</TotalTime>
  <Words>403</Words>
  <Application>Microsoft Office PowerPoint</Application>
  <PresentationFormat>Widescreen</PresentationFormat>
  <Paragraphs>159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1</vt:i4>
      </vt:variant>
      <vt:variant>
        <vt:lpstr>Slide Titles</vt:lpstr>
      </vt:variant>
      <vt:variant>
        <vt:i4>5</vt:i4>
      </vt:variant>
    </vt:vector>
  </HeadingPairs>
  <TitlesOfParts>
    <vt:vector size="16" baseType="lpstr">
      <vt:lpstr>3_Custom Design</vt:lpstr>
      <vt:lpstr>Custom Design</vt:lpstr>
      <vt:lpstr>2_Custom Design</vt:lpstr>
      <vt:lpstr>4_Custom Design</vt:lpstr>
      <vt:lpstr>5_Custom Design</vt:lpstr>
      <vt:lpstr>6_Custom Design</vt:lpstr>
      <vt:lpstr>2_Office Theme</vt:lpstr>
      <vt:lpstr>7_Custom Design</vt:lpstr>
      <vt:lpstr>Custom Design</vt:lpstr>
      <vt:lpstr>Custom Design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William J. Clinton Found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i Ellis</dc:creator>
  <cp:lastModifiedBy>Foster Mohale</cp:lastModifiedBy>
  <cp:revision>5720</cp:revision>
  <dcterms:created xsi:type="dcterms:W3CDTF">2008-03-04T08:08:00Z</dcterms:created>
  <dcterms:modified xsi:type="dcterms:W3CDTF">2022-11-09T16:5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umberOfSlides">
    <vt:i4>37</vt:i4>
  </property>
  <property fmtid="{D5CDD505-2E9C-101B-9397-08002B2CF9AE}" pid="3" name="RevisionCount">
    <vt:i4>44</vt:i4>
  </property>
  <property fmtid="{D5CDD505-2E9C-101B-9397-08002B2CF9AE}" pid="4" name="KSOProductBuildVer">
    <vt:lpwstr>1033-10.2.0.5832</vt:lpwstr>
  </property>
</Properties>
</file>